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2A5DFB20" ContentType="image/jpeg"/>
  <Default Extension="E5589EB0" ContentType="image/jpe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0E098010" ContentType="image/png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  <p:sldMasterId id="2147483679" r:id="rId3"/>
  </p:sldMasterIdLst>
  <p:notesMasterIdLst>
    <p:notesMasterId r:id="rId62"/>
  </p:notesMasterIdLst>
  <p:sldIdLst>
    <p:sldId id="256" r:id="rId4"/>
    <p:sldId id="307" r:id="rId5"/>
    <p:sldId id="309" r:id="rId6"/>
    <p:sldId id="310" r:id="rId7"/>
    <p:sldId id="312" r:id="rId8"/>
    <p:sldId id="313" r:id="rId9"/>
    <p:sldId id="316" r:id="rId10"/>
    <p:sldId id="315" r:id="rId11"/>
    <p:sldId id="317" r:id="rId12"/>
    <p:sldId id="314" r:id="rId13"/>
    <p:sldId id="311" r:id="rId14"/>
    <p:sldId id="308" r:id="rId15"/>
    <p:sldId id="294" r:id="rId16"/>
    <p:sldId id="305" r:id="rId17"/>
    <p:sldId id="306" r:id="rId18"/>
    <p:sldId id="301" r:id="rId19"/>
    <p:sldId id="302" r:id="rId20"/>
    <p:sldId id="303" r:id="rId21"/>
    <p:sldId id="298" r:id="rId22"/>
    <p:sldId id="295" r:id="rId23"/>
    <p:sldId id="299" r:id="rId24"/>
    <p:sldId id="290" r:id="rId25"/>
    <p:sldId id="297" r:id="rId26"/>
    <p:sldId id="296" r:id="rId27"/>
    <p:sldId id="286" r:id="rId28"/>
    <p:sldId id="292" r:id="rId29"/>
    <p:sldId id="291" r:id="rId30"/>
    <p:sldId id="257" r:id="rId31"/>
    <p:sldId id="289" r:id="rId32"/>
    <p:sldId id="287" r:id="rId33"/>
    <p:sldId id="288" r:id="rId34"/>
    <p:sldId id="293" r:id="rId35"/>
    <p:sldId id="258" r:id="rId36"/>
    <p:sldId id="259" r:id="rId37"/>
    <p:sldId id="280" r:id="rId38"/>
    <p:sldId id="285" r:id="rId39"/>
    <p:sldId id="281" r:id="rId40"/>
    <p:sldId id="282" r:id="rId41"/>
    <p:sldId id="284" r:id="rId42"/>
    <p:sldId id="283" r:id="rId43"/>
    <p:sldId id="265" r:id="rId44"/>
    <p:sldId id="260" r:id="rId45"/>
    <p:sldId id="262" r:id="rId46"/>
    <p:sldId id="263" r:id="rId47"/>
    <p:sldId id="264" r:id="rId48"/>
    <p:sldId id="261" r:id="rId49"/>
    <p:sldId id="266" r:id="rId50"/>
    <p:sldId id="267" r:id="rId51"/>
    <p:sldId id="271" r:id="rId52"/>
    <p:sldId id="272" r:id="rId53"/>
    <p:sldId id="270" r:id="rId54"/>
    <p:sldId id="275" r:id="rId55"/>
    <p:sldId id="277" r:id="rId56"/>
    <p:sldId id="268" r:id="rId57"/>
    <p:sldId id="273" r:id="rId58"/>
    <p:sldId id="274" r:id="rId59"/>
    <p:sldId id="278" r:id="rId60"/>
    <p:sldId id="279" r:id="rId6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0E9E9"/>
    <a:srgbClr val="000000"/>
    <a:srgbClr val="616A7F"/>
    <a:srgbClr val="00178F"/>
    <a:srgbClr val="AA1219"/>
    <a:srgbClr val="E6E6E6"/>
    <a:srgbClr val="FFFFFF"/>
    <a:srgbClr val="CDD7DD"/>
    <a:srgbClr val="C1CDD5"/>
    <a:srgbClr val="1C1C1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395" autoAdjust="0"/>
    <p:restoredTop sz="94084" autoAdjust="0"/>
  </p:normalViewPr>
  <p:slideViewPr>
    <p:cSldViewPr snapToGrid="0">
      <p:cViewPr>
        <p:scale>
          <a:sx n="75" d="100"/>
          <a:sy n="75" d="100"/>
        </p:scale>
        <p:origin x="54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3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50" Type="http://schemas.openxmlformats.org/officeDocument/2006/relationships/slide" Target="slides/slide47.xml"/><Relationship Id="rId55" Type="http://schemas.openxmlformats.org/officeDocument/2006/relationships/slide" Target="slides/slide52.xml"/><Relationship Id="rId63" Type="http://schemas.openxmlformats.org/officeDocument/2006/relationships/presProps" Target="presProps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slide" Target="slides/slide50.xml"/><Relationship Id="rId58" Type="http://schemas.openxmlformats.org/officeDocument/2006/relationships/slide" Target="slides/slide55.xml"/><Relationship Id="rId66" Type="http://schemas.openxmlformats.org/officeDocument/2006/relationships/tableStyles" Target="tableStyles.xml"/><Relationship Id="rId5" Type="http://schemas.openxmlformats.org/officeDocument/2006/relationships/slide" Target="slides/slide2.xml"/><Relationship Id="rId61" Type="http://schemas.openxmlformats.org/officeDocument/2006/relationships/slide" Target="slides/slide58.xml"/><Relationship Id="rId19" Type="http://schemas.openxmlformats.org/officeDocument/2006/relationships/slide" Target="slides/slide1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56" Type="http://schemas.openxmlformats.org/officeDocument/2006/relationships/slide" Target="slides/slide53.xml"/><Relationship Id="rId64" Type="http://schemas.openxmlformats.org/officeDocument/2006/relationships/viewProps" Target="viewProps.xml"/><Relationship Id="rId8" Type="http://schemas.openxmlformats.org/officeDocument/2006/relationships/slide" Target="slides/slide5.xml"/><Relationship Id="rId51" Type="http://schemas.openxmlformats.org/officeDocument/2006/relationships/slide" Target="slides/slide48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59" Type="http://schemas.openxmlformats.org/officeDocument/2006/relationships/slide" Target="slides/slide56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slide" Target="slides/slide51.xml"/><Relationship Id="rId62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57" Type="http://schemas.openxmlformats.org/officeDocument/2006/relationships/slide" Target="slides/slide54.xml"/><Relationship Id="rId10" Type="http://schemas.openxmlformats.org/officeDocument/2006/relationships/slide" Target="slides/slide7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slide" Target="slides/slide49.xml"/><Relationship Id="rId60" Type="http://schemas.openxmlformats.org/officeDocument/2006/relationships/slide" Target="slides/slide57.xml"/><Relationship Id="rId65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9" Type="http://schemas.openxmlformats.org/officeDocument/2006/relationships/slide" Target="slides/slide3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1E1328-DFB4-4CAC-8117-9E800847DC4D}" type="datetimeFigureOut">
              <a:rPr lang="en-US" smtClean="0"/>
              <a:t>12/17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3B2A83-4E39-4551-AB51-92574D0A3BD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21388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3B2A83-4E39-4551-AB51-92574D0A3BDB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96437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3B2A83-4E39-4551-AB51-92574D0A3BDB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8441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3B2A83-4E39-4551-AB51-92574D0A3BDB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39871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3B2A83-4E39-4551-AB51-92574D0A3BDB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57871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3B2A83-4E39-4551-AB51-92574D0A3BDB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79358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3B2A83-4E39-4551-AB51-92574D0A3BDB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908622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/>
              <a:t>Microsoft Azure helps small and midsize businesses grow with greater efficiency and be more responsive to change.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  <a:sym typeface="Segoe UI" panose="020B0502040204020203" pitchFamily="34" charset="0"/>
              </a:rPr>
              <a:t>It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  <a:sym typeface="Segoe UI" panose="020B0502040204020203" pitchFamily="34" charset="0"/>
              </a:rPr>
              <a:t>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  <a:sym typeface="Segoe UI" panose="020B0502040204020203" pitchFamily="34" charset="0"/>
              </a:rPr>
              <a:t>is a flexible cloud platform that enables you to quickly build, deploy and manage applications across a global network of Microsoft-managed datacenters. You can build applications using any language, tool or framework. And you can integrate your public cloud applications with your existing IT environment. </a:t>
            </a:r>
            <a:r>
              <a:rPr lang="en-US" sz="1200" dirty="0" smtClean="0"/>
              <a:t>With Azure, you can be up and running fast, scale up or down as needed, and avoid high capital costs—paying only for what you use.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 smtClean="0">
              <a:solidFill>
                <a:schemeClr val="tx1"/>
              </a:solidFill>
              <a:effectLst/>
              <a:latin typeface="Segoe UI" panose="020B0502040204020203" pitchFamily="34" charset="0"/>
              <a:ea typeface="+mn-ea"/>
              <a:cs typeface="+mn-cs"/>
              <a:sym typeface="Segoe UI" panose="020B0502040204020203" pitchFamily="34" charset="0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6956F3-7789-E044-B7D3-F234CE1177F2}" type="slidenum">
              <a:rPr lang="en-US" smtClean="0">
                <a:solidFill>
                  <a:prstClr val="black"/>
                </a:solidFill>
                <a:latin typeface="Segoe UI" panose="020B0502040204020203" pitchFamily="34" charset="0"/>
              </a:rPr>
              <a:pPr/>
              <a:t>53</a:t>
            </a:fld>
            <a:endParaRPr lang="en-US" dirty="0">
              <a:solidFill>
                <a:prstClr val="black"/>
              </a:solidFill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565663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icrosoft offers business solutions designed to address your business goals and challenges across four key areas:</a:t>
            </a:r>
          </a:p>
          <a:p>
            <a:pPr rtl="0"/>
            <a:endParaRPr lang="en-US" sz="1200" b="0" i="0" u="none" strike="noStrike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en-US" sz="1200" b="1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row efficiently 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– use technology to reduce costs and be a real enabler of business growth.</a:t>
            </a:r>
          </a:p>
          <a:p>
            <a:pPr rtl="0"/>
            <a:r>
              <a:rPr lang="en-US" sz="1200" b="1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o business anywhere 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– get the benefits of a productive mobile team that can work together wherever they are.</a:t>
            </a:r>
          </a:p>
          <a:p>
            <a:pPr rtl="0"/>
            <a:r>
              <a:rPr lang="en-US" sz="1200" b="1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afeguard your business 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– keep your data protected and be prepared for the unexpected, so you know your business never misses a beat.</a:t>
            </a:r>
          </a:p>
          <a:p>
            <a:pPr rtl="0"/>
            <a:r>
              <a:rPr lang="en-US" sz="1200" b="1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nect with customers 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– get the competitive advantage of really understanding your customers and making meaningful connections to build long-term relationships.</a:t>
            </a:r>
          </a:p>
          <a:p>
            <a:pPr rtl="0"/>
            <a:endParaRPr lang="en-US" sz="1200" b="0" i="0" u="none" strike="noStrike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14B2D9-F344-4463-A3E2-4BE7327096B9}" type="slidenum">
              <a:rPr lang="en-US" smtClean="0">
                <a:solidFill>
                  <a:prstClr val="black"/>
                </a:solidFill>
                <a:latin typeface="Segoe UI" panose="020B0502040204020203" pitchFamily="34" charset="0"/>
              </a:rPr>
              <a:pPr/>
              <a:t>56</a:t>
            </a:fld>
            <a:endParaRPr lang="en-US">
              <a:solidFill>
                <a:prstClr val="black"/>
              </a:solidFill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57803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0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2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3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4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5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6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7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8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9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0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0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1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2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3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4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5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6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7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8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9103D2-72A0-4C12-A232-58991DCA312B}" type="datetimeFigureOut">
              <a:rPr lang="en-US" smtClean="0"/>
              <a:t>12/1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E84F3A-632D-4576-8FBC-69BA2D0B9C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2473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9103D2-72A0-4C12-A232-58991DCA312B}" type="datetimeFigureOut">
              <a:rPr lang="en-US" smtClean="0"/>
              <a:t>12/1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E84F3A-632D-4576-8FBC-69BA2D0B9C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82596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9103D2-72A0-4C12-A232-58991DCA312B}" type="datetimeFigureOut">
              <a:rPr lang="en-US" smtClean="0"/>
              <a:t>12/1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E84F3A-632D-4576-8FBC-69BA2D0B9C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20115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278113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with Graphics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 rot="5400000">
            <a:off x="-1397260" y="1397263"/>
            <a:ext cx="6858000" cy="4063483"/>
          </a:xfrm>
          <a:prstGeom prst="rect">
            <a:avLst/>
          </a:prstGeom>
          <a:solidFill>
            <a:srgbClr val="FEA83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defTabSz="544196"/>
            <a:endParaRPr lang="en-US" sz="2157" dirty="0">
              <a:solidFill>
                <a:srgbClr val="FD7425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30697" y="3111472"/>
            <a:ext cx="3271952" cy="911041"/>
          </a:xfrm>
          <a:noFill/>
        </p:spPr>
        <p:txBody>
          <a:bodyPr lIns="0" tIns="0" rIns="0">
            <a:noAutofit/>
          </a:bodyPr>
          <a:lstStyle>
            <a:lvl1pPr marL="0" indent="0">
              <a:spcBef>
                <a:spcPts val="0"/>
              </a:spcBef>
              <a:spcAft>
                <a:spcPts val="1176"/>
              </a:spcAft>
              <a:buNone/>
              <a:defRPr sz="2157" b="0">
                <a:solidFill>
                  <a:srgbClr val="AB0086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0" indent="0">
              <a:spcBef>
                <a:spcPts val="588"/>
              </a:spcBef>
              <a:buNone/>
              <a:defRPr sz="1765">
                <a:solidFill>
                  <a:srgbClr val="4B0045">
                    <a:alpha val="99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1088393" indent="0">
              <a:buNone/>
              <a:defRPr/>
            </a:lvl3pPr>
            <a:lvl4pPr marL="1632589" indent="0">
              <a:buNone/>
              <a:defRPr/>
            </a:lvl4pPr>
            <a:lvl5pPr marL="2176785" indent="0">
              <a:buNone/>
              <a:defRPr/>
            </a:lvl5pPr>
          </a:lstStyle>
          <a:p>
            <a:pPr lvl="0"/>
            <a:r>
              <a:rPr lang="en-US" dirty="0" smtClean="0"/>
              <a:t>Heading</a:t>
            </a:r>
          </a:p>
          <a:p>
            <a:pPr lvl="1"/>
            <a:r>
              <a:rPr lang="en-US" dirty="0" smtClean="0"/>
              <a:t>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697" y="574892"/>
            <a:ext cx="3271951" cy="1466598"/>
          </a:xfrm>
          <a:noFill/>
        </p:spPr>
        <p:txBody>
          <a:bodyPr wrap="square" lIns="0" tIns="0" rIns="0" bIns="0" rtlCol="0" anchor="t">
            <a:noAutofit/>
          </a:bodyPr>
          <a:lstStyle>
            <a:lvl1pPr algn="l">
              <a:defRPr lang="en-US" sz="3921" spc="0" dirty="0">
                <a:solidFill>
                  <a:srgbClr val="4B0045"/>
                </a:solidFill>
                <a:latin typeface="Segoe UI Semibold"/>
                <a:ea typeface="+mn-ea"/>
                <a:cs typeface="Segoe UI Semibold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grpSp>
        <p:nvGrpSpPr>
          <p:cNvPr id="12" name="Group 11"/>
          <p:cNvGrpSpPr/>
          <p:nvPr userDrawn="1"/>
        </p:nvGrpSpPr>
        <p:grpSpPr>
          <a:xfrm rot="10800000">
            <a:off x="11483819" y="6187271"/>
            <a:ext cx="470499" cy="471635"/>
            <a:chOff x="11402094" y="6042694"/>
            <a:chExt cx="698750" cy="700339"/>
          </a:xfrm>
        </p:grpSpPr>
        <p:sp>
          <p:nvSpPr>
            <p:cNvPr id="13" name="Freeform 5"/>
            <p:cNvSpPr>
              <a:spLocks/>
            </p:cNvSpPr>
            <p:nvPr/>
          </p:nvSpPr>
          <p:spPr bwMode="auto">
            <a:xfrm>
              <a:off x="11402094" y="6042694"/>
              <a:ext cx="338136" cy="338138"/>
            </a:xfrm>
            <a:custGeom>
              <a:avLst/>
              <a:gdLst>
                <a:gd name="T0" fmla="*/ 550 w 550"/>
                <a:gd name="T1" fmla="*/ 0 h 550"/>
                <a:gd name="T2" fmla="*/ 0 w 550"/>
                <a:gd name="T3" fmla="*/ 550 h 550"/>
                <a:gd name="T4" fmla="*/ 287 w 550"/>
                <a:gd name="T5" fmla="*/ 550 h 550"/>
                <a:gd name="T6" fmla="*/ 550 w 550"/>
                <a:gd name="T7" fmla="*/ 288 h 550"/>
                <a:gd name="T8" fmla="*/ 550 w 550"/>
                <a:gd name="T9" fmla="*/ 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0" h="550">
                  <a:moveTo>
                    <a:pt x="550" y="0"/>
                  </a:moveTo>
                  <a:cubicBezTo>
                    <a:pt x="247" y="3"/>
                    <a:pt x="2" y="248"/>
                    <a:pt x="0" y="550"/>
                  </a:cubicBezTo>
                  <a:cubicBezTo>
                    <a:pt x="287" y="550"/>
                    <a:pt x="287" y="550"/>
                    <a:pt x="287" y="550"/>
                  </a:cubicBezTo>
                  <a:cubicBezTo>
                    <a:pt x="290" y="406"/>
                    <a:pt x="406" y="290"/>
                    <a:pt x="550" y="288"/>
                  </a:cubicBezTo>
                  <a:cubicBezTo>
                    <a:pt x="550" y="0"/>
                    <a:pt x="550" y="0"/>
                    <a:pt x="550" y="0"/>
                  </a:cubicBezTo>
                </a:path>
              </a:pathLst>
            </a:custGeom>
            <a:solidFill>
              <a:srgbClr val="D4D6D7">
                <a:alpha val="5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44196"/>
              <a:endParaRPr lang="en-US" sz="2157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/>
            </p:cNvSpPr>
            <p:nvPr/>
          </p:nvSpPr>
          <p:spPr bwMode="auto">
            <a:xfrm>
              <a:off x="11762708" y="6042694"/>
              <a:ext cx="338136" cy="338138"/>
            </a:xfrm>
            <a:custGeom>
              <a:avLst/>
              <a:gdLst>
                <a:gd name="T0" fmla="*/ 0 w 550"/>
                <a:gd name="T1" fmla="*/ 0 h 550"/>
                <a:gd name="T2" fmla="*/ 0 w 550"/>
                <a:gd name="T3" fmla="*/ 288 h 550"/>
                <a:gd name="T4" fmla="*/ 262 w 550"/>
                <a:gd name="T5" fmla="*/ 550 h 550"/>
                <a:gd name="T6" fmla="*/ 550 w 550"/>
                <a:gd name="T7" fmla="*/ 550 h 550"/>
                <a:gd name="T8" fmla="*/ 0 w 550"/>
                <a:gd name="T9" fmla="*/ 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0" h="550">
                  <a:moveTo>
                    <a:pt x="0" y="0"/>
                  </a:moveTo>
                  <a:cubicBezTo>
                    <a:pt x="0" y="288"/>
                    <a:pt x="0" y="288"/>
                    <a:pt x="0" y="288"/>
                  </a:cubicBezTo>
                  <a:cubicBezTo>
                    <a:pt x="144" y="290"/>
                    <a:pt x="260" y="406"/>
                    <a:pt x="262" y="550"/>
                  </a:cubicBezTo>
                  <a:cubicBezTo>
                    <a:pt x="550" y="550"/>
                    <a:pt x="550" y="550"/>
                    <a:pt x="550" y="550"/>
                  </a:cubicBezTo>
                  <a:cubicBezTo>
                    <a:pt x="547" y="248"/>
                    <a:pt x="302" y="3"/>
                    <a:pt x="0" y="0"/>
                  </a:cubicBezTo>
                </a:path>
              </a:pathLst>
            </a:custGeom>
            <a:solidFill>
              <a:srgbClr val="FEA83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44196"/>
              <a:endParaRPr lang="en-US" sz="2157">
                <a:solidFill>
                  <a:prstClr val="black"/>
                </a:solidFill>
              </a:endParaRPr>
            </a:p>
          </p:txBody>
        </p:sp>
        <p:sp>
          <p:nvSpPr>
            <p:cNvPr id="15" name="Freeform 7"/>
            <p:cNvSpPr>
              <a:spLocks/>
            </p:cNvSpPr>
            <p:nvPr/>
          </p:nvSpPr>
          <p:spPr bwMode="auto">
            <a:xfrm>
              <a:off x="11402094" y="6404895"/>
              <a:ext cx="338136" cy="338138"/>
            </a:xfrm>
            <a:custGeom>
              <a:avLst/>
              <a:gdLst>
                <a:gd name="T0" fmla="*/ 287 w 550"/>
                <a:gd name="T1" fmla="*/ 0 h 550"/>
                <a:gd name="T2" fmla="*/ 0 w 550"/>
                <a:gd name="T3" fmla="*/ 0 h 550"/>
                <a:gd name="T4" fmla="*/ 550 w 550"/>
                <a:gd name="T5" fmla="*/ 550 h 550"/>
                <a:gd name="T6" fmla="*/ 550 w 550"/>
                <a:gd name="T7" fmla="*/ 263 h 550"/>
                <a:gd name="T8" fmla="*/ 287 w 550"/>
                <a:gd name="T9" fmla="*/ 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0" h="550">
                  <a:moveTo>
                    <a:pt x="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303"/>
                    <a:pt x="247" y="548"/>
                    <a:pt x="550" y="550"/>
                  </a:cubicBezTo>
                  <a:cubicBezTo>
                    <a:pt x="550" y="263"/>
                    <a:pt x="550" y="263"/>
                    <a:pt x="550" y="263"/>
                  </a:cubicBezTo>
                  <a:cubicBezTo>
                    <a:pt x="406" y="260"/>
                    <a:pt x="290" y="144"/>
                    <a:pt x="287" y="0"/>
                  </a:cubicBezTo>
                </a:path>
              </a:pathLst>
            </a:custGeom>
            <a:solidFill>
              <a:srgbClr val="D4D6D7">
                <a:alpha val="5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44196"/>
              <a:endParaRPr lang="en-US" sz="2157">
                <a:solidFill>
                  <a:prstClr val="black"/>
                </a:solidFill>
              </a:endParaRPr>
            </a:p>
          </p:txBody>
        </p:sp>
        <p:sp>
          <p:nvSpPr>
            <p:cNvPr id="16" name="Freeform 8"/>
            <p:cNvSpPr>
              <a:spLocks/>
            </p:cNvSpPr>
            <p:nvPr/>
          </p:nvSpPr>
          <p:spPr bwMode="auto">
            <a:xfrm>
              <a:off x="11762708" y="6404895"/>
              <a:ext cx="338136" cy="338138"/>
            </a:xfrm>
            <a:custGeom>
              <a:avLst/>
              <a:gdLst>
                <a:gd name="T0" fmla="*/ 550 w 550"/>
                <a:gd name="T1" fmla="*/ 0 h 550"/>
                <a:gd name="T2" fmla="*/ 262 w 550"/>
                <a:gd name="T3" fmla="*/ 0 h 550"/>
                <a:gd name="T4" fmla="*/ 0 w 550"/>
                <a:gd name="T5" fmla="*/ 263 h 550"/>
                <a:gd name="T6" fmla="*/ 0 w 550"/>
                <a:gd name="T7" fmla="*/ 550 h 550"/>
                <a:gd name="T8" fmla="*/ 550 w 550"/>
                <a:gd name="T9" fmla="*/ 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0" h="550">
                  <a:moveTo>
                    <a:pt x="550" y="0"/>
                  </a:moveTo>
                  <a:cubicBezTo>
                    <a:pt x="262" y="0"/>
                    <a:pt x="262" y="0"/>
                    <a:pt x="262" y="0"/>
                  </a:cubicBezTo>
                  <a:cubicBezTo>
                    <a:pt x="260" y="144"/>
                    <a:pt x="144" y="260"/>
                    <a:pt x="0" y="263"/>
                  </a:cubicBezTo>
                  <a:cubicBezTo>
                    <a:pt x="0" y="550"/>
                    <a:pt x="0" y="550"/>
                    <a:pt x="0" y="550"/>
                  </a:cubicBezTo>
                  <a:cubicBezTo>
                    <a:pt x="302" y="548"/>
                    <a:pt x="547" y="303"/>
                    <a:pt x="550" y="0"/>
                  </a:cubicBezTo>
                </a:path>
              </a:pathLst>
            </a:custGeom>
            <a:solidFill>
              <a:srgbClr val="D4D6D7">
                <a:alpha val="5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44196"/>
              <a:endParaRPr lang="en-US" sz="2157">
                <a:solidFill>
                  <a:prstClr val="black"/>
                </a:solidFill>
              </a:endParaRPr>
            </a:p>
          </p:txBody>
        </p:sp>
      </p:grpSp>
      <p:sp>
        <p:nvSpPr>
          <p:cNvPr id="17" name="TextBox 16"/>
          <p:cNvSpPr txBox="1"/>
          <p:nvPr userDrawn="1"/>
        </p:nvSpPr>
        <p:spPr>
          <a:xfrm>
            <a:off x="10450149" y="6238651"/>
            <a:ext cx="1057239" cy="507639"/>
          </a:xfrm>
          <a:prstGeom prst="rect">
            <a:avLst/>
          </a:prstGeom>
          <a:noFill/>
        </p:spPr>
        <p:txBody>
          <a:bodyPr wrap="square" bIns="0" rtlCol="0">
            <a:spAutoFit/>
          </a:bodyPr>
          <a:lstStyle/>
          <a:p>
            <a:pPr defTabSz="544196">
              <a:lnSpc>
                <a:spcPct val="85000"/>
              </a:lnSpc>
            </a:pPr>
            <a:r>
              <a:rPr lang="en-US" sz="1176" spc="-49" dirty="0" smtClean="0">
                <a:solidFill>
                  <a:srgbClr val="FEA830"/>
                </a:solidFill>
                <a:latin typeface="Segoe UI Bold"/>
                <a:cs typeface="Segoe UI Bold"/>
              </a:rPr>
              <a:t>Safeguard your business</a:t>
            </a:r>
            <a:endParaRPr lang="en-US" sz="1176" spc="-49" dirty="0">
              <a:solidFill>
                <a:srgbClr val="FEA830"/>
              </a:solidFill>
              <a:latin typeface="Segoe UI Bold"/>
              <a:cs typeface="Segoe UI Bold"/>
            </a:endParaRPr>
          </a:p>
        </p:txBody>
      </p:sp>
    </p:spTree>
    <p:extLst>
      <p:ext uri="{BB962C8B-B14F-4D97-AF65-F5344CB8AC3E}">
        <p14:creationId xmlns:p14="http://schemas.microsoft.com/office/powerpoint/2010/main" val="28566119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ox with Graphics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 rot="5400000">
            <a:off x="6714696" y="1380700"/>
            <a:ext cx="6858000" cy="4096608"/>
          </a:xfrm>
          <a:prstGeom prst="rect">
            <a:avLst/>
          </a:prstGeom>
          <a:solidFill>
            <a:srgbClr val="FEA83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defTabSz="544196"/>
            <a:endParaRPr lang="en-US" sz="2157" dirty="0">
              <a:solidFill>
                <a:srgbClr val="FD7425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8659217" y="3111472"/>
            <a:ext cx="3271952" cy="911041"/>
          </a:xfrm>
          <a:noFill/>
        </p:spPr>
        <p:txBody>
          <a:bodyPr lIns="0" tIns="0" rIns="0">
            <a:noAutofit/>
          </a:bodyPr>
          <a:lstStyle>
            <a:lvl1pPr marL="0" indent="0">
              <a:spcBef>
                <a:spcPts val="0"/>
              </a:spcBef>
              <a:spcAft>
                <a:spcPts val="1176"/>
              </a:spcAft>
              <a:buNone/>
              <a:defRPr sz="2157" b="0">
                <a:solidFill>
                  <a:srgbClr val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0" indent="0">
              <a:spcBef>
                <a:spcPts val="588"/>
              </a:spcBef>
              <a:buNone/>
              <a:defRPr sz="1765">
                <a:solidFill>
                  <a:srgbClr val="AB0086">
                    <a:alpha val="99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1088393" indent="0">
              <a:buNone/>
              <a:defRPr/>
            </a:lvl3pPr>
            <a:lvl4pPr marL="1632589" indent="0">
              <a:buNone/>
              <a:defRPr/>
            </a:lvl4pPr>
            <a:lvl5pPr marL="2176785" indent="0">
              <a:buNone/>
              <a:defRPr/>
            </a:lvl5pPr>
          </a:lstStyle>
          <a:p>
            <a:pPr lvl="0"/>
            <a:r>
              <a:rPr lang="en-US" dirty="0" smtClean="0"/>
              <a:t>Heading</a:t>
            </a:r>
          </a:p>
          <a:p>
            <a:pPr lvl="1"/>
            <a:r>
              <a:rPr lang="en-US" dirty="0" smtClean="0"/>
              <a:t>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59217" y="574892"/>
            <a:ext cx="3271951" cy="1466598"/>
          </a:xfrm>
          <a:noFill/>
        </p:spPr>
        <p:txBody>
          <a:bodyPr wrap="square" lIns="0" tIns="0" rIns="0" bIns="0" rtlCol="0" anchor="t">
            <a:noAutofit/>
          </a:bodyPr>
          <a:lstStyle>
            <a:lvl1pPr algn="l">
              <a:defRPr lang="en-US" sz="3921" spc="0" dirty="0">
                <a:solidFill>
                  <a:srgbClr val="AB0086"/>
                </a:solidFill>
                <a:latin typeface="Segoe UI Semibold"/>
                <a:ea typeface="+mn-ea"/>
                <a:cs typeface="Segoe UI Semibold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grpSp>
        <p:nvGrpSpPr>
          <p:cNvPr id="8" name="Group 7"/>
          <p:cNvGrpSpPr/>
          <p:nvPr userDrawn="1"/>
        </p:nvGrpSpPr>
        <p:grpSpPr>
          <a:xfrm rot="10800000">
            <a:off x="259833" y="6187271"/>
            <a:ext cx="470499" cy="471635"/>
            <a:chOff x="11402094" y="6042694"/>
            <a:chExt cx="698750" cy="700339"/>
          </a:xfrm>
        </p:grpSpPr>
        <p:sp>
          <p:nvSpPr>
            <p:cNvPr id="10" name="Freeform 5"/>
            <p:cNvSpPr>
              <a:spLocks/>
            </p:cNvSpPr>
            <p:nvPr/>
          </p:nvSpPr>
          <p:spPr bwMode="auto">
            <a:xfrm>
              <a:off x="11402094" y="6042694"/>
              <a:ext cx="338136" cy="338138"/>
            </a:xfrm>
            <a:custGeom>
              <a:avLst/>
              <a:gdLst>
                <a:gd name="T0" fmla="*/ 550 w 550"/>
                <a:gd name="T1" fmla="*/ 0 h 550"/>
                <a:gd name="T2" fmla="*/ 0 w 550"/>
                <a:gd name="T3" fmla="*/ 550 h 550"/>
                <a:gd name="T4" fmla="*/ 287 w 550"/>
                <a:gd name="T5" fmla="*/ 550 h 550"/>
                <a:gd name="T6" fmla="*/ 550 w 550"/>
                <a:gd name="T7" fmla="*/ 288 h 550"/>
                <a:gd name="T8" fmla="*/ 550 w 550"/>
                <a:gd name="T9" fmla="*/ 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0" h="550">
                  <a:moveTo>
                    <a:pt x="550" y="0"/>
                  </a:moveTo>
                  <a:cubicBezTo>
                    <a:pt x="247" y="3"/>
                    <a:pt x="2" y="248"/>
                    <a:pt x="0" y="550"/>
                  </a:cubicBezTo>
                  <a:cubicBezTo>
                    <a:pt x="287" y="550"/>
                    <a:pt x="287" y="550"/>
                    <a:pt x="287" y="550"/>
                  </a:cubicBezTo>
                  <a:cubicBezTo>
                    <a:pt x="290" y="406"/>
                    <a:pt x="406" y="290"/>
                    <a:pt x="550" y="288"/>
                  </a:cubicBezTo>
                  <a:cubicBezTo>
                    <a:pt x="550" y="0"/>
                    <a:pt x="550" y="0"/>
                    <a:pt x="550" y="0"/>
                  </a:cubicBezTo>
                </a:path>
              </a:pathLst>
            </a:custGeom>
            <a:solidFill>
              <a:srgbClr val="D4D6D7">
                <a:alpha val="5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44196"/>
              <a:endParaRPr lang="en-US" sz="2157">
                <a:solidFill>
                  <a:prstClr val="black"/>
                </a:solidFill>
              </a:endParaRPr>
            </a:p>
          </p:txBody>
        </p:sp>
        <p:sp>
          <p:nvSpPr>
            <p:cNvPr id="11" name="Freeform 6"/>
            <p:cNvSpPr>
              <a:spLocks/>
            </p:cNvSpPr>
            <p:nvPr/>
          </p:nvSpPr>
          <p:spPr bwMode="auto">
            <a:xfrm>
              <a:off x="11762708" y="6042694"/>
              <a:ext cx="338136" cy="338138"/>
            </a:xfrm>
            <a:custGeom>
              <a:avLst/>
              <a:gdLst>
                <a:gd name="T0" fmla="*/ 0 w 550"/>
                <a:gd name="T1" fmla="*/ 0 h 550"/>
                <a:gd name="T2" fmla="*/ 0 w 550"/>
                <a:gd name="T3" fmla="*/ 288 h 550"/>
                <a:gd name="T4" fmla="*/ 262 w 550"/>
                <a:gd name="T5" fmla="*/ 550 h 550"/>
                <a:gd name="T6" fmla="*/ 550 w 550"/>
                <a:gd name="T7" fmla="*/ 550 h 550"/>
                <a:gd name="T8" fmla="*/ 0 w 550"/>
                <a:gd name="T9" fmla="*/ 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0" h="550">
                  <a:moveTo>
                    <a:pt x="0" y="0"/>
                  </a:moveTo>
                  <a:cubicBezTo>
                    <a:pt x="0" y="288"/>
                    <a:pt x="0" y="288"/>
                    <a:pt x="0" y="288"/>
                  </a:cubicBezTo>
                  <a:cubicBezTo>
                    <a:pt x="144" y="290"/>
                    <a:pt x="260" y="406"/>
                    <a:pt x="262" y="550"/>
                  </a:cubicBezTo>
                  <a:cubicBezTo>
                    <a:pt x="550" y="550"/>
                    <a:pt x="550" y="550"/>
                    <a:pt x="550" y="550"/>
                  </a:cubicBezTo>
                  <a:cubicBezTo>
                    <a:pt x="547" y="248"/>
                    <a:pt x="302" y="3"/>
                    <a:pt x="0" y="0"/>
                  </a:cubicBezTo>
                </a:path>
              </a:pathLst>
            </a:custGeom>
            <a:solidFill>
              <a:srgbClr val="FEA83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44196"/>
              <a:endParaRPr lang="en-US" sz="2157">
                <a:solidFill>
                  <a:prstClr val="black"/>
                </a:solidFill>
              </a:endParaRPr>
            </a:p>
          </p:txBody>
        </p:sp>
        <p:sp>
          <p:nvSpPr>
            <p:cNvPr id="15" name="Freeform 7"/>
            <p:cNvSpPr>
              <a:spLocks/>
            </p:cNvSpPr>
            <p:nvPr/>
          </p:nvSpPr>
          <p:spPr bwMode="auto">
            <a:xfrm>
              <a:off x="11402094" y="6404895"/>
              <a:ext cx="338136" cy="338138"/>
            </a:xfrm>
            <a:custGeom>
              <a:avLst/>
              <a:gdLst>
                <a:gd name="T0" fmla="*/ 287 w 550"/>
                <a:gd name="T1" fmla="*/ 0 h 550"/>
                <a:gd name="T2" fmla="*/ 0 w 550"/>
                <a:gd name="T3" fmla="*/ 0 h 550"/>
                <a:gd name="T4" fmla="*/ 550 w 550"/>
                <a:gd name="T5" fmla="*/ 550 h 550"/>
                <a:gd name="T6" fmla="*/ 550 w 550"/>
                <a:gd name="T7" fmla="*/ 263 h 550"/>
                <a:gd name="T8" fmla="*/ 287 w 550"/>
                <a:gd name="T9" fmla="*/ 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0" h="550">
                  <a:moveTo>
                    <a:pt x="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303"/>
                    <a:pt x="247" y="548"/>
                    <a:pt x="550" y="550"/>
                  </a:cubicBezTo>
                  <a:cubicBezTo>
                    <a:pt x="550" y="263"/>
                    <a:pt x="550" y="263"/>
                    <a:pt x="550" y="263"/>
                  </a:cubicBezTo>
                  <a:cubicBezTo>
                    <a:pt x="406" y="260"/>
                    <a:pt x="290" y="144"/>
                    <a:pt x="287" y="0"/>
                  </a:cubicBezTo>
                </a:path>
              </a:pathLst>
            </a:custGeom>
            <a:solidFill>
              <a:srgbClr val="D4D6D7">
                <a:alpha val="5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44196"/>
              <a:endParaRPr lang="en-US" sz="2157">
                <a:solidFill>
                  <a:prstClr val="black"/>
                </a:solidFill>
              </a:endParaRPr>
            </a:p>
          </p:txBody>
        </p:sp>
        <p:sp>
          <p:nvSpPr>
            <p:cNvPr id="16" name="Freeform 8"/>
            <p:cNvSpPr>
              <a:spLocks/>
            </p:cNvSpPr>
            <p:nvPr/>
          </p:nvSpPr>
          <p:spPr bwMode="auto">
            <a:xfrm>
              <a:off x="11762708" y="6404895"/>
              <a:ext cx="338136" cy="338138"/>
            </a:xfrm>
            <a:custGeom>
              <a:avLst/>
              <a:gdLst>
                <a:gd name="T0" fmla="*/ 550 w 550"/>
                <a:gd name="T1" fmla="*/ 0 h 550"/>
                <a:gd name="T2" fmla="*/ 262 w 550"/>
                <a:gd name="T3" fmla="*/ 0 h 550"/>
                <a:gd name="T4" fmla="*/ 0 w 550"/>
                <a:gd name="T5" fmla="*/ 263 h 550"/>
                <a:gd name="T6" fmla="*/ 0 w 550"/>
                <a:gd name="T7" fmla="*/ 550 h 550"/>
                <a:gd name="T8" fmla="*/ 550 w 550"/>
                <a:gd name="T9" fmla="*/ 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0" h="550">
                  <a:moveTo>
                    <a:pt x="550" y="0"/>
                  </a:moveTo>
                  <a:cubicBezTo>
                    <a:pt x="262" y="0"/>
                    <a:pt x="262" y="0"/>
                    <a:pt x="262" y="0"/>
                  </a:cubicBezTo>
                  <a:cubicBezTo>
                    <a:pt x="260" y="144"/>
                    <a:pt x="144" y="260"/>
                    <a:pt x="0" y="263"/>
                  </a:cubicBezTo>
                  <a:cubicBezTo>
                    <a:pt x="0" y="550"/>
                    <a:pt x="0" y="550"/>
                    <a:pt x="0" y="550"/>
                  </a:cubicBezTo>
                  <a:cubicBezTo>
                    <a:pt x="302" y="548"/>
                    <a:pt x="547" y="303"/>
                    <a:pt x="550" y="0"/>
                  </a:cubicBezTo>
                </a:path>
              </a:pathLst>
            </a:custGeom>
            <a:solidFill>
              <a:srgbClr val="D4D6D7">
                <a:alpha val="5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44196"/>
              <a:endParaRPr lang="en-US" sz="2157">
                <a:solidFill>
                  <a:prstClr val="black"/>
                </a:solidFill>
              </a:endParaRPr>
            </a:p>
          </p:txBody>
        </p:sp>
      </p:grpSp>
      <p:sp>
        <p:nvSpPr>
          <p:cNvPr id="17" name="TextBox 16"/>
          <p:cNvSpPr txBox="1"/>
          <p:nvPr userDrawn="1"/>
        </p:nvSpPr>
        <p:spPr>
          <a:xfrm>
            <a:off x="758619" y="6238651"/>
            <a:ext cx="1057239" cy="507639"/>
          </a:xfrm>
          <a:prstGeom prst="rect">
            <a:avLst/>
          </a:prstGeom>
          <a:noFill/>
        </p:spPr>
        <p:txBody>
          <a:bodyPr wrap="square" bIns="0" rtlCol="0">
            <a:spAutoFit/>
          </a:bodyPr>
          <a:lstStyle/>
          <a:p>
            <a:pPr defTabSz="544196">
              <a:lnSpc>
                <a:spcPct val="85000"/>
              </a:lnSpc>
            </a:pPr>
            <a:r>
              <a:rPr lang="en-US" sz="1176" spc="-49" dirty="0" smtClean="0">
                <a:solidFill>
                  <a:srgbClr val="FEA830"/>
                </a:solidFill>
                <a:latin typeface="Segoe UI Bold"/>
                <a:cs typeface="Segoe UI Bold"/>
              </a:rPr>
              <a:t>Safeguard your business</a:t>
            </a:r>
            <a:endParaRPr lang="en-US" sz="1176" spc="-49" dirty="0">
              <a:solidFill>
                <a:srgbClr val="FEA830"/>
              </a:solidFill>
              <a:latin typeface="Segoe UI Bold"/>
              <a:cs typeface="Segoe UI Bold"/>
            </a:endParaRPr>
          </a:p>
        </p:txBody>
      </p:sp>
    </p:spTree>
    <p:extLst>
      <p:ext uri="{BB962C8B-B14F-4D97-AF65-F5344CB8AC3E}">
        <p14:creationId xmlns:p14="http://schemas.microsoft.com/office/powerpoint/2010/main" val="124780176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with Graphics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 rot="5400000">
            <a:off x="-1397260" y="1397263"/>
            <a:ext cx="6858000" cy="4063483"/>
          </a:xfrm>
          <a:prstGeom prst="rect">
            <a:avLst/>
          </a:prstGeom>
          <a:solidFill>
            <a:srgbClr val="FD742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544196"/>
            <a:endParaRPr lang="en-US" sz="2157" dirty="0">
              <a:solidFill>
                <a:srgbClr val="FD7425"/>
              </a:solidFill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30697" y="3111472"/>
            <a:ext cx="3271952" cy="911041"/>
          </a:xfrm>
          <a:noFill/>
        </p:spPr>
        <p:txBody>
          <a:bodyPr lIns="0" tIns="0" rIns="0">
            <a:noAutofit/>
          </a:bodyPr>
          <a:lstStyle>
            <a:lvl1pPr marL="0" indent="0">
              <a:spcBef>
                <a:spcPts val="0"/>
              </a:spcBef>
              <a:spcAft>
                <a:spcPts val="1176"/>
              </a:spcAft>
              <a:buNone/>
              <a:defRPr sz="2157" b="0">
                <a:solidFill>
                  <a:srgbClr val="AB0086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0" indent="0">
              <a:spcBef>
                <a:spcPts val="588"/>
              </a:spcBef>
              <a:buNone/>
              <a:defRPr sz="1765">
                <a:solidFill>
                  <a:srgbClr val="4B0045">
                    <a:alpha val="99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1088393" indent="0">
              <a:buNone/>
              <a:defRPr/>
            </a:lvl3pPr>
            <a:lvl4pPr marL="1632589" indent="0">
              <a:buNone/>
              <a:defRPr/>
            </a:lvl4pPr>
            <a:lvl5pPr marL="2176785" indent="0">
              <a:buNone/>
              <a:defRPr/>
            </a:lvl5pPr>
          </a:lstStyle>
          <a:p>
            <a:pPr lvl="0"/>
            <a:r>
              <a:rPr lang="en-US" dirty="0" smtClean="0"/>
              <a:t>Heading</a:t>
            </a:r>
          </a:p>
          <a:p>
            <a:pPr lvl="1"/>
            <a:r>
              <a:rPr lang="en-US" dirty="0" smtClean="0"/>
              <a:t>Text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530697" y="574892"/>
            <a:ext cx="3271951" cy="1466598"/>
          </a:xfrm>
          <a:noFill/>
        </p:spPr>
        <p:txBody>
          <a:bodyPr wrap="square" lIns="0" tIns="0" rIns="0" bIns="0" rtlCol="0" anchor="t">
            <a:noAutofit/>
          </a:bodyPr>
          <a:lstStyle>
            <a:lvl1pPr algn="l">
              <a:defRPr lang="en-US" sz="3921" spc="0" dirty="0">
                <a:solidFill>
                  <a:srgbClr val="4B0045"/>
                </a:solidFill>
                <a:latin typeface="Segoe UI Semibold"/>
                <a:ea typeface="+mn-ea"/>
                <a:cs typeface="Segoe UI Semibold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11483819" y="6187271"/>
            <a:ext cx="470499" cy="471635"/>
            <a:chOff x="11402094" y="6042694"/>
            <a:chExt cx="698750" cy="700339"/>
          </a:xfrm>
        </p:grpSpPr>
        <p:sp>
          <p:nvSpPr>
            <p:cNvPr id="14" name="Freeform 5"/>
            <p:cNvSpPr>
              <a:spLocks/>
            </p:cNvSpPr>
            <p:nvPr/>
          </p:nvSpPr>
          <p:spPr bwMode="auto">
            <a:xfrm>
              <a:off x="11402094" y="6042694"/>
              <a:ext cx="338136" cy="338138"/>
            </a:xfrm>
            <a:custGeom>
              <a:avLst/>
              <a:gdLst>
                <a:gd name="T0" fmla="*/ 550 w 550"/>
                <a:gd name="T1" fmla="*/ 0 h 550"/>
                <a:gd name="T2" fmla="*/ 0 w 550"/>
                <a:gd name="T3" fmla="*/ 550 h 550"/>
                <a:gd name="T4" fmla="*/ 287 w 550"/>
                <a:gd name="T5" fmla="*/ 550 h 550"/>
                <a:gd name="T6" fmla="*/ 550 w 550"/>
                <a:gd name="T7" fmla="*/ 288 h 550"/>
                <a:gd name="T8" fmla="*/ 550 w 550"/>
                <a:gd name="T9" fmla="*/ 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0" h="550">
                  <a:moveTo>
                    <a:pt x="550" y="0"/>
                  </a:moveTo>
                  <a:cubicBezTo>
                    <a:pt x="247" y="3"/>
                    <a:pt x="2" y="248"/>
                    <a:pt x="0" y="550"/>
                  </a:cubicBezTo>
                  <a:cubicBezTo>
                    <a:pt x="287" y="550"/>
                    <a:pt x="287" y="550"/>
                    <a:pt x="287" y="550"/>
                  </a:cubicBezTo>
                  <a:cubicBezTo>
                    <a:pt x="290" y="406"/>
                    <a:pt x="406" y="290"/>
                    <a:pt x="550" y="288"/>
                  </a:cubicBezTo>
                  <a:cubicBezTo>
                    <a:pt x="550" y="0"/>
                    <a:pt x="550" y="0"/>
                    <a:pt x="550" y="0"/>
                  </a:cubicBezTo>
                </a:path>
              </a:pathLst>
            </a:custGeom>
            <a:solidFill>
              <a:srgbClr val="D4D6D7">
                <a:alpha val="5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44196"/>
              <a:endParaRPr lang="en-US" sz="2157">
                <a:solidFill>
                  <a:prstClr val="black"/>
                </a:solidFill>
              </a:endParaRPr>
            </a:p>
          </p:txBody>
        </p:sp>
        <p:sp>
          <p:nvSpPr>
            <p:cNvPr id="15" name="Freeform 6"/>
            <p:cNvSpPr>
              <a:spLocks/>
            </p:cNvSpPr>
            <p:nvPr/>
          </p:nvSpPr>
          <p:spPr bwMode="auto">
            <a:xfrm>
              <a:off x="11762708" y="6042694"/>
              <a:ext cx="338136" cy="338138"/>
            </a:xfrm>
            <a:custGeom>
              <a:avLst/>
              <a:gdLst>
                <a:gd name="T0" fmla="*/ 0 w 550"/>
                <a:gd name="T1" fmla="*/ 0 h 550"/>
                <a:gd name="T2" fmla="*/ 0 w 550"/>
                <a:gd name="T3" fmla="*/ 288 h 550"/>
                <a:gd name="T4" fmla="*/ 262 w 550"/>
                <a:gd name="T5" fmla="*/ 550 h 550"/>
                <a:gd name="T6" fmla="*/ 550 w 550"/>
                <a:gd name="T7" fmla="*/ 550 h 550"/>
                <a:gd name="T8" fmla="*/ 0 w 550"/>
                <a:gd name="T9" fmla="*/ 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0" h="550">
                  <a:moveTo>
                    <a:pt x="0" y="0"/>
                  </a:moveTo>
                  <a:cubicBezTo>
                    <a:pt x="0" y="288"/>
                    <a:pt x="0" y="288"/>
                    <a:pt x="0" y="288"/>
                  </a:cubicBezTo>
                  <a:cubicBezTo>
                    <a:pt x="144" y="290"/>
                    <a:pt x="260" y="406"/>
                    <a:pt x="262" y="550"/>
                  </a:cubicBezTo>
                  <a:cubicBezTo>
                    <a:pt x="550" y="550"/>
                    <a:pt x="550" y="550"/>
                    <a:pt x="550" y="550"/>
                  </a:cubicBezTo>
                  <a:cubicBezTo>
                    <a:pt x="547" y="248"/>
                    <a:pt x="302" y="3"/>
                    <a:pt x="0" y="0"/>
                  </a:cubicBezTo>
                </a:path>
              </a:pathLst>
            </a:custGeom>
            <a:solidFill>
              <a:srgbClr val="FD742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44196"/>
              <a:endParaRPr lang="en-US" sz="2157">
                <a:solidFill>
                  <a:prstClr val="black"/>
                </a:solidFill>
              </a:endParaRPr>
            </a:p>
          </p:txBody>
        </p:sp>
        <p:sp>
          <p:nvSpPr>
            <p:cNvPr id="16" name="Freeform 7"/>
            <p:cNvSpPr>
              <a:spLocks/>
            </p:cNvSpPr>
            <p:nvPr/>
          </p:nvSpPr>
          <p:spPr bwMode="auto">
            <a:xfrm>
              <a:off x="11402094" y="6404895"/>
              <a:ext cx="338136" cy="338138"/>
            </a:xfrm>
            <a:custGeom>
              <a:avLst/>
              <a:gdLst>
                <a:gd name="T0" fmla="*/ 287 w 550"/>
                <a:gd name="T1" fmla="*/ 0 h 550"/>
                <a:gd name="T2" fmla="*/ 0 w 550"/>
                <a:gd name="T3" fmla="*/ 0 h 550"/>
                <a:gd name="T4" fmla="*/ 550 w 550"/>
                <a:gd name="T5" fmla="*/ 550 h 550"/>
                <a:gd name="T6" fmla="*/ 550 w 550"/>
                <a:gd name="T7" fmla="*/ 263 h 550"/>
                <a:gd name="T8" fmla="*/ 287 w 550"/>
                <a:gd name="T9" fmla="*/ 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0" h="550">
                  <a:moveTo>
                    <a:pt x="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303"/>
                    <a:pt x="247" y="548"/>
                    <a:pt x="550" y="550"/>
                  </a:cubicBezTo>
                  <a:cubicBezTo>
                    <a:pt x="550" y="263"/>
                    <a:pt x="550" y="263"/>
                    <a:pt x="550" y="263"/>
                  </a:cubicBezTo>
                  <a:cubicBezTo>
                    <a:pt x="406" y="260"/>
                    <a:pt x="290" y="144"/>
                    <a:pt x="287" y="0"/>
                  </a:cubicBezTo>
                </a:path>
              </a:pathLst>
            </a:custGeom>
            <a:solidFill>
              <a:srgbClr val="D4D6D7">
                <a:alpha val="5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44196"/>
              <a:endParaRPr lang="en-US" sz="2157">
                <a:solidFill>
                  <a:prstClr val="black"/>
                </a:solidFill>
              </a:endParaRPr>
            </a:p>
          </p:txBody>
        </p:sp>
        <p:sp>
          <p:nvSpPr>
            <p:cNvPr id="17" name="Freeform 8"/>
            <p:cNvSpPr>
              <a:spLocks/>
            </p:cNvSpPr>
            <p:nvPr/>
          </p:nvSpPr>
          <p:spPr bwMode="auto">
            <a:xfrm>
              <a:off x="11762708" y="6404895"/>
              <a:ext cx="338136" cy="338138"/>
            </a:xfrm>
            <a:custGeom>
              <a:avLst/>
              <a:gdLst>
                <a:gd name="T0" fmla="*/ 550 w 550"/>
                <a:gd name="T1" fmla="*/ 0 h 550"/>
                <a:gd name="T2" fmla="*/ 262 w 550"/>
                <a:gd name="T3" fmla="*/ 0 h 550"/>
                <a:gd name="T4" fmla="*/ 0 w 550"/>
                <a:gd name="T5" fmla="*/ 263 h 550"/>
                <a:gd name="T6" fmla="*/ 0 w 550"/>
                <a:gd name="T7" fmla="*/ 550 h 550"/>
                <a:gd name="T8" fmla="*/ 550 w 550"/>
                <a:gd name="T9" fmla="*/ 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0" h="550">
                  <a:moveTo>
                    <a:pt x="550" y="0"/>
                  </a:moveTo>
                  <a:cubicBezTo>
                    <a:pt x="262" y="0"/>
                    <a:pt x="262" y="0"/>
                    <a:pt x="262" y="0"/>
                  </a:cubicBezTo>
                  <a:cubicBezTo>
                    <a:pt x="260" y="144"/>
                    <a:pt x="144" y="260"/>
                    <a:pt x="0" y="263"/>
                  </a:cubicBezTo>
                  <a:cubicBezTo>
                    <a:pt x="0" y="550"/>
                    <a:pt x="0" y="550"/>
                    <a:pt x="0" y="550"/>
                  </a:cubicBezTo>
                  <a:cubicBezTo>
                    <a:pt x="302" y="548"/>
                    <a:pt x="547" y="303"/>
                    <a:pt x="550" y="0"/>
                  </a:cubicBezTo>
                </a:path>
              </a:pathLst>
            </a:custGeom>
            <a:solidFill>
              <a:srgbClr val="D4D6D7">
                <a:alpha val="5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44196"/>
              <a:endParaRPr lang="en-US" sz="2157">
                <a:solidFill>
                  <a:prstClr val="black"/>
                </a:solidFill>
              </a:endParaRPr>
            </a:p>
          </p:txBody>
        </p:sp>
      </p:grpSp>
      <p:sp>
        <p:nvSpPr>
          <p:cNvPr id="18" name="TextBox 17"/>
          <p:cNvSpPr txBox="1"/>
          <p:nvPr userDrawn="1"/>
        </p:nvSpPr>
        <p:spPr>
          <a:xfrm>
            <a:off x="10680832" y="6238651"/>
            <a:ext cx="826556" cy="353070"/>
          </a:xfrm>
          <a:prstGeom prst="rect">
            <a:avLst/>
          </a:prstGeom>
          <a:noFill/>
        </p:spPr>
        <p:txBody>
          <a:bodyPr wrap="square" bIns="0" rtlCol="0">
            <a:spAutoFit/>
          </a:bodyPr>
          <a:lstStyle/>
          <a:p>
            <a:pPr defTabSz="544196">
              <a:lnSpc>
                <a:spcPct val="85000"/>
              </a:lnSpc>
            </a:pPr>
            <a:r>
              <a:rPr lang="en-US" sz="1176" spc="-49" dirty="0" smtClean="0">
                <a:solidFill>
                  <a:srgbClr val="FD7425"/>
                </a:solidFill>
                <a:latin typeface="Segoe UI Bold"/>
                <a:cs typeface="Segoe UI Bold"/>
              </a:rPr>
              <a:t>Grow efficiently</a:t>
            </a:r>
            <a:endParaRPr lang="en-US" sz="1176" spc="-49" dirty="0">
              <a:solidFill>
                <a:srgbClr val="FD7425"/>
              </a:solidFill>
              <a:latin typeface="Segoe UI Bold"/>
              <a:cs typeface="Segoe UI Bold"/>
            </a:endParaRPr>
          </a:p>
        </p:txBody>
      </p:sp>
    </p:spTree>
    <p:extLst>
      <p:ext uri="{BB962C8B-B14F-4D97-AF65-F5344CB8AC3E}">
        <p14:creationId xmlns:p14="http://schemas.microsoft.com/office/powerpoint/2010/main" val="283373489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ox with Graphics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 rot="5400000">
            <a:off x="6714696" y="1380698"/>
            <a:ext cx="6858000" cy="4096610"/>
          </a:xfrm>
          <a:prstGeom prst="rect">
            <a:avLst/>
          </a:prstGeom>
          <a:solidFill>
            <a:srgbClr val="FD742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544196"/>
            <a:endParaRPr lang="en-US" sz="2157" dirty="0">
              <a:solidFill>
                <a:srgbClr val="FD7425"/>
              </a:solidFill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8659216" y="3111472"/>
            <a:ext cx="3271952" cy="911041"/>
          </a:xfrm>
          <a:noFill/>
        </p:spPr>
        <p:txBody>
          <a:bodyPr lIns="0" tIns="0" rIns="0">
            <a:noAutofit/>
          </a:bodyPr>
          <a:lstStyle>
            <a:lvl1pPr marL="0" indent="0">
              <a:spcBef>
                <a:spcPts val="0"/>
              </a:spcBef>
              <a:spcAft>
                <a:spcPts val="1176"/>
              </a:spcAft>
              <a:buNone/>
              <a:defRPr sz="2157" b="0">
                <a:solidFill>
                  <a:srgbClr val="AB0086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0" indent="0">
              <a:spcBef>
                <a:spcPts val="588"/>
              </a:spcBef>
              <a:buNone/>
              <a:defRPr sz="1765">
                <a:solidFill>
                  <a:srgbClr val="4B0045">
                    <a:alpha val="99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1088393" indent="0">
              <a:buNone/>
              <a:defRPr/>
            </a:lvl3pPr>
            <a:lvl4pPr marL="1632589" indent="0">
              <a:buNone/>
              <a:defRPr/>
            </a:lvl4pPr>
            <a:lvl5pPr marL="2176785" indent="0">
              <a:buNone/>
              <a:defRPr/>
            </a:lvl5pPr>
          </a:lstStyle>
          <a:p>
            <a:pPr lvl="0"/>
            <a:r>
              <a:rPr lang="en-US" dirty="0" smtClean="0"/>
              <a:t>Heading</a:t>
            </a:r>
          </a:p>
          <a:p>
            <a:pPr lvl="1"/>
            <a:r>
              <a:rPr lang="en-US" dirty="0" smtClean="0"/>
              <a:t>Text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8659216" y="574892"/>
            <a:ext cx="3271951" cy="1466598"/>
          </a:xfrm>
          <a:noFill/>
        </p:spPr>
        <p:txBody>
          <a:bodyPr wrap="square" lIns="0" tIns="0" rIns="0" bIns="0" rtlCol="0" anchor="t">
            <a:noAutofit/>
          </a:bodyPr>
          <a:lstStyle>
            <a:lvl1pPr algn="l">
              <a:defRPr lang="en-US" sz="3921" spc="0" dirty="0">
                <a:solidFill>
                  <a:srgbClr val="4B0045"/>
                </a:solidFill>
                <a:latin typeface="Segoe UI Semibold"/>
                <a:ea typeface="+mn-ea"/>
                <a:cs typeface="Segoe UI Semibold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255000" y="6187271"/>
            <a:ext cx="470499" cy="471635"/>
            <a:chOff x="11402094" y="6042694"/>
            <a:chExt cx="698750" cy="700339"/>
          </a:xfrm>
        </p:grpSpPr>
        <p:sp>
          <p:nvSpPr>
            <p:cNvPr id="12" name="Freeform 5"/>
            <p:cNvSpPr>
              <a:spLocks/>
            </p:cNvSpPr>
            <p:nvPr/>
          </p:nvSpPr>
          <p:spPr bwMode="auto">
            <a:xfrm>
              <a:off x="11402094" y="6042694"/>
              <a:ext cx="338136" cy="338138"/>
            </a:xfrm>
            <a:custGeom>
              <a:avLst/>
              <a:gdLst>
                <a:gd name="T0" fmla="*/ 550 w 550"/>
                <a:gd name="T1" fmla="*/ 0 h 550"/>
                <a:gd name="T2" fmla="*/ 0 w 550"/>
                <a:gd name="T3" fmla="*/ 550 h 550"/>
                <a:gd name="T4" fmla="*/ 287 w 550"/>
                <a:gd name="T5" fmla="*/ 550 h 550"/>
                <a:gd name="T6" fmla="*/ 550 w 550"/>
                <a:gd name="T7" fmla="*/ 288 h 550"/>
                <a:gd name="T8" fmla="*/ 550 w 550"/>
                <a:gd name="T9" fmla="*/ 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0" h="550">
                  <a:moveTo>
                    <a:pt x="550" y="0"/>
                  </a:moveTo>
                  <a:cubicBezTo>
                    <a:pt x="247" y="3"/>
                    <a:pt x="2" y="248"/>
                    <a:pt x="0" y="550"/>
                  </a:cubicBezTo>
                  <a:cubicBezTo>
                    <a:pt x="287" y="550"/>
                    <a:pt x="287" y="550"/>
                    <a:pt x="287" y="550"/>
                  </a:cubicBezTo>
                  <a:cubicBezTo>
                    <a:pt x="290" y="406"/>
                    <a:pt x="406" y="290"/>
                    <a:pt x="550" y="288"/>
                  </a:cubicBezTo>
                  <a:cubicBezTo>
                    <a:pt x="550" y="0"/>
                    <a:pt x="550" y="0"/>
                    <a:pt x="550" y="0"/>
                  </a:cubicBezTo>
                </a:path>
              </a:pathLst>
            </a:custGeom>
            <a:solidFill>
              <a:srgbClr val="D4D6D7">
                <a:alpha val="5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44196"/>
              <a:endParaRPr lang="en-US" sz="2157">
                <a:solidFill>
                  <a:prstClr val="black"/>
                </a:solidFill>
              </a:endParaRPr>
            </a:p>
          </p:txBody>
        </p:sp>
        <p:sp>
          <p:nvSpPr>
            <p:cNvPr id="13" name="Freeform 6"/>
            <p:cNvSpPr>
              <a:spLocks/>
            </p:cNvSpPr>
            <p:nvPr/>
          </p:nvSpPr>
          <p:spPr bwMode="auto">
            <a:xfrm>
              <a:off x="11762708" y="6042694"/>
              <a:ext cx="338136" cy="338138"/>
            </a:xfrm>
            <a:custGeom>
              <a:avLst/>
              <a:gdLst>
                <a:gd name="T0" fmla="*/ 0 w 550"/>
                <a:gd name="T1" fmla="*/ 0 h 550"/>
                <a:gd name="T2" fmla="*/ 0 w 550"/>
                <a:gd name="T3" fmla="*/ 288 h 550"/>
                <a:gd name="T4" fmla="*/ 262 w 550"/>
                <a:gd name="T5" fmla="*/ 550 h 550"/>
                <a:gd name="T6" fmla="*/ 550 w 550"/>
                <a:gd name="T7" fmla="*/ 550 h 550"/>
                <a:gd name="T8" fmla="*/ 0 w 550"/>
                <a:gd name="T9" fmla="*/ 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0" h="550">
                  <a:moveTo>
                    <a:pt x="0" y="0"/>
                  </a:moveTo>
                  <a:cubicBezTo>
                    <a:pt x="0" y="288"/>
                    <a:pt x="0" y="288"/>
                    <a:pt x="0" y="288"/>
                  </a:cubicBezTo>
                  <a:cubicBezTo>
                    <a:pt x="144" y="290"/>
                    <a:pt x="260" y="406"/>
                    <a:pt x="262" y="550"/>
                  </a:cubicBezTo>
                  <a:cubicBezTo>
                    <a:pt x="550" y="550"/>
                    <a:pt x="550" y="550"/>
                    <a:pt x="550" y="550"/>
                  </a:cubicBezTo>
                  <a:cubicBezTo>
                    <a:pt x="547" y="248"/>
                    <a:pt x="302" y="3"/>
                    <a:pt x="0" y="0"/>
                  </a:cubicBezTo>
                </a:path>
              </a:pathLst>
            </a:custGeom>
            <a:solidFill>
              <a:srgbClr val="FD742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44196"/>
              <a:endParaRPr lang="en-US" sz="2157">
                <a:solidFill>
                  <a:prstClr val="black"/>
                </a:solidFill>
              </a:endParaRPr>
            </a:p>
          </p:txBody>
        </p:sp>
        <p:sp>
          <p:nvSpPr>
            <p:cNvPr id="16" name="Freeform 7"/>
            <p:cNvSpPr>
              <a:spLocks/>
            </p:cNvSpPr>
            <p:nvPr/>
          </p:nvSpPr>
          <p:spPr bwMode="auto">
            <a:xfrm>
              <a:off x="11402094" y="6404895"/>
              <a:ext cx="338136" cy="338138"/>
            </a:xfrm>
            <a:custGeom>
              <a:avLst/>
              <a:gdLst>
                <a:gd name="T0" fmla="*/ 287 w 550"/>
                <a:gd name="T1" fmla="*/ 0 h 550"/>
                <a:gd name="T2" fmla="*/ 0 w 550"/>
                <a:gd name="T3" fmla="*/ 0 h 550"/>
                <a:gd name="T4" fmla="*/ 550 w 550"/>
                <a:gd name="T5" fmla="*/ 550 h 550"/>
                <a:gd name="T6" fmla="*/ 550 w 550"/>
                <a:gd name="T7" fmla="*/ 263 h 550"/>
                <a:gd name="T8" fmla="*/ 287 w 550"/>
                <a:gd name="T9" fmla="*/ 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0" h="550">
                  <a:moveTo>
                    <a:pt x="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303"/>
                    <a:pt x="247" y="548"/>
                    <a:pt x="550" y="550"/>
                  </a:cubicBezTo>
                  <a:cubicBezTo>
                    <a:pt x="550" y="263"/>
                    <a:pt x="550" y="263"/>
                    <a:pt x="550" y="263"/>
                  </a:cubicBezTo>
                  <a:cubicBezTo>
                    <a:pt x="406" y="260"/>
                    <a:pt x="290" y="144"/>
                    <a:pt x="287" y="0"/>
                  </a:cubicBezTo>
                </a:path>
              </a:pathLst>
            </a:custGeom>
            <a:solidFill>
              <a:srgbClr val="D4D6D7">
                <a:alpha val="5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44196"/>
              <a:endParaRPr lang="en-US" sz="2157">
                <a:solidFill>
                  <a:prstClr val="black"/>
                </a:solidFill>
              </a:endParaRPr>
            </a:p>
          </p:txBody>
        </p:sp>
        <p:sp>
          <p:nvSpPr>
            <p:cNvPr id="17" name="Freeform 8"/>
            <p:cNvSpPr>
              <a:spLocks/>
            </p:cNvSpPr>
            <p:nvPr/>
          </p:nvSpPr>
          <p:spPr bwMode="auto">
            <a:xfrm>
              <a:off x="11762708" y="6404895"/>
              <a:ext cx="338136" cy="338138"/>
            </a:xfrm>
            <a:custGeom>
              <a:avLst/>
              <a:gdLst>
                <a:gd name="T0" fmla="*/ 550 w 550"/>
                <a:gd name="T1" fmla="*/ 0 h 550"/>
                <a:gd name="T2" fmla="*/ 262 w 550"/>
                <a:gd name="T3" fmla="*/ 0 h 550"/>
                <a:gd name="T4" fmla="*/ 0 w 550"/>
                <a:gd name="T5" fmla="*/ 263 h 550"/>
                <a:gd name="T6" fmla="*/ 0 w 550"/>
                <a:gd name="T7" fmla="*/ 550 h 550"/>
                <a:gd name="T8" fmla="*/ 550 w 550"/>
                <a:gd name="T9" fmla="*/ 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0" h="550">
                  <a:moveTo>
                    <a:pt x="550" y="0"/>
                  </a:moveTo>
                  <a:cubicBezTo>
                    <a:pt x="262" y="0"/>
                    <a:pt x="262" y="0"/>
                    <a:pt x="262" y="0"/>
                  </a:cubicBezTo>
                  <a:cubicBezTo>
                    <a:pt x="260" y="144"/>
                    <a:pt x="144" y="260"/>
                    <a:pt x="0" y="263"/>
                  </a:cubicBezTo>
                  <a:cubicBezTo>
                    <a:pt x="0" y="550"/>
                    <a:pt x="0" y="550"/>
                    <a:pt x="0" y="550"/>
                  </a:cubicBezTo>
                  <a:cubicBezTo>
                    <a:pt x="302" y="548"/>
                    <a:pt x="547" y="303"/>
                    <a:pt x="550" y="0"/>
                  </a:cubicBezTo>
                </a:path>
              </a:pathLst>
            </a:custGeom>
            <a:solidFill>
              <a:srgbClr val="D4D6D7">
                <a:alpha val="5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44196"/>
              <a:endParaRPr lang="en-US" sz="2157">
                <a:solidFill>
                  <a:prstClr val="black"/>
                </a:solidFill>
              </a:endParaRPr>
            </a:p>
          </p:txBody>
        </p:sp>
      </p:grpSp>
      <p:sp>
        <p:nvSpPr>
          <p:cNvPr id="18" name="TextBox 17"/>
          <p:cNvSpPr txBox="1"/>
          <p:nvPr userDrawn="1"/>
        </p:nvSpPr>
        <p:spPr>
          <a:xfrm>
            <a:off x="740634" y="6238651"/>
            <a:ext cx="826556" cy="353070"/>
          </a:xfrm>
          <a:prstGeom prst="rect">
            <a:avLst/>
          </a:prstGeom>
          <a:noFill/>
        </p:spPr>
        <p:txBody>
          <a:bodyPr wrap="square" bIns="0" rtlCol="0">
            <a:spAutoFit/>
          </a:bodyPr>
          <a:lstStyle/>
          <a:p>
            <a:pPr defTabSz="544196">
              <a:lnSpc>
                <a:spcPct val="85000"/>
              </a:lnSpc>
            </a:pPr>
            <a:r>
              <a:rPr lang="en-US" sz="1176" spc="-49" dirty="0" smtClean="0">
                <a:solidFill>
                  <a:srgbClr val="FD7425"/>
                </a:solidFill>
                <a:latin typeface="Segoe UI Bold"/>
                <a:cs typeface="Segoe UI Bold"/>
              </a:rPr>
              <a:t>Grow efficiently</a:t>
            </a:r>
            <a:endParaRPr lang="en-US" sz="1176" spc="-49" dirty="0">
              <a:solidFill>
                <a:srgbClr val="FD7425"/>
              </a:solidFill>
              <a:latin typeface="Segoe UI Bold"/>
              <a:cs typeface="Segoe UI Bold"/>
            </a:endParaRPr>
          </a:p>
        </p:txBody>
      </p:sp>
    </p:spTree>
    <p:extLst>
      <p:ext uri="{BB962C8B-B14F-4D97-AF65-F5344CB8AC3E}">
        <p14:creationId xmlns:p14="http://schemas.microsoft.com/office/powerpoint/2010/main" val="18188390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with Graphics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 rot="5400000">
            <a:off x="-1397260" y="1397263"/>
            <a:ext cx="6858000" cy="4063483"/>
          </a:xfrm>
          <a:prstGeom prst="rect">
            <a:avLst/>
          </a:prstGeom>
          <a:solidFill>
            <a:srgbClr val="AB008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544196"/>
            <a:endParaRPr lang="en-US" sz="2157" dirty="0">
              <a:solidFill>
                <a:srgbClr val="FD7425"/>
              </a:solidFill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30697" y="3111472"/>
            <a:ext cx="3271952" cy="911041"/>
          </a:xfrm>
          <a:noFill/>
        </p:spPr>
        <p:txBody>
          <a:bodyPr lIns="0" tIns="0" rIns="0">
            <a:noAutofit/>
          </a:bodyPr>
          <a:lstStyle>
            <a:lvl1pPr marL="0" indent="0">
              <a:spcBef>
                <a:spcPts val="0"/>
              </a:spcBef>
              <a:spcAft>
                <a:spcPts val="1176"/>
              </a:spcAft>
              <a:buNone/>
              <a:defRPr sz="2157" b="0">
                <a:solidFill>
                  <a:srgbClr val="FEA83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0" indent="0">
              <a:spcBef>
                <a:spcPts val="588"/>
              </a:spcBef>
              <a:buNone/>
              <a:defRPr sz="1765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1088393" indent="0">
              <a:buNone/>
              <a:defRPr/>
            </a:lvl3pPr>
            <a:lvl4pPr marL="1632589" indent="0">
              <a:buNone/>
              <a:defRPr/>
            </a:lvl4pPr>
            <a:lvl5pPr marL="2176785" indent="0">
              <a:buNone/>
              <a:defRPr/>
            </a:lvl5pPr>
          </a:lstStyle>
          <a:p>
            <a:pPr lvl="0"/>
            <a:r>
              <a:rPr lang="en-US" dirty="0" smtClean="0"/>
              <a:t>Heading</a:t>
            </a:r>
          </a:p>
          <a:p>
            <a:pPr lvl="1"/>
            <a:r>
              <a:rPr lang="en-US" dirty="0" smtClean="0"/>
              <a:t>Text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530697" y="574892"/>
            <a:ext cx="3271951" cy="1466598"/>
          </a:xfrm>
          <a:noFill/>
        </p:spPr>
        <p:txBody>
          <a:bodyPr wrap="square" lIns="0" tIns="0" rIns="0" bIns="0" rtlCol="0" anchor="t">
            <a:noAutofit/>
          </a:bodyPr>
          <a:lstStyle>
            <a:lvl1pPr algn="l">
              <a:defRPr lang="en-US" sz="3921" spc="0" dirty="0">
                <a:solidFill>
                  <a:schemeClr val="bg1"/>
                </a:solidFill>
                <a:latin typeface="Segoe UI Semibold"/>
                <a:ea typeface="+mn-ea"/>
                <a:cs typeface="Segoe UI Semibold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grpSp>
        <p:nvGrpSpPr>
          <p:cNvPr id="9" name="Group 8"/>
          <p:cNvGrpSpPr/>
          <p:nvPr userDrawn="1"/>
        </p:nvGrpSpPr>
        <p:grpSpPr>
          <a:xfrm rot="5400000">
            <a:off x="11475567" y="6187309"/>
            <a:ext cx="470565" cy="471568"/>
            <a:chOff x="11402094" y="6042694"/>
            <a:chExt cx="698750" cy="700339"/>
          </a:xfrm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11402094" y="6042694"/>
              <a:ext cx="338136" cy="338138"/>
            </a:xfrm>
            <a:custGeom>
              <a:avLst/>
              <a:gdLst>
                <a:gd name="T0" fmla="*/ 550 w 550"/>
                <a:gd name="T1" fmla="*/ 0 h 550"/>
                <a:gd name="T2" fmla="*/ 0 w 550"/>
                <a:gd name="T3" fmla="*/ 550 h 550"/>
                <a:gd name="T4" fmla="*/ 287 w 550"/>
                <a:gd name="T5" fmla="*/ 550 h 550"/>
                <a:gd name="T6" fmla="*/ 550 w 550"/>
                <a:gd name="T7" fmla="*/ 288 h 550"/>
                <a:gd name="T8" fmla="*/ 550 w 550"/>
                <a:gd name="T9" fmla="*/ 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0" h="550">
                  <a:moveTo>
                    <a:pt x="550" y="0"/>
                  </a:moveTo>
                  <a:cubicBezTo>
                    <a:pt x="247" y="3"/>
                    <a:pt x="2" y="248"/>
                    <a:pt x="0" y="550"/>
                  </a:cubicBezTo>
                  <a:cubicBezTo>
                    <a:pt x="287" y="550"/>
                    <a:pt x="287" y="550"/>
                    <a:pt x="287" y="550"/>
                  </a:cubicBezTo>
                  <a:cubicBezTo>
                    <a:pt x="290" y="406"/>
                    <a:pt x="406" y="290"/>
                    <a:pt x="550" y="288"/>
                  </a:cubicBezTo>
                  <a:cubicBezTo>
                    <a:pt x="550" y="0"/>
                    <a:pt x="550" y="0"/>
                    <a:pt x="550" y="0"/>
                  </a:cubicBezTo>
                </a:path>
              </a:pathLst>
            </a:custGeom>
            <a:solidFill>
              <a:srgbClr val="D4D6D7">
                <a:alpha val="5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44196"/>
              <a:endParaRPr lang="en-US" sz="2157"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11762708" y="6042694"/>
              <a:ext cx="338136" cy="338138"/>
            </a:xfrm>
            <a:custGeom>
              <a:avLst/>
              <a:gdLst>
                <a:gd name="T0" fmla="*/ 0 w 550"/>
                <a:gd name="T1" fmla="*/ 0 h 550"/>
                <a:gd name="T2" fmla="*/ 0 w 550"/>
                <a:gd name="T3" fmla="*/ 288 h 550"/>
                <a:gd name="T4" fmla="*/ 262 w 550"/>
                <a:gd name="T5" fmla="*/ 550 h 550"/>
                <a:gd name="T6" fmla="*/ 550 w 550"/>
                <a:gd name="T7" fmla="*/ 550 h 550"/>
                <a:gd name="T8" fmla="*/ 0 w 550"/>
                <a:gd name="T9" fmla="*/ 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0" h="550">
                  <a:moveTo>
                    <a:pt x="0" y="0"/>
                  </a:moveTo>
                  <a:cubicBezTo>
                    <a:pt x="0" y="288"/>
                    <a:pt x="0" y="288"/>
                    <a:pt x="0" y="288"/>
                  </a:cubicBezTo>
                  <a:cubicBezTo>
                    <a:pt x="144" y="290"/>
                    <a:pt x="260" y="406"/>
                    <a:pt x="262" y="550"/>
                  </a:cubicBezTo>
                  <a:cubicBezTo>
                    <a:pt x="550" y="550"/>
                    <a:pt x="550" y="550"/>
                    <a:pt x="550" y="550"/>
                  </a:cubicBezTo>
                  <a:cubicBezTo>
                    <a:pt x="547" y="248"/>
                    <a:pt x="302" y="3"/>
                    <a:pt x="0" y="0"/>
                  </a:cubicBezTo>
                </a:path>
              </a:pathLst>
            </a:custGeom>
            <a:solidFill>
              <a:srgbClr val="AB008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44196"/>
              <a:endParaRPr lang="en-US" sz="2157">
                <a:solidFill>
                  <a:prstClr val="black"/>
                </a:solidFill>
              </a:endParaRPr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11402094" y="6404895"/>
              <a:ext cx="338136" cy="338138"/>
            </a:xfrm>
            <a:custGeom>
              <a:avLst/>
              <a:gdLst>
                <a:gd name="T0" fmla="*/ 287 w 550"/>
                <a:gd name="T1" fmla="*/ 0 h 550"/>
                <a:gd name="T2" fmla="*/ 0 w 550"/>
                <a:gd name="T3" fmla="*/ 0 h 550"/>
                <a:gd name="T4" fmla="*/ 550 w 550"/>
                <a:gd name="T5" fmla="*/ 550 h 550"/>
                <a:gd name="T6" fmla="*/ 550 w 550"/>
                <a:gd name="T7" fmla="*/ 263 h 550"/>
                <a:gd name="T8" fmla="*/ 287 w 550"/>
                <a:gd name="T9" fmla="*/ 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0" h="550">
                  <a:moveTo>
                    <a:pt x="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303"/>
                    <a:pt x="247" y="548"/>
                    <a:pt x="550" y="550"/>
                  </a:cubicBezTo>
                  <a:cubicBezTo>
                    <a:pt x="550" y="263"/>
                    <a:pt x="550" y="263"/>
                    <a:pt x="550" y="263"/>
                  </a:cubicBezTo>
                  <a:cubicBezTo>
                    <a:pt x="406" y="260"/>
                    <a:pt x="290" y="144"/>
                    <a:pt x="287" y="0"/>
                  </a:cubicBezTo>
                </a:path>
              </a:pathLst>
            </a:custGeom>
            <a:solidFill>
              <a:srgbClr val="D4D6D7">
                <a:alpha val="5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44196"/>
              <a:endParaRPr lang="en-US" sz="2157">
                <a:solidFill>
                  <a:prstClr val="black"/>
                </a:solidFill>
              </a:endParaRPr>
            </a:p>
          </p:txBody>
        </p:sp>
        <p:sp>
          <p:nvSpPr>
            <p:cNvPr id="17" name="Freeform 8"/>
            <p:cNvSpPr>
              <a:spLocks/>
            </p:cNvSpPr>
            <p:nvPr/>
          </p:nvSpPr>
          <p:spPr bwMode="auto">
            <a:xfrm>
              <a:off x="11762708" y="6404895"/>
              <a:ext cx="338136" cy="338138"/>
            </a:xfrm>
            <a:custGeom>
              <a:avLst/>
              <a:gdLst>
                <a:gd name="T0" fmla="*/ 550 w 550"/>
                <a:gd name="T1" fmla="*/ 0 h 550"/>
                <a:gd name="T2" fmla="*/ 262 w 550"/>
                <a:gd name="T3" fmla="*/ 0 h 550"/>
                <a:gd name="T4" fmla="*/ 0 w 550"/>
                <a:gd name="T5" fmla="*/ 263 h 550"/>
                <a:gd name="T6" fmla="*/ 0 w 550"/>
                <a:gd name="T7" fmla="*/ 550 h 550"/>
                <a:gd name="T8" fmla="*/ 550 w 550"/>
                <a:gd name="T9" fmla="*/ 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0" h="550">
                  <a:moveTo>
                    <a:pt x="550" y="0"/>
                  </a:moveTo>
                  <a:cubicBezTo>
                    <a:pt x="262" y="0"/>
                    <a:pt x="262" y="0"/>
                    <a:pt x="262" y="0"/>
                  </a:cubicBezTo>
                  <a:cubicBezTo>
                    <a:pt x="260" y="144"/>
                    <a:pt x="144" y="260"/>
                    <a:pt x="0" y="263"/>
                  </a:cubicBezTo>
                  <a:cubicBezTo>
                    <a:pt x="0" y="550"/>
                    <a:pt x="0" y="550"/>
                    <a:pt x="0" y="550"/>
                  </a:cubicBezTo>
                  <a:cubicBezTo>
                    <a:pt x="302" y="548"/>
                    <a:pt x="547" y="303"/>
                    <a:pt x="550" y="0"/>
                  </a:cubicBezTo>
                </a:path>
              </a:pathLst>
            </a:custGeom>
            <a:solidFill>
              <a:srgbClr val="D4D6D7">
                <a:alpha val="5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44196"/>
              <a:endParaRPr lang="en-US" sz="2157">
                <a:solidFill>
                  <a:prstClr val="black"/>
                </a:solidFill>
              </a:endParaRPr>
            </a:p>
          </p:txBody>
        </p:sp>
      </p:grpSp>
      <p:sp>
        <p:nvSpPr>
          <p:cNvPr id="18" name="TextBox 17"/>
          <p:cNvSpPr txBox="1"/>
          <p:nvPr userDrawn="1"/>
        </p:nvSpPr>
        <p:spPr>
          <a:xfrm>
            <a:off x="10653610" y="6228584"/>
            <a:ext cx="1057239" cy="353070"/>
          </a:xfrm>
          <a:prstGeom prst="rect">
            <a:avLst/>
          </a:prstGeom>
          <a:noFill/>
        </p:spPr>
        <p:txBody>
          <a:bodyPr wrap="square" bIns="0" rtlCol="0">
            <a:spAutoFit/>
          </a:bodyPr>
          <a:lstStyle/>
          <a:p>
            <a:pPr defTabSz="544196">
              <a:lnSpc>
                <a:spcPct val="85000"/>
              </a:lnSpc>
            </a:pPr>
            <a:r>
              <a:rPr lang="en-US" sz="1176" spc="-49" dirty="0" smtClean="0">
                <a:solidFill>
                  <a:srgbClr val="AB0086"/>
                </a:solidFill>
                <a:latin typeface="Segoe UI Bold"/>
                <a:cs typeface="Segoe UI Bold"/>
              </a:rPr>
              <a:t>Business anywhere</a:t>
            </a:r>
            <a:endParaRPr lang="en-US" sz="1176" spc="-49" dirty="0">
              <a:solidFill>
                <a:srgbClr val="AB0086"/>
              </a:solidFill>
              <a:latin typeface="Segoe UI Bold"/>
              <a:cs typeface="Segoe UI Bold"/>
            </a:endParaRPr>
          </a:p>
        </p:txBody>
      </p:sp>
    </p:spTree>
    <p:extLst>
      <p:ext uri="{BB962C8B-B14F-4D97-AF65-F5344CB8AC3E}">
        <p14:creationId xmlns:p14="http://schemas.microsoft.com/office/powerpoint/2010/main" val="217042482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ox with Graphics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 rot="5400000">
            <a:off x="6714696" y="1380698"/>
            <a:ext cx="6858000" cy="4096610"/>
          </a:xfrm>
          <a:prstGeom prst="rect">
            <a:avLst/>
          </a:prstGeom>
          <a:solidFill>
            <a:srgbClr val="AB008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544196"/>
            <a:endParaRPr lang="en-US" sz="2157" dirty="0">
              <a:solidFill>
                <a:srgbClr val="FD7425"/>
              </a:solidFill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8659216" y="3111472"/>
            <a:ext cx="3271952" cy="911041"/>
          </a:xfrm>
          <a:noFill/>
        </p:spPr>
        <p:txBody>
          <a:bodyPr lIns="0" tIns="0" rIns="0">
            <a:noAutofit/>
          </a:bodyPr>
          <a:lstStyle>
            <a:lvl1pPr marL="0" indent="0">
              <a:spcBef>
                <a:spcPts val="0"/>
              </a:spcBef>
              <a:spcAft>
                <a:spcPts val="1176"/>
              </a:spcAft>
              <a:buNone/>
              <a:defRPr sz="2157" b="0">
                <a:solidFill>
                  <a:srgbClr val="FEA83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0" indent="0">
              <a:spcBef>
                <a:spcPts val="588"/>
              </a:spcBef>
              <a:buNone/>
              <a:defRPr sz="1765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1088393" indent="0">
              <a:buNone/>
              <a:defRPr/>
            </a:lvl3pPr>
            <a:lvl4pPr marL="1632589" indent="0">
              <a:buNone/>
              <a:defRPr/>
            </a:lvl4pPr>
            <a:lvl5pPr marL="2176785" indent="0">
              <a:buNone/>
              <a:defRPr/>
            </a:lvl5pPr>
          </a:lstStyle>
          <a:p>
            <a:pPr lvl="0"/>
            <a:r>
              <a:rPr lang="en-US" dirty="0" smtClean="0"/>
              <a:t>Heading</a:t>
            </a:r>
          </a:p>
          <a:p>
            <a:pPr lvl="1"/>
            <a:r>
              <a:rPr lang="en-US" dirty="0" smtClean="0"/>
              <a:t>Text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8659216" y="574892"/>
            <a:ext cx="3271951" cy="1466598"/>
          </a:xfrm>
          <a:noFill/>
        </p:spPr>
        <p:txBody>
          <a:bodyPr wrap="square" lIns="0" tIns="0" rIns="0" bIns="0" rtlCol="0" anchor="t">
            <a:noAutofit/>
          </a:bodyPr>
          <a:lstStyle>
            <a:lvl1pPr algn="l">
              <a:defRPr lang="en-US" sz="3921" spc="0" dirty="0">
                <a:solidFill>
                  <a:schemeClr val="bg1"/>
                </a:solidFill>
                <a:latin typeface="Segoe UI Semibold"/>
                <a:ea typeface="+mn-ea"/>
                <a:cs typeface="Segoe UI Semibold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grpSp>
        <p:nvGrpSpPr>
          <p:cNvPr id="13" name="Group 12"/>
          <p:cNvGrpSpPr/>
          <p:nvPr userDrawn="1"/>
        </p:nvGrpSpPr>
        <p:grpSpPr>
          <a:xfrm rot="5400000">
            <a:off x="254491" y="6187306"/>
            <a:ext cx="470565" cy="471568"/>
            <a:chOff x="11402094" y="6042694"/>
            <a:chExt cx="698750" cy="700339"/>
          </a:xfrm>
        </p:grpSpPr>
        <p:sp>
          <p:nvSpPr>
            <p:cNvPr id="14" name="Freeform 5"/>
            <p:cNvSpPr>
              <a:spLocks/>
            </p:cNvSpPr>
            <p:nvPr/>
          </p:nvSpPr>
          <p:spPr bwMode="auto">
            <a:xfrm>
              <a:off x="11402094" y="6042694"/>
              <a:ext cx="338136" cy="338138"/>
            </a:xfrm>
            <a:custGeom>
              <a:avLst/>
              <a:gdLst>
                <a:gd name="T0" fmla="*/ 550 w 550"/>
                <a:gd name="T1" fmla="*/ 0 h 550"/>
                <a:gd name="T2" fmla="*/ 0 w 550"/>
                <a:gd name="T3" fmla="*/ 550 h 550"/>
                <a:gd name="T4" fmla="*/ 287 w 550"/>
                <a:gd name="T5" fmla="*/ 550 h 550"/>
                <a:gd name="T6" fmla="*/ 550 w 550"/>
                <a:gd name="T7" fmla="*/ 288 h 550"/>
                <a:gd name="T8" fmla="*/ 550 w 550"/>
                <a:gd name="T9" fmla="*/ 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0" h="550">
                  <a:moveTo>
                    <a:pt x="550" y="0"/>
                  </a:moveTo>
                  <a:cubicBezTo>
                    <a:pt x="247" y="3"/>
                    <a:pt x="2" y="248"/>
                    <a:pt x="0" y="550"/>
                  </a:cubicBezTo>
                  <a:cubicBezTo>
                    <a:pt x="287" y="550"/>
                    <a:pt x="287" y="550"/>
                    <a:pt x="287" y="550"/>
                  </a:cubicBezTo>
                  <a:cubicBezTo>
                    <a:pt x="290" y="406"/>
                    <a:pt x="406" y="290"/>
                    <a:pt x="550" y="288"/>
                  </a:cubicBezTo>
                  <a:cubicBezTo>
                    <a:pt x="550" y="0"/>
                    <a:pt x="550" y="0"/>
                    <a:pt x="550" y="0"/>
                  </a:cubicBezTo>
                </a:path>
              </a:pathLst>
            </a:custGeom>
            <a:solidFill>
              <a:srgbClr val="D4D6D7">
                <a:alpha val="5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44196"/>
              <a:endParaRPr lang="en-US" sz="2157">
                <a:solidFill>
                  <a:prstClr val="black"/>
                </a:solidFill>
              </a:endParaRPr>
            </a:p>
          </p:txBody>
        </p:sp>
        <p:sp>
          <p:nvSpPr>
            <p:cNvPr id="15" name="Freeform 6"/>
            <p:cNvSpPr>
              <a:spLocks/>
            </p:cNvSpPr>
            <p:nvPr/>
          </p:nvSpPr>
          <p:spPr bwMode="auto">
            <a:xfrm>
              <a:off x="11762708" y="6042694"/>
              <a:ext cx="338136" cy="338138"/>
            </a:xfrm>
            <a:custGeom>
              <a:avLst/>
              <a:gdLst>
                <a:gd name="T0" fmla="*/ 0 w 550"/>
                <a:gd name="T1" fmla="*/ 0 h 550"/>
                <a:gd name="T2" fmla="*/ 0 w 550"/>
                <a:gd name="T3" fmla="*/ 288 h 550"/>
                <a:gd name="T4" fmla="*/ 262 w 550"/>
                <a:gd name="T5" fmla="*/ 550 h 550"/>
                <a:gd name="T6" fmla="*/ 550 w 550"/>
                <a:gd name="T7" fmla="*/ 550 h 550"/>
                <a:gd name="T8" fmla="*/ 0 w 550"/>
                <a:gd name="T9" fmla="*/ 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0" h="550">
                  <a:moveTo>
                    <a:pt x="0" y="0"/>
                  </a:moveTo>
                  <a:cubicBezTo>
                    <a:pt x="0" y="288"/>
                    <a:pt x="0" y="288"/>
                    <a:pt x="0" y="288"/>
                  </a:cubicBezTo>
                  <a:cubicBezTo>
                    <a:pt x="144" y="290"/>
                    <a:pt x="260" y="406"/>
                    <a:pt x="262" y="550"/>
                  </a:cubicBezTo>
                  <a:cubicBezTo>
                    <a:pt x="550" y="550"/>
                    <a:pt x="550" y="550"/>
                    <a:pt x="550" y="550"/>
                  </a:cubicBezTo>
                  <a:cubicBezTo>
                    <a:pt x="547" y="248"/>
                    <a:pt x="302" y="3"/>
                    <a:pt x="0" y="0"/>
                  </a:cubicBezTo>
                </a:path>
              </a:pathLst>
            </a:custGeom>
            <a:solidFill>
              <a:srgbClr val="AB008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44196"/>
              <a:endParaRPr lang="en-US" sz="2157">
                <a:solidFill>
                  <a:prstClr val="black"/>
                </a:solidFill>
              </a:endParaRPr>
            </a:p>
          </p:txBody>
        </p:sp>
        <p:sp>
          <p:nvSpPr>
            <p:cNvPr id="16" name="Freeform 7"/>
            <p:cNvSpPr>
              <a:spLocks/>
            </p:cNvSpPr>
            <p:nvPr/>
          </p:nvSpPr>
          <p:spPr bwMode="auto">
            <a:xfrm>
              <a:off x="11402094" y="6404895"/>
              <a:ext cx="338136" cy="338138"/>
            </a:xfrm>
            <a:custGeom>
              <a:avLst/>
              <a:gdLst>
                <a:gd name="T0" fmla="*/ 287 w 550"/>
                <a:gd name="T1" fmla="*/ 0 h 550"/>
                <a:gd name="T2" fmla="*/ 0 w 550"/>
                <a:gd name="T3" fmla="*/ 0 h 550"/>
                <a:gd name="T4" fmla="*/ 550 w 550"/>
                <a:gd name="T5" fmla="*/ 550 h 550"/>
                <a:gd name="T6" fmla="*/ 550 w 550"/>
                <a:gd name="T7" fmla="*/ 263 h 550"/>
                <a:gd name="T8" fmla="*/ 287 w 550"/>
                <a:gd name="T9" fmla="*/ 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0" h="550">
                  <a:moveTo>
                    <a:pt x="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303"/>
                    <a:pt x="247" y="548"/>
                    <a:pt x="550" y="550"/>
                  </a:cubicBezTo>
                  <a:cubicBezTo>
                    <a:pt x="550" y="263"/>
                    <a:pt x="550" y="263"/>
                    <a:pt x="550" y="263"/>
                  </a:cubicBezTo>
                  <a:cubicBezTo>
                    <a:pt x="406" y="260"/>
                    <a:pt x="290" y="144"/>
                    <a:pt x="287" y="0"/>
                  </a:cubicBezTo>
                </a:path>
              </a:pathLst>
            </a:custGeom>
            <a:solidFill>
              <a:srgbClr val="D4D6D7">
                <a:alpha val="5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44196"/>
              <a:endParaRPr lang="en-US" sz="2157">
                <a:solidFill>
                  <a:prstClr val="black"/>
                </a:solidFill>
              </a:endParaRPr>
            </a:p>
          </p:txBody>
        </p:sp>
        <p:sp>
          <p:nvSpPr>
            <p:cNvPr id="17" name="Freeform 8"/>
            <p:cNvSpPr>
              <a:spLocks/>
            </p:cNvSpPr>
            <p:nvPr/>
          </p:nvSpPr>
          <p:spPr bwMode="auto">
            <a:xfrm>
              <a:off x="11762708" y="6404895"/>
              <a:ext cx="338136" cy="338138"/>
            </a:xfrm>
            <a:custGeom>
              <a:avLst/>
              <a:gdLst>
                <a:gd name="T0" fmla="*/ 550 w 550"/>
                <a:gd name="T1" fmla="*/ 0 h 550"/>
                <a:gd name="T2" fmla="*/ 262 w 550"/>
                <a:gd name="T3" fmla="*/ 0 h 550"/>
                <a:gd name="T4" fmla="*/ 0 w 550"/>
                <a:gd name="T5" fmla="*/ 263 h 550"/>
                <a:gd name="T6" fmla="*/ 0 w 550"/>
                <a:gd name="T7" fmla="*/ 550 h 550"/>
                <a:gd name="T8" fmla="*/ 550 w 550"/>
                <a:gd name="T9" fmla="*/ 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0" h="550">
                  <a:moveTo>
                    <a:pt x="550" y="0"/>
                  </a:moveTo>
                  <a:cubicBezTo>
                    <a:pt x="262" y="0"/>
                    <a:pt x="262" y="0"/>
                    <a:pt x="262" y="0"/>
                  </a:cubicBezTo>
                  <a:cubicBezTo>
                    <a:pt x="260" y="144"/>
                    <a:pt x="144" y="260"/>
                    <a:pt x="0" y="263"/>
                  </a:cubicBezTo>
                  <a:cubicBezTo>
                    <a:pt x="0" y="550"/>
                    <a:pt x="0" y="550"/>
                    <a:pt x="0" y="550"/>
                  </a:cubicBezTo>
                  <a:cubicBezTo>
                    <a:pt x="302" y="548"/>
                    <a:pt x="547" y="303"/>
                    <a:pt x="550" y="0"/>
                  </a:cubicBezTo>
                </a:path>
              </a:pathLst>
            </a:custGeom>
            <a:solidFill>
              <a:srgbClr val="D4D6D7">
                <a:alpha val="5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44196"/>
              <a:endParaRPr lang="en-US" sz="2157">
                <a:solidFill>
                  <a:prstClr val="black"/>
                </a:solidFill>
              </a:endParaRPr>
            </a:p>
          </p:txBody>
        </p:sp>
      </p:grpSp>
      <p:sp>
        <p:nvSpPr>
          <p:cNvPr id="18" name="TextBox 17"/>
          <p:cNvSpPr txBox="1"/>
          <p:nvPr userDrawn="1"/>
        </p:nvSpPr>
        <p:spPr>
          <a:xfrm>
            <a:off x="708898" y="6228582"/>
            <a:ext cx="1057239" cy="353070"/>
          </a:xfrm>
          <a:prstGeom prst="rect">
            <a:avLst/>
          </a:prstGeom>
          <a:noFill/>
        </p:spPr>
        <p:txBody>
          <a:bodyPr wrap="square" bIns="0" rtlCol="0">
            <a:spAutoFit/>
          </a:bodyPr>
          <a:lstStyle/>
          <a:p>
            <a:pPr defTabSz="544196">
              <a:lnSpc>
                <a:spcPct val="85000"/>
              </a:lnSpc>
            </a:pPr>
            <a:r>
              <a:rPr lang="en-US" sz="1176" spc="-49" dirty="0" smtClean="0">
                <a:solidFill>
                  <a:srgbClr val="AB0086"/>
                </a:solidFill>
                <a:latin typeface="Segoe UI Bold"/>
                <a:cs typeface="Segoe UI Bold"/>
              </a:rPr>
              <a:t>Business anywhere</a:t>
            </a:r>
            <a:endParaRPr lang="en-US" sz="1176" spc="-49" dirty="0">
              <a:solidFill>
                <a:srgbClr val="AB0086"/>
              </a:solidFill>
              <a:latin typeface="Segoe UI Bold"/>
              <a:cs typeface="Segoe UI Bold"/>
            </a:endParaRPr>
          </a:p>
        </p:txBody>
      </p:sp>
    </p:spTree>
    <p:extLst>
      <p:ext uri="{BB962C8B-B14F-4D97-AF65-F5344CB8AC3E}">
        <p14:creationId xmlns:p14="http://schemas.microsoft.com/office/powerpoint/2010/main" val="80441478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ox with Graphics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 rot="5400000">
            <a:off x="-1397260" y="1397263"/>
            <a:ext cx="6858000" cy="4063483"/>
          </a:xfrm>
          <a:prstGeom prst="rect">
            <a:avLst/>
          </a:prstGeom>
          <a:solidFill>
            <a:srgbClr val="4B004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544196"/>
            <a:endParaRPr lang="en-US" sz="2157" dirty="0">
              <a:solidFill>
                <a:srgbClr val="FD7425"/>
              </a:solidFill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30697" y="3111472"/>
            <a:ext cx="3271952" cy="911041"/>
          </a:xfrm>
          <a:noFill/>
        </p:spPr>
        <p:txBody>
          <a:bodyPr lIns="0" tIns="0" rIns="0">
            <a:noAutofit/>
          </a:bodyPr>
          <a:lstStyle>
            <a:lvl1pPr marL="0" indent="0">
              <a:spcBef>
                <a:spcPts val="0"/>
              </a:spcBef>
              <a:spcAft>
                <a:spcPts val="1176"/>
              </a:spcAft>
              <a:buNone/>
              <a:defRPr sz="2157" b="0">
                <a:solidFill>
                  <a:srgbClr val="FEA83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0" indent="0">
              <a:spcBef>
                <a:spcPts val="588"/>
              </a:spcBef>
              <a:buNone/>
              <a:defRPr sz="1765">
                <a:solidFill>
                  <a:schemeClr val="bg1">
                    <a:alpha val="99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1088393" indent="0">
              <a:buNone/>
              <a:defRPr/>
            </a:lvl3pPr>
            <a:lvl4pPr marL="1632589" indent="0">
              <a:buNone/>
              <a:defRPr/>
            </a:lvl4pPr>
            <a:lvl5pPr marL="2176785" indent="0">
              <a:buNone/>
              <a:defRPr/>
            </a:lvl5pPr>
          </a:lstStyle>
          <a:p>
            <a:pPr lvl="0"/>
            <a:r>
              <a:rPr lang="en-US" dirty="0" smtClean="0"/>
              <a:t>Heading</a:t>
            </a:r>
          </a:p>
          <a:p>
            <a:pPr lvl="1"/>
            <a:r>
              <a:rPr lang="en-US" dirty="0" smtClean="0"/>
              <a:t>Text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530697" y="574892"/>
            <a:ext cx="3271951" cy="1466598"/>
          </a:xfrm>
          <a:noFill/>
        </p:spPr>
        <p:txBody>
          <a:bodyPr wrap="square" lIns="0" tIns="0" rIns="0" bIns="0" rtlCol="0" anchor="t">
            <a:noAutofit/>
          </a:bodyPr>
          <a:lstStyle>
            <a:lvl1pPr algn="l">
              <a:defRPr lang="en-US" sz="3921" spc="0" dirty="0">
                <a:solidFill>
                  <a:schemeClr val="bg1"/>
                </a:solidFill>
                <a:latin typeface="Segoe UI Semibold"/>
                <a:ea typeface="+mn-ea"/>
                <a:cs typeface="Segoe UI Semibold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grpSp>
        <p:nvGrpSpPr>
          <p:cNvPr id="9" name="Group 8"/>
          <p:cNvGrpSpPr/>
          <p:nvPr userDrawn="1"/>
        </p:nvGrpSpPr>
        <p:grpSpPr>
          <a:xfrm rot="16200000">
            <a:off x="11477908" y="6187306"/>
            <a:ext cx="470565" cy="471568"/>
            <a:chOff x="11402094" y="6042694"/>
            <a:chExt cx="698750" cy="700339"/>
          </a:xfrm>
        </p:grpSpPr>
        <p:sp>
          <p:nvSpPr>
            <p:cNvPr id="14" name="Freeform 5"/>
            <p:cNvSpPr>
              <a:spLocks/>
            </p:cNvSpPr>
            <p:nvPr/>
          </p:nvSpPr>
          <p:spPr bwMode="auto">
            <a:xfrm>
              <a:off x="11402094" y="6042694"/>
              <a:ext cx="338136" cy="338138"/>
            </a:xfrm>
            <a:custGeom>
              <a:avLst/>
              <a:gdLst>
                <a:gd name="T0" fmla="*/ 550 w 550"/>
                <a:gd name="T1" fmla="*/ 0 h 550"/>
                <a:gd name="T2" fmla="*/ 0 w 550"/>
                <a:gd name="T3" fmla="*/ 550 h 550"/>
                <a:gd name="T4" fmla="*/ 287 w 550"/>
                <a:gd name="T5" fmla="*/ 550 h 550"/>
                <a:gd name="T6" fmla="*/ 550 w 550"/>
                <a:gd name="T7" fmla="*/ 288 h 550"/>
                <a:gd name="T8" fmla="*/ 550 w 550"/>
                <a:gd name="T9" fmla="*/ 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0" h="550">
                  <a:moveTo>
                    <a:pt x="550" y="0"/>
                  </a:moveTo>
                  <a:cubicBezTo>
                    <a:pt x="247" y="3"/>
                    <a:pt x="2" y="248"/>
                    <a:pt x="0" y="550"/>
                  </a:cubicBezTo>
                  <a:cubicBezTo>
                    <a:pt x="287" y="550"/>
                    <a:pt x="287" y="550"/>
                    <a:pt x="287" y="550"/>
                  </a:cubicBezTo>
                  <a:cubicBezTo>
                    <a:pt x="290" y="406"/>
                    <a:pt x="406" y="290"/>
                    <a:pt x="550" y="288"/>
                  </a:cubicBezTo>
                  <a:cubicBezTo>
                    <a:pt x="550" y="0"/>
                    <a:pt x="550" y="0"/>
                    <a:pt x="550" y="0"/>
                  </a:cubicBezTo>
                </a:path>
              </a:pathLst>
            </a:custGeom>
            <a:solidFill>
              <a:srgbClr val="D4D6D7">
                <a:alpha val="5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44196"/>
              <a:endParaRPr lang="en-US" sz="2157">
                <a:solidFill>
                  <a:prstClr val="black"/>
                </a:solidFill>
              </a:endParaRPr>
            </a:p>
          </p:txBody>
        </p:sp>
        <p:sp>
          <p:nvSpPr>
            <p:cNvPr id="15" name="Freeform 6"/>
            <p:cNvSpPr>
              <a:spLocks/>
            </p:cNvSpPr>
            <p:nvPr/>
          </p:nvSpPr>
          <p:spPr bwMode="auto">
            <a:xfrm>
              <a:off x="11762708" y="6042694"/>
              <a:ext cx="338136" cy="338138"/>
            </a:xfrm>
            <a:custGeom>
              <a:avLst/>
              <a:gdLst>
                <a:gd name="T0" fmla="*/ 0 w 550"/>
                <a:gd name="T1" fmla="*/ 0 h 550"/>
                <a:gd name="T2" fmla="*/ 0 w 550"/>
                <a:gd name="T3" fmla="*/ 288 h 550"/>
                <a:gd name="T4" fmla="*/ 262 w 550"/>
                <a:gd name="T5" fmla="*/ 550 h 550"/>
                <a:gd name="T6" fmla="*/ 550 w 550"/>
                <a:gd name="T7" fmla="*/ 550 h 550"/>
                <a:gd name="T8" fmla="*/ 0 w 550"/>
                <a:gd name="T9" fmla="*/ 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0" h="550">
                  <a:moveTo>
                    <a:pt x="0" y="0"/>
                  </a:moveTo>
                  <a:cubicBezTo>
                    <a:pt x="0" y="288"/>
                    <a:pt x="0" y="288"/>
                    <a:pt x="0" y="288"/>
                  </a:cubicBezTo>
                  <a:cubicBezTo>
                    <a:pt x="144" y="290"/>
                    <a:pt x="260" y="406"/>
                    <a:pt x="262" y="550"/>
                  </a:cubicBezTo>
                  <a:cubicBezTo>
                    <a:pt x="550" y="550"/>
                    <a:pt x="550" y="550"/>
                    <a:pt x="550" y="550"/>
                  </a:cubicBezTo>
                  <a:cubicBezTo>
                    <a:pt x="547" y="248"/>
                    <a:pt x="302" y="3"/>
                    <a:pt x="0" y="0"/>
                  </a:cubicBezTo>
                </a:path>
              </a:pathLst>
            </a:custGeom>
            <a:solidFill>
              <a:srgbClr val="4B004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44196"/>
              <a:endParaRPr lang="en-US" sz="2157">
                <a:solidFill>
                  <a:prstClr val="black"/>
                </a:solidFill>
              </a:endParaRPr>
            </a:p>
          </p:txBody>
        </p:sp>
        <p:sp>
          <p:nvSpPr>
            <p:cNvPr id="16" name="Freeform 7"/>
            <p:cNvSpPr>
              <a:spLocks/>
            </p:cNvSpPr>
            <p:nvPr/>
          </p:nvSpPr>
          <p:spPr bwMode="auto">
            <a:xfrm>
              <a:off x="11402094" y="6404895"/>
              <a:ext cx="338136" cy="338138"/>
            </a:xfrm>
            <a:custGeom>
              <a:avLst/>
              <a:gdLst>
                <a:gd name="T0" fmla="*/ 287 w 550"/>
                <a:gd name="T1" fmla="*/ 0 h 550"/>
                <a:gd name="T2" fmla="*/ 0 w 550"/>
                <a:gd name="T3" fmla="*/ 0 h 550"/>
                <a:gd name="T4" fmla="*/ 550 w 550"/>
                <a:gd name="T5" fmla="*/ 550 h 550"/>
                <a:gd name="T6" fmla="*/ 550 w 550"/>
                <a:gd name="T7" fmla="*/ 263 h 550"/>
                <a:gd name="T8" fmla="*/ 287 w 550"/>
                <a:gd name="T9" fmla="*/ 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0" h="550">
                  <a:moveTo>
                    <a:pt x="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303"/>
                    <a:pt x="247" y="548"/>
                    <a:pt x="550" y="550"/>
                  </a:cubicBezTo>
                  <a:cubicBezTo>
                    <a:pt x="550" y="263"/>
                    <a:pt x="550" y="263"/>
                    <a:pt x="550" y="263"/>
                  </a:cubicBezTo>
                  <a:cubicBezTo>
                    <a:pt x="406" y="260"/>
                    <a:pt x="290" y="144"/>
                    <a:pt x="287" y="0"/>
                  </a:cubicBezTo>
                </a:path>
              </a:pathLst>
            </a:custGeom>
            <a:solidFill>
              <a:srgbClr val="D4D6D7">
                <a:alpha val="5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44196"/>
              <a:endParaRPr lang="en-US" sz="2157">
                <a:solidFill>
                  <a:prstClr val="black"/>
                </a:solidFill>
              </a:endParaRPr>
            </a:p>
          </p:txBody>
        </p:sp>
        <p:sp>
          <p:nvSpPr>
            <p:cNvPr id="17" name="Freeform 8"/>
            <p:cNvSpPr>
              <a:spLocks/>
            </p:cNvSpPr>
            <p:nvPr/>
          </p:nvSpPr>
          <p:spPr bwMode="auto">
            <a:xfrm>
              <a:off x="11762708" y="6404895"/>
              <a:ext cx="338136" cy="338138"/>
            </a:xfrm>
            <a:custGeom>
              <a:avLst/>
              <a:gdLst>
                <a:gd name="T0" fmla="*/ 550 w 550"/>
                <a:gd name="T1" fmla="*/ 0 h 550"/>
                <a:gd name="T2" fmla="*/ 262 w 550"/>
                <a:gd name="T3" fmla="*/ 0 h 550"/>
                <a:gd name="T4" fmla="*/ 0 w 550"/>
                <a:gd name="T5" fmla="*/ 263 h 550"/>
                <a:gd name="T6" fmla="*/ 0 w 550"/>
                <a:gd name="T7" fmla="*/ 550 h 550"/>
                <a:gd name="T8" fmla="*/ 550 w 550"/>
                <a:gd name="T9" fmla="*/ 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0" h="550">
                  <a:moveTo>
                    <a:pt x="550" y="0"/>
                  </a:moveTo>
                  <a:cubicBezTo>
                    <a:pt x="262" y="0"/>
                    <a:pt x="262" y="0"/>
                    <a:pt x="262" y="0"/>
                  </a:cubicBezTo>
                  <a:cubicBezTo>
                    <a:pt x="260" y="144"/>
                    <a:pt x="144" y="260"/>
                    <a:pt x="0" y="263"/>
                  </a:cubicBezTo>
                  <a:cubicBezTo>
                    <a:pt x="0" y="550"/>
                    <a:pt x="0" y="550"/>
                    <a:pt x="0" y="550"/>
                  </a:cubicBezTo>
                  <a:cubicBezTo>
                    <a:pt x="302" y="548"/>
                    <a:pt x="547" y="303"/>
                    <a:pt x="550" y="0"/>
                  </a:cubicBezTo>
                </a:path>
              </a:pathLst>
            </a:custGeom>
            <a:solidFill>
              <a:srgbClr val="D4D6D7">
                <a:alpha val="5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44196"/>
              <a:endParaRPr lang="en-US" sz="2157">
                <a:solidFill>
                  <a:prstClr val="black"/>
                </a:solidFill>
              </a:endParaRPr>
            </a:p>
          </p:txBody>
        </p:sp>
      </p:grpSp>
      <p:sp>
        <p:nvSpPr>
          <p:cNvPr id="18" name="TextBox 17"/>
          <p:cNvSpPr txBox="1"/>
          <p:nvPr userDrawn="1"/>
        </p:nvSpPr>
        <p:spPr>
          <a:xfrm>
            <a:off x="10420167" y="6228582"/>
            <a:ext cx="1057239" cy="353070"/>
          </a:xfrm>
          <a:prstGeom prst="rect">
            <a:avLst/>
          </a:prstGeom>
          <a:noFill/>
        </p:spPr>
        <p:txBody>
          <a:bodyPr wrap="square" bIns="0" rtlCol="0">
            <a:spAutoFit/>
          </a:bodyPr>
          <a:lstStyle/>
          <a:p>
            <a:pPr defTabSz="544196">
              <a:lnSpc>
                <a:spcPct val="85000"/>
              </a:lnSpc>
            </a:pPr>
            <a:r>
              <a:rPr lang="en-US" sz="1176" spc="-49" dirty="0" smtClean="0">
                <a:solidFill>
                  <a:srgbClr val="4B0045"/>
                </a:solidFill>
                <a:latin typeface="Segoe UI Bold"/>
                <a:cs typeface="Segoe UI Bold"/>
              </a:rPr>
              <a:t>Connect with customers</a:t>
            </a:r>
            <a:endParaRPr lang="en-US" sz="1176" spc="-49" dirty="0">
              <a:solidFill>
                <a:srgbClr val="4B0045"/>
              </a:solidFill>
              <a:latin typeface="Segoe UI Bold"/>
              <a:cs typeface="Segoe UI Bold"/>
            </a:endParaRPr>
          </a:p>
        </p:txBody>
      </p:sp>
    </p:spTree>
    <p:extLst>
      <p:ext uri="{BB962C8B-B14F-4D97-AF65-F5344CB8AC3E}">
        <p14:creationId xmlns:p14="http://schemas.microsoft.com/office/powerpoint/2010/main" val="8127919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9103D2-72A0-4C12-A232-58991DCA312B}" type="datetimeFigureOut">
              <a:rPr lang="en-US" smtClean="0"/>
              <a:t>12/1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E84F3A-632D-4576-8FBC-69BA2D0B9C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419072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ox with Graphics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 rot="5400000">
            <a:off x="6714697" y="1380698"/>
            <a:ext cx="6858000" cy="4096610"/>
          </a:xfrm>
          <a:prstGeom prst="rect">
            <a:avLst/>
          </a:prstGeom>
          <a:solidFill>
            <a:srgbClr val="4B004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544196"/>
            <a:endParaRPr lang="en-US" sz="2157" dirty="0">
              <a:solidFill>
                <a:srgbClr val="FD7425"/>
              </a:solidFill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8659217" y="3111472"/>
            <a:ext cx="3271952" cy="911041"/>
          </a:xfrm>
          <a:noFill/>
        </p:spPr>
        <p:txBody>
          <a:bodyPr lIns="0" tIns="0" rIns="0">
            <a:noAutofit/>
          </a:bodyPr>
          <a:lstStyle>
            <a:lvl1pPr marL="0" indent="0">
              <a:spcBef>
                <a:spcPts val="0"/>
              </a:spcBef>
              <a:spcAft>
                <a:spcPts val="1176"/>
              </a:spcAft>
              <a:buNone/>
              <a:defRPr sz="2157" b="0">
                <a:solidFill>
                  <a:srgbClr val="FEA83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0" indent="0">
              <a:spcBef>
                <a:spcPts val="588"/>
              </a:spcBef>
              <a:buNone/>
              <a:defRPr sz="1765">
                <a:solidFill>
                  <a:schemeClr val="bg1">
                    <a:alpha val="99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1088393" indent="0">
              <a:buNone/>
              <a:defRPr/>
            </a:lvl3pPr>
            <a:lvl4pPr marL="1632589" indent="0">
              <a:buNone/>
              <a:defRPr/>
            </a:lvl4pPr>
            <a:lvl5pPr marL="2176785" indent="0">
              <a:buNone/>
              <a:defRPr/>
            </a:lvl5pPr>
          </a:lstStyle>
          <a:p>
            <a:pPr lvl="0"/>
            <a:r>
              <a:rPr lang="en-US" dirty="0" smtClean="0"/>
              <a:t>Heading</a:t>
            </a:r>
          </a:p>
          <a:p>
            <a:pPr lvl="1"/>
            <a:r>
              <a:rPr lang="en-US" dirty="0" smtClean="0"/>
              <a:t>Text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8659217" y="574892"/>
            <a:ext cx="3271951" cy="1466598"/>
          </a:xfrm>
          <a:noFill/>
        </p:spPr>
        <p:txBody>
          <a:bodyPr wrap="square" lIns="0" tIns="0" rIns="0" bIns="0" rtlCol="0" anchor="t">
            <a:noAutofit/>
          </a:bodyPr>
          <a:lstStyle>
            <a:lvl1pPr algn="l">
              <a:defRPr lang="en-US" sz="3921" spc="0" dirty="0">
                <a:solidFill>
                  <a:schemeClr val="bg1"/>
                </a:solidFill>
                <a:latin typeface="Segoe UI Semibold"/>
                <a:ea typeface="+mn-ea"/>
                <a:cs typeface="Segoe UI Semibold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grpSp>
        <p:nvGrpSpPr>
          <p:cNvPr id="11" name="Group 10"/>
          <p:cNvGrpSpPr/>
          <p:nvPr userDrawn="1"/>
        </p:nvGrpSpPr>
        <p:grpSpPr>
          <a:xfrm rot="16200000">
            <a:off x="254491" y="6187306"/>
            <a:ext cx="470565" cy="471568"/>
            <a:chOff x="11402094" y="6042694"/>
            <a:chExt cx="698750" cy="700339"/>
          </a:xfrm>
        </p:grpSpPr>
        <p:sp>
          <p:nvSpPr>
            <p:cNvPr id="12" name="Freeform 5"/>
            <p:cNvSpPr>
              <a:spLocks/>
            </p:cNvSpPr>
            <p:nvPr/>
          </p:nvSpPr>
          <p:spPr bwMode="auto">
            <a:xfrm>
              <a:off x="11402094" y="6042694"/>
              <a:ext cx="338136" cy="338138"/>
            </a:xfrm>
            <a:custGeom>
              <a:avLst/>
              <a:gdLst>
                <a:gd name="T0" fmla="*/ 550 w 550"/>
                <a:gd name="T1" fmla="*/ 0 h 550"/>
                <a:gd name="T2" fmla="*/ 0 w 550"/>
                <a:gd name="T3" fmla="*/ 550 h 550"/>
                <a:gd name="T4" fmla="*/ 287 w 550"/>
                <a:gd name="T5" fmla="*/ 550 h 550"/>
                <a:gd name="T6" fmla="*/ 550 w 550"/>
                <a:gd name="T7" fmla="*/ 288 h 550"/>
                <a:gd name="T8" fmla="*/ 550 w 550"/>
                <a:gd name="T9" fmla="*/ 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0" h="550">
                  <a:moveTo>
                    <a:pt x="550" y="0"/>
                  </a:moveTo>
                  <a:cubicBezTo>
                    <a:pt x="247" y="3"/>
                    <a:pt x="2" y="248"/>
                    <a:pt x="0" y="550"/>
                  </a:cubicBezTo>
                  <a:cubicBezTo>
                    <a:pt x="287" y="550"/>
                    <a:pt x="287" y="550"/>
                    <a:pt x="287" y="550"/>
                  </a:cubicBezTo>
                  <a:cubicBezTo>
                    <a:pt x="290" y="406"/>
                    <a:pt x="406" y="290"/>
                    <a:pt x="550" y="288"/>
                  </a:cubicBezTo>
                  <a:cubicBezTo>
                    <a:pt x="550" y="0"/>
                    <a:pt x="550" y="0"/>
                    <a:pt x="550" y="0"/>
                  </a:cubicBezTo>
                </a:path>
              </a:pathLst>
            </a:custGeom>
            <a:solidFill>
              <a:srgbClr val="D4D6D7">
                <a:alpha val="5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44196"/>
              <a:endParaRPr lang="en-US" sz="2157">
                <a:solidFill>
                  <a:prstClr val="black"/>
                </a:solidFill>
              </a:endParaRPr>
            </a:p>
          </p:txBody>
        </p:sp>
        <p:sp>
          <p:nvSpPr>
            <p:cNvPr id="13" name="Freeform 6"/>
            <p:cNvSpPr>
              <a:spLocks/>
            </p:cNvSpPr>
            <p:nvPr/>
          </p:nvSpPr>
          <p:spPr bwMode="auto">
            <a:xfrm>
              <a:off x="11762708" y="6042694"/>
              <a:ext cx="338136" cy="338138"/>
            </a:xfrm>
            <a:custGeom>
              <a:avLst/>
              <a:gdLst>
                <a:gd name="T0" fmla="*/ 0 w 550"/>
                <a:gd name="T1" fmla="*/ 0 h 550"/>
                <a:gd name="T2" fmla="*/ 0 w 550"/>
                <a:gd name="T3" fmla="*/ 288 h 550"/>
                <a:gd name="T4" fmla="*/ 262 w 550"/>
                <a:gd name="T5" fmla="*/ 550 h 550"/>
                <a:gd name="T6" fmla="*/ 550 w 550"/>
                <a:gd name="T7" fmla="*/ 550 h 550"/>
                <a:gd name="T8" fmla="*/ 0 w 550"/>
                <a:gd name="T9" fmla="*/ 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0" h="550">
                  <a:moveTo>
                    <a:pt x="0" y="0"/>
                  </a:moveTo>
                  <a:cubicBezTo>
                    <a:pt x="0" y="288"/>
                    <a:pt x="0" y="288"/>
                    <a:pt x="0" y="288"/>
                  </a:cubicBezTo>
                  <a:cubicBezTo>
                    <a:pt x="144" y="290"/>
                    <a:pt x="260" y="406"/>
                    <a:pt x="262" y="550"/>
                  </a:cubicBezTo>
                  <a:cubicBezTo>
                    <a:pt x="550" y="550"/>
                    <a:pt x="550" y="550"/>
                    <a:pt x="550" y="550"/>
                  </a:cubicBezTo>
                  <a:cubicBezTo>
                    <a:pt x="547" y="248"/>
                    <a:pt x="302" y="3"/>
                    <a:pt x="0" y="0"/>
                  </a:cubicBezTo>
                </a:path>
              </a:pathLst>
            </a:custGeom>
            <a:solidFill>
              <a:srgbClr val="4B004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44196"/>
              <a:endParaRPr lang="en-US" sz="2157">
                <a:solidFill>
                  <a:prstClr val="black"/>
                </a:solidFill>
              </a:endParaRPr>
            </a:p>
          </p:txBody>
        </p:sp>
        <p:sp>
          <p:nvSpPr>
            <p:cNvPr id="16" name="Freeform 7"/>
            <p:cNvSpPr>
              <a:spLocks/>
            </p:cNvSpPr>
            <p:nvPr/>
          </p:nvSpPr>
          <p:spPr bwMode="auto">
            <a:xfrm>
              <a:off x="11402094" y="6404895"/>
              <a:ext cx="338136" cy="338138"/>
            </a:xfrm>
            <a:custGeom>
              <a:avLst/>
              <a:gdLst>
                <a:gd name="T0" fmla="*/ 287 w 550"/>
                <a:gd name="T1" fmla="*/ 0 h 550"/>
                <a:gd name="T2" fmla="*/ 0 w 550"/>
                <a:gd name="T3" fmla="*/ 0 h 550"/>
                <a:gd name="T4" fmla="*/ 550 w 550"/>
                <a:gd name="T5" fmla="*/ 550 h 550"/>
                <a:gd name="T6" fmla="*/ 550 w 550"/>
                <a:gd name="T7" fmla="*/ 263 h 550"/>
                <a:gd name="T8" fmla="*/ 287 w 550"/>
                <a:gd name="T9" fmla="*/ 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0" h="550">
                  <a:moveTo>
                    <a:pt x="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303"/>
                    <a:pt x="247" y="548"/>
                    <a:pt x="550" y="550"/>
                  </a:cubicBezTo>
                  <a:cubicBezTo>
                    <a:pt x="550" y="263"/>
                    <a:pt x="550" y="263"/>
                    <a:pt x="550" y="263"/>
                  </a:cubicBezTo>
                  <a:cubicBezTo>
                    <a:pt x="406" y="260"/>
                    <a:pt x="290" y="144"/>
                    <a:pt x="287" y="0"/>
                  </a:cubicBezTo>
                </a:path>
              </a:pathLst>
            </a:custGeom>
            <a:solidFill>
              <a:srgbClr val="D4D6D7">
                <a:alpha val="5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44196"/>
              <a:endParaRPr lang="en-US" sz="2157">
                <a:solidFill>
                  <a:prstClr val="black"/>
                </a:solidFill>
              </a:endParaRPr>
            </a:p>
          </p:txBody>
        </p:sp>
        <p:sp>
          <p:nvSpPr>
            <p:cNvPr id="17" name="Freeform 8"/>
            <p:cNvSpPr>
              <a:spLocks/>
            </p:cNvSpPr>
            <p:nvPr/>
          </p:nvSpPr>
          <p:spPr bwMode="auto">
            <a:xfrm>
              <a:off x="11762708" y="6404895"/>
              <a:ext cx="338136" cy="338138"/>
            </a:xfrm>
            <a:custGeom>
              <a:avLst/>
              <a:gdLst>
                <a:gd name="T0" fmla="*/ 550 w 550"/>
                <a:gd name="T1" fmla="*/ 0 h 550"/>
                <a:gd name="T2" fmla="*/ 262 w 550"/>
                <a:gd name="T3" fmla="*/ 0 h 550"/>
                <a:gd name="T4" fmla="*/ 0 w 550"/>
                <a:gd name="T5" fmla="*/ 263 h 550"/>
                <a:gd name="T6" fmla="*/ 0 w 550"/>
                <a:gd name="T7" fmla="*/ 550 h 550"/>
                <a:gd name="T8" fmla="*/ 550 w 550"/>
                <a:gd name="T9" fmla="*/ 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0" h="550">
                  <a:moveTo>
                    <a:pt x="550" y="0"/>
                  </a:moveTo>
                  <a:cubicBezTo>
                    <a:pt x="262" y="0"/>
                    <a:pt x="262" y="0"/>
                    <a:pt x="262" y="0"/>
                  </a:cubicBezTo>
                  <a:cubicBezTo>
                    <a:pt x="260" y="144"/>
                    <a:pt x="144" y="260"/>
                    <a:pt x="0" y="263"/>
                  </a:cubicBezTo>
                  <a:cubicBezTo>
                    <a:pt x="0" y="550"/>
                    <a:pt x="0" y="550"/>
                    <a:pt x="0" y="550"/>
                  </a:cubicBezTo>
                  <a:cubicBezTo>
                    <a:pt x="302" y="548"/>
                    <a:pt x="547" y="303"/>
                    <a:pt x="550" y="0"/>
                  </a:cubicBezTo>
                </a:path>
              </a:pathLst>
            </a:custGeom>
            <a:solidFill>
              <a:srgbClr val="D4D6D7">
                <a:alpha val="5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44196"/>
              <a:endParaRPr lang="en-US" sz="2157">
                <a:solidFill>
                  <a:prstClr val="black"/>
                </a:solidFill>
              </a:endParaRPr>
            </a:p>
          </p:txBody>
        </p:sp>
      </p:grpSp>
      <p:sp>
        <p:nvSpPr>
          <p:cNvPr id="18" name="TextBox 17"/>
          <p:cNvSpPr txBox="1"/>
          <p:nvPr userDrawn="1"/>
        </p:nvSpPr>
        <p:spPr>
          <a:xfrm>
            <a:off x="708898" y="6228582"/>
            <a:ext cx="1057239" cy="353070"/>
          </a:xfrm>
          <a:prstGeom prst="rect">
            <a:avLst/>
          </a:prstGeom>
          <a:noFill/>
        </p:spPr>
        <p:txBody>
          <a:bodyPr wrap="square" bIns="0" rtlCol="0">
            <a:spAutoFit/>
          </a:bodyPr>
          <a:lstStyle/>
          <a:p>
            <a:pPr defTabSz="544196">
              <a:lnSpc>
                <a:spcPct val="85000"/>
              </a:lnSpc>
            </a:pPr>
            <a:r>
              <a:rPr lang="en-US" sz="1176" spc="-49" dirty="0" smtClean="0">
                <a:solidFill>
                  <a:srgbClr val="4B0045"/>
                </a:solidFill>
                <a:latin typeface="Segoe UI Bold"/>
                <a:cs typeface="Segoe UI Bold"/>
              </a:rPr>
              <a:t>Connect with customers</a:t>
            </a:r>
            <a:endParaRPr lang="en-US" sz="1176" spc="-49" dirty="0">
              <a:solidFill>
                <a:srgbClr val="4B0045"/>
              </a:solidFill>
              <a:latin typeface="Segoe UI Bold"/>
              <a:cs typeface="Segoe UI Bold"/>
            </a:endParaRPr>
          </a:p>
        </p:txBody>
      </p:sp>
    </p:spTree>
    <p:extLst>
      <p:ext uri="{BB962C8B-B14F-4D97-AF65-F5344CB8AC3E}">
        <p14:creationId xmlns:p14="http://schemas.microsoft.com/office/powerpoint/2010/main" val="144071737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441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5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7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0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1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5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754D8D-3A7F-184B-A4E9-0408566F33B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7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55DB77-E0AE-A349-8FAE-C666923B773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79678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754D8D-3A7F-184B-A4E9-0408566F33B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7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55DB77-E0AE-A349-8FAE-C666923B773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517031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4326" y="5292983"/>
            <a:ext cx="11151917" cy="1218795"/>
          </a:xfrm>
        </p:spPr>
        <p:txBody>
          <a:bodyPr anchor="b" anchorCtr="0"/>
          <a:lstStyle>
            <a:lvl1pPr>
              <a:defRPr sz="7198" spc="-299" baseline="0">
                <a:gradFill>
                  <a:gsLst>
                    <a:gs pos="100000">
                      <a:schemeClr val="bg1"/>
                    </a:gs>
                    <a:gs pos="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Click to edit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33371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bg>
      <p:bgPr>
        <a:solidFill>
          <a:srgbClr val="4B00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>
            <a:grpSpLocks noChangeAspect="1"/>
          </p:cNvGrpSpPr>
          <p:nvPr userDrawn="1"/>
        </p:nvGrpSpPr>
        <p:grpSpPr bwMode="auto">
          <a:xfrm>
            <a:off x="5665300" y="1120690"/>
            <a:ext cx="6857027" cy="6858000"/>
            <a:chOff x="3917" y="366"/>
            <a:chExt cx="4406" cy="4406"/>
          </a:xfrm>
          <a:solidFill>
            <a:schemeClr val="bg1">
              <a:alpha val="15000"/>
            </a:schemeClr>
          </a:solidFill>
        </p:grpSpPr>
        <p:sp>
          <p:nvSpPr>
            <p:cNvPr id="4" name="Freeform 5"/>
            <p:cNvSpPr>
              <a:spLocks noEditPoints="1"/>
            </p:cNvSpPr>
            <p:nvPr/>
          </p:nvSpPr>
          <p:spPr bwMode="auto">
            <a:xfrm>
              <a:off x="4577" y="366"/>
              <a:ext cx="1527" cy="1444"/>
            </a:xfrm>
            <a:custGeom>
              <a:avLst/>
              <a:gdLst>
                <a:gd name="T0" fmla="*/ 377 w 384"/>
                <a:gd name="T1" fmla="*/ 6 h 363"/>
                <a:gd name="T2" fmla="*/ 377 w 384"/>
                <a:gd name="T3" fmla="*/ 282 h 363"/>
                <a:gd name="T4" fmla="*/ 204 w 384"/>
                <a:gd name="T5" fmla="*/ 354 h 363"/>
                <a:gd name="T6" fmla="*/ 9 w 384"/>
                <a:gd name="T7" fmla="*/ 159 h 363"/>
                <a:gd name="T8" fmla="*/ 175 w 384"/>
                <a:gd name="T9" fmla="*/ 49 h 363"/>
                <a:gd name="T10" fmla="*/ 377 w 384"/>
                <a:gd name="T11" fmla="*/ 6 h 363"/>
                <a:gd name="T12" fmla="*/ 384 w 384"/>
                <a:gd name="T13" fmla="*/ 0 h 363"/>
                <a:gd name="T14" fmla="*/ 0 w 384"/>
                <a:gd name="T15" fmla="*/ 159 h 363"/>
                <a:gd name="T16" fmla="*/ 204 w 384"/>
                <a:gd name="T17" fmla="*/ 363 h 363"/>
                <a:gd name="T18" fmla="*/ 384 w 384"/>
                <a:gd name="T19" fmla="*/ 288 h 363"/>
                <a:gd name="T20" fmla="*/ 384 w 384"/>
                <a:gd name="T21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4" h="363">
                  <a:moveTo>
                    <a:pt x="377" y="6"/>
                  </a:moveTo>
                  <a:cubicBezTo>
                    <a:pt x="377" y="282"/>
                    <a:pt x="377" y="282"/>
                    <a:pt x="377" y="282"/>
                  </a:cubicBezTo>
                  <a:cubicBezTo>
                    <a:pt x="312" y="284"/>
                    <a:pt x="251" y="310"/>
                    <a:pt x="204" y="354"/>
                  </a:cubicBezTo>
                  <a:cubicBezTo>
                    <a:pt x="9" y="159"/>
                    <a:pt x="9" y="159"/>
                    <a:pt x="9" y="159"/>
                  </a:cubicBezTo>
                  <a:cubicBezTo>
                    <a:pt x="58" y="112"/>
                    <a:pt x="113" y="76"/>
                    <a:pt x="175" y="49"/>
                  </a:cubicBezTo>
                  <a:cubicBezTo>
                    <a:pt x="239" y="22"/>
                    <a:pt x="307" y="8"/>
                    <a:pt x="377" y="6"/>
                  </a:cubicBezTo>
                  <a:moveTo>
                    <a:pt x="384" y="0"/>
                  </a:moveTo>
                  <a:cubicBezTo>
                    <a:pt x="234" y="1"/>
                    <a:pt x="99" y="61"/>
                    <a:pt x="0" y="159"/>
                  </a:cubicBezTo>
                  <a:cubicBezTo>
                    <a:pt x="204" y="363"/>
                    <a:pt x="204" y="363"/>
                    <a:pt x="204" y="363"/>
                  </a:cubicBezTo>
                  <a:cubicBezTo>
                    <a:pt x="250" y="318"/>
                    <a:pt x="314" y="289"/>
                    <a:pt x="384" y="288"/>
                  </a:cubicBezTo>
                  <a:cubicBezTo>
                    <a:pt x="384" y="0"/>
                    <a:pt x="384" y="0"/>
                    <a:pt x="38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44196"/>
              <a:endParaRPr lang="en-US" sz="2157">
                <a:solidFill>
                  <a:prstClr val="black"/>
                </a:solidFill>
              </a:endParaRPr>
            </a:p>
          </p:txBody>
        </p:sp>
        <p:sp>
          <p:nvSpPr>
            <p:cNvPr id="5" name="Freeform 6"/>
            <p:cNvSpPr>
              <a:spLocks noEditPoints="1"/>
            </p:cNvSpPr>
            <p:nvPr/>
          </p:nvSpPr>
          <p:spPr bwMode="auto">
            <a:xfrm>
              <a:off x="3917" y="1026"/>
              <a:ext cx="1443" cy="1527"/>
            </a:xfrm>
            <a:custGeom>
              <a:avLst/>
              <a:gdLst>
                <a:gd name="T0" fmla="*/ 159 w 363"/>
                <a:gd name="T1" fmla="*/ 9 h 384"/>
                <a:gd name="T2" fmla="*/ 354 w 363"/>
                <a:gd name="T3" fmla="*/ 204 h 384"/>
                <a:gd name="T4" fmla="*/ 282 w 363"/>
                <a:gd name="T5" fmla="*/ 377 h 384"/>
                <a:gd name="T6" fmla="*/ 7 w 363"/>
                <a:gd name="T7" fmla="*/ 377 h 384"/>
                <a:gd name="T8" fmla="*/ 50 w 363"/>
                <a:gd name="T9" fmla="*/ 175 h 384"/>
                <a:gd name="T10" fmla="*/ 159 w 363"/>
                <a:gd name="T11" fmla="*/ 9 h 384"/>
                <a:gd name="T12" fmla="*/ 159 w 363"/>
                <a:gd name="T13" fmla="*/ 0 h 384"/>
                <a:gd name="T14" fmla="*/ 0 w 363"/>
                <a:gd name="T15" fmla="*/ 384 h 384"/>
                <a:gd name="T16" fmla="*/ 289 w 363"/>
                <a:gd name="T17" fmla="*/ 384 h 384"/>
                <a:gd name="T18" fmla="*/ 363 w 363"/>
                <a:gd name="T19" fmla="*/ 204 h 384"/>
                <a:gd name="T20" fmla="*/ 159 w 363"/>
                <a:gd name="T21" fmla="*/ 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3" h="384">
                  <a:moveTo>
                    <a:pt x="159" y="9"/>
                  </a:moveTo>
                  <a:cubicBezTo>
                    <a:pt x="354" y="204"/>
                    <a:pt x="354" y="204"/>
                    <a:pt x="354" y="204"/>
                  </a:cubicBezTo>
                  <a:cubicBezTo>
                    <a:pt x="310" y="251"/>
                    <a:pt x="285" y="312"/>
                    <a:pt x="282" y="377"/>
                  </a:cubicBezTo>
                  <a:cubicBezTo>
                    <a:pt x="7" y="377"/>
                    <a:pt x="7" y="377"/>
                    <a:pt x="7" y="377"/>
                  </a:cubicBezTo>
                  <a:cubicBezTo>
                    <a:pt x="8" y="307"/>
                    <a:pt x="23" y="239"/>
                    <a:pt x="50" y="175"/>
                  </a:cubicBezTo>
                  <a:cubicBezTo>
                    <a:pt x="76" y="114"/>
                    <a:pt x="112" y="58"/>
                    <a:pt x="159" y="9"/>
                  </a:cubicBezTo>
                  <a:moveTo>
                    <a:pt x="159" y="0"/>
                  </a:moveTo>
                  <a:cubicBezTo>
                    <a:pt x="62" y="99"/>
                    <a:pt x="1" y="234"/>
                    <a:pt x="0" y="384"/>
                  </a:cubicBezTo>
                  <a:cubicBezTo>
                    <a:pt x="289" y="384"/>
                    <a:pt x="289" y="384"/>
                    <a:pt x="289" y="384"/>
                  </a:cubicBezTo>
                  <a:cubicBezTo>
                    <a:pt x="290" y="314"/>
                    <a:pt x="318" y="250"/>
                    <a:pt x="363" y="204"/>
                  </a:cubicBezTo>
                  <a:cubicBezTo>
                    <a:pt x="159" y="0"/>
                    <a:pt x="159" y="0"/>
                    <a:pt x="15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44196"/>
              <a:endParaRPr lang="en-US" sz="2157">
                <a:solidFill>
                  <a:prstClr val="black"/>
                </a:solidFill>
              </a:endParaRPr>
            </a:p>
          </p:txBody>
        </p:sp>
        <p:sp>
          <p:nvSpPr>
            <p:cNvPr id="6" name="Freeform 7"/>
            <p:cNvSpPr>
              <a:spLocks noEditPoints="1"/>
            </p:cNvSpPr>
            <p:nvPr/>
          </p:nvSpPr>
          <p:spPr bwMode="auto">
            <a:xfrm>
              <a:off x="6140" y="366"/>
              <a:ext cx="1527" cy="1444"/>
            </a:xfrm>
            <a:custGeom>
              <a:avLst/>
              <a:gdLst>
                <a:gd name="T0" fmla="*/ 7 w 384"/>
                <a:gd name="T1" fmla="*/ 6 h 363"/>
                <a:gd name="T2" fmla="*/ 208 w 384"/>
                <a:gd name="T3" fmla="*/ 49 h 363"/>
                <a:gd name="T4" fmla="*/ 375 w 384"/>
                <a:gd name="T5" fmla="*/ 159 h 363"/>
                <a:gd name="T6" fmla="*/ 180 w 384"/>
                <a:gd name="T7" fmla="*/ 354 h 363"/>
                <a:gd name="T8" fmla="*/ 7 w 384"/>
                <a:gd name="T9" fmla="*/ 282 h 363"/>
                <a:gd name="T10" fmla="*/ 7 w 384"/>
                <a:gd name="T11" fmla="*/ 6 h 363"/>
                <a:gd name="T12" fmla="*/ 0 w 384"/>
                <a:gd name="T13" fmla="*/ 0 h 363"/>
                <a:gd name="T14" fmla="*/ 0 w 384"/>
                <a:gd name="T15" fmla="*/ 288 h 363"/>
                <a:gd name="T16" fmla="*/ 180 w 384"/>
                <a:gd name="T17" fmla="*/ 363 h 363"/>
                <a:gd name="T18" fmla="*/ 384 w 384"/>
                <a:gd name="T19" fmla="*/ 159 h 363"/>
                <a:gd name="T20" fmla="*/ 0 w 384"/>
                <a:gd name="T21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4" h="363">
                  <a:moveTo>
                    <a:pt x="7" y="6"/>
                  </a:moveTo>
                  <a:cubicBezTo>
                    <a:pt x="77" y="8"/>
                    <a:pt x="144" y="22"/>
                    <a:pt x="208" y="49"/>
                  </a:cubicBezTo>
                  <a:cubicBezTo>
                    <a:pt x="270" y="76"/>
                    <a:pt x="326" y="112"/>
                    <a:pt x="375" y="159"/>
                  </a:cubicBezTo>
                  <a:cubicBezTo>
                    <a:pt x="180" y="354"/>
                    <a:pt x="180" y="354"/>
                    <a:pt x="180" y="354"/>
                  </a:cubicBezTo>
                  <a:cubicBezTo>
                    <a:pt x="132" y="310"/>
                    <a:pt x="71" y="284"/>
                    <a:pt x="7" y="282"/>
                  </a:cubicBezTo>
                  <a:cubicBezTo>
                    <a:pt x="7" y="6"/>
                    <a:pt x="7" y="6"/>
                    <a:pt x="7" y="6"/>
                  </a:cubicBezTo>
                  <a:moveTo>
                    <a:pt x="0" y="0"/>
                  </a:moveTo>
                  <a:cubicBezTo>
                    <a:pt x="0" y="288"/>
                    <a:pt x="0" y="288"/>
                    <a:pt x="0" y="288"/>
                  </a:cubicBezTo>
                  <a:cubicBezTo>
                    <a:pt x="70" y="289"/>
                    <a:pt x="133" y="318"/>
                    <a:pt x="180" y="363"/>
                  </a:cubicBezTo>
                  <a:cubicBezTo>
                    <a:pt x="384" y="159"/>
                    <a:pt x="384" y="159"/>
                    <a:pt x="384" y="159"/>
                  </a:cubicBezTo>
                  <a:cubicBezTo>
                    <a:pt x="285" y="61"/>
                    <a:pt x="150" y="1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44196"/>
              <a:endParaRPr lang="en-US" sz="2157">
                <a:solidFill>
                  <a:prstClr val="black"/>
                </a:solidFill>
              </a:endParaRPr>
            </a:p>
          </p:txBody>
        </p:sp>
        <p:sp>
          <p:nvSpPr>
            <p:cNvPr id="7" name="Freeform 8"/>
            <p:cNvSpPr>
              <a:spLocks noEditPoints="1"/>
            </p:cNvSpPr>
            <p:nvPr/>
          </p:nvSpPr>
          <p:spPr bwMode="auto">
            <a:xfrm>
              <a:off x="3917" y="2589"/>
              <a:ext cx="1447" cy="1523"/>
            </a:xfrm>
            <a:custGeom>
              <a:avLst/>
              <a:gdLst>
                <a:gd name="T0" fmla="*/ 282 w 364"/>
                <a:gd name="T1" fmla="*/ 7 h 383"/>
                <a:gd name="T2" fmla="*/ 354 w 364"/>
                <a:gd name="T3" fmla="*/ 179 h 383"/>
                <a:gd name="T4" fmla="*/ 160 w 364"/>
                <a:gd name="T5" fmla="*/ 374 h 383"/>
                <a:gd name="T6" fmla="*/ 50 w 364"/>
                <a:gd name="T7" fmla="*/ 208 h 383"/>
                <a:gd name="T8" fmla="*/ 7 w 364"/>
                <a:gd name="T9" fmla="*/ 7 h 383"/>
                <a:gd name="T10" fmla="*/ 282 w 364"/>
                <a:gd name="T11" fmla="*/ 7 h 383"/>
                <a:gd name="T12" fmla="*/ 289 w 364"/>
                <a:gd name="T13" fmla="*/ 0 h 383"/>
                <a:gd name="T14" fmla="*/ 0 w 364"/>
                <a:gd name="T15" fmla="*/ 0 h 383"/>
                <a:gd name="T16" fmla="*/ 160 w 364"/>
                <a:gd name="T17" fmla="*/ 383 h 383"/>
                <a:gd name="T18" fmla="*/ 364 w 364"/>
                <a:gd name="T19" fmla="*/ 180 h 383"/>
                <a:gd name="T20" fmla="*/ 289 w 364"/>
                <a:gd name="T21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4" h="383">
                  <a:moveTo>
                    <a:pt x="282" y="7"/>
                  </a:moveTo>
                  <a:cubicBezTo>
                    <a:pt x="285" y="71"/>
                    <a:pt x="310" y="132"/>
                    <a:pt x="354" y="179"/>
                  </a:cubicBezTo>
                  <a:cubicBezTo>
                    <a:pt x="160" y="374"/>
                    <a:pt x="160" y="374"/>
                    <a:pt x="160" y="374"/>
                  </a:cubicBezTo>
                  <a:cubicBezTo>
                    <a:pt x="113" y="326"/>
                    <a:pt x="76" y="270"/>
                    <a:pt x="50" y="208"/>
                  </a:cubicBezTo>
                  <a:cubicBezTo>
                    <a:pt x="23" y="144"/>
                    <a:pt x="9" y="77"/>
                    <a:pt x="7" y="7"/>
                  </a:cubicBezTo>
                  <a:cubicBezTo>
                    <a:pt x="282" y="7"/>
                    <a:pt x="282" y="7"/>
                    <a:pt x="282" y="7"/>
                  </a:cubicBezTo>
                  <a:moveTo>
                    <a:pt x="28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149"/>
                    <a:pt x="62" y="285"/>
                    <a:pt x="160" y="383"/>
                  </a:cubicBezTo>
                  <a:cubicBezTo>
                    <a:pt x="364" y="180"/>
                    <a:pt x="364" y="180"/>
                    <a:pt x="364" y="180"/>
                  </a:cubicBezTo>
                  <a:cubicBezTo>
                    <a:pt x="318" y="133"/>
                    <a:pt x="290" y="70"/>
                    <a:pt x="28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44196"/>
              <a:endParaRPr lang="en-US" sz="2157">
                <a:solidFill>
                  <a:prstClr val="black"/>
                </a:solidFill>
              </a:endParaRPr>
            </a:p>
          </p:txBody>
        </p:sp>
        <p:sp>
          <p:nvSpPr>
            <p:cNvPr id="8" name="Freeform 9"/>
            <p:cNvSpPr>
              <a:spLocks noEditPoints="1"/>
            </p:cNvSpPr>
            <p:nvPr/>
          </p:nvSpPr>
          <p:spPr bwMode="auto">
            <a:xfrm>
              <a:off x="6879" y="2589"/>
              <a:ext cx="1444" cy="1523"/>
            </a:xfrm>
            <a:custGeom>
              <a:avLst/>
              <a:gdLst>
                <a:gd name="T0" fmla="*/ 357 w 363"/>
                <a:gd name="T1" fmla="*/ 7 h 383"/>
                <a:gd name="T2" fmla="*/ 314 w 363"/>
                <a:gd name="T3" fmla="*/ 208 h 383"/>
                <a:gd name="T4" fmla="*/ 204 w 363"/>
                <a:gd name="T5" fmla="*/ 374 h 383"/>
                <a:gd name="T6" fmla="*/ 9 w 363"/>
                <a:gd name="T7" fmla="*/ 179 h 383"/>
                <a:gd name="T8" fmla="*/ 81 w 363"/>
                <a:gd name="T9" fmla="*/ 7 h 383"/>
                <a:gd name="T10" fmla="*/ 357 w 363"/>
                <a:gd name="T11" fmla="*/ 7 h 383"/>
                <a:gd name="T12" fmla="*/ 363 w 363"/>
                <a:gd name="T13" fmla="*/ 0 h 383"/>
                <a:gd name="T14" fmla="*/ 75 w 363"/>
                <a:gd name="T15" fmla="*/ 0 h 383"/>
                <a:gd name="T16" fmla="*/ 0 w 363"/>
                <a:gd name="T17" fmla="*/ 180 h 383"/>
                <a:gd name="T18" fmla="*/ 204 w 363"/>
                <a:gd name="T19" fmla="*/ 383 h 383"/>
                <a:gd name="T20" fmla="*/ 363 w 363"/>
                <a:gd name="T21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3" h="383">
                  <a:moveTo>
                    <a:pt x="357" y="7"/>
                  </a:moveTo>
                  <a:cubicBezTo>
                    <a:pt x="355" y="77"/>
                    <a:pt x="341" y="144"/>
                    <a:pt x="314" y="208"/>
                  </a:cubicBezTo>
                  <a:cubicBezTo>
                    <a:pt x="287" y="270"/>
                    <a:pt x="251" y="326"/>
                    <a:pt x="204" y="374"/>
                  </a:cubicBezTo>
                  <a:cubicBezTo>
                    <a:pt x="9" y="179"/>
                    <a:pt x="9" y="179"/>
                    <a:pt x="9" y="179"/>
                  </a:cubicBezTo>
                  <a:cubicBezTo>
                    <a:pt x="53" y="132"/>
                    <a:pt x="79" y="71"/>
                    <a:pt x="81" y="7"/>
                  </a:cubicBezTo>
                  <a:cubicBezTo>
                    <a:pt x="357" y="7"/>
                    <a:pt x="357" y="7"/>
                    <a:pt x="357" y="7"/>
                  </a:cubicBezTo>
                  <a:moveTo>
                    <a:pt x="363" y="0"/>
                  </a:moveTo>
                  <a:cubicBezTo>
                    <a:pt x="75" y="0"/>
                    <a:pt x="75" y="0"/>
                    <a:pt x="75" y="0"/>
                  </a:cubicBezTo>
                  <a:cubicBezTo>
                    <a:pt x="73" y="70"/>
                    <a:pt x="45" y="133"/>
                    <a:pt x="0" y="180"/>
                  </a:cubicBezTo>
                  <a:cubicBezTo>
                    <a:pt x="204" y="383"/>
                    <a:pt x="204" y="383"/>
                    <a:pt x="204" y="383"/>
                  </a:cubicBezTo>
                  <a:cubicBezTo>
                    <a:pt x="301" y="285"/>
                    <a:pt x="362" y="149"/>
                    <a:pt x="36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44196"/>
              <a:endParaRPr lang="en-US" sz="2157">
                <a:solidFill>
                  <a:prstClr val="black"/>
                </a:solidFill>
              </a:endParaRPr>
            </a:p>
          </p:txBody>
        </p:sp>
        <p:sp>
          <p:nvSpPr>
            <p:cNvPr id="9" name="Freeform 10"/>
            <p:cNvSpPr>
              <a:spLocks noEditPoints="1"/>
            </p:cNvSpPr>
            <p:nvPr/>
          </p:nvSpPr>
          <p:spPr bwMode="auto">
            <a:xfrm>
              <a:off x="4577" y="3329"/>
              <a:ext cx="1527" cy="1443"/>
            </a:xfrm>
            <a:custGeom>
              <a:avLst/>
              <a:gdLst>
                <a:gd name="T0" fmla="*/ 204 w 384"/>
                <a:gd name="T1" fmla="*/ 9 h 363"/>
                <a:gd name="T2" fmla="*/ 377 w 384"/>
                <a:gd name="T3" fmla="*/ 81 h 363"/>
                <a:gd name="T4" fmla="*/ 377 w 384"/>
                <a:gd name="T5" fmla="*/ 356 h 363"/>
                <a:gd name="T6" fmla="*/ 176 w 384"/>
                <a:gd name="T7" fmla="*/ 313 h 363"/>
                <a:gd name="T8" fmla="*/ 10 w 384"/>
                <a:gd name="T9" fmla="*/ 204 h 363"/>
                <a:gd name="T10" fmla="*/ 204 w 384"/>
                <a:gd name="T11" fmla="*/ 9 h 363"/>
                <a:gd name="T12" fmla="*/ 204 w 384"/>
                <a:gd name="T13" fmla="*/ 0 h 363"/>
                <a:gd name="T14" fmla="*/ 0 w 384"/>
                <a:gd name="T15" fmla="*/ 204 h 363"/>
                <a:gd name="T16" fmla="*/ 384 w 384"/>
                <a:gd name="T17" fmla="*/ 363 h 363"/>
                <a:gd name="T18" fmla="*/ 384 w 384"/>
                <a:gd name="T19" fmla="*/ 74 h 363"/>
                <a:gd name="T20" fmla="*/ 204 w 384"/>
                <a:gd name="T21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4" h="363">
                  <a:moveTo>
                    <a:pt x="204" y="9"/>
                  </a:moveTo>
                  <a:cubicBezTo>
                    <a:pt x="252" y="53"/>
                    <a:pt x="313" y="78"/>
                    <a:pt x="377" y="81"/>
                  </a:cubicBezTo>
                  <a:cubicBezTo>
                    <a:pt x="377" y="356"/>
                    <a:pt x="377" y="356"/>
                    <a:pt x="377" y="356"/>
                  </a:cubicBezTo>
                  <a:cubicBezTo>
                    <a:pt x="307" y="355"/>
                    <a:pt x="240" y="340"/>
                    <a:pt x="176" y="313"/>
                  </a:cubicBezTo>
                  <a:cubicBezTo>
                    <a:pt x="114" y="287"/>
                    <a:pt x="58" y="250"/>
                    <a:pt x="10" y="204"/>
                  </a:cubicBezTo>
                  <a:cubicBezTo>
                    <a:pt x="204" y="9"/>
                    <a:pt x="204" y="9"/>
                    <a:pt x="204" y="9"/>
                  </a:cubicBezTo>
                  <a:moveTo>
                    <a:pt x="204" y="0"/>
                  </a:moveTo>
                  <a:cubicBezTo>
                    <a:pt x="0" y="204"/>
                    <a:pt x="0" y="204"/>
                    <a:pt x="0" y="204"/>
                  </a:cubicBezTo>
                  <a:cubicBezTo>
                    <a:pt x="99" y="301"/>
                    <a:pt x="234" y="361"/>
                    <a:pt x="384" y="363"/>
                  </a:cubicBezTo>
                  <a:cubicBezTo>
                    <a:pt x="384" y="74"/>
                    <a:pt x="384" y="74"/>
                    <a:pt x="384" y="74"/>
                  </a:cubicBezTo>
                  <a:cubicBezTo>
                    <a:pt x="314" y="73"/>
                    <a:pt x="251" y="45"/>
                    <a:pt x="20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44196"/>
              <a:endParaRPr lang="en-US" sz="2157">
                <a:solidFill>
                  <a:prstClr val="black"/>
                </a:solidFill>
              </a:endParaRPr>
            </a:p>
          </p:txBody>
        </p:sp>
        <p:sp>
          <p:nvSpPr>
            <p:cNvPr id="10" name="Freeform 11"/>
            <p:cNvSpPr>
              <a:spLocks noEditPoints="1"/>
            </p:cNvSpPr>
            <p:nvPr/>
          </p:nvSpPr>
          <p:spPr bwMode="auto">
            <a:xfrm>
              <a:off x="6883" y="1026"/>
              <a:ext cx="1440" cy="1527"/>
            </a:xfrm>
            <a:custGeom>
              <a:avLst/>
              <a:gdLst>
                <a:gd name="T0" fmla="*/ 204 w 362"/>
                <a:gd name="T1" fmla="*/ 9 h 384"/>
                <a:gd name="T2" fmla="*/ 313 w 362"/>
                <a:gd name="T3" fmla="*/ 175 h 384"/>
                <a:gd name="T4" fmla="*/ 356 w 362"/>
                <a:gd name="T5" fmla="*/ 377 h 384"/>
                <a:gd name="T6" fmla="*/ 80 w 362"/>
                <a:gd name="T7" fmla="*/ 377 h 384"/>
                <a:gd name="T8" fmla="*/ 9 w 362"/>
                <a:gd name="T9" fmla="*/ 204 h 384"/>
                <a:gd name="T10" fmla="*/ 204 w 362"/>
                <a:gd name="T11" fmla="*/ 9 h 384"/>
                <a:gd name="T12" fmla="*/ 204 w 362"/>
                <a:gd name="T13" fmla="*/ 0 h 384"/>
                <a:gd name="T14" fmla="*/ 0 w 362"/>
                <a:gd name="T15" fmla="*/ 204 h 384"/>
                <a:gd name="T16" fmla="*/ 74 w 362"/>
                <a:gd name="T17" fmla="*/ 384 h 384"/>
                <a:gd name="T18" fmla="*/ 362 w 362"/>
                <a:gd name="T19" fmla="*/ 384 h 384"/>
                <a:gd name="T20" fmla="*/ 204 w 362"/>
                <a:gd name="T21" fmla="*/ 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2" h="384">
                  <a:moveTo>
                    <a:pt x="204" y="9"/>
                  </a:moveTo>
                  <a:cubicBezTo>
                    <a:pt x="250" y="58"/>
                    <a:pt x="287" y="114"/>
                    <a:pt x="313" y="175"/>
                  </a:cubicBezTo>
                  <a:cubicBezTo>
                    <a:pt x="340" y="239"/>
                    <a:pt x="354" y="307"/>
                    <a:pt x="356" y="377"/>
                  </a:cubicBezTo>
                  <a:cubicBezTo>
                    <a:pt x="80" y="377"/>
                    <a:pt x="80" y="377"/>
                    <a:pt x="80" y="377"/>
                  </a:cubicBezTo>
                  <a:cubicBezTo>
                    <a:pt x="78" y="312"/>
                    <a:pt x="53" y="251"/>
                    <a:pt x="9" y="204"/>
                  </a:cubicBezTo>
                  <a:cubicBezTo>
                    <a:pt x="204" y="9"/>
                    <a:pt x="204" y="9"/>
                    <a:pt x="204" y="9"/>
                  </a:cubicBezTo>
                  <a:moveTo>
                    <a:pt x="204" y="0"/>
                  </a:moveTo>
                  <a:cubicBezTo>
                    <a:pt x="0" y="204"/>
                    <a:pt x="0" y="204"/>
                    <a:pt x="0" y="204"/>
                  </a:cubicBezTo>
                  <a:cubicBezTo>
                    <a:pt x="45" y="250"/>
                    <a:pt x="73" y="314"/>
                    <a:pt x="74" y="384"/>
                  </a:cubicBezTo>
                  <a:cubicBezTo>
                    <a:pt x="362" y="384"/>
                    <a:pt x="362" y="384"/>
                    <a:pt x="362" y="384"/>
                  </a:cubicBezTo>
                  <a:cubicBezTo>
                    <a:pt x="361" y="234"/>
                    <a:pt x="301" y="99"/>
                    <a:pt x="20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44196"/>
              <a:endParaRPr lang="en-US" sz="2157">
                <a:solidFill>
                  <a:prstClr val="black"/>
                </a:solidFill>
              </a:endParaRPr>
            </a:p>
          </p:txBody>
        </p:sp>
        <p:sp>
          <p:nvSpPr>
            <p:cNvPr id="11" name="Freeform 12"/>
            <p:cNvSpPr>
              <a:spLocks noEditPoints="1"/>
            </p:cNvSpPr>
            <p:nvPr/>
          </p:nvSpPr>
          <p:spPr bwMode="auto">
            <a:xfrm>
              <a:off x="6140" y="3329"/>
              <a:ext cx="1523" cy="1443"/>
            </a:xfrm>
            <a:custGeom>
              <a:avLst/>
              <a:gdLst>
                <a:gd name="T0" fmla="*/ 179 w 383"/>
                <a:gd name="T1" fmla="*/ 9 h 363"/>
                <a:gd name="T2" fmla="*/ 374 w 383"/>
                <a:gd name="T3" fmla="*/ 204 h 363"/>
                <a:gd name="T4" fmla="*/ 208 w 383"/>
                <a:gd name="T5" fmla="*/ 313 h 363"/>
                <a:gd name="T6" fmla="*/ 7 w 383"/>
                <a:gd name="T7" fmla="*/ 356 h 363"/>
                <a:gd name="T8" fmla="*/ 7 w 383"/>
                <a:gd name="T9" fmla="*/ 81 h 363"/>
                <a:gd name="T10" fmla="*/ 179 w 383"/>
                <a:gd name="T11" fmla="*/ 9 h 363"/>
                <a:gd name="T12" fmla="*/ 179 w 383"/>
                <a:gd name="T13" fmla="*/ 0 h 363"/>
                <a:gd name="T14" fmla="*/ 0 w 383"/>
                <a:gd name="T15" fmla="*/ 74 h 363"/>
                <a:gd name="T16" fmla="*/ 0 w 383"/>
                <a:gd name="T17" fmla="*/ 363 h 363"/>
                <a:gd name="T18" fmla="*/ 383 w 383"/>
                <a:gd name="T19" fmla="*/ 204 h 363"/>
                <a:gd name="T20" fmla="*/ 179 w 383"/>
                <a:gd name="T21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3" h="363">
                  <a:moveTo>
                    <a:pt x="179" y="9"/>
                  </a:moveTo>
                  <a:cubicBezTo>
                    <a:pt x="374" y="204"/>
                    <a:pt x="374" y="204"/>
                    <a:pt x="374" y="204"/>
                  </a:cubicBezTo>
                  <a:cubicBezTo>
                    <a:pt x="325" y="250"/>
                    <a:pt x="270" y="287"/>
                    <a:pt x="208" y="313"/>
                  </a:cubicBezTo>
                  <a:cubicBezTo>
                    <a:pt x="144" y="340"/>
                    <a:pt x="76" y="355"/>
                    <a:pt x="7" y="356"/>
                  </a:cubicBezTo>
                  <a:cubicBezTo>
                    <a:pt x="7" y="81"/>
                    <a:pt x="7" y="81"/>
                    <a:pt x="7" y="81"/>
                  </a:cubicBezTo>
                  <a:cubicBezTo>
                    <a:pt x="71" y="78"/>
                    <a:pt x="132" y="53"/>
                    <a:pt x="179" y="9"/>
                  </a:cubicBezTo>
                  <a:moveTo>
                    <a:pt x="179" y="0"/>
                  </a:moveTo>
                  <a:cubicBezTo>
                    <a:pt x="133" y="45"/>
                    <a:pt x="70" y="73"/>
                    <a:pt x="0" y="74"/>
                  </a:cubicBezTo>
                  <a:cubicBezTo>
                    <a:pt x="0" y="363"/>
                    <a:pt x="0" y="363"/>
                    <a:pt x="0" y="363"/>
                  </a:cubicBezTo>
                  <a:cubicBezTo>
                    <a:pt x="149" y="361"/>
                    <a:pt x="285" y="301"/>
                    <a:pt x="383" y="204"/>
                  </a:cubicBezTo>
                  <a:cubicBezTo>
                    <a:pt x="179" y="0"/>
                    <a:pt x="179" y="0"/>
                    <a:pt x="17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44196"/>
              <a:endParaRPr lang="en-US" sz="2157">
                <a:solidFill>
                  <a:prstClr val="black"/>
                </a:solidFill>
              </a:endParaRPr>
            </a:p>
          </p:txBody>
        </p:sp>
      </p:grpSp>
      <p:sp>
        <p:nvSpPr>
          <p:cNvPr id="13" name="TextBox 12"/>
          <p:cNvSpPr txBox="1"/>
          <p:nvPr userDrawn="1"/>
        </p:nvSpPr>
        <p:spPr>
          <a:xfrm>
            <a:off x="453916" y="5986244"/>
            <a:ext cx="8807977" cy="407388"/>
          </a:xfrm>
          <a:prstGeom prst="rect">
            <a:avLst/>
          </a:prstGeom>
          <a:noFill/>
        </p:spPr>
        <p:txBody>
          <a:bodyPr wrap="square" bIns="0" rtlCol="0">
            <a:spAutoFit/>
          </a:bodyPr>
          <a:lstStyle/>
          <a:p>
            <a:pPr defTabSz="544196"/>
            <a:r>
              <a:rPr lang="en-US" sz="2353" dirty="0" smtClean="0">
                <a:solidFill>
                  <a:srgbClr val="FEA830"/>
                </a:solidFill>
                <a:latin typeface="Segoe UI Semibold"/>
                <a:cs typeface="Segoe UI Semibold"/>
              </a:rPr>
              <a:t>#modernbiz</a:t>
            </a:r>
            <a:endParaRPr lang="en-US" sz="2353" dirty="0">
              <a:solidFill>
                <a:srgbClr val="FEA830"/>
              </a:solidFill>
              <a:latin typeface="Segoe UI Semibold"/>
              <a:cs typeface="Segoe UI Semibold"/>
            </a:endParaRPr>
          </a:p>
        </p:txBody>
      </p:sp>
      <p:sp>
        <p:nvSpPr>
          <p:cNvPr id="14" name="Pie 13"/>
          <p:cNvSpPr/>
          <p:nvPr userDrawn="1"/>
        </p:nvSpPr>
        <p:spPr>
          <a:xfrm rot="10800000">
            <a:off x="10399151" y="5073744"/>
            <a:ext cx="3585699" cy="3586208"/>
          </a:xfrm>
          <a:prstGeom prst="pie">
            <a:avLst>
              <a:gd name="adj1" fmla="val 0"/>
              <a:gd name="adj2" fmla="val 5405320"/>
            </a:avLst>
          </a:prstGeom>
          <a:solidFill>
            <a:srgbClr val="FEA83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" name="Rectangle 15"/>
          <p:cNvSpPr/>
          <p:nvPr userDrawn="1"/>
        </p:nvSpPr>
        <p:spPr bwMode="auto">
          <a:xfrm>
            <a:off x="10607903" y="5888515"/>
            <a:ext cx="1857603" cy="46016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16" tIns="44816" rIns="44816" bIns="448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10493" defTabSz="89597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568" spc="-98" dirty="0" smtClean="0">
                <a:ln w="3175">
                  <a:noFill/>
                </a:ln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cs typeface="Arial" charset="0"/>
              </a:rPr>
              <a:t>Business is Better </a:t>
            </a:r>
          </a:p>
          <a:p>
            <a:pPr marL="110493" defTabSz="89597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568" spc="-98" dirty="0" smtClean="0">
                <a:ln w="3175">
                  <a:noFill/>
                </a:ln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cs typeface="Arial" charset="0"/>
              </a:rPr>
              <a:t>with </a:t>
            </a:r>
            <a:r>
              <a:rPr lang="en-US" sz="1961" b="1" spc="-98" dirty="0" smtClean="0">
                <a:ln w="3175">
                  <a:noFill/>
                </a:ln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cs typeface="Arial" charset="0"/>
              </a:rPr>
              <a:t>Office 365</a:t>
            </a:r>
            <a:endParaRPr lang="en-US" sz="1961" b="1" spc="-98" dirty="0">
              <a:ln w="3175"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90087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bg>
      <p:bgPr>
        <a:solidFill>
          <a:srgbClr val="FEA83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/>
          <p:cNvGrpSpPr>
            <a:grpSpLocks noChangeAspect="1"/>
          </p:cNvGrpSpPr>
          <p:nvPr userDrawn="1"/>
        </p:nvGrpSpPr>
        <p:grpSpPr bwMode="auto">
          <a:xfrm>
            <a:off x="5665300" y="1120690"/>
            <a:ext cx="6857027" cy="6858000"/>
            <a:chOff x="3917" y="366"/>
            <a:chExt cx="4406" cy="4406"/>
          </a:xfrm>
          <a:solidFill>
            <a:schemeClr val="bg1">
              <a:alpha val="15000"/>
            </a:schemeClr>
          </a:solidFill>
        </p:grpSpPr>
        <p:sp>
          <p:nvSpPr>
            <p:cNvPr id="17" name="Freeform 5"/>
            <p:cNvSpPr>
              <a:spLocks noEditPoints="1"/>
            </p:cNvSpPr>
            <p:nvPr/>
          </p:nvSpPr>
          <p:spPr bwMode="auto">
            <a:xfrm>
              <a:off x="4577" y="366"/>
              <a:ext cx="1527" cy="1444"/>
            </a:xfrm>
            <a:custGeom>
              <a:avLst/>
              <a:gdLst>
                <a:gd name="T0" fmla="*/ 377 w 384"/>
                <a:gd name="T1" fmla="*/ 6 h 363"/>
                <a:gd name="T2" fmla="*/ 377 w 384"/>
                <a:gd name="T3" fmla="*/ 282 h 363"/>
                <a:gd name="T4" fmla="*/ 204 w 384"/>
                <a:gd name="T5" fmla="*/ 354 h 363"/>
                <a:gd name="T6" fmla="*/ 9 w 384"/>
                <a:gd name="T7" fmla="*/ 159 h 363"/>
                <a:gd name="T8" fmla="*/ 175 w 384"/>
                <a:gd name="T9" fmla="*/ 49 h 363"/>
                <a:gd name="T10" fmla="*/ 377 w 384"/>
                <a:gd name="T11" fmla="*/ 6 h 363"/>
                <a:gd name="T12" fmla="*/ 384 w 384"/>
                <a:gd name="T13" fmla="*/ 0 h 363"/>
                <a:gd name="T14" fmla="*/ 0 w 384"/>
                <a:gd name="T15" fmla="*/ 159 h 363"/>
                <a:gd name="T16" fmla="*/ 204 w 384"/>
                <a:gd name="T17" fmla="*/ 363 h 363"/>
                <a:gd name="T18" fmla="*/ 384 w 384"/>
                <a:gd name="T19" fmla="*/ 288 h 363"/>
                <a:gd name="T20" fmla="*/ 384 w 384"/>
                <a:gd name="T21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4" h="363">
                  <a:moveTo>
                    <a:pt x="377" y="6"/>
                  </a:moveTo>
                  <a:cubicBezTo>
                    <a:pt x="377" y="282"/>
                    <a:pt x="377" y="282"/>
                    <a:pt x="377" y="282"/>
                  </a:cubicBezTo>
                  <a:cubicBezTo>
                    <a:pt x="312" y="284"/>
                    <a:pt x="251" y="310"/>
                    <a:pt x="204" y="354"/>
                  </a:cubicBezTo>
                  <a:cubicBezTo>
                    <a:pt x="9" y="159"/>
                    <a:pt x="9" y="159"/>
                    <a:pt x="9" y="159"/>
                  </a:cubicBezTo>
                  <a:cubicBezTo>
                    <a:pt x="58" y="112"/>
                    <a:pt x="113" y="76"/>
                    <a:pt x="175" y="49"/>
                  </a:cubicBezTo>
                  <a:cubicBezTo>
                    <a:pt x="239" y="22"/>
                    <a:pt x="307" y="8"/>
                    <a:pt x="377" y="6"/>
                  </a:cubicBezTo>
                  <a:moveTo>
                    <a:pt x="384" y="0"/>
                  </a:moveTo>
                  <a:cubicBezTo>
                    <a:pt x="234" y="1"/>
                    <a:pt x="99" y="61"/>
                    <a:pt x="0" y="159"/>
                  </a:cubicBezTo>
                  <a:cubicBezTo>
                    <a:pt x="204" y="363"/>
                    <a:pt x="204" y="363"/>
                    <a:pt x="204" y="363"/>
                  </a:cubicBezTo>
                  <a:cubicBezTo>
                    <a:pt x="250" y="318"/>
                    <a:pt x="314" y="289"/>
                    <a:pt x="384" y="288"/>
                  </a:cubicBezTo>
                  <a:cubicBezTo>
                    <a:pt x="384" y="0"/>
                    <a:pt x="384" y="0"/>
                    <a:pt x="38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44196"/>
              <a:endParaRPr lang="en-US" sz="2157">
                <a:solidFill>
                  <a:prstClr val="black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/>
          </p:nvSpPr>
          <p:spPr bwMode="auto">
            <a:xfrm>
              <a:off x="3917" y="1026"/>
              <a:ext cx="1443" cy="1527"/>
            </a:xfrm>
            <a:custGeom>
              <a:avLst/>
              <a:gdLst>
                <a:gd name="T0" fmla="*/ 159 w 363"/>
                <a:gd name="T1" fmla="*/ 9 h 384"/>
                <a:gd name="T2" fmla="*/ 354 w 363"/>
                <a:gd name="T3" fmla="*/ 204 h 384"/>
                <a:gd name="T4" fmla="*/ 282 w 363"/>
                <a:gd name="T5" fmla="*/ 377 h 384"/>
                <a:gd name="T6" fmla="*/ 7 w 363"/>
                <a:gd name="T7" fmla="*/ 377 h 384"/>
                <a:gd name="T8" fmla="*/ 50 w 363"/>
                <a:gd name="T9" fmla="*/ 175 h 384"/>
                <a:gd name="T10" fmla="*/ 159 w 363"/>
                <a:gd name="T11" fmla="*/ 9 h 384"/>
                <a:gd name="T12" fmla="*/ 159 w 363"/>
                <a:gd name="T13" fmla="*/ 0 h 384"/>
                <a:gd name="T14" fmla="*/ 0 w 363"/>
                <a:gd name="T15" fmla="*/ 384 h 384"/>
                <a:gd name="T16" fmla="*/ 289 w 363"/>
                <a:gd name="T17" fmla="*/ 384 h 384"/>
                <a:gd name="T18" fmla="*/ 363 w 363"/>
                <a:gd name="T19" fmla="*/ 204 h 384"/>
                <a:gd name="T20" fmla="*/ 159 w 363"/>
                <a:gd name="T21" fmla="*/ 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3" h="384">
                  <a:moveTo>
                    <a:pt x="159" y="9"/>
                  </a:moveTo>
                  <a:cubicBezTo>
                    <a:pt x="354" y="204"/>
                    <a:pt x="354" y="204"/>
                    <a:pt x="354" y="204"/>
                  </a:cubicBezTo>
                  <a:cubicBezTo>
                    <a:pt x="310" y="251"/>
                    <a:pt x="285" y="312"/>
                    <a:pt x="282" y="377"/>
                  </a:cubicBezTo>
                  <a:cubicBezTo>
                    <a:pt x="7" y="377"/>
                    <a:pt x="7" y="377"/>
                    <a:pt x="7" y="377"/>
                  </a:cubicBezTo>
                  <a:cubicBezTo>
                    <a:pt x="8" y="307"/>
                    <a:pt x="23" y="239"/>
                    <a:pt x="50" y="175"/>
                  </a:cubicBezTo>
                  <a:cubicBezTo>
                    <a:pt x="76" y="114"/>
                    <a:pt x="112" y="58"/>
                    <a:pt x="159" y="9"/>
                  </a:cubicBezTo>
                  <a:moveTo>
                    <a:pt x="159" y="0"/>
                  </a:moveTo>
                  <a:cubicBezTo>
                    <a:pt x="62" y="99"/>
                    <a:pt x="1" y="234"/>
                    <a:pt x="0" y="384"/>
                  </a:cubicBezTo>
                  <a:cubicBezTo>
                    <a:pt x="289" y="384"/>
                    <a:pt x="289" y="384"/>
                    <a:pt x="289" y="384"/>
                  </a:cubicBezTo>
                  <a:cubicBezTo>
                    <a:pt x="290" y="314"/>
                    <a:pt x="318" y="250"/>
                    <a:pt x="363" y="204"/>
                  </a:cubicBezTo>
                  <a:cubicBezTo>
                    <a:pt x="159" y="0"/>
                    <a:pt x="159" y="0"/>
                    <a:pt x="15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44196"/>
              <a:endParaRPr lang="en-US" sz="2157">
                <a:solidFill>
                  <a:prstClr val="black"/>
                </a:solidFill>
              </a:endParaRPr>
            </a:p>
          </p:txBody>
        </p:sp>
        <p:sp>
          <p:nvSpPr>
            <p:cNvPr id="19" name="Freeform 7"/>
            <p:cNvSpPr>
              <a:spLocks noEditPoints="1"/>
            </p:cNvSpPr>
            <p:nvPr/>
          </p:nvSpPr>
          <p:spPr bwMode="auto">
            <a:xfrm>
              <a:off x="6140" y="366"/>
              <a:ext cx="1527" cy="1444"/>
            </a:xfrm>
            <a:custGeom>
              <a:avLst/>
              <a:gdLst>
                <a:gd name="T0" fmla="*/ 7 w 384"/>
                <a:gd name="T1" fmla="*/ 6 h 363"/>
                <a:gd name="T2" fmla="*/ 208 w 384"/>
                <a:gd name="T3" fmla="*/ 49 h 363"/>
                <a:gd name="T4" fmla="*/ 375 w 384"/>
                <a:gd name="T5" fmla="*/ 159 h 363"/>
                <a:gd name="T6" fmla="*/ 180 w 384"/>
                <a:gd name="T7" fmla="*/ 354 h 363"/>
                <a:gd name="T8" fmla="*/ 7 w 384"/>
                <a:gd name="T9" fmla="*/ 282 h 363"/>
                <a:gd name="T10" fmla="*/ 7 w 384"/>
                <a:gd name="T11" fmla="*/ 6 h 363"/>
                <a:gd name="T12" fmla="*/ 0 w 384"/>
                <a:gd name="T13" fmla="*/ 0 h 363"/>
                <a:gd name="T14" fmla="*/ 0 w 384"/>
                <a:gd name="T15" fmla="*/ 288 h 363"/>
                <a:gd name="T16" fmla="*/ 180 w 384"/>
                <a:gd name="T17" fmla="*/ 363 h 363"/>
                <a:gd name="T18" fmla="*/ 384 w 384"/>
                <a:gd name="T19" fmla="*/ 159 h 363"/>
                <a:gd name="T20" fmla="*/ 0 w 384"/>
                <a:gd name="T21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4" h="363">
                  <a:moveTo>
                    <a:pt x="7" y="6"/>
                  </a:moveTo>
                  <a:cubicBezTo>
                    <a:pt x="77" y="8"/>
                    <a:pt x="144" y="22"/>
                    <a:pt x="208" y="49"/>
                  </a:cubicBezTo>
                  <a:cubicBezTo>
                    <a:pt x="270" y="76"/>
                    <a:pt x="326" y="112"/>
                    <a:pt x="375" y="159"/>
                  </a:cubicBezTo>
                  <a:cubicBezTo>
                    <a:pt x="180" y="354"/>
                    <a:pt x="180" y="354"/>
                    <a:pt x="180" y="354"/>
                  </a:cubicBezTo>
                  <a:cubicBezTo>
                    <a:pt x="132" y="310"/>
                    <a:pt x="71" y="284"/>
                    <a:pt x="7" y="282"/>
                  </a:cubicBezTo>
                  <a:cubicBezTo>
                    <a:pt x="7" y="6"/>
                    <a:pt x="7" y="6"/>
                    <a:pt x="7" y="6"/>
                  </a:cubicBezTo>
                  <a:moveTo>
                    <a:pt x="0" y="0"/>
                  </a:moveTo>
                  <a:cubicBezTo>
                    <a:pt x="0" y="288"/>
                    <a:pt x="0" y="288"/>
                    <a:pt x="0" y="288"/>
                  </a:cubicBezTo>
                  <a:cubicBezTo>
                    <a:pt x="70" y="289"/>
                    <a:pt x="133" y="318"/>
                    <a:pt x="180" y="363"/>
                  </a:cubicBezTo>
                  <a:cubicBezTo>
                    <a:pt x="384" y="159"/>
                    <a:pt x="384" y="159"/>
                    <a:pt x="384" y="159"/>
                  </a:cubicBezTo>
                  <a:cubicBezTo>
                    <a:pt x="285" y="61"/>
                    <a:pt x="150" y="1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44196"/>
              <a:endParaRPr lang="en-US" sz="2157">
                <a:solidFill>
                  <a:prstClr val="black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/>
          </p:nvSpPr>
          <p:spPr bwMode="auto">
            <a:xfrm>
              <a:off x="3917" y="2589"/>
              <a:ext cx="1447" cy="1523"/>
            </a:xfrm>
            <a:custGeom>
              <a:avLst/>
              <a:gdLst>
                <a:gd name="T0" fmla="*/ 282 w 364"/>
                <a:gd name="T1" fmla="*/ 7 h 383"/>
                <a:gd name="T2" fmla="*/ 354 w 364"/>
                <a:gd name="T3" fmla="*/ 179 h 383"/>
                <a:gd name="T4" fmla="*/ 160 w 364"/>
                <a:gd name="T5" fmla="*/ 374 h 383"/>
                <a:gd name="T6" fmla="*/ 50 w 364"/>
                <a:gd name="T7" fmla="*/ 208 h 383"/>
                <a:gd name="T8" fmla="*/ 7 w 364"/>
                <a:gd name="T9" fmla="*/ 7 h 383"/>
                <a:gd name="T10" fmla="*/ 282 w 364"/>
                <a:gd name="T11" fmla="*/ 7 h 383"/>
                <a:gd name="T12" fmla="*/ 289 w 364"/>
                <a:gd name="T13" fmla="*/ 0 h 383"/>
                <a:gd name="T14" fmla="*/ 0 w 364"/>
                <a:gd name="T15" fmla="*/ 0 h 383"/>
                <a:gd name="T16" fmla="*/ 160 w 364"/>
                <a:gd name="T17" fmla="*/ 383 h 383"/>
                <a:gd name="T18" fmla="*/ 364 w 364"/>
                <a:gd name="T19" fmla="*/ 180 h 383"/>
                <a:gd name="T20" fmla="*/ 289 w 364"/>
                <a:gd name="T21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4" h="383">
                  <a:moveTo>
                    <a:pt x="282" y="7"/>
                  </a:moveTo>
                  <a:cubicBezTo>
                    <a:pt x="285" y="71"/>
                    <a:pt x="310" y="132"/>
                    <a:pt x="354" y="179"/>
                  </a:cubicBezTo>
                  <a:cubicBezTo>
                    <a:pt x="160" y="374"/>
                    <a:pt x="160" y="374"/>
                    <a:pt x="160" y="374"/>
                  </a:cubicBezTo>
                  <a:cubicBezTo>
                    <a:pt x="113" y="326"/>
                    <a:pt x="76" y="270"/>
                    <a:pt x="50" y="208"/>
                  </a:cubicBezTo>
                  <a:cubicBezTo>
                    <a:pt x="23" y="144"/>
                    <a:pt x="9" y="77"/>
                    <a:pt x="7" y="7"/>
                  </a:cubicBezTo>
                  <a:cubicBezTo>
                    <a:pt x="282" y="7"/>
                    <a:pt x="282" y="7"/>
                    <a:pt x="282" y="7"/>
                  </a:cubicBezTo>
                  <a:moveTo>
                    <a:pt x="28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149"/>
                    <a:pt x="62" y="285"/>
                    <a:pt x="160" y="383"/>
                  </a:cubicBezTo>
                  <a:cubicBezTo>
                    <a:pt x="364" y="180"/>
                    <a:pt x="364" y="180"/>
                    <a:pt x="364" y="180"/>
                  </a:cubicBezTo>
                  <a:cubicBezTo>
                    <a:pt x="318" y="133"/>
                    <a:pt x="290" y="70"/>
                    <a:pt x="28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44196"/>
              <a:endParaRPr lang="en-US" sz="2157">
                <a:solidFill>
                  <a:prstClr val="black"/>
                </a:solidFill>
              </a:endParaRPr>
            </a:p>
          </p:txBody>
        </p:sp>
        <p:sp>
          <p:nvSpPr>
            <p:cNvPr id="21" name="Freeform 9"/>
            <p:cNvSpPr>
              <a:spLocks noEditPoints="1"/>
            </p:cNvSpPr>
            <p:nvPr/>
          </p:nvSpPr>
          <p:spPr bwMode="auto">
            <a:xfrm>
              <a:off x="6879" y="2589"/>
              <a:ext cx="1444" cy="1523"/>
            </a:xfrm>
            <a:custGeom>
              <a:avLst/>
              <a:gdLst>
                <a:gd name="T0" fmla="*/ 357 w 363"/>
                <a:gd name="T1" fmla="*/ 7 h 383"/>
                <a:gd name="T2" fmla="*/ 314 w 363"/>
                <a:gd name="T3" fmla="*/ 208 h 383"/>
                <a:gd name="T4" fmla="*/ 204 w 363"/>
                <a:gd name="T5" fmla="*/ 374 h 383"/>
                <a:gd name="T6" fmla="*/ 9 w 363"/>
                <a:gd name="T7" fmla="*/ 179 h 383"/>
                <a:gd name="T8" fmla="*/ 81 w 363"/>
                <a:gd name="T9" fmla="*/ 7 h 383"/>
                <a:gd name="T10" fmla="*/ 357 w 363"/>
                <a:gd name="T11" fmla="*/ 7 h 383"/>
                <a:gd name="T12" fmla="*/ 363 w 363"/>
                <a:gd name="T13" fmla="*/ 0 h 383"/>
                <a:gd name="T14" fmla="*/ 75 w 363"/>
                <a:gd name="T15" fmla="*/ 0 h 383"/>
                <a:gd name="T16" fmla="*/ 0 w 363"/>
                <a:gd name="T17" fmla="*/ 180 h 383"/>
                <a:gd name="T18" fmla="*/ 204 w 363"/>
                <a:gd name="T19" fmla="*/ 383 h 383"/>
                <a:gd name="T20" fmla="*/ 363 w 363"/>
                <a:gd name="T21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3" h="383">
                  <a:moveTo>
                    <a:pt x="357" y="7"/>
                  </a:moveTo>
                  <a:cubicBezTo>
                    <a:pt x="355" y="77"/>
                    <a:pt x="341" y="144"/>
                    <a:pt x="314" y="208"/>
                  </a:cubicBezTo>
                  <a:cubicBezTo>
                    <a:pt x="287" y="270"/>
                    <a:pt x="251" y="326"/>
                    <a:pt x="204" y="374"/>
                  </a:cubicBezTo>
                  <a:cubicBezTo>
                    <a:pt x="9" y="179"/>
                    <a:pt x="9" y="179"/>
                    <a:pt x="9" y="179"/>
                  </a:cubicBezTo>
                  <a:cubicBezTo>
                    <a:pt x="53" y="132"/>
                    <a:pt x="79" y="71"/>
                    <a:pt x="81" y="7"/>
                  </a:cubicBezTo>
                  <a:cubicBezTo>
                    <a:pt x="357" y="7"/>
                    <a:pt x="357" y="7"/>
                    <a:pt x="357" y="7"/>
                  </a:cubicBezTo>
                  <a:moveTo>
                    <a:pt x="363" y="0"/>
                  </a:moveTo>
                  <a:cubicBezTo>
                    <a:pt x="75" y="0"/>
                    <a:pt x="75" y="0"/>
                    <a:pt x="75" y="0"/>
                  </a:cubicBezTo>
                  <a:cubicBezTo>
                    <a:pt x="73" y="70"/>
                    <a:pt x="45" y="133"/>
                    <a:pt x="0" y="180"/>
                  </a:cubicBezTo>
                  <a:cubicBezTo>
                    <a:pt x="204" y="383"/>
                    <a:pt x="204" y="383"/>
                    <a:pt x="204" y="383"/>
                  </a:cubicBezTo>
                  <a:cubicBezTo>
                    <a:pt x="301" y="285"/>
                    <a:pt x="362" y="149"/>
                    <a:pt x="36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44196"/>
              <a:endParaRPr lang="en-US" sz="2157">
                <a:solidFill>
                  <a:prstClr val="black"/>
                </a:solidFill>
              </a:endParaRPr>
            </a:p>
          </p:txBody>
        </p:sp>
        <p:sp>
          <p:nvSpPr>
            <p:cNvPr id="22" name="Freeform 10"/>
            <p:cNvSpPr>
              <a:spLocks noEditPoints="1"/>
            </p:cNvSpPr>
            <p:nvPr/>
          </p:nvSpPr>
          <p:spPr bwMode="auto">
            <a:xfrm>
              <a:off x="4577" y="3329"/>
              <a:ext cx="1527" cy="1443"/>
            </a:xfrm>
            <a:custGeom>
              <a:avLst/>
              <a:gdLst>
                <a:gd name="T0" fmla="*/ 204 w 384"/>
                <a:gd name="T1" fmla="*/ 9 h 363"/>
                <a:gd name="T2" fmla="*/ 377 w 384"/>
                <a:gd name="T3" fmla="*/ 81 h 363"/>
                <a:gd name="T4" fmla="*/ 377 w 384"/>
                <a:gd name="T5" fmla="*/ 356 h 363"/>
                <a:gd name="T6" fmla="*/ 176 w 384"/>
                <a:gd name="T7" fmla="*/ 313 h 363"/>
                <a:gd name="T8" fmla="*/ 10 w 384"/>
                <a:gd name="T9" fmla="*/ 204 h 363"/>
                <a:gd name="T10" fmla="*/ 204 w 384"/>
                <a:gd name="T11" fmla="*/ 9 h 363"/>
                <a:gd name="T12" fmla="*/ 204 w 384"/>
                <a:gd name="T13" fmla="*/ 0 h 363"/>
                <a:gd name="T14" fmla="*/ 0 w 384"/>
                <a:gd name="T15" fmla="*/ 204 h 363"/>
                <a:gd name="T16" fmla="*/ 384 w 384"/>
                <a:gd name="T17" fmla="*/ 363 h 363"/>
                <a:gd name="T18" fmla="*/ 384 w 384"/>
                <a:gd name="T19" fmla="*/ 74 h 363"/>
                <a:gd name="T20" fmla="*/ 204 w 384"/>
                <a:gd name="T21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4" h="363">
                  <a:moveTo>
                    <a:pt x="204" y="9"/>
                  </a:moveTo>
                  <a:cubicBezTo>
                    <a:pt x="252" y="53"/>
                    <a:pt x="313" y="78"/>
                    <a:pt x="377" y="81"/>
                  </a:cubicBezTo>
                  <a:cubicBezTo>
                    <a:pt x="377" y="356"/>
                    <a:pt x="377" y="356"/>
                    <a:pt x="377" y="356"/>
                  </a:cubicBezTo>
                  <a:cubicBezTo>
                    <a:pt x="307" y="355"/>
                    <a:pt x="240" y="340"/>
                    <a:pt x="176" y="313"/>
                  </a:cubicBezTo>
                  <a:cubicBezTo>
                    <a:pt x="114" y="287"/>
                    <a:pt x="58" y="250"/>
                    <a:pt x="10" y="204"/>
                  </a:cubicBezTo>
                  <a:cubicBezTo>
                    <a:pt x="204" y="9"/>
                    <a:pt x="204" y="9"/>
                    <a:pt x="204" y="9"/>
                  </a:cubicBezTo>
                  <a:moveTo>
                    <a:pt x="204" y="0"/>
                  </a:moveTo>
                  <a:cubicBezTo>
                    <a:pt x="0" y="204"/>
                    <a:pt x="0" y="204"/>
                    <a:pt x="0" y="204"/>
                  </a:cubicBezTo>
                  <a:cubicBezTo>
                    <a:pt x="99" y="301"/>
                    <a:pt x="234" y="361"/>
                    <a:pt x="384" y="363"/>
                  </a:cubicBezTo>
                  <a:cubicBezTo>
                    <a:pt x="384" y="74"/>
                    <a:pt x="384" y="74"/>
                    <a:pt x="384" y="74"/>
                  </a:cubicBezTo>
                  <a:cubicBezTo>
                    <a:pt x="314" y="73"/>
                    <a:pt x="251" y="45"/>
                    <a:pt x="20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44196"/>
              <a:endParaRPr lang="en-US" sz="2157">
                <a:solidFill>
                  <a:prstClr val="black"/>
                </a:solidFill>
              </a:endParaRPr>
            </a:p>
          </p:txBody>
        </p:sp>
        <p:sp>
          <p:nvSpPr>
            <p:cNvPr id="23" name="Freeform 11"/>
            <p:cNvSpPr>
              <a:spLocks noEditPoints="1"/>
            </p:cNvSpPr>
            <p:nvPr/>
          </p:nvSpPr>
          <p:spPr bwMode="auto">
            <a:xfrm>
              <a:off x="6883" y="1026"/>
              <a:ext cx="1440" cy="1527"/>
            </a:xfrm>
            <a:custGeom>
              <a:avLst/>
              <a:gdLst>
                <a:gd name="T0" fmla="*/ 204 w 362"/>
                <a:gd name="T1" fmla="*/ 9 h 384"/>
                <a:gd name="T2" fmla="*/ 313 w 362"/>
                <a:gd name="T3" fmla="*/ 175 h 384"/>
                <a:gd name="T4" fmla="*/ 356 w 362"/>
                <a:gd name="T5" fmla="*/ 377 h 384"/>
                <a:gd name="T6" fmla="*/ 80 w 362"/>
                <a:gd name="T7" fmla="*/ 377 h 384"/>
                <a:gd name="T8" fmla="*/ 9 w 362"/>
                <a:gd name="T9" fmla="*/ 204 h 384"/>
                <a:gd name="T10" fmla="*/ 204 w 362"/>
                <a:gd name="T11" fmla="*/ 9 h 384"/>
                <a:gd name="T12" fmla="*/ 204 w 362"/>
                <a:gd name="T13" fmla="*/ 0 h 384"/>
                <a:gd name="T14" fmla="*/ 0 w 362"/>
                <a:gd name="T15" fmla="*/ 204 h 384"/>
                <a:gd name="T16" fmla="*/ 74 w 362"/>
                <a:gd name="T17" fmla="*/ 384 h 384"/>
                <a:gd name="T18" fmla="*/ 362 w 362"/>
                <a:gd name="T19" fmla="*/ 384 h 384"/>
                <a:gd name="T20" fmla="*/ 204 w 362"/>
                <a:gd name="T21" fmla="*/ 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2" h="384">
                  <a:moveTo>
                    <a:pt x="204" y="9"/>
                  </a:moveTo>
                  <a:cubicBezTo>
                    <a:pt x="250" y="58"/>
                    <a:pt x="287" y="114"/>
                    <a:pt x="313" y="175"/>
                  </a:cubicBezTo>
                  <a:cubicBezTo>
                    <a:pt x="340" y="239"/>
                    <a:pt x="354" y="307"/>
                    <a:pt x="356" y="377"/>
                  </a:cubicBezTo>
                  <a:cubicBezTo>
                    <a:pt x="80" y="377"/>
                    <a:pt x="80" y="377"/>
                    <a:pt x="80" y="377"/>
                  </a:cubicBezTo>
                  <a:cubicBezTo>
                    <a:pt x="78" y="312"/>
                    <a:pt x="53" y="251"/>
                    <a:pt x="9" y="204"/>
                  </a:cubicBezTo>
                  <a:cubicBezTo>
                    <a:pt x="204" y="9"/>
                    <a:pt x="204" y="9"/>
                    <a:pt x="204" y="9"/>
                  </a:cubicBezTo>
                  <a:moveTo>
                    <a:pt x="204" y="0"/>
                  </a:moveTo>
                  <a:cubicBezTo>
                    <a:pt x="0" y="204"/>
                    <a:pt x="0" y="204"/>
                    <a:pt x="0" y="204"/>
                  </a:cubicBezTo>
                  <a:cubicBezTo>
                    <a:pt x="45" y="250"/>
                    <a:pt x="73" y="314"/>
                    <a:pt x="74" y="384"/>
                  </a:cubicBezTo>
                  <a:cubicBezTo>
                    <a:pt x="362" y="384"/>
                    <a:pt x="362" y="384"/>
                    <a:pt x="362" y="384"/>
                  </a:cubicBezTo>
                  <a:cubicBezTo>
                    <a:pt x="361" y="234"/>
                    <a:pt x="301" y="99"/>
                    <a:pt x="20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44196"/>
              <a:endParaRPr lang="en-US" sz="2157">
                <a:solidFill>
                  <a:prstClr val="black"/>
                </a:solidFill>
              </a:endParaRPr>
            </a:p>
          </p:txBody>
        </p:sp>
        <p:sp>
          <p:nvSpPr>
            <p:cNvPr id="24" name="Freeform 12"/>
            <p:cNvSpPr>
              <a:spLocks noEditPoints="1"/>
            </p:cNvSpPr>
            <p:nvPr/>
          </p:nvSpPr>
          <p:spPr bwMode="auto">
            <a:xfrm>
              <a:off x="6140" y="3329"/>
              <a:ext cx="1523" cy="1443"/>
            </a:xfrm>
            <a:custGeom>
              <a:avLst/>
              <a:gdLst>
                <a:gd name="T0" fmla="*/ 179 w 383"/>
                <a:gd name="T1" fmla="*/ 9 h 363"/>
                <a:gd name="T2" fmla="*/ 374 w 383"/>
                <a:gd name="T3" fmla="*/ 204 h 363"/>
                <a:gd name="T4" fmla="*/ 208 w 383"/>
                <a:gd name="T5" fmla="*/ 313 h 363"/>
                <a:gd name="T6" fmla="*/ 7 w 383"/>
                <a:gd name="T7" fmla="*/ 356 h 363"/>
                <a:gd name="T8" fmla="*/ 7 w 383"/>
                <a:gd name="T9" fmla="*/ 81 h 363"/>
                <a:gd name="T10" fmla="*/ 179 w 383"/>
                <a:gd name="T11" fmla="*/ 9 h 363"/>
                <a:gd name="T12" fmla="*/ 179 w 383"/>
                <a:gd name="T13" fmla="*/ 0 h 363"/>
                <a:gd name="T14" fmla="*/ 0 w 383"/>
                <a:gd name="T15" fmla="*/ 74 h 363"/>
                <a:gd name="T16" fmla="*/ 0 w 383"/>
                <a:gd name="T17" fmla="*/ 363 h 363"/>
                <a:gd name="T18" fmla="*/ 383 w 383"/>
                <a:gd name="T19" fmla="*/ 204 h 363"/>
                <a:gd name="T20" fmla="*/ 179 w 383"/>
                <a:gd name="T21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3" h="363">
                  <a:moveTo>
                    <a:pt x="179" y="9"/>
                  </a:moveTo>
                  <a:cubicBezTo>
                    <a:pt x="374" y="204"/>
                    <a:pt x="374" y="204"/>
                    <a:pt x="374" y="204"/>
                  </a:cubicBezTo>
                  <a:cubicBezTo>
                    <a:pt x="325" y="250"/>
                    <a:pt x="270" y="287"/>
                    <a:pt x="208" y="313"/>
                  </a:cubicBezTo>
                  <a:cubicBezTo>
                    <a:pt x="144" y="340"/>
                    <a:pt x="76" y="355"/>
                    <a:pt x="7" y="356"/>
                  </a:cubicBezTo>
                  <a:cubicBezTo>
                    <a:pt x="7" y="81"/>
                    <a:pt x="7" y="81"/>
                    <a:pt x="7" y="81"/>
                  </a:cubicBezTo>
                  <a:cubicBezTo>
                    <a:pt x="71" y="78"/>
                    <a:pt x="132" y="53"/>
                    <a:pt x="179" y="9"/>
                  </a:cubicBezTo>
                  <a:moveTo>
                    <a:pt x="179" y="0"/>
                  </a:moveTo>
                  <a:cubicBezTo>
                    <a:pt x="133" y="45"/>
                    <a:pt x="70" y="73"/>
                    <a:pt x="0" y="74"/>
                  </a:cubicBezTo>
                  <a:cubicBezTo>
                    <a:pt x="0" y="363"/>
                    <a:pt x="0" y="363"/>
                    <a:pt x="0" y="363"/>
                  </a:cubicBezTo>
                  <a:cubicBezTo>
                    <a:pt x="149" y="361"/>
                    <a:pt x="285" y="301"/>
                    <a:pt x="383" y="204"/>
                  </a:cubicBezTo>
                  <a:cubicBezTo>
                    <a:pt x="179" y="0"/>
                    <a:pt x="179" y="0"/>
                    <a:pt x="17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44196"/>
              <a:endParaRPr lang="en-US" sz="2157">
                <a:solidFill>
                  <a:prstClr val="black"/>
                </a:solidFill>
              </a:endParaRPr>
            </a:p>
          </p:txBody>
        </p:sp>
      </p:grpSp>
      <p:sp>
        <p:nvSpPr>
          <p:cNvPr id="25" name="TextBox 24"/>
          <p:cNvSpPr txBox="1"/>
          <p:nvPr userDrawn="1"/>
        </p:nvSpPr>
        <p:spPr>
          <a:xfrm>
            <a:off x="453916" y="5986244"/>
            <a:ext cx="8807977" cy="407388"/>
          </a:xfrm>
          <a:prstGeom prst="rect">
            <a:avLst/>
          </a:prstGeom>
          <a:noFill/>
        </p:spPr>
        <p:txBody>
          <a:bodyPr wrap="square" bIns="0" rtlCol="0">
            <a:spAutoFit/>
          </a:bodyPr>
          <a:lstStyle/>
          <a:p>
            <a:pPr defTabSz="544196"/>
            <a:r>
              <a:rPr lang="en-US" sz="2353" dirty="0" smtClean="0">
                <a:solidFill>
                  <a:srgbClr val="4B0045"/>
                </a:solidFill>
                <a:latin typeface="Segoe UI Semibold"/>
                <a:cs typeface="Segoe UI Semibold"/>
              </a:rPr>
              <a:t>#modernbiz</a:t>
            </a:r>
            <a:endParaRPr lang="en-US" sz="2353" dirty="0">
              <a:solidFill>
                <a:srgbClr val="4B0045"/>
              </a:solidFill>
              <a:latin typeface="Segoe UI Semibold"/>
              <a:cs typeface="Segoe UI Semibold"/>
            </a:endParaRPr>
          </a:p>
        </p:txBody>
      </p:sp>
      <p:sp>
        <p:nvSpPr>
          <p:cNvPr id="27" name="Pie 26"/>
          <p:cNvSpPr/>
          <p:nvPr userDrawn="1"/>
        </p:nvSpPr>
        <p:spPr>
          <a:xfrm rot="10800000">
            <a:off x="10399151" y="5073744"/>
            <a:ext cx="3585699" cy="3586208"/>
          </a:xfrm>
          <a:prstGeom prst="pie">
            <a:avLst>
              <a:gd name="adj1" fmla="val 0"/>
              <a:gd name="adj2" fmla="val 5405320"/>
            </a:avLst>
          </a:prstGeom>
          <a:solidFill>
            <a:srgbClr val="AB008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9" name="Rectangle 28"/>
          <p:cNvSpPr/>
          <p:nvPr userDrawn="1"/>
        </p:nvSpPr>
        <p:spPr bwMode="auto">
          <a:xfrm>
            <a:off x="10607903" y="5888515"/>
            <a:ext cx="1857603" cy="46016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16" tIns="44816" rIns="44816" bIns="448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10493" defTabSz="89597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568" spc="-98" dirty="0" smtClean="0">
                <a:ln w="3175">
                  <a:noFill/>
                </a:ln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cs typeface="Arial" charset="0"/>
              </a:rPr>
              <a:t>Business is Better </a:t>
            </a:r>
          </a:p>
          <a:p>
            <a:pPr marL="110493" defTabSz="89597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568" spc="-98" dirty="0" smtClean="0">
                <a:ln w="3175">
                  <a:noFill/>
                </a:ln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cs typeface="Arial" charset="0"/>
              </a:rPr>
              <a:t>with </a:t>
            </a:r>
            <a:r>
              <a:rPr lang="en-US" sz="1961" b="1" spc="-98" dirty="0" smtClean="0">
                <a:ln w="3175">
                  <a:noFill/>
                </a:ln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cs typeface="Arial" charset="0"/>
              </a:rPr>
              <a:t>Office 365</a:t>
            </a:r>
            <a:endParaRPr lang="en-US" sz="1961" b="1" spc="-98" dirty="0">
              <a:ln w="3175"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15607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bg>
      <p:bgPr>
        <a:solidFill>
          <a:srgbClr val="AD008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 noChangeAspect="1"/>
          </p:cNvGrpSpPr>
          <p:nvPr userDrawn="1"/>
        </p:nvGrpSpPr>
        <p:grpSpPr bwMode="auto">
          <a:xfrm>
            <a:off x="5665300" y="1120690"/>
            <a:ext cx="6857027" cy="6858000"/>
            <a:chOff x="3917" y="366"/>
            <a:chExt cx="4406" cy="4406"/>
          </a:xfrm>
          <a:solidFill>
            <a:schemeClr val="bg1">
              <a:alpha val="15000"/>
            </a:schemeClr>
          </a:solidFill>
        </p:grpSpPr>
        <p:sp>
          <p:nvSpPr>
            <p:cNvPr id="16" name="Freeform 5"/>
            <p:cNvSpPr>
              <a:spLocks noEditPoints="1"/>
            </p:cNvSpPr>
            <p:nvPr/>
          </p:nvSpPr>
          <p:spPr bwMode="auto">
            <a:xfrm>
              <a:off x="4577" y="366"/>
              <a:ext cx="1527" cy="1444"/>
            </a:xfrm>
            <a:custGeom>
              <a:avLst/>
              <a:gdLst>
                <a:gd name="T0" fmla="*/ 377 w 384"/>
                <a:gd name="T1" fmla="*/ 6 h 363"/>
                <a:gd name="T2" fmla="*/ 377 w 384"/>
                <a:gd name="T3" fmla="*/ 282 h 363"/>
                <a:gd name="T4" fmla="*/ 204 w 384"/>
                <a:gd name="T5" fmla="*/ 354 h 363"/>
                <a:gd name="T6" fmla="*/ 9 w 384"/>
                <a:gd name="T7" fmla="*/ 159 h 363"/>
                <a:gd name="T8" fmla="*/ 175 w 384"/>
                <a:gd name="T9" fmla="*/ 49 h 363"/>
                <a:gd name="T10" fmla="*/ 377 w 384"/>
                <a:gd name="T11" fmla="*/ 6 h 363"/>
                <a:gd name="T12" fmla="*/ 384 w 384"/>
                <a:gd name="T13" fmla="*/ 0 h 363"/>
                <a:gd name="T14" fmla="*/ 0 w 384"/>
                <a:gd name="T15" fmla="*/ 159 h 363"/>
                <a:gd name="T16" fmla="*/ 204 w 384"/>
                <a:gd name="T17" fmla="*/ 363 h 363"/>
                <a:gd name="T18" fmla="*/ 384 w 384"/>
                <a:gd name="T19" fmla="*/ 288 h 363"/>
                <a:gd name="T20" fmla="*/ 384 w 384"/>
                <a:gd name="T21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4" h="363">
                  <a:moveTo>
                    <a:pt x="377" y="6"/>
                  </a:moveTo>
                  <a:cubicBezTo>
                    <a:pt x="377" y="282"/>
                    <a:pt x="377" y="282"/>
                    <a:pt x="377" y="282"/>
                  </a:cubicBezTo>
                  <a:cubicBezTo>
                    <a:pt x="312" y="284"/>
                    <a:pt x="251" y="310"/>
                    <a:pt x="204" y="354"/>
                  </a:cubicBezTo>
                  <a:cubicBezTo>
                    <a:pt x="9" y="159"/>
                    <a:pt x="9" y="159"/>
                    <a:pt x="9" y="159"/>
                  </a:cubicBezTo>
                  <a:cubicBezTo>
                    <a:pt x="58" y="112"/>
                    <a:pt x="113" y="76"/>
                    <a:pt x="175" y="49"/>
                  </a:cubicBezTo>
                  <a:cubicBezTo>
                    <a:pt x="239" y="22"/>
                    <a:pt x="307" y="8"/>
                    <a:pt x="377" y="6"/>
                  </a:cubicBezTo>
                  <a:moveTo>
                    <a:pt x="384" y="0"/>
                  </a:moveTo>
                  <a:cubicBezTo>
                    <a:pt x="234" y="1"/>
                    <a:pt x="99" y="61"/>
                    <a:pt x="0" y="159"/>
                  </a:cubicBezTo>
                  <a:cubicBezTo>
                    <a:pt x="204" y="363"/>
                    <a:pt x="204" y="363"/>
                    <a:pt x="204" y="363"/>
                  </a:cubicBezTo>
                  <a:cubicBezTo>
                    <a:pt x="250" y="318"/>
                    <a:pt x="314" y="289"/>
                    <a:pt x="384" y="288"/>
                  </a:cubicBezTo>
                  <a:cubicBezTo>
                    <a:pt x="384" y="0"/>
                    <a:pt x="384" y="0"/>
                    <a:pt x="38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44196"/>
              <a:endParaRPr lang="en-US" sz="2157">
                <a:solidFill>
                  <a:prstClr val="black"/>
                </a:solidFill>
              </a:endParaRPr>
            </a:p>
          </p:txBody>
        </p:sp>
        <p:sp>
          <p:nvSpPr>
            <p:cNvPr id="26" name="Freeform 6"/>
            <p:cNvSpPr>
              <a:spLocks noEditPoints="1"/>
            </p:cNvSpPr>
            <p:nvPr/>
          </p:nvSpPr>
          <p:spPr bwMode="auto">
            <a:xfrm>
              <a:off x="3917" y="1026"/>
              <a:ext cx="1443" cy="1527"/>
            </a:xfrm>
            <a:custGeom>
              <a:avLst/>
              <a:gdLst>
                <a:gd name="T0" fmla="*/ 159 w 363"/>
                <a:gd name="T1" fmla="*/ 9 h 384"/>
                <a:gd name="T2" fmla="*/ 354 w 363"/>
                <a:gd name="T3" fmla="*/ 204 h 384"/>
                <a:gd name="T4" fmla="*/ 282 w 363"/>
                <a:gd name="T5" fmla="*/ 377 h 384"/>
                <a:gd name="T6" fmla="*/ 7 w 363"/>
                <a:gd name="T7" fmla="*/ 377 h 384"/>
                <a:gd name="T8" fmla="*/ 50 w 363"/>
                <a:gd name="T9" fmla="*/ 175 h 384"/>
                <a:gd name="T10" fmla="*/ 159 w 363"/>
                <a:gd name="T11" fmla="*/ 9 h 384"/>
                <a:gd name="T12" fmla="*/ 159 w 363"/>
                <a:gd name="T13" fmla="*/ 0 h 384"/>
                <a:gd name="T14" fmla="*/ 0 w 363"/>
                <a:gd name="T15" fmla="*/ 384 h 384"/>
                <a:gd name="T16" fmla="*/ 289 w 363"/>
                <a:gd name="T17" fmla="*/ 384 h 384"/>
                <a:gd name="T18" fmla="*/ 363 w 363"/>
                <a:gd name="T19" fmla="*/ 204 h 384"/>
                <a:gd name="T20" fmla="*/ 159 w 363"/>
                <a:gd name="T21" fmla="*/ 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3" h="384">
                  <a:moveTo>
                    <a:pt x="159" y="9"/>
                  </a:moveTo>
                  <a:cubicBezTo>
                    <a:pt x="354" y="204"/>
                    <a:pt x="354" y="204"/>
                    <a:pt x="354" y="204"/>
                  </a:cubicBezTo>
                  <a:cubicBezTo>
                    <a:pt x="310" y="251"/>
                    <a:pt x="285" y="312"/>
                    <a:pt x="282" y="377"/>
                  </a:cubicBezTo>
                  <a:cubicBezTo>
                    <a:pt x="7" y="377"/>
                    <a:pt x="7" y="377"/>
                    <a:pt x="7" y="377"/>
                  </a:cubicBezTo>
                  <a:cubicBezTo>
                    <a:pt x="8" y="307"/>
                    <a:pt x="23" y="239"/>
                    <a:pt x="50" y="175"/>
                  </a:cubicBezTo>
                  <a:cubicBezTo>
                    <a:pt x="76" y="114"/>
                    <a:pt x="112" y="58"/>
                    <a:pt x="159" y="9"/>
                  </a:cubicBezTo>
                  <a:moveTo>
                    <a:pt x="159" y="0"/>
                  </a:moveTo>
                  <a:cubicBezTo>
                    <a:pt x="62" y="99"/>
                    <a:pt x="1" y="234"/>
                    <a:pt x="0" y="384"/>
                  </a:cubicBezTo>
                  <a:cubicBezTo>
                    <a:pt x="289" y="384"/>
                    <a:pt x="289" y="384"/>
                    <a:pt x="289" y="384"/>
                  </a:cubicBezTo>
                  <a:cubicBezTo>
                    <a:pt x="290" y="314"/>
                    <a:pt x="318" y="250"/>
                    <a:pt x="363" y="204"/>
                  </a:cubicBezTo>
                  <a:cubicBezTo>
                    <a:pt x="159" y="0"/>
                    <a:pt x="159" y="0"/>
                    <a:pt x="15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44196"/>
              <a:endParaRPr lang="en-US" sz="2157">
                <a:solidFill>
                  <a:prstClr val="black"/>
                </a:solidFill>
              </a:endParaRPr>
            </a:p>
          </p:txBody>
        </p:sp>
        <p:sp>
          <p:nvSpPr>
            <p:cNvPr id="28" name="Freeform 7"/>
            <p:cNvSpPr>
              <a:spLocks noEditPoints="1"/>
            </p:cNvSpPr>
            <p:nvPr/>
          </p:nvSpPr>
          <p:spPr bwMode="auto">
            <a:xfrm>
              <a:off x="6140" y="366"/>
              <a:ext cx="1527" cy="1444"/>
            </a:xfrm>
            <a:custGeom>
              <a:avLst/>
              <a:gdLst>
                <a:gd name="T0" fmla="*/ 7 w 384"/>
                <a:gd name="T1" fmla="*/ 6 h 363"/>
                <a:gd name="T2" fmla="*/ 208 w 384"/>
                <a:gd name="T3" fmla="*/ 49 h 363"/>
                <a:gd name="T4" fmla="*/ 375 w 384"/>
                <a:gd name="T5" fmla="*/ 159 h 363"/>
                <a:gd name="T6" fmla="*/ 180 w 384"/>
                <a:gd name="T7" fmla="*/ 354 h 363"/>
                <a:gd name="T8" fmla="*/ 7 w 384"/>
                <a:gd name="T9" fmla="*/ 282 h 363"/>
                <a:gd name="T10" fmla="*/ 7 w 384"/>
                <a:gd name="T11" fmla="*/ 6 h 363"/>
                <a:gd name="T12" fmla="*/ 0 w 384"/>
                <a:gd name="T13" fmla="*/ 0 h 363"/>
                <a:gd name="T14" fmla="*/ 0 w 384"/>
                <a:gd name="T15" fmla="*/ 288 h 363"/>
                <a:gd name="T16" fmla="*/ 180 w 384"/>
                <a:gd name="T17" fmla="*/ 363 h 363"/>
                <a:gd name="T18" fmla="*/ 384 w 384"/>
                <a:gd name="T19" fmla="*/ 159 h 363"/>
                <a:gd name="T20" fmla="*/ 0 w 384"/>
                <a:gd name="T21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4" h="363">
                  <a:moveTo>
                    <a:pt x="7" y="6"/>
                  </a:moveTo>
                  <a:cubicBezTo>
                    <a:pt x="77" y="8"/>
                    <a:pt x="144" y="22"/>
                    <a:pt x="208" y="49"/>
                  </a:cubicBezTo>
                  <a:cubicBezTo>
                    <a:pt x="270" y="76"/>
                    <a:pt x="326" y="112"/>
                    <a:pt x="375" y="159"/>
                  </a:cubicBezTo>
                  <a:cubicBezTo>
                    <a:pt x="180" y="354"/>
                    <a:pt x="180" y="354"/>
                    <a:pt x="180" y="354"/>
                  </a:cubicBezTo>
                  <a:cubicBezTo>
                    <a:pt x="132" y="310"/>
                    <a:pt x="71" y="284"/>
                    <a:pt x="7" y="282"/>
                  </a:cubicBezTo>
                  <a:cubicBezTo>
                    <a:pt x="7" y="6"/>
                    <a:pt x="7" y="6"/>
                    <a:pt x="7" y="6"/>
                  </a:cubicBezTo>
                  <a:moveTo>
                    <a:pt x="0" y="0"/>
                  </a:moveTo>
                  <a:cubicBezTo>
                    <a:pt x="0" y="288"/>
                    <a:pt x="0" y="288"/>
                    <a:pt x="0" y="288"/>
                  </a:cubicBezTo>
                  <a:cubicBezTo>
                    <a:pt x="70" y="289"/>
                    <a:pt x="133" y="318"/>
                    <a:pt x="180" y="363"/>
                  </a:cubicBezTo>
                  <a:cubicBezTo>
                    <a:pt x="384" y="159"/>
                    <a:pt x="384" y="159"/>
                    <a:pt x="384" y="159"/>
                  </a:cubicBezTo>
                  <a:cubicBezTo>
                    <a:pt x="285" y="61"/>
                    <a:pt x="150" y="1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44196"/>
              <a:endParaRPr lang="en-US" sz="2157">
                <a:solidFill>
                  <a:prstClr val="black"/>
                </a:solidFill>
              </a:endParaRPr>
            </a:p>
          </p:txBody>
        </p:sp>
        <p:sp>
          <p:nvSpPr>
            <p:cNvPr id="30" name="Freeform 8"/>
            <p:cNvSpPr>
              <a:spLocks noEditPoints="1"/>
            </p:cNvSpPr>
            <p:nvPr/>
          </p:nvSpPr>
          <p:spPr bwMode="auto">
            <a:xfrm>
              <a:off x="3917" y="2589"/>
              <a:ext cx="1447" cy="1523"/>
            </a:xfrm>
            <a:custGeom>
              <a:avLst/>
              <a:gdLst>
                <a:gd name="T0" fmla="*/ 282 w 364"/>
                <a:gd name="T1" fmla="*/ 7 h 383"/>
                <a:gd name="T2" fmla="*/ 354 w 364"/>
                <a:gd name="T3" fmla="*/ 179 h 383"/>
                <a:gd name="T4" fmla="*/ 160 w 364"/>
                <a:gd name="T5" fmla="*/ 374 h 383"/>
                <a:gd name="T6" fmla="*/ 50 w 364"/>
                <a:gd name="T7" fmla="*/ 208 h 383"/>
                <a:gd name="T8" fmla="*/ 7 w 364"/>
                <a:gd name="T9" fmla="*/ 7 h 383"/>
                <a:gd name="T10" fmla="*/ 282 w 364"/>
                <a:gd name="T11" fmla="*/ 7 h 383"/>
                <a:gd name="T12" fmla="*/ 289 w 364"/>
                <a:gd name="T13" fmla="*/ 0 h 383"/>
                <a:gd name="T14" fmla="*/ 0 w 364"/>
                <a:gd name="T15" fmla="*/ 0 h 383"/>
                <a:gd name="T16" fmla="*/ 160 w 364"/>
                <a:gd name="T17" fmla="*/ 383 h 383"/>
                <a:gd name="T18" fmla="*/ 364 w 364"/>
                <a:gd name="T19" fmla="*/ 180 h 383"/>
                <a:gd name="T20" fmla="*/ 289 w 364"/>
                <a:gd name="T21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4" h="383">
                  <a:moveTo>
                    <a:pt x="282" y="7"/>
                  </a:moveTo>
                  <a:cubicBezTo>
                    <a:pt x="285" y="71"/>
                    <a:pt x="310" y="132"/>
                    <a:pt x="354" y="179"/>
                  </a:cubicBezTo>
                  <a:cubicBezTo>
                    <a:pt x="160" y="374"/>
                    <a:pt x="160" y="374"/>
                    <a:pt x="160" y="374"/>
                  </a:cubicBezTo>
                  <a:cubicBezTo>
                    <a:pt x="113" y="326"/>
                    <a:pt x="76" y="270"/>
                    <a:pt x="50" y="208"/>
                  </a:cubicBezTo>
                  <a:cubicBezTo>
                    <a:pt x="23" y="144"/>
                    <a:pt x="9" y="77"/>
                    <a:pt x="7" y="7"/>
                  </a:cubicBezTo>
                  <a:cubicBezTo>
                    <a:pt x="282" y="7"/>
                    <a:pt x="282" y="7"/>
                    <a:pt x="282" y="7"/>
                  </a:cubicBezTo>
                  <a:moveTo>
                    <a:pt x="28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149"/>
                    <a:pt x="62" y="285"/>
                    <a:pt x="160" y="383"/>
                  </a:cubicBezTo>
                  <a:cubicBezTo>
                    <a:pt x="364" y="180"/>
                    <a:pt x="364" y="180"/>
                    <a:pt x="364" y="180"/>
                  </a:cubicBezTo>
                  <a:cubicBezTo>
                    <a:pt x="318" y="133"/>
                    <a:pt x="290" y="70"/>
                    <a:pt x="28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44196"/>
              <a:endParaRPr lang="en-US" sz="2157">
                <a:solidFill>
                  <a:prstClr val="black"/>
                </a:solidFill>
              </a:endParaRPr>
            </a:p>
          </p:txBody>
        </p:sp>
        <p:sp>
          <p:nvSpPr>
            <p:cNvPr id="31" name="Freeform 9"/>
            <p:cNvSpPr>
              <a:spLocks noEditPoints="1"/>
            </p:cNvSpPr>
            <p:nvPr/>
          </p:nvSpPr>
          <p:spPr bwMode="auto">
            <a:xfrm>
              <a:off x="6879" y="2589"/>
              <a:ext cx="1444" cy="1523"/>
            </a:xfrm>
            <a:custGeom>
              <a:avLst/>
              <a:gdLst>
                <a:gd name="T0" fmla="*/ 357 w 363"/>
                <a:gd name="T1" fmla="*/ 7 h 383"/>
                <a:gd name="T2" fmla="*/ 314 w 363"/>
                <a:gd name="T3" fmla="*/ 208 h 383"/>
                <a:gd name="T4" fmla="*/ 204 w 363"/>
                <a:gd name="T5" fmla="*/ 374 h 383"/>
                <a:gd name="T6" fmla="*/ 9 w 363"/>
                <a:gd name="T7" fmla="*/ 179 h 383"/>
                <a:gd name="T8" fmla="*/ 81 w 363"/>
                <a:gd name="T9" fmla="*/ 7 h 383"/>
                <a:gd name="T10" fmla="*/ 357 w 363"/>
                <a:gd name="T11" fmla="*/ 7 h 383"/>
                <a:gd name="T12" fmla="*/ 363 w 363"/>
                <a:gd name="T13" fmla="*/ 0 h 383"/>
                <a:gd name="T14" fmla="*/ 75 w 363"/>
                <a:gd name="T15" fmla="*/ 0 h 383"/>
                <a:gd name="T16" fmla="*/ 0 w 363"/>
                <a:gd name="T17" fmla="*/ 180 h 383"/>
                <a:gd name="T18" fmla="*/ 204 w 363"/>
                <a:gd name="T19" fmla="*/ 383 h 383"/>
                <a:gd name="T20" fmla="*/ 363 w 363"/>
                <a:gd name="T21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3" h="383">
                  <a:moveTo>
                    <a:pt x="357" y="7"/>
                  </a:moveTo>
                  <a:cubicBezTo>
                    <a:pt x="355" y="77"/>
                    <a:pt x="341" y="144"/>
                    <a:pt x="314" y="208"/>
                  </a:cubicBezTo>
                  <a:cubicBezTo>
                    <a:pt x="287" y="270"/>
                    <a:pt x="251" y="326"/>
                    <a:pt x="204" y="374"/>
                  </a:cubicBezTo>
                  <a:cubicBezTo>
                    <a:pt x="9" y="179"/>
                    <a:pt x="9" y="179"/>
                    <a:pt x="9" y="179"/>
                  </a:cubicBezTo>
                  <a:cubicBezTo>
                    <a:pt x="53" y="132"/>
                    <a:pt x="79" y="71"/>
                    <a:pt x="81" y="7"/>
                  </a:cubicBezTo>
                  <a:cubicBezTo>
                    <a:pt x="357" y="7"/>
                    <a:pt x="357" y="7"/>
                    <a:pt x="357" y="7"/>
                  </a:cubicBezTo>
                  <a:moveTo>
                    <a:pt x="363" y="0"/>
                  </a:moveTo>
                  <a:cubicBezTo>
                    <a:pt x="75" y="0"/>
                    <a:pt x="75" y="0"/>
                    <a:pt x="75" y="0"/>
                  </a:cubicBezTo>
                  <a:cubicBezTo>
                    <a:pt x="73" y="70"/>
                    <a:pt x="45" y="133"/>
                    <a:pt x="0" y="180"/>
                  </a:cubicBezTo>
                  <a:cubicBezTo>
                    <a:pt x="204" y="383"/>
                    <a:pt x="204" y="383"/>
                    <a:pt x="204" y="383"/>
                  </a:cubicBezTo>
                  <a:cubicBezTo>
                    <a:pt x="301" y="285"/>
                    <a:pt x="362" y="149"/>
                    <a:pt x="36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44196"/>
              <a:endParaRPr lang="en-US" sz="2157">
                <a:solidFill>
                  <a:prstClr val="black"/>
                </a:solidFill>
              </a:endParaRPr>
            </a:p>
          </p:txBody>
        </p:sp>
        <p:sp>
          <p:nvSpPr>
            <p:cNvPr id="32" name="Freeform 10"/>
            <p:cNvSpPr>
              <a:spLocks noEditPoints="1"/>
            </p:cNvSpPr>
            <p:nvPr/>
          </p:nvSpPr>
          <p:spPr bwMode="auto">
            <a:xfrm>
              <a:off x="4577" y="3329"/>
              <a:ext cx="1527" cy="1443"/>
            </a:xfrm>
            <a:custGeom>
              <a:avLst/>
              <a:gdLst>
                <a:gd name="T0" fmla="*/ 204 w 384"/>
                <a:gd name="T1" fmla="*/ 9 h 363"/>
                <a:gd name="T2" fmla="*/ 377 w 384"/>
                <a:gd name="T3" fmla="*/ 81 h 363"/>
                <a:gd name="T4" fmla="*/ 377 w 384"/>
                <a:gd name="T5" fmla="*/ 356 h 363"/>
                <a:gd name="T6" fmla="*/ 176 w 384"/>
                <a:gd name="T7" fmla="*/ 313 h 363"/>
                <a:gd name="T8" fmla="*/ 10 w 384"/>
                <a:gd name="T9" fmla="*/ 204 h 363"/>
                <a:gd name="T10" fmla="*/ 204 w 384"/>
                <a:gd name="T11" fmla="*/ 9 h 363"/>
                <a:gd name="T12" fmla="*/ 204 w 384"/>
                <a:gd name="T13" fmla="*/ 0 h 363"/>
                <a:gd name="T14" fmla="*/ 0 w 384"/>
                <a:gd name="T15" fmla="*/ 204 h 363"/>
                <a:gd name="T16" fmla="*/ 384 w 384"/>
                <a:gd name="T17" fmla="*/ 363 h 363"/>
                <a:gd name="T18" fmla="*/ 384 w 384"/>
                <a:gd name="T19" fmla="*/ 74 h 363"/>
                <a:gd name="T20" fmla="*/ 204 w 384"/>
                <a:gd name="T21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4" h="363">
                  <a:moveTo>
                    <a:pt x="204" y="9"/>
                  </a:moveTo>
                  <a:cubicBezTo>
                    <a:pt x="252" y="53"/>
                    <a:pt x="313" y="78"/>
                    <a:pt x="377" y="81"/>
                  </a:cubicBezTo>
                  <a:cubicBezTo>
                    <a:pt x="377" y="356"/>
                    <a:pt x="377" y="356"/>
                    <a:pt x="377" y="356"/>
                  </a:cubicBezTo>
                  <a:cubicBezTo>
                    <a:pt x="307" y="355"/>
                    <a:pt x="240" y="340"/>
                    <a:pt x="176" y="313"/>
                  </a:cubicBezTo>
                  <a:cubicBezTo>
                    <a:pt x="114" y="287"/>
                    <a:pt x="58" y="250"/>
                    <a:pt x="10" y="204"/>
                  </a:cubicBezTo>
                  <a:cubicBezTo>
                    <a:pt x="204" y="9"/>
                    <a:pt x="204" y="9"/>
                    <a:pt x="204" y="9"/>
                  </a:cubicBezTo>
                  <a:moveTo>
                    <a:pt x="204" y="0"/>
                  </a:moveTo>
                  <a:cubicBezTo>
                    <a:pt x="0" y="204"/>
                    <a:pt x="0" y="204"/>
                    <a:pt x="0" y="204"/>
                  </a:cubicBezTo>
                  <a:cubicBezTo>
                    <a:pt x="99" y="301"/>
                    <a:pt x="234" y="361"/>
                    <a:pt x="384" y="363"/>
                  </a:cubicBezTo>
                  <a:cubicBezTo>
                    <a:pt x="384" y="74"/>
                    <a:pt x="384" y="74"/>
                    <a:pt x="384" y="74"/>
                  </a:cubicBezTo>
                  <a:cubicBezTo>
                    <a:pt x="314" y="73"/>
                    <a:pt x="251" y="45"/>
                    <a:pt x="20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44196"/>
              <a:endParaRPr lang="en-US" sz="2157">
                <a:solidFill>
                  <a:prstClr val="black"/>
                </a:solidFill>
              </a:endParaRPr>
            </a:p>
          </p:txBody>
        </p:sp>
        <p:sp>
          <p:nvSpPr>
            <p:cNvPr id="33" name="Freeform 11"/>
            <p:cNvSpPr>
              <a:spLocks noEditPoints="1"/>
            </p:cNvSpPr>
            <p:nvPr/>
          </p:nvSpPr>
          <p:spPr bwMode="auto">
            <a:xfrm>
              <a:off x="6883" y="1026"/>
              <a:ext cx="1440" cy="1527"/>
            </a:xfrm>
            <a:custGeom>
              <a:avLst/>
              <a:gdLst>
                <a:gd name="T0" fmla="*/ 204 w 362"/>
                <a:gd name="T1" fmla="*/ 9 h 384"/>
                <a:gd name="T2" fmla="*/ 313 w 362"/>
                <a:gd name="T3" fmla="*/ 175 h 384"/>
                <a:gd name="T4" fmla="*/ 356 w 362"/>
                <a:gd name="T5" fmla="*/ 377 h 384"/>
                <a:gd name="T6" fmla="*/ 80 w 362"/>
                <a:gd name="T7" fmla="*/ 377 h 384"/>
                <a:gd name="T8" fmla="*/ 9 w 362"/>
                <a:gd name="T9" fmla="*/ 204 h 384"/>
                <a:gd name="T10" fmla="*/ 204 w 362"/>
                <a:gd name="T11" fmla="*/ 9 h 384"/>
                <a:gd name="T12" fmla="*/ 204 w 362"/>
                <a:gd name="T13" fmla="*/ 0 h 384"/>
                <a:gd name="T14" fmla="*/ 0 w 362"/>
                <a:gd name="T15" fmla="*/ 204 h 384"/>
                <a:gd name="T16" fmla="*/ 74 w 362"/>
                <a:gd name="T17" fmla="*/ 384 h 384"/>
                <a:gd name="T18" fmla="*/ 362 w 362"/>
                <a:gd name="T19" fmla="*/ 384 h 384"/>
                <a:gd name="T20" fmla="*/ 204 w 362"/>
                <a:gd name="T21" fmla="*/ 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2" h="384">
                  <a:moveTo>
                    <a:pt x="204" y="9"/>
                  </a:moveTo>
                  <a:cubicBezTo>
                    <a:pt x="250" y="58"/>
                    <a:pt x="287" y="114"/>
                    <a:pt x="313" y="175"/>
                  </a:cubicBezTo>
                  <a:cubicBezTo>
                    <a:pt x="340" y="239"/>
                    <a:pt x="354" y="307"/>
                    <a:pt x="356" y="377"/>
                  </a:cubicBezTo>
                  <a:cubicBezTo>
                    <a:pt x="80" y="377"/>
                    <a:pt x="80" y="377"/>
                    <a:pt x="80" y="377"/>
                  </a:cubicBezTo>
                  <a:cubicBezTo>
                    <a:pt x="78" y="312"/>
                    <a:pt x="53" y="251"/>
                    <a:pt x="9" y="204"/>
                  </a:cubicBezTo>
                  <a:cubicBezTo>
                    <a:pt x="204" y="9"/>
                    <a:pt x="204" y="9"/>
                    <a:pt x="204" y="9"/>
                  </a:cubicBezTo>
                  <a:moveTo>
                    <a:pt x="204" y="0"/>
                  </a:moveTo>
                  <a:cubicBezTo>
                    <a:pt x="0" y="204"/>
                    <a:pt x="0" y="204"/>
                    <a:pt x="0" y="204"/>
                  </a:cubicBezTo>
                  <a:cubicBezTo>
                    <a:pt x="45" y="250"/>
                    <a:pt x="73" y="314"/>
                    <a:pt x="74" y="384"/>
                  </a:cubicBezTo>
                  <a:cubicBezTo>
                    <a:pt x="362" y="384"/>
                    <a:pt x="362" y="384"/>
                    <a:pt x="362" y="384"/>
                  </a:cubicBezTo>
                  <a:cubicBezTo>
                    <a:pt x="361" y="234"/>
                    <a:pt x="301" y="99"/>
                    <a:pt x="20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44196"/>
              <a:endParaRPr lang="en-US" sz="2157">
                <a:solidFill>
                  <a:prstClr val="black"/>
                </a:solidFill>
              </a:endParaRPr>
            </a:p>
          </p:txBody>
        </p:sp>
        <p:sp>
          <p:nvSpPr>
            <p:cNvPr id="34" name="Freeform 12"/>
            <p:cNvSpPr>
              <a:spLocks noEditPoints="1"/>
            </p:cNvSpPr>
            <p:nvPr/>
          </p:nvSpPr>
          <p:spPr bwMode="auto">
            <a:xfrm>
              <a:off x="6140" y="3329"/>
              <a:ext cx="1523" cy="1443"/>
            </a:xfrm>
            <a:custGeom>
              <a:avLst/>
              <a:gdLst>
                <a:gd name="T0" fmla="*/ 179 w 383"/>
                <a:gd name="T1" fmla="*/ 9 h 363"/>
                <a:gd name="T2" fmla="*/ 374 w 383"/>
                <a:gd name="T3" fmla="*/ 204 h 363"/>
                <a:gd name="T4" fmla="*/ 208 w 383"/>
                <a:gd name="T5" fmla="*/ 313 h 363"/>
                <a:gd name="T6" fmla="*/ 7 w 383"/>
                <a:gd name="T7" fmla="*/ 356 h 363"/>
                <a:gd name="T8" fmla="*/ 7 w 383"/>
                <a:gd name="T9" fmla="*/ 81 h 363"/>
                <a:gd name="T10" fmla="*/ 179 w 383"/>
                <a:gd name="T11" fmla="*/ 9 h 363"/>
                <a:gd name="T12" fmla="*/ 179 w 383"/>
                <a:gd name="T13" fmla="*/ 0 h 363"/>
                <a:gd name="T14" fmla="*/ 0 w 383"/>
                <a:gd name="T15" fmla="*/ 74 h 363"/>
                <a:gd name="T16" fmla="*/ 0 w 383"/>
                <a:gd name="T17" fmla="*/ 363 h 363"/>
                <a:gd name="T18" fmla="*/ 383 w 383"/>
                <a:gd name="T19" fmla="*/ 204 h 363"/>
                <a:gd name="T20" fmla="*/ 179 w 383"/>
                <a:gd name="T21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3" h="363">
                  <a:moveTo>
                    <a:pt x="179" y="9"/>
                  </a:moveTo>
                  <a:cubicBezTo>
                    <a:pt x="374" y="204"/>
                    <a:pt x="374" y="204"/>
                    <a:pt x="374" y="204"/>
                  </a:cubicBezTo>
                  <a:cubicBezTo>
                    <a:pt x="325" y="250"/>
                    <a:pt x="270" y="287"/>
                    <a:pt x="208" y="313"/>
                  </a:cubicBezTo>
                  <a:cubicBezTo>
                    <a:pt x="144" y="340"/>
                    <a:pt x="76" y="355"/>
                    <a:pt x="7" y="356"/>
                  </a:cubicBezTo>
                  <a:cubicBezTo>
                    <a:pt x="7" y="81"/>
                    <a:pt x="7" y="81"/>
                    <a:pt x="7" y="81"/>
                  </a:cubicBezTo>
                  <a:cubicBezTo>
                    <a:pt x="71" y="78"/>
                    <a:pt x="132" y="53"/>
                    <a:pt x="179" y="9"/>
                  </a:cubicBezTo>
                  <a:moveTo>
                    <a:pt x="179" y="0"/>
                  </a:moveTo>
                  <a:cubicBezTo>
                    <a:pt x="133" y="45"/>
                    <a:pt x="70" y="73"/>
                    <a:pt x="0" y="74"/>
                  </a:cubicBezTo>
                  <a:cubicBezTo>
                    <a:pt x="0" y="363"/>
                    <a:pt x="0" y="363"/>
                    <a:pt x="0" y="363"/>
                  </a:cubicBezTo>
                  <a:cubicBezTo>
                    <a:pt x="149" y="361"/>
                    <a:pt x="285" y="301"/>
                    <a:pt x="383" y="204"/>
                  </a:cubicBezTo>
                  <a:cubicBezTo>
                    <a:pt x="179" y="0"/>
                    <a:pt x="179" y="0"/>
                    <a:pt x="17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44196"/>
              <a:endParaRPr lang="en-US" sz="2157">
                <a:solidFill>
                  <a:prstClr val="black"/>
                </a:solidFill>
              </a:endParaRPr>
            </a:p>
          </p:txBody>
        </p:sp>
      </p:grpSp>
      <p:sp>
        <p:nvSpPr>
          <p:cNvPr id="35" name="Pie 34"/>
          <p:cNvSpPr/>
          <p:nvPr userDrawn="1"/>
        </p:nvSpPr>
        <p:spPr>
          <a:xfrm rot="10800000">
            <a:off x="10399151" y="5073744"/>
            <a:ext cx="3585699" cy="3586208"/>
          </a:xfrm>
          <a:prstGeom prst="pie">
            <a:avLst>
              <a:gd name="adj1" fmla="val 0"/>
              <a:gd name="adj2" fmla="val 5405320"/>
            </a:avLst>
          </a:prstGeom>
          <a:solidFill>
            <a:srgbClr val="FEA83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6" name="TextBox 35"/>
          <p:cNvSpPr txBox="1"/>
          <p:nvPr userDrawn="1"/>
        </p:nvSpPr>
        <p:spPr>
          <a:xfrm>
            <a:off x="453916" y="5986244"/>
            <a:ext cx="8807977" cy="407388"/>
          </a:xfrm>
          <a:prstGeom prst="rect">
            <a:avLst/>
          </a:prstGeom>
          <a:noFill/>
        </p:spPr>
        <p:txBody>
          <a:bodyPr wrap="square" bIns="0" rtlCol="0">
            <a:spAutoFit/>
          </a:bodyPr>
          <a:lstStyle/>
          <a:p>
            <a:pPr defTabSz="544196"/>
            <a:r>
              <a:rPr lang="en-US" sz="2353" dirty="0" smtClean="0">
                <a:solidFill>
                  <a:srgbClr val="FEA830"/>
                </a:solidFill>
                <a:latin typeface="Segoe UI Semibold"/>
                <a:cs typeface="Segoe UI Semibold"/>
              </a:rPr>
              <a:t>#modernbiz</a:t>
            </a:r>
            <a:endParaRPr lang="en-US" sz="2353" dirty="0">
              <a:solidFill>
                <a:srgbClr val="FEA830"/>
              </a:solidFill>
              <a:latin typeface="Segoe UI Semibold"/>
              <a:cs typeface="Segoe UI Semibold"/>
            </a:endParaRPr>
          </a:p>
        </p:txBody>
      </p:sp>
      <p:sp>
        <p:nvSpPr>
          <p:cNvPr id="37" name="Rectangle 36"/>
          <p:cNvSpPr/>
          <p:nvPr userDrawn="1"/>
        </p:nvSpPr>
        <p:spPr bwMode="auto">
          <a:xfrm>
            <a:off x="10607903" y="5888515"/>
            <a:ext cx="1857603" cy="46016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16" tIns="44816" rIns="44816" bIns="448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10493" defTabSz="89597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568" spc="-98" dirty="0" smtClean="0">
                <a:ln w="3175">
                  <a:noFill/>
                </a:ln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cs typeface="Arial" charset="0"/>
              </a:rPr>
              <a:t>Business is Better </a:t>
            </a:r>
          </a:p>
          <a:p>
            <a:pPr marL="110493" defTabSz="89597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568" spc="-98" dirty="0" smtClean="0">
                <a:ln w="3175">
                  <a:noFill/>
                </a:ln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cs typeface="Arial" charset="0"/>
              </a:rPr>
              <a:t>with </a:t>
            </a:r>
            <a:r>
              <a:rPr lang="en-US" sz="1961" b="1" spc="-98" dirty="0" smtClean="0">
                <a:ln w="3175">
                  <a:noFill/>
                </a:ln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cs typeface="Arial" charset="0"/>
              </a:rPr>
              <a:t>Office 365</a:t>
            </a:r>
            <a:endParaRPr lang="en-US" sz="1961" b="1" spc="-98" dirty="0">
              <a:ln w="3175"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82111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bg>
      <p:bgPr>
        <a:solidFill>
          <a:srgbClr val="FF74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/>
          <p:cNvSpPr txBox="1"/>
          <p:nvPr userDrawn="1"/>
        </p:nvSpPr>
        <p:spPr>
          <a:xfrm>
            <a:off x="453916" y="5986244"/>
            <a:ext cx="8807977" cy="407388"/>
          </a:xfrm>
          <a:prstGeom prst="rect">
            <a:avLst/>
          </a:prstGeom>
          <a:noFill/>
        </p:spPr>
        <p:txBody>
          <a:bodyPr wrap="square" bIns="0" rtlCol="0">
            <a:spAutoFit/>
          </a:bodyPr>
          <a:lstStyle/>
          <a:p>
            <a:pPr defTabSz="544196"/>
            <a:r>
              <a:rPr lang="en-US" sz="2353" dirty="0" smtClean="0">
                <a:solidFill>
                  <a:srgbClr val="4B0045"/>
                </a:solidFill>
                <a:latin typeface="Segoe UI Semibold"/>
                <a:cs typeface="Segoe UI Semibold"/>
              </a:rPr>
              <a:t>#modernbiz</a:t>
            </a:r>
            <a:endParaRPr lang="en-US" sz="2353" dirty="0">
              <a:solidFill>
                <a:srgbClr val="4B0045"/>
              </a:solidFill>
              <a:latin typeface="Segoe UI Semibold"/>
              <a:cs typeface="Segoe UI Semibold"/>
            </a:endParaRPr>
          </a:p>
        </p:txBody>
      </p:sp>
      <p:grpSp>
        <p:nvGrpSpPr>
          <p:cNvPr id="17" name="Group 16"/>
          <p:cNvGrpSpPr>
            <a:grpSpLocks noChangeAspect="1"/>
          </p:cNvGrpSpPr>
          <p:nvPr userDrawn="1"/>
        </p:nvGrpSpPr>
        <p:grpSpPr bwMode="auto">
          <a:xfrm>
            <a:off x="5665300" y="1120690"/>
            <a:ext cx="6857027" cy="6858000"/>
            <a:chOff x="3917" y="366"/>
            <a:chExt cx="4406" cy="4406"/>
          </a:xfrm>
          <a:solidFill>
            <a:schemeClr val="bg1">
              <a:alpha val="15000"/>
            </a:schemeClr>
          </a:solidFill>
        </p:grpSpPr>
        <p:sp>
          <p:nvSpPr>
            <p:cNvPr id="18" name="Freeform 5"/>
            <p:cNvSpPr>
              <a:spLocks noEditPoints="1"/>
            </p:cNvSpPr>
            <p:nvPr/>
          </p:nvSpPr>
          <p:spPr bwMode="auto">
            <a:xfrm>
              <a:off x="4577" y="366"/>
              <a:ext cx="1527" cy="1444"/>
            </a:xfrm>
            <a:custGeom>
              <a:avLst/>
              <a:gdLst>
                <a:gd name="T0" fmla="*/ 377 w 384"/>
                <a:gd name="T1" fmla="*/ 6 h 363"/>
                <a:gd name="T2" fmla="*/ 377 w 384"/>
                <a:gd name="T3" fmla="*/ 282 h 363"/>
                <a:gd name="T4" fmla="*/ 204 w 384"/>
                <a:gd name="T5" fmla="*/ 354 h 363"/>
                <a:gd name="T6" fmla="*/ 9 w 384"/>
                <a:gd name="T7" fmla="*/ 159 h 363"/>
                <a:gd name="T8" fmla="*/ 175 w 384"/>
                <a:gd name="T9" fmla="*/ 49 h 363"/>
                <a:gd name="T10" fmla="*/ 377 w 384"/>
                <a:gd name="T11" fmla="*/ 6 h 363"/>
                <a:gd name="T12" fmla="*/ 384 w 384"/>
                <a:gd name="T13" fmla="*/ 0 h 363"/>
                <a:gd name="T14" fmla="*/ 0 w 384"/>
                <a:gd name="T15" fmla="*/ 159 h 363"/>
                <a:gd name="T16" fmla="*/ 204 w 384"/>
                <a:gd name="T17" fmla="*/ 363 h 363"/>
                <a:gd name="T18" fmla="*/ 384 w 384"/>
                <a:gd name="T19" fmla="*/ 288 h 363"/>
                <a:gd name="T20" fmla="*/ 384 w 384"/>
                <a:gd name="T21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4" h="363">
                  <a:moveTo>
                    <a:pt x="377" y="6"/>
                  </a:moveTo>
                  <a:cubicBezTo>
                    <a:pt x="377" y="282"/>
                    <a:pt x="377" y="282"/>
                    <a:pt x="377" y="282"/>
                  </a:cubicBezTo>
                  <a:cubicBezTo>
                    <a:pt x="312" y="284"/>
                    <a:pt x="251" y="310"/>
                    <a:pt x="204" y="354"/>
                  </a:cubicBezTo>
                  <a:cubicBezTo>
                    <a:pt x="9" y="159"/>
                    <a:pt x="9" y="159"/>
                    <a:pt x="9" y="159"/>
                  </a:cubicBezTo>
                  <a:cubicBezTo>
                    <a:pt x="58" y="112"/>
                    <a:pt x="113" y="76"/>
                    <a:pt x="175" y="49"/>
                  </a:cubicBezTo>
                  <a:cubicBezTo>
                    <a:pt x="239" y="22"/>
                    <a:pt x="307" y="8"/>
                    <a:pt x="377" y="6"/>
                  </a:cubicBezTo>
                  <a:moveTo>
                    <a:pt x="384" y="0"/>
                  </a:moveTo>
                  <a:cubicBezTo>
                    <a:pt x="234" y="1"/>
                    <a:pt x="99" y="61"/>
                    <a:pt x="0" y="159"/>
                  </a:cubicBezTo>
                  <a:cubicBezTo>
                    <a:pt x="204" y="363"/>
                    <a:pt x="204" y="363"/>
                    <a:pt x="204" y="363"/>
                  </a:cubicBezTo>
                  <a:cubicBezTo>
                    <a:pt x="250" y="318"/>
                    <a:pt x="314" y="289"/>
                    <a:pt x="384" y="288"/>
                  </a:cubicBezTo>
                  <a:cubicBezTo>
                    <a:pt x="384" y="0"/>
                    <a:pt x="384" y="0"/>
                    <a:pt x="38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44196"/>
              <a:endParaRPr lang="en-US" sz="2157">
                <a:solidFill>
                  <a:prstClr val="black"/>
                </a:solidFill>
              </a:endParaRPr>
            </a:p>
          </p:txBody>
        </p:sp>
        <p:sp>
          <p:nvSpPr>
            <p:cNvPr id="19" name="Freeform 6"/>
            <p:cNvSpPr>
              <a:spLocks noEditPoints="1"/>
            </p:cNvSpPr>
            <p:nvPr/>
          </p:nvSpPr>
          <p:spPr bwMode="auto">
            <a:xfrm>
              <a:off x="3917" y="1026"/>
              <a:ext cx="1443" cy="1527"/>
            </a:xfrm>
            <a:custGeom>
              <a:avLst/>
              <a:gdLst>
                <a:gd name="T0" fmla="*/ 159 w 363"/>
                <a:gd name="T1" fmla="*/ 9 h 384"/>
                <a:gd name="T2" fmla="*/ 354 w 363"/>
                <a:gd name="T3" fmla="*/ 204 h 384"/>
                <a:gd name="T4" fmla="*/ 282 w 363"/>
                <a:gd name="T5" fmla="*/ 377 h 384"/>
                <a:gd name="T6" fmla="*/ 7 w 363"/>
                <a:gd name="T7" fmla="*/ 377 h 384"/>
                <a:gd name="T8" fmla="*/ 50 w 363"/>
                <a:gd name="T9" fmla="*/ 175 h 384"/>
                <a:gd name="T10" fmla="*/ 159 w 363"/>
                <a:gd name="T11" fmla="*/ 9 h 384"/>
                <a:gd name="T12" fmla="*/ 159 w 363"/>
                <a:gd name="T13" fmla="*/ 0 h 384"/>
                <a:gd name="T14" fmla="*/ 0 w 363"/>
                <a:gd name="T15" fmla="*/ 384 h 384"/>
                <a:gd name="T16" fmla="*/ 289 w 363"/>
                <a:gd name="T17" fmla="*/ 384 h 384"/>
                <a:gd name="T18" fmla="*/ 363 w 363"/>
                <a:gd name="T19" fmla="*/ 204 h 384"/>
                <a:gd name="T20" fmla="*/ 159 w 363"/>
                <a:gd name="T21" fmla="*/ 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3" h="384">
                  <a:moveTo>
                    <a:pt x="159" y="9"/>
                  </a:moveTo>
                  <a:cubicBezTo>
                    <a:pt x="354" y="204"/>
                    <a:pt x="354" y="204"/>
                    <a:pt x="354" y="204"/>
                  </a:cubicBezTo>
                  <a:cubicBezTo>
                    <a:pt x="310" y="251"/>
                    <a:pt x="285" y="312"/>
                    <a:pt x="282" y="377"/>
                  </a:cubicBezTo>
                  <a:cubicBezTo>
                    <a:pt x="7" y="377"/>
                    <a:pt x="7" y="377"/>
                    <a:pt x="7" y="377"/>
                  </a:cubicBezTo>
                  <a:cubicBezTo>
                    <a:pt x="8" y="307"/>
                    <a:pt x="23" y="239"/>
                    <a:pt x="50" y="175"/>
                  </a:cubicBezTo>
                  <a:cubicBezTo>
                    <a:pt x="76" y="114"/>
                    <a:pt x="112" y="58"/>
                    <a:pt x="159" y="9"/>
                  </a:cubicBezTo>
                  <a:moveTo>
                    <a:pt x="159" y="0"/>
                  </a:moveTo>
                  <a:cubicBezTo>
                    <a:pt x="62" y="99"/>
                    <a:pt x="1" y="234"/>
                    <a:pt x="0" y="384"/>
                  </a:cubicBezTo>
                  <a:cubicBezTo>
                    <a:pt x="289" y="384"/>
                    <a:pt x="289" y="384"/>
                    <a:pt x="289" y="384"/>
                  </a:cubicBezTo>
                  <a:cubicBezTo>
                    <a:pt x="290" y="314"/>
                    <a:pt x="318" y="250"/>
                    <a:pt x="363" y="204"/>
                  </a:cubicBezTo>
                  <a:cubicBezTo>
                    <a:pt x="159" y="0"/>
                    <a:pt x="159" y="0"/>
                    <a:pt x="15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44196"/>
              <a:endParaRPr lang="en-US" sz="2157">
                <a:solidFill>
                  <a:prstClr val="black"/>
                </a:solidFill>
              </a:endParaRPr>
            </a:p>
          </p:txBody>
        </p:sp>
        <p:sp>
          <p:nvSpPr>
            <p:cNvPr id="20" name="Freeform 7"/>
            <p:cNvSpPr>
              <a:spLocks noEditPoints="1"/>
            </p:cNvSpPr>
            <p:nvPr/>
          </p:nvSpPr>
          <p:spPr bwMode="auto">
            <a:xfrm>
              <a:off x="6140" y="366"/>
              <a:ext cx="1527" cy="1444"/>
            </a:xfrm>
            <a:custGeom>
              <a:avLst/>
              <a:gdLst>
                <a:gd name="T0" fmla="*/ 7 w 384"/>
                <a:gd name="T1" fmla="*/ 6 h 363"/>
                <a:gd name="T2" fmla="*/ 208 w 384"/>
                <a:gd name="T3" fmla="*/ 49 h 363"/>
                <a:gd name="T4" fmla="*/ 375 w 384"/>
                <a:gd name="T5" fmla="*/ 159 h 363"/>
                <a:gd name="T6" fmla="*/ 180 w 384"/>
                <a:gd name="T7" fmla="*/ 354 h 363"/>
                <a:gd name="T8" fmla="*/ 7 w 384"/>
                <a:gd name="T9" fmla="*/ 282 h 363"/>
                <a:gd name="T10" fmla="*/ 7 w 384"/>
                <a:gd name="T11" fmla="*/ 6 h 363"/>
                <a:gd name="T12" fmla="*/ 0 w 384"/>
                <a:gd name="T13" fmla="*/ 0 h 363"/>
                <a:gd name="T14" fmla="*/ 0 w 384"/>
                <a:gd name="T15" fmla="*/ 288 h 363"/>
                <a:gd name="T16" fmla="*/ 180 w 384"/>
                <a:gd name="T17" fmla="*/ 363 h 363"/>
                <a:gd name="T18" fmla="*/ 384 w 384"/>
                <a:gd name="T19" fmla="*/ 159 h 363"/>
                <a:gd name="T20" fmla="*/ 0 w 384"/>
                <a:gd name="T21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4" h="363">
                  <a:moveTo>
                    <a:pt x="7" y="6"/>
                  </a:moveTo>
                  <a:cubicBezTo>
                    <a:pt x="77" y="8"/>
                    <a:pt x="144" y="22"/>
                    <a:pt x="208" y="49"/>
                  </a:cubicBezTo>
                  <a:cubicBezTo>
                    <a:pt x="270" y="76"/>
                    <a:pt x="326" y="112"/>
                    <a:pt x="375" y="159"/>
                  </a:cubicBezTo>
                  <a:cubicBezTo>
                    <a:pt x="180" y="354"/>
                    <a:pt x="180" y="354"/>
                    <a:pt x="180" y="354"/>
                  </a:cubicBezTo>
                  <a:cubicBezTo>
                    <a:pt x="132" y="310"/>
                    <a:pt x="71" y="284"/>
                    <a:pt x="7" y="282"/>
                  </a:cubicBezTo>
                  <a:cubicBezTo>
                    <a:pt x="7" y="6"/>
                    <a:pt x="7" y="6"/>
                    <a:pt x="7" y="6"/>
                  </a:cubicBezTo>
                  <a:moveTo>
                    <a:pt x="0" y="0"/>
                  </a:moveTo>
                  <a:cubicBezTo>
                    <a:pt x="0" y="288"/>
                    <a:pt x="0" y="288"/>
                    <a:pt x="0" y="288"/>
                  </a:cubicBezTo>
                  <a:cubicBezTo>
                    <a:pt x="70" y="289"/>
                    <a:pt x="133" y="318"/>
                    <a:pt x="180" y="363"/>
                  </a:cubicBezTo>
                  <a:cubicBezTo>
                    <a:pt x="384" y="159"/>
                    <a:pt x="384" y="159"/>
                    <a:pt x="384" y="159"/>
                  </a:cubicBezTo>
                  <a:cubicBezTo>
                    <a:pt x="285" y="61"/>
                    <a:pt x="150" y="1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44196"/>
              <a:endParaRPr lang="en-US" sz="2157">
                <a:solidFill>
                  <a:prstClr val="black"/>
                </a:solidFill>
              </a:endParaRPr>
            </a:p>
          </p:txBody>
        </p:sp>
        <p:sp>
          <p:nvSpPr>
            <p:cNvPr id="21" name="Freeform 8"/>
            <p:cNvSpPr>
              <a:spLocks noEditPoints="1"/>
            </p:cNvSpPr>
            <p:nvPr/>
          </p:nvSpPr>
          <p:spPr bwMode="auto">
            <a:xfrm>
              <a:off x="3917" y="2589"/>
              <a:ext cx="1447" cy="1523"/>
            </a:xfrm>
            <a:custGeom>
              <a:avLst/>
              <a:gdLst>
                <a:gd name="T0" fmla="*/ 282 w 364"/>
                <a:gd name="T1" fmla="*/ 7 h 383"/>
                <a:gd name="T2" fmla="*/ 354 w 364"/>
                <a:gd name="T3" fmla="*/ 179 h 383"/>
                <a:gd name="T4" fmla="*/ 160 w 364"/>
                <a:gd name="T5" fmla="*/ 374 h 383"/>
                <a:gd name="T6" fmla="*/ 50 w 364"/>
                <a:gd name="T7" fmla="*/ 208 h 383"/>
                <a:gd name="T8" fmla="*/ 7 w 364"/>
                <a:gd name="T9" fmla="*/ 7 h 383"/>
                <a:gd name="T10" fmla="*/ 282 w 364"/>
                <a:gd name="T11" fmla="*/ 7 h 383"/>
                <a:gd name="T12" fmla="*/ 289 w 364"/>
                <a:gd name="T13" fmla="*/ 0 h 383"/>
                <a:gd name="T14" fmla="*/ 0 w 364"/>
                <a:gd name="T15" fmla="*/ 0 h 383"/>
                <a:gd name="T16" fmla="*/ 160 w 364"/>
                <a:gd name="T17" fmla="*/ 383 h 383"/>
                <a:gd name="T18" fmla="*/ 364 w 364"/>
                <a:gd name="T19" fmla="*/ 180 h 383"/>
                <a:gd name="T20" fmla="*/ 289 w 364"/>
                <a:gd name="T21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4" h="383">
                  <a:moveTo>
                    <a:pt x="282" y="7"/>
                  </a:moveTo>
                  <a:cubicBezTo>
                    <a:pt x="285" y="71"/>
                    <a:pt x="310" y="132"/>
                    <a:pt x="354" y="179"/>
                  </a:cubicBezTo>
                  <a:cubicBezTo>
                    <a:pt x="160" y="374"/>
                    <a:pt x="160" y="374"/>
                    <a:pt x="160" y="374"/>
                  </a:cubicBezTo>
                  <a:cubicBezTo>
                    <a:pt x="113" y="326"/>
                    <a:pt x="76" y="270"/>
                    <a:pt x="50" y="208"/>
                  </a:cubicBezTo>
                  <a:cubicBezTo>
                    <a:pt x="23" y="144"/>
                    <a:pt x="9" y="77"/>
                    <a:pt x="7" y="7"/>
                  </a:cubicBezTo>
                  <a:cubicBezTo>
                    <a:pt x="282" y="7"/>
                    <a:pt x="282" y="7"/>
                    <a:pt x="282" y="7"/>
                  </a:cubicBezTo>
                  <a:moveTo>
                    <a:pt x="28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149"/>
                    <a:pt x="62" y="285"/>
                    <a:pt x="160" y="383"/>
                  </a:cubicBezTo>
                  <a:cubicBezTo>
                    <a:pt x="364" y="180"/>
                    <a:pt x="364" y="180"/>
                    <a:pt x="364" y="180"/>
                  </a:cubicBezTo>
                  <a:cubicBezTo>
                    <a:pt x="318" y="133"/>
                    <a:pt x="290" y="70"/>
                    <a:pt x="28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44196"/>
              <a:endParaRPr lang="en-US" sz="2157">
                <a:solidFill>
                  <a:prstClr val="black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/>
          </p:nvSpPr>
          <p:spPr bwMode="auto">
            <a:xfrm>
              <a:off x="6879" y="2589"/>
              <a:ext cx="1444" cy="1523"/>
            </a:xfrm>
            <a:custGeom>
              <a:avLst/>
              <a:gdLst>
                <a:gd name="T0" fmla="*/ 357 w 363"/>
                <a:gd name="T1" fmla="*/ 7 h 383"/>
                <a:gd name="T2" fmla="*/ 314 w 363"/>
                <a:gd name="T3" fmla="*/ 208 h 383"/>
                <a:gd name="T4" fmla="*/ 204 w 363"/>
                <a:gd name="T5" fmla="*/ 374 h 383"/>
                <a:gd name="T6" fmla="*/ 9 w 363"/>
                <a:gd name="T7" fmla="*/ 179 h 383"/>
                <a:gd name="T8" fmla="*/ 81 w 363"/>
                <a:gd name="T9" fmla="*/ 7 h 383"/>
                <a:gd name="T10" fmla="*/ 357 w 363"/>
                <a:gd name="T11" fmla="*/ 7 h 383"/>
                <a:gd name="T12" fmla="*/ 363 w 363"/>
                <a:gd name="T13" fmla="*/ 0 h 383"/>
                <a:gd name="T14" fmla="*/ 75 w 363"/>
                <a:gd name="T15" fmla="*/ 0 h 383"/>
                <a:gd name="T16" fmla="*/ 0 w 363"/>
                <a:gd name="T17" fmla="*/ 180 h 383"/>
                <a:gd name="T18" fmla="*/ 204 w 363"/>
                <a:gd name="T19" fmla="*/ 383 h 383"/>
                <a:gd name="T20" fmla="*/ 363 w 363"/>
                <a:gd name="T21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3" h="383">
                  <a:moveTo>
                    <a:pt x="357" y="7"/>
                  </a:moveTo>
                  <a:cubicBezTo>
                    <a:pt x="355" y="77"/>
                    <a:pt x="341" y="144"/>
                    <a:pt x="314" y="208"/>
                  </a:cubicBezTo>
                  <a:cubicBezTo>
                    <a:pt x="287" y="270"/>
                    <a:pt x="251" y="326"/>
                    <a:pt x="204" y="374"/>
                  </a:cubicBezTo>
                  <a:cubicBezTo>
                    <a:pt x="9" y="179"/>
                    <a:pt x="9" y="179"/>
                    <a:pt x="9" y="179"/>
                  </a:cubicBezTo>
                  <a:cubicBezTo>
                    <a:pt x="53" y="132"/>
                    <a:pt x="79" y="71"/>
                    <a:pt x="81" y="7"/>
                  </a:cubicBezTo>
                  <a:cubicBezTo>
                    <a:pt x="357" y="7"/>
                    <a:pt x="357" y="7"/>
                    <a:pt x="357" y="7"/>
                  </a:cubicBezTo>
                  <a:moveTo>
                    <a:pt x="363" y="0"/>
                  </a:moveTo>
                  <a:cubicBezTo>
                    <a:pt x="75" y="0"/>
                    <a:pt x="75" y="0"/>
                    <a:pt x="75" y="0"/>
                  </a:cubicBezTo>
                  <a:cubicBezTo>
                    <a:pt x="73" y="70"/>
                    <a:pt x="45" y="133"/>
                    <a:pt x="0" y="180"/>
                  </a:cubicBezTo>
                  <a:cubicBezTo>
                    <a:pt x="204" y="383"/>
                    <a:pt x="204" y="383"/>
                    <a:pt x="204" y="383"/>
                  </a:cubicBezTo>
                  <a:cubicBezTo>
                    <a:pt x="301" y="285"/>
                    <a:pt x="362" y="149"/>
                    <a:pt x="36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44196"/>
              <a:endParaRPr lang="en-US" sz="2157">
                <a:solidFill>
                  <a:prstClr val="black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/>
          </p:nvSpPr>
          <p:spPr bwMode="auto">
            <a:xfrm>
              <a:off x="4577" y="3329"/>
              <a:ext cx="1527" cy="1443"/>
            </a:xfrm>
            <a:custGeom>
              <a:avLst/>
              <a:gdLst>
                <a:gd name="T0" fmla="*/ 204 w 384"/>
                <a:gd name="T1" fmla="*/ 9 h 363"/>
                <a:gd name="T2" fmla="*/ 377 w 384"/>
                <a:gd name="T3" fmla="*/ 81 h 363"/>
                <a:gd name="T4" fmla="*/ 377 w 384"/>
                <a:gd name="T5" fmla="*/ 356 h 363"/>
                <a:gd name="T6" fmla="*/ 176 w 384"/>
                <a:gd name="T7" fmla="*/ 313 h 363"/>
                <a:gd name="T8" fmla="*/ 10 w 384"/>
                <a:gd name="T9" fmla="*/ 204 h 363"/>
                <a:gd name="T10" fmla="*/ 204 w 384"/>
                <a:gd name="T11" fmla="*/ 9 h 363"/>
                <a:gd name="T12" fmla="*/ 204 w 384"/>
                <a:gd name="T13" fmla="*/ 0 h 363"/>
                <a:gd name="T14" fmla="*/ 0 w 384"/>
                <a:gd name="T15" fmla="*/ 204 h 363"/>
                <a:gd name="T16" fmla="*/ 384 w 384"/>
                <a:gd name="T17" fmla="*/ 363 h 363"/>
                <a:gd name="T18" fmla="*/ 384 w 384"/>
                <a:gd name="T19" fmla="*/ 74 h 363"/>
                <a:gd name="T20" fmla="*/ 204 w 384"/>
                <a:gd name="T21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4" h="363">
                  <a:moveTo>
                    <a:pt x="204" y="9"/>
                  </a:moveTo>
                  <a:cubicBezTo>
                    <a:pt x="252" y="53"/>
                    <a:pt x="313" y="78"/>
                    <a:pt x="377" y="81"/>
                  </a:cubicBezTo>
                  <a:cubicBezTo>
                    <a:pt x="377" y="356"/>
                    <a:pt x="377" y="356"/>
                    <a:pt x="377" y="356"/>
                  </a:cubicBezTo>
                  <a:cubicBezTo>
                    <a:pt x="307" y="355"/>
                    <a:pt x="240" y="340"/>
                    <a:pt x="176" y="313"/>
                  </a:cubicBezTo>
                  <a:cubicBezTo>
                    <a:pt x="114" y="287"/>
                    <a:pt x="58" y="250"/>
                    <a:pt x="10" y="204"/>
                  </a:cubicBezTo>
                  <a:cubicBezTo>
                    <a:pt x="204" y="9"/>
                    <a:pt x="204" y="9"/>
                    <a:pt x="204" y="9"/>
                  </a:cubicBezTo>
                  <a:moveTo>
                    <a:pt x="204" y="0"/>
                  </a:moveTo>
                  <a:cubicBezTo>
                    <a:pt x="0" y="204"/>
                    <a:pt x="0" y="204"/>
                    <a:pt x="0" y="204"/>
                  </a:cubicBezTo>
                  <a:cubicBezTo>
                    <a:pt x="99" y="301"/>
                    <a:pt x="234" y="361"/>
                    <a:pt x="384" y="363"/>
                  </a:cubicBezTo>
                  <a:cubicBezTo>
                    <a:pt x="384" y="74"/>
                    <a:pt x="384" y="74"/>
                    <a:pt x="384" y="74"/>
                  </a:cubicBezTo>
                  <a:cubicBezTo>
                    <a:pt x="314" y="73"/>
                    <a:pt x="251" y="45"/>
                    <a:pt x="20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44196"/>
              <a:endParaRPr lang="en-US" sz="2157">
                <a:solidFill>
                  <a:prstClr val="black"/>
                </a:solidFill>
              </a:endParaRPr>
            </a:p>
          </p:txBody>
        </p:sp>
        <p:sp>
          <p:nvSpPr>
            <p:cNvPr id="24" name="Freeform 11"/>
            <p:cNvSpPr>
              <a:spLocks noEditPoints="1"/>
            </p:cNvSpPr>
            <p:nvPr/>
          </p:nvSpPr>
          <p:spPr bwMode="auto">
            <a:xfrm>
              <a:off x="6883" y="1026"/>
              <a:ext cx="1440" cy="1527"/>
            </a:xfrm>
            <a:custGeom>
              <a:avLst/>
              <a:gdLst>
                <a:gd name="T0" fmla="*/ 204 w 362"/>
                <a:gd name="T1" fmla="*/ 9 h 384"/>
                <a:gd name="T2" fmla="*/ 313 w 362"/>
                <a:gd name="T3" fmla="*/ 175 h 384"/>
                <a:gd name="T4" fmla="*/ 356 w 362"/>
                <a:gd name="T5" fmla="*/ 377 h 384"/>
                <a:gd name="T6" fmla="*/ 80 w 362"/>
                <a:gd name="T7" fmla="*/ 377 h 384"/>
                <a:gd name="T8" fmla="*/ 9 w 362"/>
                <a:gd name="T9" fmla="*/ 204 h 384"/>
                <a:gd name="T10" fmla="*/ 204 w 362"/>
                <a:gd name="T11" fmla="*/ 9 h 384"/>
                <a:gd name="T12" fmla="*/ 204 w 362"/>
                <a:gd name="T13" fmla="*/ 0 h 384"/>
                <a:gd name="T14" fmla="*/ 0 w 362"/>
                <a:gd name="T15" fmla="*/ 204 h 384"/>
                <a:gd name="T16" fmla="*/ 74 w 362"/>
                <a:gd name="T17" fmla="*/ 384 h 384"/>
                <a:gd name="T18" fmla="*/ 362 w 362"/>
                <a:gd name="T19" fmla="*/ 384 h 384"/>
                <a:gd name="T20" fmla="*/ 204 w 362"/>
                <a:gd name="T21" fmla="*/ 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2" h="384">
                  <a:moveTo>
                    <a:pt x="204" y="9"/>
                  </a:moveTo>
                  <a:cubicBezTo>
                    <a:pt x="250" y="58"/>
                    <a:pt x="287" y="114"/>
                    <a:pt x="313" y="175"/>
                  </a:cubicBezTo>
                  <a:cubicBezTo>
                    <a:pt x="340" y="239"/>
                    <a:pt x="354" y="307"/>
                    <a:pt x="356" y="377"/>
                  </a:cubicBezTo>
                  <a:cubicBezTo>
                    <a:pt x="80" y="377"/>
                    <a:pt x="80" y="377"/>
                    <a:pt x="80" y="377"/>
                  </a:cubicBezTo>
                  <a:cubicBezTo>
                    <a:pt x="78" y="312"/>
                    <a:pt x="53" y="251"/>
                    <a:pt x="9" y="204"/>
                  </a:cubicBezTo>
                  <a:cubicBezTo>
                    <a:pt x="204" y="9"/>
                    <a:pt x="204" y="9"/>
                    <a:pt x="204" y="9"/>
                  </a:cubicBezTo>
                  <a:moveTo>
                    <a:pt x="204" y="0"/>
                  </a:moveTo>
                  <a:cubicBezTo>
                    <a:pt x="0" y="204"/>
                    <a:pt x="0" y="204"/>
                    <a:pt x="0" y="204"/>
                  </a:cubicBezTo>
                  <a:cubicBezTo>
                    <a:pt x="45" y="250"/>
                    <a:pt x="73" y="314"/>
                    <a:pt x="74" y="384"/>
                  </a:cubicBezTo>
                  <a:cubicBezTo>
                    <a:pt x="362" y="384"/>
                    <a:pt x="362" y="384"/>
                    <a:pt x="362" y="384"/>
                  </a:cubicBezTo>
                  <a:cubicBezTo>
                    <a:pt x="361" y="234"/>
                    <a:pt x="301" y="99"/>
                    <a:pt x="20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44196"/>
              <a:endParaRPr lang="en-US" sz="2157">
                <a:solidFill>
                  <a:prstClr val="black"/>
                </a:solidFill>
              </a:endParaRPr>
            </a:p>
          </p:txBody>
        </p:sp>
        <p:sp>
          <p:nvSpPr>
            <p:cNvPr id="25" name="Freeform 12"/>
            <p:cNvSpPr>
              <a:spLocks noEditPoints="1"/>
            </p:cNvSpPr>
            <p:nvPr/>
          </p:nvSpPr>
          <p:spPr bwMode="auto">
            <a:xfrm>
              <a:off x="6140" y="3329"/>
              <a:ext cx="1523" cy="1443"/>
            </a:xfrm>
            <a:custGeom>
              <a:avLst/>
              <a:gdLst>
                <a:gd name="T0" fmla="*/ 179 w 383"/>
                <a:gd name="T1" fmla="*/ 9 h 363"/>
                <a:gd name="T2" fmla="*/ 374 w 383"/>
                <a:gd name="T3" fmla="*/ 204 h 363"/>
                <a:gd name="T4" fmla="*/ 208 w 383"/>
                <a:gd name="T5" fmla="*/ 313 h 363"/>
                <a:gd name="T6" fmla="*/ 7 w 383"/>
                <a:gd name="T7" fmla="*/ 356 h 363"/>
                <a:gd name="T8" fmla="*/ 7 w 383"/>
                <a:gd name="T9" fmla="*/ 81 h 363"/>
                <a:gd name="T10" fmla="*/ 179 w 383"/>
                <a:gd name="T11" fmla="*/ 9 h 363"/>
                <a:gd name="T12" fmla="*/ 179 w 383"/>
                <a:gd name="T13" fmla="*/ 0 h 363"/>
                <a:gd name="T14" fmla="*/ 0 w 383"/>
                <a:gd name="T15" fmla="*/ 74 h 363"/>
                <a:gd name="T16" fmla="*/ 0 w 383"/>
                <a:gd name="T17" fmla="*/ 363 h 363"/>
                <a:gd name="T18" fmla="*/ 383 w 383"/>
                <a:gd name="T19" fmla="*/ 204 h 363"/>
                <a:gd name="T20" fmla="*/ 179 w 383"/>
                <a:gd name="T21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3" h="363">
                  <a:moveTo>
                    <a:pt x="179" y="9"/>
                  </a:moveTo>
                  <a:cubicBezTo>
                    <a:pt x="374" y="204"/>
                    <a:pt x="374" y="204"/>
                    <a:pt x="374" y="204"/>
                  </a:cubicBezTo>
                  <a:cubicBezTo>
                    <a:pt x="325" y="250"/>
                    <a:pt x="270" y="287"/>
                    <a:pt x="208" y="313"/>
                  </a:cubicBezTo>
                  <a:cubicBezTo>
                    <a:pt x="144" y="340"/>
                    <a:pt x="76" y="355"/>
                    <a:pt x="7" y="356"/>
                  </a:cubicBezTo>
                  <a:cubicBezTo>
                    <a:pt x="7" y="81"/>
                    <a:pt x="7" y="81"/>
                    <a:pt x="7" y="81"/>
                  </a:cubicBezTo>
                  <a:cubicBezTo>
                    <a:pt x="71" y="78"/>
                    <a:pt x="132" y="53"/>
                    <a:pt x="179" y="9"/>
                  </a:cubicBezTo>
                  <a:moveTo>
                    <a:pt x="179" y="0"/>
                  </a:moveTo>
                  <a:cubicBezTo>
                    <a:pt x="133" y="45"/>
                    <a:pt x="70" y="73"/>
                    <a:pt x="0" y="74"/>
                  </a:cubicBezTo>
                  <a:cubicBezTo>
                    <a:pt x="0" y="363"/>
                    <a:pt x="0" y="363"/>
                    <a:pt x="0" y="363"/>
                  </a:cubicBezTo>
                  <a:cubicBezTo>
                    <a:pt x="149" y="361"/>
                    <a:pt x="285" y="301"/>
                    <a:pt x="383" y="204"/>
                  </a:cubicBezTo>
                  <a:cubicBezTo>
                    <a:pt x="179" y="0"/>
                    <a:pt x="179" y="0"/>
                    <a:pt x="17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44196"/>
              <a:endParaRPr lang="en-US" sz="2157">
                <a:solidFill>
                  <a:prstClr val="black"/>
                </a:solidFill>
              </a:endParaRPr>
            </a:p>
          </p:txBody>
        </p:sp>
      </p:grpSp>
      <p:sp>
        <p:nvSpPr>
          <p:cNvPr id="27" name="Pie 26"/>
          <p:cNvSpPr/>
          <p:nvPr userDrawn="1"/>
        </p:nvSpPr>
        <p:spPr>
          <a:xfrm rot="10800000">
            <a:off x="10399151" y="5061292"/>
            <a:ext cx="3585699" cy="3586208"/>
          </a:xfrm>
          <a:prstGeom prst="pie">
            <a:avLst>
              <a:gd name="adj1" fmla="val 0"/>
              <a:gd name="adj2" fmla="val 5405320"/>
            </a:avLst>
          </a:prstGeom>
          <a:solidFill>
            <a:srgbClr val="4B0045"/>
          </a:solidFill>
          <a:ln>
            <a:solidFill>
              <a:srgbClr val="4B004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4196"/>
            <a:endParaRPr lang="en-US" sz="2157">
              <a:solidFill>
                <a:prstClr val="black"/>
              </a:solidFill>
            </a:endParaRPr>
          </a:p>
        </p:txBody>
      </p:sp>
      <p:sp>
        <p:nvSpPr>
          <p:cNvPr id="29" name="Rectangle 28"/>
          <p:cNvSpPr/>
          <p:nvPr userDrawn="1"/>
        </p:nvSpPr>
        <p:spPr bwMode="auto">
          <a:xfrm>
            <a:off x="10607903" y="5876063"/>
            <a:ext cx="1857603" cy="46016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16" tIns="44816" rIns="44816" bIns="448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10493" defTabSz="89597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568" spc="-98" dirty="0" smtClean="0">
                <a:ln w="3175">
                  <a:noFill/>
                </a:ln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cs typeface="Arial" charset="0"/>
              </a:rPr>
              <a:t>Business is Better </a:t>
            </a:r>
          </a:p>
          <a:p>
            <a:pPr marL="110493" defTabSz="89597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568" spc="-98" dirty="0" smtClean="0">
                <a:ln w="3175">
                  <a:noFill/>
                </a:ln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cs typeface="Arial" charset="0"/>
              </a:rPr>
              <a:t>with </a:t>
            </a:r>
            <a:r>
              <a:rPr lang="en-US" sz="1961" b="1" spc="-98" dirty="0" smtClean="0">
                <a:ln w="3175">
                  <a:noFill/>
                </a:ln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cs typeface="Arial" charset="0"/>
              </a:rPr>
              <a:t>Office 365</a:t>
            </a:r>
            <a:endParaRPr lang="en-US" sz="1961" b="1" spc="-98" dirty="0">
              <a:ln w="3175"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78960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Soli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48391" y="279913"/>
            <a:ext cx="11409449" cy="896552"/>
          </a:xfrm>
        </p:spPr>
        <p:txBody>
          <a:bodyPr anchor="ctr">
            <a:noAutofit/>
          </a:bodyPr>
          <a:lstStyle>
            <a:lvl1pPr marL="0" indent="0">
              <a:buNone/>
              <a:defRPr sz="5294">
                <a:solidFill>
                  <a:srgbClr val="45ACC8"/>
                </a:solidFill>
                <a:latin typeface="Segoe UI Bold" panose="020B0802040204020203" pitchFamily="34" charset="0"/>
                <a:cs typeface="Segoe UI Bold" panose="020B0802040204020203" pitchFamily="34" charset="0"/>
              </a:defRPr>
            </a:lvl1pPr>
          </a:lstStyle>
          <a:p>
            <a:pPr lvl="0"/>
            <a:r>
              <a:rPr lang="en-US" dirty="0" smtClean="0"/>
              <a:t>Head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612201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905916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9103D2-72A0-4C12-A232-58991DCA312B}" type="datetimeFigureOut">
              <a:rPr lang="en-US" smtClean="0"/>
              <a:t>12/1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E84F3A-632D-4576-8FBC-69BA2D0B9C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641996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_With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4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0696" y="961926"/>
            <a:ext cx="6665115" cy="2601611"/>
          </a:xfrm>
        </p:spPr>
        <p:txBody>
          <a:bodyPr anchor="b">
            <a:noAutofit/>
          </a:bodyPr>
          <a:lstStyle>
            <a:lvl1pPr algn="l">
              <a:defRPr sz="5294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0696" y="3809931"/>
            <a:ext cx="6665114" cy="1752600"/>
          </a:xfrm>
        </p:spPr>
        <p:txBody>
          <a:bodyPr>
            <a:noAutofit/>
          </a:bodyPr>
          <a:lstStyle>
            <a:lvl1pPr marL="0" indent="0" algn="l">
              <a:spcBef>
                <a:spcPts val="1176"/>
              </a:spcBef>
              <a:buNone/>
              <a:defRPr sz="2745">
                <a:solidFill>
                  <a:schemeClr val="bg1"/>
                </a:solidFill>
              </a:defRPr>
            </a:lvl1pPr>
            <a:lvl2pPr marL="5441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5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7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0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1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5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</a:p>
          <a:p>
            <a:r>
              <a:rPr lang="en-US" dirty="0" smtClean="0"/>
              <a:t>Speaker org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530697" y="5967497"/>
            <a:ext cx="1673886" cy="358621"/>
          </a:xfrm>
          <a:prstGeom prst="rect">
            <a:avLst/>
          </a:prstGeom>
        </p:spPr>
      </p:pic>
      <p:grpSp>
        <p:nvGrpSpPr>
          <p:cNvPr id="182" name="Group 181"/>
          <p:cNvGrpSpPr/>
          <p:nvPr/>
        </p:nvGrpSpPr>
        <p:grpSpPr>
          <a:xfrm flipH="1">
            <a:off x="6911622" y="4456"/>
            <a:ext cx="5280378" cy="6853545"/>
            <a:chOff x="0" y="4544"/>
            <a:chExt cx="5386261" cy="6989981"/>
          </a:xfrm>
        </p:grpSpPr>
        <p:sp>
          <p:nvSpPr>
            <p:cNvPr id="183" name="Rectangle 182"/>
            <p:cNvSpPr>
              <a:spLocks noChangeArrowheads="1"/>
            </p:cNvSpPr>
            <p:nvPr/>
          </p:nvSpPr>
          <p:spPr bwMode="auto">
            <a:xfrm>
              <a:off x="1538264" y="9221"/>
              <a:ext cx="3847997" cy="69806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184" name="Freeform 183"/>
            <p:cNvSpPr>
              <a:spLocks/>
            </p:cNvSpPr>
            <p:nvPr/>
          </p:nvSpPr>
          <p:spPr bwMode="auto">
            <a:xfrm>
              <a:off x="0" y="4544"/>
              <a:ext cx="4979485" cy="6989981"/>
            </a:xfrm>
            <a:custGeom>
              <a:avLst/>
              <a:gdLst>
                <a:gd name="T0" fmla="*/ 0 w 1065"/>
                <a:gd name="T1" fmla="*/ 0 h 1495"/>
                <a:gd name="T2" fmla="*/ 0 w 1065"/>
                <a:gd name="T3" fmla="*/ 690 h 1495"/>
                <a:gd name="T4" fmla="*/ 0 w 1065"/>
                <a:gd name="T5" fmla="*/ 1055 h 1495"/>
                <a:gd name="T6" fmla="*/ 0 w 1065"/>
                <a:gd name="T7" fmla="*/ 1495 h 1495"/>
                <a:gd name="T8" fmla="*/ 654 w 1065"/>
                <a:gd name="T9" fmla="*/ 1495 h 1495"/>
                <a:gd name="T10" fmla="*/ 567 w 1065"/>
                <a:gd name="T11" fmla="*/ 997 h 1495"/>
                <a:gd name="T12" fmla="*/ 656 w 1065"/>
                <a:gd name="T13" fmla="*/ 765 h 1495"/>
                <a:gd name="T14" fmla="*/ 797 w 1065"/>
                <a:gd name="T15" fmla="*/ 1289 h 1495"/>
                <a:gd name="T16" fmla="*/ 787 w 1065"/>
                <a:gd name="T17" fmla="*/ 1494 h 1495"/>
                <a:gd name="T18" fmla="*/ 1050 w 1065"/>
                <a:gd name="T19" fmla="*/ 1494 h 1495"/>
                <a:gd name="T20" fmla="*/ 1065 w 1065"/>
                <a:gd name="T21" fmla="*/ 1255 h 1495"/>
                <a:gd name="T22" fmla="*/ 785 w 1065"/>
                <a:gd name="T23" fmla="*/ 112 h 1495"/>
                <a:gd name="T24" fmla="*/ 567 w 1065"/>
                <a:gd name="T25" fmla="*/ 0 h 1495"/>
                <a:gd name="T26" fmla="*/ 0 w 1065"/>
                <a:gd name="T27" fmla="*/ 0 h 1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65" h="1495">
                  <a:moveTo>
                    <a:pt x="0" y="0"/>
                  </a:moveTo>
                  <a:lnTo>
                    <a:pt x="0" y="690"/>
                  </a:lnTo>
                  <a:lnTo>
                    <a:pt x="0" y="1055"/>
                  </a:lnTo>
                  <a:lnTo>
                    <a:pt x="0" y="1495"/>
                  </a:lnTo>
                  <a:lnTo>
                    <a:pt x="654" y="1495"/>
                  </a:lnTo>
                  <a:lnTo>
                    <a:pt x="567" y="997"/>
                  </a:lnTo>
                  <a:lnTo>
                    <a:pt x="656" y="765"/>
                  </a:lnTo>
                  <a:lnTo>
                    <a:pt x="797" y="1289"/>
                  </a:lnTo>
                  <a:lnTo>
                    <a:pt x="787" y="1494"/>
                  </a:lnTo>
                  <a:lnTo>
                    <a:pt x="1050" y="1494"/>
                  </a:lnTo>
                  <a:lnTo>
                    <a:pt x="1065" y="1255"/>
                  </a:lnTo>
                  <a:lnTo>
                    <a:pt x="785" y="112"/>
                  </a:lnTo>
                  <a:lnTo>
                    <a:pt x="56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B00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185" name="Freeform 184"/>
            <p:cNvSpPr>
              <a:spLocks/>
            </p:cNvSpPr>
            <p:nvPr/>
          </p:nvSpPr>
          <p:spPr bwMode="auto">
            <a:xfrm>
              <a:off x="0" y="4544"/>
              <a:ext cx="4979485" cy="6989981"/>
            </a:xfrm>
            <a:custGeom>
              <a:avLst/>
              <a:gdLst>
                <a:gd name="T0" fmla="*/ 0 w 1065"/>
                <a:gd name="T1" fmla="*/ 0 h 1495"/>
                <a:gd name="T2" fmla="*/ 0 w 1065"/>
                <a:gd name="T3" fmla="*/ 690 h 1495"/>
                <a:gd name="T4" fmla="*/ 0 w 1065"/>
                <a:gd name="T5" fmla="*/ 1055 h 1495"/>
                <a:gd name="T6" fmla="*/ 0 w 1065"/>
                <a:gd name="T7" fmla="*/ 1495 h 1495"/>
                <a:gd name="T8" fmla="*/ 654 w 1065"/>
                <a:gd name="T9" fmla="*/ 1495 h 1495"/>
                <a:gd name="T10" fmla="*/ 567 w 1065"/>
                <a:gd name="T11" fmla="*/ 997 h 1495"/>
                <a:gd name="T12" fmla="*/ 656 w 1065"/>
                <a:gd name="T13" fmla="*/ 765 h 1495"/>
                <a:gd name="T14" fmla="*/ 797 w 1065"/>
                <a:gd name="T15" fmla="*/ 1289 h 1495"/>
                <a:gd name="T16" fmla="*/ 787 w 1065"/>
                <a:gd name="T17" fmla="*/ 1494 h 1495"/>
                <a:gd name="T18" fmla="*/ 1050 w 1065"/>
                <a:gd name="T19" fmla="*/ 1494 h 1495"/>
                <a:gd name="T20" fmla="*/ 1065 w 1065"/>
                <a:gd name="T21" fmla="*/ 1255 h 1495"/>
                <a:gd name="T22" fmla="*/ 785 w 1065"/>
                <a:gd name="T23" fmla="*/ 112 h 1495"/>
                <a:gd name="T24" fmla="*/ 567 w 1065"/>
                <a:gd name="T25" fmla="*/ 0 h 1495"/>
                <a:gd name="T26" fmla="*/ 0 w 1065"/>
                <a:gd name="T27" fmla="*/ 0 h 1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65" h="1495">
                  <a:moveTo>
                    <a:pt x="0" y="0"/>
                  </a:moveTo>
                  <a:lnTo>
                    <a:pt x="0" y="690"/>
                  </a:lnTo>
                  <a:lnTo>
                    <a:pt x="0" y="1055"/>
                  </a:lnTo>
                  <a:lnTo>
                    <a:pt x="0" y="1495"/>
                  </a:lnTo>
                  <a:lnTo>
                    <a:pt x="654" y="1495"/>
                  </a:lnTo>
                  <a:lnTo>
                    <a:pt x="567" y="997"/>
                  </a:lnTo>
                  <a:lnTo>
                    <a:pt x="656" y="765"/>
                  </a:lnTo>
                  <a:lnTo>
                    <a:pt x="797" y="1289"/>
                  </a:lnTo>
                  <a:lnTo>
                    <a:pt x="787" y="1494"/>
                  </a:lnTo>
                  <a:lnTo>
                    <a:pt x="1050" y="1494"/>
                  </a:lnTo>
                  <a:lnTo>
                    <a:pt x="1065" y="1255"/>
                  </a:lnTo>
                  <a:lnTo>
                    <a:pt x="785" y="112"/>
                  </a:lnTo>
                  <a:lnTo>
                    <a:pt x="567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186" name="Freeform 185"/>
            <p:cNvSpPr>
              <a:spLocks/>
            </p:cNvSpPr>
            <p:nvPr/>
          </p:nvSpPr>
          <p:spPr bwMode="auto">
            <a:xfrm>
              <a:off x="2136738" y="2150633"/>
              <a:ext cx="88837" cy="1683206"/>
            </a:xfrm>
            <a:custGeom>
              <a:avLst/>
              <a:gdLst>
                <a:gd name="T0" fmla="*/ 19 w 19"/>
                <a:gd name="T1" fmla="*/ 360 h 360"/>
                <a:gd name="T2" fmla="*/ 0 w 19"/>
                <a:gd name="T3" fmla="*/ 360 h 360"/>
                <a:gd name="T4" fmla="*/ 0 w 19"/>
                <a:gd name="T5" fmla="*/ 0 h 360"/>
                <a:gd name="T6" fmla="*/ 19 w 19"/>
                <a:gd name="T7" fmla="*/ 41 h 360"/>
                <a:gd name="T8" fmla="*/ 19 w 19"/>
                <a:gd name="T9" fmla="*/ 36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360">
                  <a:moveTo>
                    <a:pt x="19" y="360"/>
                  </a:moveTo>
                  <a:lnTo>
                    <a:pt x="0" y="360"/>
                  </a:lnTo>
                  <a:lnTo>
                    <a:pt x="0" y="0"/>
                  </a:lnTo>
                  <a:lnTo>
                    <a:pt x="19" y="41"/>
                  </a:lnTo>
                  <a:lnTo>
                    <a:pt x="19" y="360"/>
                  </a:lnTo>
                  <a:close/>
                </a:path>
              </a:pathLst>
            </a:custGeom>
            <a:solidFill>
              <a:srgbClr val="BA14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187" name="Rectangle 186"/>
            <p:cNvSpPr>
              <a:spLocks noChangeArrowheads="1"/>
            </p:cNvSpPr>
            <p:nvPr/>
          </p:nvSpPr>
          <p:spPr bwMode="auto">
            <a:xfrm>
              <a:off x="2375190" y="2702350"/>
              <a:ext cx="130916" cy="1131488"/>
            </a:xfrm>
            <a:prstGeom prst="rect">
              <a:avLst/>
            </a:pr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188" name="Rectangle 187"/>
            <p:cNvSpPr>
              <a:spLocks noChangeArrowheads="1"/>
            </p:cNvSpPr>
            <p:nvPr/>
          </p:nvSpPr>
          <p:spPr bwMode="auto">
            <a:xfrm>
              <a:off x="2506106" y="2702350"/>
              <a:ext cx="70135" cy="1131488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189" name="Rectangle 188"/>
            <p:cNvSpPr>
              <a:spLocks noChangeArrowheads="1"/>
            </p:cNvSpPr>
            <p:nvPr/>
          </p:nvSpPr>
          <p:spPr bwMode="auto">
            <a:xfrm>
              <a:off x="2375190" y="2473246"/>
              <a:ext cx="130916" cy="229104"/>
            </a:xfrm>
            <a:prstGeom prst="rect">
              <a:avLst/>
            </a:prstGeom>
            <a:solidFill>
              <a:srgbClr val="00B2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190" name="Rectangle 189"/>
            <p:cNvSpPr>
              <a:spLocks noChangeArrowheads="1"/>
            </p:cNvSpPr>
            <p:nvPr/>
          </p:nvSpPr>
          <p:spPr bwMode="auto">
            <a:xfrm>
              <a:off x="2506106" y="2473246"/>
              <a:ext cx="70135" cy="229104"/>
            </a:xfrm>
            <a:prstGeom prst="rect">
              <a:avLst/>
            </a:pr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191" name="Freeform 190"/>
            <p:cNvSpPr>
              <a:spLocks/>
            </p:cNvSpPr>
            <p:nvPr/>
          </p:nvSpPr>
          <p:spPr bwMode="auto">
            <a:xfrm>
              <a:off x="2375190" y="2337656"/>
              <a:ext cx="201051" cy="135593"/>
            </a:xfrm>
            <a:custGeom>
              <a:avLst/>
              <a:gdLst>
                <a:gd name="T0" fmla="*/ 91 w 91"/>
                <a:gd name="T1" fmla="*/ 61 h 61"/>
                <a:gd name="T2" fmla="*/ 91 w 91"/>
                <a:gd name="T3" fmla="*/ 30 h 61"/>
                <a:gd name="T4" fmla="*/ 61 w 91"/>
                <a:gd name="T5" fmla="*/ 0 h 61"/>
                <a:gd name="T6" fmla="*/ 29 w 91"/>
                <a:gd name="T7" fmla="*/ 0 h 61"/>
                <a:gd name="T8" fmla="*/ 0 w 91"/>
                <a:gd name="T9" fmla="*/ 30 h 61"/>
                <a:gd name="T10" fmla="*/ 0 w 91"/>
                <a:gd name="T11" fmla="*/ 61 h 61"/>
                <a:gd name="T12" fmla="*/ 91 w 91"/>
                <a:gd name="T13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61">
                  <a:moveTo>
                    <a:pt x="91" y="61"/>
                  </a:moveTo>
                  <a:cubicBezTo>
                    <a:pt x="91" y="30"/>
                    <a:pt x="91" y="30"/>
                    <a:pt x="91" y="30"/>
                  </a:cubicBezTo>
                  <a:cubicBezTo>
                    <a:pt x="91" y="30"/>
                    <a:pt x="91" y="0"/>
                    <a:pt x="61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0"/>
                    <a:pt x="0" y="0"/>
                    <a:pt x="0" y="30"/>
                  </a:cubicBezTo>
                  <a:cubicBezTo>
                    <a:pt x="0" y="61"/>
                    <a:pt x="0" y="61"/>
                    <a:pt x="0" y="61"/>
                  </a:cubicBezTo>
                  <a:lnTo>
                    <a:pt x="91" y="61"/>
                  </a:lnTo>
                  <a:close/>
                </a:path>
              </a:pathLst>
            </a:custGeom>
            <a:solidFill>
              <a:srgbClr val="EC0B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192" name="Freeform 191"/>
            <p:cNvSpPr>
              <a:spLocks/>
            </p:cNvSpPr>
            <p:nvPr/>
          </p:nvSpPr>
          <p:spPr bwMode="auto">
            <a:xfrm>
              <a:off x="2122709" y="1355786"/>
              <a:ext cx="355343" cy="757443"/>
            </a:xfrm>
            <a:custGeom>
              <a:avLst/>
              <a:gdLst>
                <a:gd name="T0" fmla="*/ 0 w 76"/>
                <a:gd name="T1" fmla="*/ 0 h 162"/>
                <a:gd name="T2" fmla="*/ 0 w 76"/>
                <a:gd name="T3" fmla="*/ 119 h 162"/>
                <a:gd name="T4" fmla="*/ 20 w 76"/>
                <a:gd name="T5" fmla="*/ 162 h 162"/>
                <a:gd name="T6" fmla="*/ 56 w 76"/>
                <a:gd name="T7" fmla="*/ 162 h 162"/>
                <a:gd name="T8" fmla="*/ 76 w 76"/>
                <a:gd name="T9" fmla="*/ 119 h 162"/>
                <a:gd name="T10" fmla="*/ 76 w 76"/>
                <a:gd name="T11" fmla="*/ 0 h 162"/>
                <a:gd name="T12" fmla="*/ 0 w 76"/>
                <a:gd name="T13" fmla="*/ 0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" h="162">
                  <a:moveTo>
                    <a:pt x="0" y="0"/>
                  </a:moveTo>
                  <a:lnTo>
                    <a:pt x="0" y="119"/>
                  </a:lnTo>
                  <a:lnTo>
                    <a:pt x="20" y="162"/>
                  </a:lnTo>
                  <a:lnTo>
                    <a:pt x="56" y="162"/>
                  </a:lnTo>
                  <a:lnTo>
                    <a:pt x="76" y="119"/>
                  </a:lnTo>
                  <a:lnTo>
                    <a:pt x="7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193" name="Rectangle 192"/>
            <p:cNvSpPr>
              <a:spLocks noChangeArrowheads="1"/>
            </p:cNvSpPr>
            <p:nvPr/>
          </p:nvSpPr>
          <p:spPr bwMode="auto">
            <a:xfrm>
              <a:off x="2174142" y="1407215"/>
              <a:ext cx="252481" cy="444181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194" name="Rectangle 193"/>
            <p:cNvSpPr>
              <a:spLocks noChangeArrowheads="1"/>
            </p:cNvSpPr>
            <p:nvPr/>
          </p:nvSpPr>
          <p:spPr bwMode="auto">
            <a:xfrm>
              <a:off x="2262976" y="2085175"/>
              <a:ext cx="70135" cy="126242"/>
            </a:xfrm>
            <a:prstGeom prst="rect">
              <a:avLst/>
            </a:pr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195" name="Rectangle 194"/>
            <p:cNvSpPr>
              <a:spLocks noChangeArrowheads="1"/>
            </p:cNvSpPr>
            <p:nvPr/>
          </p:nvSpPr>
          <p:spPr bwMode="auto">
            <a:xfrm>
              <a:off x="2174142" y="1234221"/>
              <a:ext cx="252481" cy="12156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196" name="Rectangle 19"/>
            <p:cNvSpPr>
              <a:spLocks noChangeArrowheads="1"/>
            </p:cNvSpPr>
            <p:nvPr/>
          </p:nvSpPr>
          <p:spPr bwMode="auto">
            <a:xfrm>
              <a:off x="2291030" y="2211414"/>
              <a:ext cx="18702" cy="164580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197" name="Rectangle 20"/>
            <p:cNvSpPr>
              <a:spLocks noChangeArrowheads="1"/>
            </p:cNvSpPr>
            <p:nvPr/>
          </p:nvSpPr>
          <p:spPr bwMode="auto">
            <a:xfrm>
              <a:off x="2375190" y="2463895"/>
              <a:ext cx="201051" cy="3273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198" name="Freeform 21"/>
            <p:cNvSpPr>
              <a:spLocks/>
            </p:cNvSpPr>
            <p:nvPr/>
          </p:nvSpPr>
          <p:spPr bwMode="auto">
            <a:xfrm>
              <a:off x="2375190" y="2463895"/>
              <a:ext cx="201051" cy="32730"/>
            </a:xfrm>
            <a:custGeom>
              <a:avLst/>
              <a:gdLst>
                <a:gd name="T0" fmla="*/ 43 w 43"/>
                <a:gd name="T1" fmla="*/ 7 h 7"/>
                <a:gd name="T2" fmla="*/ 43 w 43"/>
                <a:gd name="T3" fmla="*/ 0 h 7"/>
                <a:gd name="T4" fmla="*/ 0 w 43"/>
                <a:gd name="T5" fmla="*/ 0 h 7"/>
                <a:gd name="T6" fmla="*/ 0 w 43"/>
                <a:gd name="T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" h="7">
                  <a:moveTo>
                    <a:pt x="43" y="7"/>
                  </a:moveTo>
                  <a:lnTo>
                    <a:pt x="43" y="0"/>
                  </a:lnTo>
                  <a:lnTo>
                    <a:pt x="0" y="0"/>
                  </a:lnTo>
                  <a:lnTo>
                    <a:pt x="0" y="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199" name="Rectangle 22"/>
            <p:cNvSpPr>
              <a:spLocks noChangeArrowheads="1"/>
            </p:cNvSpPr>
            <p:nvPr/>
          </p:nvSpPr>
          <p:spPr bwMode="auto">
            <a:xfrm>
              <a:off x="1421374" y="2150633"/>
              <a:ext cx="715364" cy="1683206"/>
            </a:xfrm>
            <a:prstGeom prst="rect">
              <a:avLst/>
            </a:prstGeom>
            <a:solidFill>
              <a:srgbClr val="DC3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200" name="Freeform 23"/>
            <p:cNvSpPr>
              <a:spLocks/>
            </p:cNvSpPr>
            <p:nvPr/>
          </p:nvSpPr>
          <p:spPr bwMode="auto">
            <a:xfrm>
              <a:off x="1500860" y="2267521"/>
              <a:ext cx="556394" cy="98188"/>
            </a:xfrm>
            <a:custGeom>
              <a:avLst/>
              <a:gdLst>
                <a:gd name="T0" fmla="*/ 21 w 253"/>
                <a:gd name="T1" fmla="*/ 0 h 45"/>
                <a:gd name="T2" fmla="*/ 0 w 253"/>
                <a:gd name="T3" fmla="*/ 20 h 45"/>
                <a:gd name="T4" fmla="*/ 0 w 253"/>
                <a:gd name="T5" fmla="*/ 24 h 45"/>
                <a:gd name="T6" fmla="*/ 21 w 253"/>
                <a:gd name="T7" fmla="*/ 45 h 45"/>
                <a:gd name="T8" fmla="*/ 232 w 253"/>
                <a:gd name="T9" fmla="*/ 45 h 45"/>
                <a:gd name="T10" fmla="*/ 253 w 253"/>
                <a:gd name="T11" fmla="*/ 24 h 45"/>
                <a:gd name="T12" fmla="*/ 253 w 253"/>
                <a:gd name="T13" fmla="*/ 20 h 45"/>
                <a:gd name="T14" fmla="*/ 232 w 253"/>
                <a:gd name="T15" fmla="*/ 0 h 45"/>
                <a:gd name="T16" fmla="*/ 135 w 253"/>
                <a:gd name="T17" fmla="*/ 0 h 45"/>
                <a:gd name="T18" fmla="*/ 21 w 253"/>
                <a:gd name="T19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3" h="45">
                  <a:moveTo>
                    <a:pt x="21" y="0"/>
                  </a:moveTo>
                  <a:cubicBezTo>
                    <a:pt x="21" y="0"/>
                    <a:pt x="0" y="0"/>
                    <a:pt x="0" y="2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45"/>
                    <a:pt x="21" y="45"/>
                  </a:cubicBezTo>
                  <a:cubicBezTo>
                    <a:pt x="232" y="45"/>
                    <a:pt x="232" y="45"/>
                    <a:pt x="232" y="45"/>
                  </a:cubicBezTo>
                  <a:cubicBezTo>
                    <a:pt x="232" y="45"/>
                    <a:pt x="253" y="45"/>
                    <a:pt x="253" y="24"/>
                  </a:cubicBezTo>
                  <a:cubicBezTo>
                    <a:pt x="253" y="20"/>
                    <a:pt x="253" y="20"/>
                    <a:pt x="253" y="20"/>
                  </a:cubicBezTo>
                  <a:cubicBezTo>
                    <a:pt x="253" y="20"/>
                    <a:pt x="253" y="0"/>
                    <a:pt x="232" y="0"/>
                  </a:cubicBezTo>
                  <a:cubicBezTo>
                    <a:pt x="135" y="0"/>
                    <a:pt x="135" y="0"/>
                    <a:pt x="135" y="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BA14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201" name="Freeform 24"/>
            <p:cNvSpPr>
              <a:spLocks/>
            </p:cNvSpPr>
            <p:nvPr/>
          </p:nvSpPr>
          <p:spPr bwMode="auto">
            <a:xfrm>
              <a:off x="1500860" y="2440518"/>
              <a:ext cx="556394" cy="98188"/>
            </a:xfrm>
            <a:custGeom>
              <a:avLst/>
              <a:gdLst>
                <a:gd name="T0" fmla="*/ 21 w 253"/>
                <a:gd name="T1" fmla="*/ 0 h 44"/>
                <a:gd name="T2" fmla="*/ 0 w 253"/>
                <a:gd name="T3" fmla="*/ 20 h 44"/>
                <a:gd name="T4" fmla="*/ 0 w 253"/>
                <a:gd name="T5" fmla="*/ 24 h 44"/>
                <a:gd name="T6" fmla="*/ 21 w 253"/>
                <a:gd name="T7" fmla="*/ 44 h 44"/>
                <a:gd name="T8" fmla="*/ 232 w 253"/>
                <a:gd name="T9" fmla="*/ 44 h 44"/>
                <a:gd name="T10" fmla="*/ 253 w 253"/>
                <a:gd name="T11" fmla="*/ 24 h 44"/>
                <a:gd name="T12" fmla="*/ 253 w 253"/>
                <a:gd name="T13" fmla="*/ 20 h 44"/>
                <a:gd name="T14" fmla="*/ 232 w 253"/>
                <a:gd name="T15" fmla="*/ 0 h 44"/>
                <a:gd name="T16" fmla="*/ 135 w 253"/>
                <a:gd name="T17" fmla="*/ 0 h 44"/>
                <a:gd name="T18" fmla="*/ 21 w 253"/>
                <a:gd name="T1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3" h="44">
                  <a:moveTo>
                    <a:pt x="21" y="0"/>
                  </a:moveTo>
                  <a:cubicBezTo>
                    <a:pt x="21" y="0"/>
                    <a:pt x="0" y="0"/>
                    <a:pt x="0" y="2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44"/>
                    <a:pt x="21" y="44"/>
                  </a:cubicBezTo>
                  <a:cubicBezTo>
                    <a:pt x="232" y="44"/>
                    <a:pt x="232" y="44"/>
                    <a:pt x="232" y="44"/>
                  </a:cubicBezTo>
                  <a:cubicBezTo>
                    <a:pt x="232" y="44"/>
                    <a:pt x="253" y="44"/>
                    <a:pt x="253" y="24"/>
                  </a:cubicBezTo>
                  <a:cubicBezTo>
                    <a:pt x="253" y="20"/>
                    <a:pt x="253" y="20"/>
                    <a:pt x="253" y="20"/>
                  </a:cubicBezTo>
                  <a:cubicBezTo>
                    <a:pt x="253" y="20"/>
                    <a:pt x="253" y="0"/>
                    <a:pt x="232" y="0"/>
                  </a:cubicBezTo>
                  <a:cubicBezTo>
                    <a:pt x="135" y="0"/>
                    <a:pt x="135" y="0"/>
                    <a:pt x="135" y="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BA14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202" name="Freeform 25"/>
            <p:cNvSpPr>
              <a:spLocks/>
            </p:cNvSpPr>
            <p:nvPr/>
          </p:nvSpPr>
          <p:spPr bwMode="auto">
            <a:xfrm>
              <a:off x="1500860" y="2613513"/>
              <a:ext cx="556394" cy="98188"/>
            </a:xfrm>
            <a:custGeom>
              <a:avLst/>
              <a:gdLst>
                <a:gd name="T0" fmla="*/ 21 w 253"/>
                <a:gd name="T1" fmla="*/ 0 h 44"/>
                <a:gd name="T2" fmla="*/ 0 w 253"/>
                <a:gd name="T3" fmla="*/ 20 h 44"/>
                <a:gd name="T4" fmla="*/ 0 w 253"/>
                <a:gd name="T5" fmla="*/ 24 h 44"/>
                <a:gd name="T6" fmla="*/ 21 w 253"/>
                <a:gd name="T7" fmla="*/ 44 h 44"/>
                <a:gd name="T8" fmla="*/ 232 w 253"/>
                <a:gd name="T9" fmla="*/ 44 h 44"/>
                <a:gd name="T10" fmla="*/ 253 w 253"/>
                <a:gd name="T11" fmla="*/ 24 h 44"/>
                <a:gd name="T12" fmla="*/ 253 w 253"/>
                <a:gd name="T13" fmla="*/ 20 h 44"/>
                <a:gd name="T14" fmla="*/ 232 w 253"/>
                <a:gd name="T15" fmla="*/ 0 h 44"/>
                <a:gd name="T16" fmla="*/ 135 w 253"/>
                <a:gd name="T17" fmla="*/ 0 h 44"/>
                <a:gd name="T18" fmla="*/ 21 w 253"/>
                <a:gd name="T1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3" h="44">
                  <a:moveTo>
                    <a:pt x="21" y="0"/>
                  </a:moveTo>
                  <a:cubicBezTo>
                    <a:pt x="21" y="0"/>
                    <a:pt x="0" y="0"/>
                    <a:pt x="0" y="2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44"/>
                    <a:pt x="21" y="44"/>
                  </a:cubicBezTo>
                  <a:cubicBezTo>
                    <a:pt x="232" y="44"/>
                    <a:pt x="232" y="44"/>
                    <a:pt x="232" y="44"/>
                  </a:cubicBezTo>
                  <a:cubicBezTo>
                    <a:pt x="232" y="44"/>
                    <a:pt x="253" y="44"/>
                    <a:pt x="253" y="24"/>
                  </a:cubicBezTo>
                  <a:cubicBezTo>
                    <a:pt x="253" y="20"/>
                    <a:pt x="253" y="20"/>
                    <a:pt x="253" y="20"/>
                  </a:cubicBezTo>
                  <a:cubicBezTo>
                    <a:pt x="253" y="20"/>
                    <a:pt x="253" y="0"/>
                    <a:pt x="232" y="0"/>
                  </a:cubicBezTo>
                  <a:cubicBezTo>
                    <a:pt x="135" y="0"/>
                    <a:pt x="135" y="0"/>
                    <a:pt x="135" y="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BA14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203" name="Freeform 26"/>
            <p:cNvSpPr>
              <a:spLocks/>
            </p:cNvSpPr>
            <p:nvPr/>
          </p:nvSpPr>
          <p:spPr bwMode="auto">
            <a:xfrm>
              <a:off x="1500860" y="2786511"/>
              <a:ext cx="556394" cy="98188"/>
            </a:xfrm>
            <a:custGeom>
              <a:avLst/>
              <a:gdLst>
                <a:gd name="T0" fmla="*/ 21 w 253"/>
                <a:gd name="T1" fmla="*/ 0 h 44"/>
                <a:gd name="T2" fmla="*/ 0 w 253"/>
                <a:gd name="T3" fmla="*/ 20 h 44"/>
                <a:gd name="T4" fmla="*/ 0 w 253"/>
                <a:gd name="T5" fmla="*/ 24 h 44"/>
                <a:gd name="T6" fmla="*/ 21 w 253"/>
                <a:gd name="T7" fmla="*/ 44 h 44"/>
                <a:gd name="T8" fmla="*/ 232 w 253"/>
                <a:gd name="T9" fmla="*/ 44 h 44"/>
                <a:gd name="T10" fmla="*/ 253 w 253"/>
                <a:gd name="T11" fmla="*/ 24 h 44"/>
                <a:gd name="T12" fmla="*/ 253 w 253"/>
                <a:gd name="T13" fmla="*/ 20 h 44"/>
                <a:gd name="T14" fmla="*/ 232 w 253"/>
                <a:gd name="T15" fmla="*/ 0 h 44"/>
                <a:gd name="T16" fmla="*/ 135 w 253"/>
                <a:gd name="T17" fmla="*/ 0 h 44"/>
                <a:gd name="T18" fmla="*/ 21 w 253"/>
                <a:gd name="T1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3" h="44">
                  <a:moveTo>
                    <a:pt x="21" y="0"/>
                  </a:moveTo>
                  <a:cubicBezTo>
                    <a:pt x="21" y="0"/>
                    <a:pt x="0" y="0"/>
                    <a:pt x="0" y="2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44"/>
                    <a:pt x="21" y="44"/>
                  </a:cubicBezTo>
                  <a:cubicBezTo>
                    <a:pt x="232" y="44"/>
                    <a:pt x="232" y="44"/>
                    <a:pt x="232" y="44"/>
                  </a:cubicBezTo>
                  <a:cubicBezTo>
                    <a:pt x="232" y="44"/>
                    <a:pt x="253" y="44"/>
                    <a:pt x="253" y="24"/>
                  </a:cubicBezTo>
                  <a:cubicBezTo>
                    <a:pt x="253" y="20"/>
                    <a:pt x="253" y="20"/>
                    <a:pt x="253" y="20"/>
                  </a:cubicBezTo>
                  <a:cubicBezTo>
                    <a:pt x="253" y="20"/>
                    <a:pt x="253" y="0"/>
                    <a:pt x="232" y="0"/>
                  </a:cubicBezTo>
                  <a:cubicBezTo>
                    <a:pt x="135" y="0"/>
                    <a:pt x="135" y="0"/>
                    <a:pt x="135" y="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BA14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204" name="Freeform 27"/>
            <p:cNvSpPr>
              <a:spLocks/>
            </p:cNvSpPr>
            <p:nvPr/>
          </p:nvSpPr>
          <p:spPr bwMode="auto">
            <a:xfrm>
              <a:off x="1500860" y="2964182"/>
              <a:ext cx="556394" cy="93511"/>
            </a:xfrm>
            <a:custGeom>
              <a:avLst/>
              <a:gdLst>
                <a:gd name="T0" fmla="*/ 21 w 253"/>
                <a:gd name="T1" fmla="*/ 0 h 44"/>
                <a:gd name="T2" fmla="*/ 0 w 253"/>
                <a:gd name="T3" fmla="*/ 20 h 44"/>
                <a:gd name="T4" fmla="*/ 0 w 253"/>
                <a:gd name="T5" fmla="*/ 24 h 44"/>
                <a:gd name="T6" fmla="*/ 21 w 253"/>
                <a:gd name="T7" fmla="*/ 44 h 44"/>
                <a:gd name="T8" fmla="*/ 232 w 253"/>
                <a:gd name="T9" fmla="*/ 44 h 44"/>
                <a:gd name="T10" fmla="*/ 253 w 253"/>
                <a:gd name="T11" fmla="*/ 24 h 44"/>
                <a:gd name="T12" fmla="*/ 253 w 253"/>
                <a:gd name="T13" fmla="*/ 20 h 44"/>
                <a:gd name="T14" fmla="*/ 232 w 253"/>
                <a:gd name="T15" fmla="*/ 0 h 44"/>
                <a:gd name="T16" fmla="*/ 135 w 253"/>
                <a:gd name="T17" fmla="*/ 0 h 44"/>
                <a:gd name="T18" fmla="*/ 21 w 253"/>
                <a:gd name="T1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3" h="44">
                  <a:moveTo>
                    <a:pt x="21" y="0"/>
                  </a:moveTo>
                  <a:cubicBezTo>
                    <a:pt x="21" y="0"/>
                    <a:pt x="0" y="0"/>
                    <a:pt x="0" y="2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44"/>
                    <a:pt x="21" y="44"/>
                  </a:cubicBezTo>
                  <a:cubicBezTo>
                    <a:pt x="232" y="44"/>
                    <a:pt x="232" y="44"/>
                    <a:pt x="232" y="44"/>
                  </a:cubicBezTo>
                  <a:cubicBezTo>
                    <a:pt x="232" y="44"/>
                    <a:pt x="253" y="44"/>
                    <a:pt x="253" y="24"/>
                  </a:cubicBezTo>
                  <a:cubicBezTo>
                    <a:pt x="253" y="20"/>
                    <a:pt x="253" y="20"/>
                    <a:pt x="253" y="20"/>
                  </a:cubicBezTo>
                  <a:cubicBezTo>
                    <a:pt x="253" y="20"/>
                    <a:pt x="253" y="0"/>
                    <a:pt x="232" y="0"/>
                  </a:cubicBezTo>
                  <a:cubicBezTo>
                    <a:pt x="135" y="0"/>
                    <a:pt x="135" y="0"/>
                    <a:pt x="135" y="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BA14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205" name="Freeform 28"/>
            <p:cNvSpPr>
              <a:spLocks/>
            </p:cNvSpPr>
            <p:nvPr/>
          </p:nvSpPr>
          <p:spPr bwMode="auto">
            <a:xfrm>
              <a:off x="1500860" y="3137177"/>
              <a:ext cx="556394" cy="93511"/>
            </a:xfrm>
            <a:custGeom>
              <a:avLst/>
              <a:gdLst>
                <a:gd name="T0" fmla="*/ 21 w 253"/>
                <a:gd name="T1" fmla="*/ 0 h 44"/>
                <a:gd name="T2" fmla="*/ 0 w 253"/>
                <a:gd name="T3" fmla="*/ 20 h 44"/>
                <a:gd name="T4" fmla="*/ 0 w 253"/>
                <a:gd name="T5" fmla="*/ 24 h 44"/>
                <a:gd name="T6" fmla="*/ 21 w 253"/>
                <a:gd name="T7" fmla="*/ 44 h 44"/>
                <a:gd name="T8" fmla="*/ 232 w 253"/>
                <a:gd name="T9" fmla="*/ 44 h 44"/>
                <a:gd name="T10" fmla="*/ 253 w 253"/>
                <a:gd name="T11" fmla="*/ 24 h 44"/>
                <a:gd name="T12" fmla="*/ 253 w 253"/>
                <a:gd name="T13" fmla="*/ 20 h 44"/>
                <a:gd name="T14" fmla="*/ 232 w 253"/>
                <a:gd name="T15" fmla="*/ 0 h 44"/>
                <a:gd name="T16" fmla="*/ 135 w 253"/>
                <a:gd name="T17" fmla="*/ 0 h 44"/>
                <a:gd name="T18" fmla="*/ 21 w 253"/>
                <a:gd name="T1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3" h="44">
                  <a:moveTo>
                    <a:pt x="21" y="0"/>
                  </a:moveTo>
                  <a:cubicBezTo>
                    <a:pt x="21" y="0"/>
                    <a:pt x="0" y="0"/>
                    <a:pt x="0" y="2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44"/>
                    <a:pt x="21" y="44"/>
                  </a:cubicBezTo>
                  <a:cubicBezTo>
                    <a:pt x="232" y="44"/>
                    <a:pt x="232" y="44"/>
                    <a:pt x="232" y="44"/>
                  </a:cubicBezTo>
                  <a:cubicBezTo>
                    <a:pt x="232" y="44"/>
                    <a:pt x="253" y="44"/>
                    <a:pt x="253" y="24"/>
                  </a:cubicBezTo>
                  <a:cubicBezTo>
                    <a:pt x="253" y="20"/>
                    <a:pt x="253" y="20"/>
                    <a:pt x="253" y="20"/>
                  </a:cubicBezTo>
                  <a:cubicBezTo>
                    <a:pt x="253" y="20"/>
                    <a:pt x="253" y="0"/>
                    <a:pt x="232" y="0"/>
                  </a:cubicBezTo>
                  <a:cubicBezTo>
                    <a:pt x="135" y="0"/>
                    <a:pt x="135" y="0"/>
                    <a:pt x="135" y="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BA14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206" name="Freeform 29"/>
            <p:cNvSpPr>
              <a:spLocks/>
            </p:cNvSpPr>
            <p:nvPr/>
          </p:nvSpPr>
          <p:spPr bwMode="auto">
            <a:xfrm>
              <a:off x="1500860" y="3310175"/>
              <a:ext cx="556394" cy="98188"/>
            </a:xfrm>
            <a:custGeom>
              <a:avLst/>
              <a:gdLst>
                <a:gd name="T0" fmla="*/ 21 w 253"/>
                <a:gd name="T1" fmla="*/ 0 h 45"/>
                <a:gd name="T2" fmla="*/ 0 w 253"/>
                <a:gd name="T3" fmla="*/ 21 h 45"/>
                <a:gd name="T4" fmla="*/ 0 w 253"/>
                <a:gd name="T5" fmla="*/ 25 h 45"/>
                <a:gd name="T6" fmla="*/ 21 w 253"/>
                <a:gd name="T7" fmla="*/ 45 h 45"/>
                <a:gd name="T8" fmla="*/ 232 w 253"/>
                <a:gd name="T9" fmla="*/ 45 h 45"/>
                <a:gd name="T10" fmla="*/ 253 w 253"/>
                <a:gd name="T11" fmla="*/ 25 h 45"/>
                <a:gd name="T12" fmla="*/ 253 w 253"/>
                <a:gd name="T13" fmla="*/ 21 h 45"/>
                <a:gd name="T14" fmla="*/ 232 w 253"/>
                <a:gd name="T15" fmla="*/ 0 h 45"/>
                <a:gd name="T16" fmla="*/ 135 w 253"/>
                <a:gd name="T17" fmla="*/ 0 h 45"/>
                <a:gd name="T18" fmla="*/ 21 w 253"/>
                <a:gd name="T19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3" h="45">
                  <a:moveTo>
                    <a:pt x="21" y="0"/>
                  </a:moveTo>
                  <a:cubicBezTo>
                    <a:pt x="21" y="0"/>
                    <a:pt x="0" y="0"/>
                    <a:pt x="0" y="21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5"/>
                    <a:pt x="0" y="45"/>
                    <a:pt x="21" y="45"/>
                  </a:cubicBezTo>
                  <a:cubicBezTo>
                    <a:pt x="232" y="45"/>
                    <a:pt x="232" y="45"/>
                    <a:pt x="232" y="45"/>
                  </a:cubicBezTo>
                  <a:cubicBezTo>
                    <a:pt x="232" y="45"/>
                    <a:pt x="253" y="45"/>
                    <a:pt x="253" y="25"/>
                  </a:cubicBezTo>
                  <a:cubicBezTo>
                    <a:pt x="253" y="21"/>
                    <a:pt x="253" y="21"/>
                    <a:pt x="253" y="21"/>
                  </a:cubicBezTo>
                  <a:cubicBezTo>
                    <a:pt x="253" y="21"/>
                    <a:pt x="253" y="0"/>
                    <a:pt x="232" y="0"/>
                  </a:cubicBezTo>
                  <a:cubicBezTo>
                    <a:pt x="135" y="0"/>
                    <a:pt x="135" y="0"/>
                    <a:pt x="135" y="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BA14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207" name="Freeform 30"/>
            <p:cNvSpPr>
              <a:spLocks/>
            </p:cNvSpPr>
            <p:nvPr/>
          </p:nvSpPr>
          <p:spPr bwMode="auto">
            <a:xfrm>
              <a:off x="1500860" y="3483169"/>
              <a:ext cx="556394" cy="98188"/>
            </a:xfrm>
            <a:custGeom>
              <a:avLst/>
              <a:gdLst>
                <a:gd name="T0" fmla="*/ 21 w 253"/>
                <a:gd name="T1" fmla="*/ 0 h 45"/>
                <a:gd name="T2" fmla="*/ 0 w 253"/>
                <a:gd name="T3" fmla="*/ 21 h 45"/>
                <a:gd name="T4" fmla="*/ 0 w 253"/>
                <a:gd name="T5" fmla="*/ 25 h 45"/>
                <a:gd name="T6" fmla="*/ 21 w 253"/>
                <a:gd name="T7" fmla="*/ 45 h 45"/>
                <a:gd name="T8" fmla="*/ 232 w 253"/>
                <a:gd name="T9" fmla="*/ 45 h 45"/>
                <a:gd name="T10" fmla="*/ 253 w 253"/>
                <a:gd name="T11" fmla="*/ 25 h 45"/>
                <a:gd name="T12" fmla="*/ 253 w 253"/>
                <a:gd name="T13" fmla="*/ 21 h 45"/>
                <a:gd name="T14" fmla="*/ 232 w 253"/>
                <a:gd name="T15" fmla="*/ 0 h 45"/>
                <a:gd name="T16" fmla="*/ 135 w 253"/>
                <a:gd name="T17" fmla="*/ 0 h 45"/>
                <a:gd name="T18" fmla="*/ 21 w 253"/>
                <a:gd name="T19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3" h="45">
                  <a:moveTo>
                    <a:pt x="21" y="0"/>
                  </a:moveTo>
                  <a:cubicBezTo>
                    <a:pt x="21" y="0"/>
                    <a:pt x="0" y="0"/>
                    <a:pt x="0" y="21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5"/>
                    <a:pt x="0" y="45"/>
                    <a:pt x="21" y="45"/>
                  </a:cubicBezTo>
                  <a:cubicBezTo>
                    <a:pt x="232" y="45"/>
                    <a:pt x="232" y="45"/>
                    <a:pt x="232" y="45"/>
                  </a:cubicBezTo>
                  <a:cubicBezTo>
                    <a:pt x="232" y="45"/>
                    <a:pt x="253" y="45"/>
                    <a:pt x="253" y="25"/>
                  </a:cubicBezTo>
                  <a:cubicBezTo>
                    <a:pt x="253" y="21"/>
                    <a:pt x="253" y="21"/>
                    <a:pt x="253" y="21"/>
                  </a:cubicBezTo>
                  <a:cubicBezTo>
                    <a:pt x="253" y="21"/>
                    <a:pt x="253" y="0"/>
                    <a:pt x="232" y="0"/>
                  </a:cubicBezTo>
                  <a:cubicBezTo>
                    <a:pt x="135" y="0"/>
                    <a:pt x="135" y="0"/>
                    <a:pt x="135" y="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BA14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208" name="Oval 31"/>
            <p:cNvSpPr>
              <a:spLocks noChangeArrowheads="1"/>
            </p:cNvSpPr>
            <p:nvPr/>
          </p:nvSpPr>
          <p:spPr bwMode="auto">
            <a:xfrm>
              <a:off x="1949715" y="2286223"/>
              <a:ext cx="56107" cy="5610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209" name="Oval 32"/>
            <p:cNvSpPr>
              <a:spLocks noChangeArrowheads="1"/>
            </p:cNvSpPr>
            <p:nvPr/>
          </p:nvSpPr>
          <p:spPr bwMode="auto">
            <a:xfrm>
              <a:off x="1949715" y="2459221"/>
              <a:ext cx="56107" cy="5610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210" name="Oval 33"/>
            <p:cNvSpPr>
              <a:spLocks noChangeArrowheads="1"/>
            </p:cNvSpPr>
            <p:nvPr/>
          </p:nvSpPr>
          <p:spPr bwMode="auto">
            <a:xfrm>
              <a:off x="1949715" y="2632215"/>
              <a:ext cx="56107" cy="5610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211" name="Oval 34"/>
            <p:cNvSpPr>
              <a:spLocks noChangeArrowheads="1"/>
            </p:cNvSpPr>
            <p:nvPr/>
          </p:nvSpPr>
          <p:spPr bwMode="auto">
            <a:xfrm>
              <a:off x="1949715" y="2809887"/>
              <a:ext cx="56107" cy="5143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212" name="Oval 35"/>
            <p:cNvSpPr>
              <a:spLocks noChangeArrowheads="1"/>
            </p:cNvSpPr>
            <p:nvPr/>
          </p:nvSpPr>
          <p:spPr bwMode="auto">
            <a:xfrm>
              <a:off x="1949715" y="2982885"/>
              <a:ext cx="56107" cy="5610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213" name="Oval 36"/>
            <p:cNvSpPr>
              <a:spLocks noChangeArrowheads="1"/>
            </p:cNvSpPr>
            <p:nvPr/>
          </p:nvSpPr>
          <p:spPr bwMode="auto">
            <a:xfrm>
              <a:off x="1949715" y="3155879"/>
              <a:ext cx="56107" cy="5610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214" name="Oval 37"/>
            <p:cNvSpPr>
              <a:spLocks noChangeArrowheads="1"/>
            </p:cNvSpPr>
            <p:nvPr/>
          </p:nvSpPr>
          <p:spPr bwMode="auto">
            <a:xfrm>
              <a:off x="1949715" y="3328877"/>
              <a:ext cx="56107" cy="5610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215" name="Oval 38"/>
            <p:cNvSpPr>
              <a:spLocks noChangeArrowheads="1"/>
            </p:cNvSpPr>
            <p:nvPr/>
          </p:nvSpPr>
          <p:spPr bwMode="auto">
            <a:xfrm>
              <a:off x="1949715" y="3501872"/>
              <a:ext cx="56107" cy="5610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216" name="Freeform 39"/>
            <p:cNvSpPr>
              <a:spLocks/>
            </p:cNvSpPr>
            <p:nvPr/>
          </p:nvSpPr>
          <p:spPr bwMode="auto">
            <a:xfrm>
              <a:off x="1500860" y="3656167"/>
              <a:ext cx="556394" cy="98188"/>
            </a:xfrm>
            <a:custGeom>
              <a:avLst/>
              <a:gdLst>
                <a:gd name="T0" fmla="*/ 21 w 253"/>
                <a:gd name="T1" fmla="*/ 0 h 45"/>
                <a:gd name="T2" fmla="*/ 0 w 253"/>
                <a:gd name="T3" fmla="*/ 20 h 45"/>
                <a:gd name="T4" fmla="*/ 0 w 253"/>
                <a:gd name="T5" fmla="*/ 24 h 45"/>
                <a:gd name="T6" fmla="*/ 21 w 253"/>
                <a:gd name="T7" fmla="*/ 45 h 45"/>
                <a:gd name="T8" fmla="*/ 232 w 253"/>
                <a:gd name="T9" fmla="*/ 45 h 45"/>
                <a:gd name="T10" fmla="*/ 253 w 253"/>
                <a:gd name="T11" fmla="*/ 24 h 45"/>
                <a:gd name="T12" fmla="*/ 253 w 253"/>
                <a:gd name="T13" fmla="*/ 20 h 45"/>
                <a:gd name="T14" fmla="*/ 232 w 253"/>
                <a:gd name="T15" fmla="*/ 0 h 45"/>
                <a:gd name="T16" fmla="*/ 135 w 253"/>
                <a:gd name="T17" fmla="*/ 0 h 45"/>
                <a:gd name="T18" fmla="*/ 21 w 253"/>
                <a:gd name="T19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3" h="45">
                  <a:moveTo>
                    <a:pt x="21" y="0"/>
                  </a:moveTo>
                  <a:cubicBezTo>
                    <a:pt x="21" y="0"/>
                    <a:pt x="0" y="0"/>
                    <a:pt x="0" y="2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45"/>
                    <a:pt x="21" y="45"/>
                  </a:cubicBezTo>
                  <a:cubicBezTo>
                    <a:pt x="232" y="45"/>
                    <a:pt x="232" y="45"/>
                    <a:pt x="232" y="45"/>
                  </a:cubicBezTo>
                  <a:cubicBezTo>
                    <a:pt x="232" y="45"/>
                    <a:pt x="253" y="45"/>
                    <a:pt x="253" y="24"/>
                  </a:cubicBezTo>
                  <a:cubicBezTo>
                    <a:pt x="253" y="20"/>
                    <a:pt x="253" y="20"/>
                    <a:pt x="253" y="20"/>
                  </a:cubicBezTo>
                  <a:cubicBezTo>
                    <a:pt x="253" y="20"/>
                    <a:pt x="253" y="0"/>
                    <a:pt x="232" y="0"/>
                  </a:cubicBezTo>
                  <a:cubicBezTo>
                    <a:pt x="135" y="0"/>
                    <a:pt x="135" y="0"/>
                    <a:pt x="135" y="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BA14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217" name="Oval 40"/>
            <p:cNvSpPr>
              <a:spLocks noChangeArrowheads="1"/>
            </p:cNvSpPr>
            <p:nvPr/>
          </p:nvSpPr>
          <p:spPr bwMode="auto">
            <a:xfrm>
              <a:off x="1753341" y="3679543"/>
              <a:ext cx="51433" cy="5143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218" name="Freeform 41"/>
            <p:cNvSpPr>
              <a:spLocks/>
            </p:cNvSpPr>
            <p:nvPr/>
          </p:nvSpPr>
          <p:spPr bwMode="auto">
            <a:xfrm>
              <a:off x="1056679" y="3137177"/>
              <a:ext cx="364695" cy="84160"/>
            </a:xfrm>
            <a:custGeom>
              <a:avLst/>
              <a:gdLst>
                <a:gd name="T0" fmla="*/ 78 w 166"/>
                <a:gd name="T1" fmla="*/ 15 h 38"/>
                <a:gd name="T2" fmla="*/ 166 w 166"/>
                <a:gd name="T3" fmla="*/ 38 h 38"/>
                <a:gd name="T4" fmla="*/ 166 w 166"/>
                <a:gd name="T5" fmla="*/ 10 h 38"/>
                <a:gd name="T6" fmla="*/ 106 w 166"/>
                <a:gd name="T7" fmla="*/ 0 h 38"/>
                <a:gd name="T8" fmla="*/ 0 w 166"/>
                <a:gd name="T9" fmla="*/ 32 h 38"/>
                <a:gd name="T10" fmla="*/ 78 w 166"/>
                <a:gd name="T11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6" h="38">
                  <a:moveTo>
                    <a:pt x="78" y="15"/>
                  </a:moveTo>
                  <a:cubicBezTo>
                    <a:pt x="110" y="15"/>
                    <a:pt x="140" y="23"/>
                    <a:pt x="166" y="38"/>
                  </a:cubicBezTo>
                  <a:cubicBezTo>
                    <a:pt x="166" y="10"/>
                    <a:pt x="166" y="10"/>
                    <a:pt x="166" y="10"/>
                  </a:cubicBezTo>
                  <a:cubicBezTo>
                    <a:pt x="147" y="3"/>
                    <a:pt x="127" y="0"/>
                    <a:pt x="106" y="0"/>
                  </a:cubicBezTo>
                  <a:cubicBezTo>
                    <a:pt x="67" y="0"/>
                    <a:pt x="30" y="12"/>
                    <a:pt x="0" y="32"/>
                  </a:cubicBezTo>
                  <a:cubicBezTo>
                    <a:pt x="24" y="21"/>
                    <a:pt x="50" y="15"/>
                    <a:pt x="78" y="15"/>
                  </a:cubicBezTo>
                </a:path>
              </a:pathLst>
            </a:custGeom>
            <a:solidFill>
              <a:srgbClr val="4423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219" name="Freeform 42"/>
            <p:cNvSpPr>
              <a:spLocks/>
            </p:cNvSpPr>
            <p:nvPr/>
          </p:nvSpPr>
          <p:spPr bwMode="auto">
            <a:xfrm>
              <a:off x="1421374" y="3155879"/>
              <a:ext cx="617175" cy="677959"/>
            </a:xfrm>
            <a:custGeom>
              <a:avLst/>
              <a:gdLst>
                <a:gd name="T0" fmla="*/ 280 w 280"/>
                <a:gd name="T1" fmla="*/ 232 h 306"/>
                <a:gd name="T2" fmla="*/ 151 w 280"/>
                <a:gd name="T3" fmla="*/ 103 h 306"/>
                <a:gd name="T4" fmla="*/ 115 w 280"/>
                <a:gd name="T5" fmla="*/ 108 h 306"/>
                <a:gd name="T6" fmla="*/ 0 w 280"/>
                <a:gd name="T7" fmla="*/ 0 h 306"/>
                <a:gd name="T8" fmla="*/ 0 w 280"/>
                <a:gd name="T9" fmla="*/ 27 h 306"/>
                <a:gd name="T10" fmla="*/ 87 w 280"/>
                <a:gd name="T11" fmla="*/ 123 h 306"/>
                <a:gd name="T12" fmla="*/ 123 w 280"/>
                <a:gd name="T13" fmla="*/ 118 h 306"/>
                <a:gd name="T14" fmla="*/ 253 w 280"/>
                <a:gd name="T15" fmla="*/ 247 h 306"/>
                <a:gd name="T16" fmla="*/ 238 w 280"/>
                <a:gd name="T17" fmla="*/ 306 h 306"/>
                <a:gd name="T18" fmla="*/ 267 w 280"/>
                <a:gd name="T19" fmla="*/ 306 h 306"/>
                <a:gd name="T20" fmla="*/ 280 w 280"/>
                <a:gd name="T21" fmla="*/ 232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0" h="306">
                  <a:moveTo>
                    <a:pt x="280" y="232"/>
                  </a:moveTo>
                  <a:cubicBezTo>
                    <a:pt x="280" y="160"/>
                    <a:pt x="222" y="103"/>
                    <a:pt x="151" y="103"/>
                  </a:cubicBezTo>
                  <a:cubicBezTo>
                    <a:pt x="138" y="103"/>
                    <a:pt x="126" y="104"/>
                    <a:pt x="115" y="108"/>
                  </a:cubicBezTo>
                  <a:cubicBezTo>
                    <a:pt x="94" y="57"/>
                    <a:pt x="52" y="18"/>
                    <a:pt x="0" y="0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39" y="48"/>
                    <a:pt x="70" y="82"/>
                    <a:pt x="87" y="123"/>
                  </a:cubicBezTo>
                  <a:cubicBezTo>
                    <a:pt x="99" y="120"/>
                    <a:pt x="111" y="118"/>
                    <a:pt x="123" y="118"/>
                  </a:cubicBezTo>
                  <a:cubicBezTo>
                    <a:pt x="195" y="118"/>
                    <a:pt x="253" y="176"/>
                    <a:pt x="253" y="247"/>
                  </a:cubicBezTo>
                  <a:cubicBezTo>
                    <a:pt x="253" y="268"/>
                    <a:pt x="247" y="288"/>
                    <a:pt x="238" y="306"/>
                  </a:cubicBezTo>
                  <a:cubicBezTo>
                    <a:pt x="267" y="306"/>
                    <a:pt x="267" y="306"/>
                    <a:pt x="267" y="306"/>
                  </a:cubicBezTo>
                  <a:cubicBezTo>
                    <a:pt x="275" y="284"/>
                    <a:pt x="280" y="252"/>
                    <a:pt x="280" y="232"/>
                  </a:cubicBezTo>
                </a:path>
              </a:pathLst>
            </a:custGeom>
            <a:solidFill>
              <a:srgbClr val="BA14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220" name="Freeform 43"/>
            <p:cNvSpPr>
              <a:spLocks/>
            </p:cNvSpPr>
            <p:nvPr/>
          </p:nvSpPr>
          <p:spPr bwMode="auto">
            <a:xfrm>
              <a:off x="603150" y="3169907"/>
              <a:ext cx="1379295" cy="663931"/>
            </a:xfrm>
            <a:custGeom>
              <a:avLst/>
              <a:gdLst>
                <a:gd name="T0" fmla="*/ 610 w 625"/>
                <a:gd name="T1" fmla="*/ 301 h 301"/>
                <a:gd name="T2" fmla="*/ 625 w 625"/>
                <a:gd name="T3" fmla="*/ 242 h 301"/>
                <a:gd name="T4" fmla="*/ 495 w 625"/>
                <a:gd name="T5" fmla="*/ 113 h 301"/>
                <a:gd name="T6" fmla="*/ 459 w 625"/>
                <a:gd name="T7" fmla="*/ 118 h 301"/>
                <a:gd name="T8" fmla="*/ 284 w 625"/>
                <a:gd name="T9" fmla="*/ 0 h 301"/>
                <a:gd name="T10" fmla="*/ 95 w 625"/>
                <a:gd name="T11" fmla="*/ 178 h 301"/>
                <a:gd name="T12" fmla="*/ 0 w 625"/>
                <a:gd name="T13" fmla="*/ 276 h 301"/>
                <a:gd name="T14" fmla="*/ 3 w 625"/>
                <a:gd name="T15" fmla="*/ 301 h 301"/>
                <a:gd name="T16" fmla="*/ 610 w 625"/>
                <a:gd name="T17" fmla="*/ 301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5" h="301">
                  <a:moveTo>
                    <a:pt x="610" y="301"/>
                  </a:moveTo>
                  <a:cubicBezTo>
                    <a:pt x="619" y="283"/>
                    <a:pt x="625" y="263"/>
                    <a:pt x="625" y="242"/>
                  </a:cubicBezTo>
                  <a:cubicBezTo>
                    <a:pt x="625" y="171"/>
                    <a:pt x="567" y="113"/>
                    <a:pt x="495" y="113"/>
                  </a:cubicBezTo>
                  <a:cubicBezTo>
                    <a:pt x="483" y="113"/>
                    <a:pt x="471" y="115"/>
                    <a:pt x="459" y="118"/>
                  </a:cubicBezTo>
                  <a:cubicBezTo>
                    <a:pt x="431" y="49"/>
                    <a:pt x="363" y="0"/>
                    <a:pt x="284" y="0"/>
                  </a:cubicBezTo>
                  <a:cubicBezTo>
                    <a:pt x="183" y="0"/>
                    <a:pt x="101" y="79"/>
                    <a:pt x="95" y="178"/>
                  </a:cubicBezTo>
                  <a:cubicBezTo>
                    <a:pt x="42" y="180"/>
                    <a:pt x="0" y="223"/>
                    <a:pt x="0" y="276"/>
                  </a:cubicBezTo>
                  <a:cubicBezTo>
                    <a:pt x="0" y="285"/>
                    <a:pt x="1" y="293"/>
                    <a:pt x="3" y="301"/>
                  </a:cubicBezTo>
                  <a:lnTo>
                    <a:pt x="610" y="30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221" name="Rectangle 44"/>
            <p:cNvSpPr>
              <a:spLocks noChangeArrowheads="1"/>
            </p:cNvSpPr>
            <p:nvPr/>
          </p:nvSpPr>
          <p:spPr bwMode="auto">
            <a:xfrm>
              <a:off x="504962" y="3833839"/>
              <a:ext cx="2146089" cy="116891"/>
            </a:xfrm>
            <a:prstGeom prst="rect">
              <a:avLst/>
            </a:prstGeom>
            <a:solidFill>
              <a:srgbClr val="4423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222" name="Freeform 45"/>
            <p:cNvSpPr>
              <a:spLocks/>
            </p:cNvSpPr>
            <p:nvPr/>
          </p:nvSpPr>
          <p:spPr bwMode="auto">
            <a:xfrm>
              <a:off x="0" y="4221910"/>
              <a:ext cx="205725" cy="416127"/>
            </a:xfrm>
            <a:custGeom>
              <a:avLst/>
              <a:gdLst>
                <a:gd name="T0" fmla="*/ 0 w 94"/>
                <a:gd name="T1" fmla="*/ 0 h 188"/>
                <a:gd name="T2" fmla="*/ 94 w 94"/>
                <a:gd name="T3" fmla="*/ 94 h 188"/>
                <a:gd name="T4" fmla="*/ 0 w 94"/>
                <a:gd name="T5" fmla="*/ 18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4" h="188">
                  <a:moveTo>
                    <a:pt x="0" y="0"/>
                  </a:moveTo>
                  <a:cubicBezTo>
                    <a:pt x="52" y="0"/>
                    <a:pt x="94" y="42"/>
                    <a:pt x="94" y="94"/>
                  </a:cubicBezTo>
                  <a:cubicBezTo>
                    <a:pt x="94" y="146"/>
                    <a:pt x="52" y="188"/>
                    <a:pt x="0" y="188"/>
                  </a:cubicBezTo>
                </a:path>
              </a:pathLst>
            </a:custGeom>
            <a:solidFill>
              <a:srgbClr val="4423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223" name="Freeform 46"/>
            <p:cNvSpPr>
              <a:spLocks/>
            </p:cNvSpPr>
            <p:nvPr/>
          </p:nvSpPr>
          <p:spPr bwMode="auto">
            <a:xfrm>
              <a:off x="0" y="5287940"/>
              <a:ext cx="205725" cy="416127"/>
            </a:xfrm>
            <a:custGeom>
              <a:avLst/>
              <a:gdLst>
                <a:gd name="T0" fmla="*/ 0 w 94"/>
                <a:gd name="T1" fmla="*/ 0 h 188"/>
                <a:gd name="T2" fmla="*/ 94 w 94"/>
                <a:gd name="T3" fmla="*/ 94 h 188"/>
                <a:gd name="T4" fmla="*/ 0 w 94"/>
                <a:gd name="T5" fmla="*/ 18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4" h="188">
                  <a:moveTo>
                    <a:pt x="0" y="0"/>
                  </a:moveTo>
                  <a:cubicBezTo>
                    <a:pt x="52" y="0"/>
                    <a:pt x="94" y="42"/>
                    <a:pt x="94" y="94"/>
                  </a:cubicBezTo>
                  <a:cubicBezTo>
                    <a:pt x="94" y="146"/>
                    <a:pt x="52" y="188"/>
                    <a:pt x="0" y="188"/>
                  </a:cubicBezTo>
                </a:path>
              </a:pathLst>
            </a:custGeom>
            <a:solidFill>
              <a:srgbClr val="4423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224" name="Freeform 47"/>
            <p:cNvSpPr>
              <a:spLocks/>
            </p:cNvSpPr>
            <p:nvPr/>
          </p:nvSpPr>
          <p:spPr bwMode="auto">
            <a:xfrm>
              <a:off x="0" y="6353970"/>
              <a:ext cx="205725" cy="416127"/>
            </a:xfrm>
            <a:custGeom>
              <a:avLst/>
              <a:gdLst>
                <a:gd name="T0" fmla="*/ 0 w 94"/>
                <a:gd name="T1" fmla="*/ 0 h 188"/>
                <a:gd name="T2" fmla="*/ 94 w 94"/>
                <a:gd name="T3" fmla="*/ 94 h 188"/>
                <a:gd name="T4" fmla="*/ 0 w 94"/>
                <a:gd name="T5" fmla="*/ 18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4" h="188">
                  <a:moveTo>
                    <a:pt x="0" y="0"/>
                  </a:moveTo>
                  <a:cubicBezTo>
                    <a:pt x="52" y="0"/>
                    <a:pt x="94" y="42"/>
                    <a:pt x="94" y="94"/>
                  </a:cubicBezTo>
                  <a:cubicBezTo>
                    <a:pt x="94" y="146"/>
                    <a:pt x="52" y="188"/>
                    <a:pt x="0" y="188"/>
                  </a:cubicBezTo>
                </a:path>
              </a:pathLst>
            </a:custGeom>
            <a:solidFill>
              <a:srgbClr val="4423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225" name="Freeform 48"/>
            <p:cNvSpPr>
              <a:spLocks/>
            </p:cNvSpPr>
            <p:nvPr/>
          </p:nvSpPr>
          <p:spPr bwMode="auto">
            <a:xfrm>
              <a:off x="0" y="4544"/>
              <a:ext cx="1182921" cy="3226144"/>
            </a:xfrm>
            <a:custGeom>
              <a:avLst/>
              <a:gdLst>
                <a:gd name="T0" fmla="*/ 253 w 253"/>
                <a:gd name="T1" fmla="*/ 0 h 690"/>
                <a:gd name="T2" fmla="*/ 0 w 253"/>
                <a:gd name="T3" fmla="*/ 690 h 690"/>
                <a:gd name="T4" fmla="*/ 0 w 253"/>
                <a:gd name="T5" fmla="*/ 0 h 690"/>
                <a:gd name="T6" fmla="*/ 253 w 253"/>
                <a:gd name="T7" fmla="*/ 0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3" h="690">
                  <a:moveTo>
                    <a:pt x="253" y="0"/>
                  </a:moveTo>
                  <a:lnTo>
                    <a:pt x="0" y="690"/>
                  </a:lnTo>
                  <a:lnTo>
                    <a:pt x="0" y="0"/>
                  </a:lnTo>
                  <a:lnTo>
                    <a:pt x="253" y="0"/>
                  </a:lnTo>
                  <a:close/>
                </a:path>
              </a:pathLst>
            </a:custGeom>
            <a:solidFill>
              <a:srgbClr val="FCD1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226" name="Freeform 49"/>
            <p:cNvSpPr>
              <a:spLocks/>
            </p:cNvSpPr>
            <p:nvPr/>
          </p:nvSpPr>
          <p:spPr bwMode="auto">
            <a:xfrm>
              <a:off x="0" y="4544"/>
              <a:ext cx="1182921" cy="3226144"/>
            </a:xfrm>
            <a:custGeom>
              <a:avLst/>
              <a:gdLst>
                <a:gd name="T0" fmla="*/ 253 w 253"/>
                <a:gd name="T1" fmla="*/ 0 h 690"/>
                <a:gd name="T2" fmla="*/ 0 w 253"/>
                <a:gd name="T3" fmla="*/ 690 h 690"/>
                <a:gd name="T4" fmla="*/ 0 w 253"/>
                <a:gd name="T5" fmla="*/ 0 h 690"/>
                <a:gd name="T6" fmla="*/ 253 w 253"/>
                <a:gd name="T7" fmla="*/ 0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3" h="690">
                  <a:moveTo>
                    <a:pt x="253" y="0"/>
                  </a:moveTo>
                  <a:lnTo>
                    <a:pt x="0" y="690"/>
                  </a:lnTo>
                  <a:lnTo>
                    <a:pt x="0" y="0"/>
                  </a:lnTo>
                  <a:lnTo>
                    <a:pt x="25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227" name="Freeform 50"/>
            <p:cNvSpPr>
              <a:spLocks/>
            </p:cNvSpPr>
            <p:nvPr/>
          </p:nvSpPr>
          <p:spPr bwMode="auto">
            <a:xfrm>
              <a:off x="0" y="1510078"/>
              <a:ext cx="888359" cy="2440648"/>
            </a:xfrm>
            <a:custGeom>
              <a:avLst/>
              <a:gdLst>
                <a:gd name="T0" fmla="*/ 0 w 190"/>
                <a:gd name="T1" fmla="*/ 522 h 522"/>
                <a:gd name="T2" fmla="*/ 190 w 190"/>
                <a:gd name="T3" fmla="*/ 0 h 522"/>
                <a:gd name="T4" fmla="*/ 0 w 190"/>
                <a:gd name="T5" fmla="*/ 0 h 522"/>
                <a:gd name="T6" fmla="*/ 0 w 190"/>
                <a:gd name="T7" fmla="*/ 522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0" h="522">
                  <a:moveTo>
                    <a:pt x="0" y="522"/>
                  </a:moveTo>
                  <a:lnTo>
                    <a:pt x="190" y="0"/>
                  </a:lnTo>
                  <a:lnTo>
                    <a:pt x="0" y="0"/>
                  </a:lnTo>
                  <a:lnTo>
                    <a:pt x="0" y="522"/>
                  </a:lnTo>
                  <a:close/>
                </a:path>
              </a:pathLst>
            </a:custGeom>
            <a:solidFill>
              <a:srgbClr val="E81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228" name="Freeform 51"/>
            <p:cNvSpPr>
              <a:spLocks/>
            </p:cNvSpPr>
            <p:nvPr/>
          </p:nvSpPr>
          <p:spPr bwMode="auto">
            <a:xfrm>
              <a:off x="0" y="1510078"/>
              <a:ext cx="888359" cy="2440648"/>
            </a:xfrm>
            <a:custGeom>
              <a:avLst/>
              <a:gdLst>
                <a:gd name="T0" fmla="*/ 0 w 190"/>
                <a:gd name="T1" fmla="*/ 522 h 522"/>
                <a:gd name="T2" fmla="*/ 190 w 190"/>
                <a:gd name="T3" fmla="*/ 0 h 522"/>
                <a:gd name="T4" fmla="*/ 0 w 190"/>
                <a:gd name="T5" fmla="*/ 0 h 522"/>
                <a:gd name="T6" fmla="*/ 0 w 190"/>
                <a:gd name="T7" fmla="*/ 522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0" h="522">
                  <a:moveTo>
                    <a:pt x="0" y="522"/>
                  </a:moveTo>
                  <a:lnTo>
                    <a:pt x="190" y="0"/>
                  </a:lnTo>
                  <a:lnTo>
                    <a:pt x="0" y="0"/>
                  </a:lnTo>
                  <a:lnTo>
                    <a:pt x="0" y="52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229" name="Freeform 52"/>
            <p:cNvSpPr>
              <a:spLocks/>
            </p:cNvSpPr>
            <p:nvPr/>
          </p:nvSpPr>
          <p:spPr bwMode="auto">
            <a:xfrm>
              <a:off x="504962" y="4544"/>
              <a:ext cx="1341890" cy="1846852"/>
            </a:xfrm>
            <a:custGeom>
              <a:avLst/>
              <a:gdLst>
                <a:gd name="T0" fmla="*/ 145 w 287"/>
                <a:gd name="T1" fmla="*/ 0 h 395"/>
                <a:gd name="T2" fmla="*/ 221 w 287"/>
                <a:gd name="T3" fmla="*/ 0 h 395"/>
                <a:gd name="T4" fmla="*/ 287 w 287"/>
                <a:gd name="T5" fmla="*/ 395 h 395"/>
                <a:gd name="T6" fmla="*/ 23 w 287"/>
                <a:gd name="T7" fmla="*/ 350 h 395"/>
                <a:gd name="T8" fmla="*/ 0 w 287"/>
                <a:gd name="T9" fmla="*/ 345 h 395"/>
                <a:gd name="T10" fmla="*/ 113 w 287"/>
                <a:gd name="T11" fmla="*/ 88 h 395"/>
                <a:gd name="T12" fmla="*/ 145 w 287"/>
                <a:gd name="T13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7" h="395">
                  <a:moveTo>
                    <a:pt x="145" y="0"/>
                  </a:moveTo>
                  <a:lnTo>
                    <a:pt x="221" y="0"/>
                  </a:lnTo>
                  <a:lnTo>
                    <a:pt x="287" y="395"/>
                  </a:lnTo>
                  <a:lnTo>
                    <a:pt x="23" y="350"/>
                  </a:lnTo>
                  <a:lnTo>
                    <a:pt x="0" y="345"/>
                  </a:lnTo>
                  <a:lnTo>
                    <a:pt x="113" y="88"/>
                  </a:lnTo>
                  <a:lnTo>
                    <a:pt x="14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230" name="Freeform 53"/>
            <p:cNvSpPr>
              <a:spLocks/>
            </p:cNvSpPr>
            <p:nvPr/>
          </p:nvSpPr>
          <p:spPr bwMode="auto">
            <a:xfrm>
              <a:off x="504962" y="4544"/>
              <a:ext cx="1341890" cy="1846852"/>
            </a:xfrm>
            <a:custGeom>
              <a:avLst/>
              <a:gdLst>
                <a:gd name="T0" fmla="*/ 145 w 287"/>
                <a:gd name="T1" fmla="*/ 0 h 395"/>
                <a:gd name="T2" fmla="*/ 221 w 287"/>
                <a:gd name="T3" fmla="*/ 0 h 395"/>
                <a:gd name="T4" fmla="*/ 287 w 287"/>
                <a:gd name="T5" fmla="*/ 395 h 395"/>
                <a:gd name="T6" fmla="*/ 23 w 287"/>
                <a:gd name="T7" fmla="*/ 350 h 395"/>
                <a:gd name="T8" fmla="*/ 0 w 287"/>
                <a:gd name="T9" fmla="*/ 345 h 395"/>
                <a:gd name="T10" fmla="*/ 113 w 287"/>
                <a:gd name="T11" fmla="*/ 88 h 395"/>
                <a:gd name="T12" fmla="*/ 145 w 287"/>
                <a:gd name="T13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7" h="395">
                  <a:moveTo>
                    <a:pt x="145" y="0"/>
                  </a:moveTo>
                  <a:lnTo>
                    <a:pt x="221" y="0"/>
                  </a:lnTo>
                  <a:lnTo>
                    <a:pt x="287" y="395"/>
                  </a:lnTo>
                  <a:lnTo>
                    <a:pt x="23" y="350"/>
                  </a:lnTo>
                  <a:lnTo>
                    <a:pt x="0" y="345"/>
                  </a:lnTo>
                  <a:lnTo>
                    <a:pt x="113" y="88"/>
                  </a:lnTo>
                  <a:lnTo>
                    <a:pt x="14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231" name="Freeform 54"/>
            <p:cNvSpPr>
              <a:spLocks/>
            </p:cNvSpPr>
            <p:nvPr/>
          </p:nvSpPr>
          <p:spPr bwMode="auto">
            <a:xfrm>
              <a:off x="0" y="1617618"/>
              <a:ext cx="1126814" cy="2389219"/>
            </a:xfrm>
            <a:custGeom>
              <a:avLst/>
              <a:gdLst>
                <a:gd name="T0" fmla="*/ 241 w 241"/>
                <a:gd name="T1" fmla="*/ 5 h 511"/>
                <a:gd name="T2" fmla="*/ 0 w 241"/>
                <a:gd name="T3" fmla="*/ 511 h 511"/>
                <a:gd name="T4" fmla="*/ 108 w 241"/>
                <a:gd name="T5" fmla="*/ 0 h 511"/>
                <a:gd name="T6" fmla="*/ 241 w 241"/>
                <a:gd name="T7" fmla="*/ 5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1" h="511">
                  <a:moveTo>
                    <a:pt x="241" y="5"/>
                  </a:moveTo>
                  <a:lnTo>
                    <a:pt x="0" y="511"/>
                  </a:lnTo>
                  <a:lnTo>
                    <a:pt x="108" y="0"/>
                  </a:lnTo>
                  <a:lnTo>
                    <a:pt x="241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232" name="Freeform 55"/>
            <p:cNvSpPr>
              <a:spLocks/>
            </p:cNvSpPr>
            <p:nvPr/>
          </p:nvSpPr>
          <p:spPr bwMode="auto">
            <a:xfrm>
              <a:off x="0" y="1617618"/>
              <a:ext cx="1126814" cy="2389219"/>
            </a:xfrm>
            <a:custGeom>
              <a:avLst/>
              <a:gdLst>
                <a:gd name="T0" fmla="*/ 241 w 241"/>
                <a:gd name="T1" fmla="*/ 5 h 511"/>
                <a:gd name="T2" fmla="*/ 0 w 241"/>
                <a:gd name="T3" fmla="*/ 511 h 511"/>
                <a:gd name="T4" fmla="*/ 108 w 241"/>
                <a:gd name="T5" fmla="*/ 0 h 511"/>
                <a:gd name="T6" fmla="*/ 241 w 241"/>
                <a:gd name="T7" fmla="*/ 5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1" h="511">
                  <a:moveTo>
                    <a:pt x="241" y="5"/>
                  </a:moveTo>
                  <a:lnTo>
                    <a:pt x="0" y="511"/>
                  </a:lnTo>
                  <a:lnTo>
                    <a:pt x="108" y="0"/>
                  </a:lnTo>
                  <a:lnTo>
                    <a:pt x="241" y="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233" name="Freeform 56"/>
            <p:cNvSpPr>
              <a:spLocks/>
            </p:cNvSpPr>
            <p:nvPr/>
          </p:nvSpPr>
          <p:spPr bwMode="auto">
            <a:xfrm>
              <a:off x="0" y="1720480"/>
              <a:ext cx="1795419" cy="2286356"/>
            </a:xfrm>
            <a:custGeom>
              <a:avLst/>
              <a:gdLst>
                <a:gd name="T0" fmla="*/ 232 w 384"/>
                <a:gd name="T1" fmla="*/ 0 h 489"/>
                <a:gd name="T2" fmla="*/ 0 w 384"/>
                <a:gd name="T3" fmla="*/ 489 h 489"/>
                <a:gd name="T4" fmla="*/ 204 w 384"/>
                <a:gd name="T5" fmla="*/ 60 h 489"/>
                <a:gd name="T6" fmla="*/ 384 w 384"/>
                <a:gd name="T7" fmla="*/ 71 h 489"/>
                <a:gd name="T8" fmla="*/ 364 w 384"/>
                <a:gd name="T9" fmla="*/ 23 h 489"/>
                <a:gd name="T10" fmla="*/ 232 w 384"/>
                <a:gd name="T11" fmla="*/ 0 h 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4" h="489">
                  <a:moveTo>
                    <a:pt x="232" y="0"/>
                  </a:moveTo>
                  <a:lnTo>
                    <a:pt x="0" y="489"/>
                  </a:lnTo>
                  <a:lnTo>
                    <a:pt x="204" y="60"/>
                  </a:lnTo>
                  <a:lnTo>
                    <a:pt x="384" y="71"/>
                  </a:lnTo>
                  <a:lnTo>
                    <a:pt x="364" y="23"/>
                  </a:lnTo>
                  <a:lnTo>
                    <a:pt x="232" y="0"/>
                  </a:lnTo>
                  <a:close/>
                </a:path>
              </a:pathLst>
            </a:custGeom>
            <a:solidFill>
              <a:srgbClr val="5B1D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234" name="Freeform 57"/>
            <p:cNvSpPr>
              <a:spLocks/>
            </p:cNvSpPr>
            <p:nvPr/>
          </p:nvSpPr>
          <p:spPr bwMode="auto">
            <a:xfrm>
              <a:off x="0" y="1720480"/>
              <a:ext cx="1795419" cy="2286356"/>
            </a:xfrm>
            <a:custGeom>
              <a:avLst/>
              <a:gdLst>
                <a:gd name="T0" fmla="*/ 232 w 384"/>
                <a:gd name="T1" fmla="*/ 0 h 489"/>
                <a:gd name="T2" fmla="*/ 0 w 384"/>
                <a:gd name="T3" fmla="*/ 489 h 489"/>
                <a:gd name="T4" fmla="*/ 204 w 384"/>
                <a:gd name="T5" fmla="*/ 60 h 489"/>
                <a:gd name="T6" fmla="*/ 384 w 384"/>
                <a:gd name="T7" fmla="*/ 71 h 489"/>
                <a:gd name="T8" fmla="*/ 364 w 384"/>
                <a:gd name="T9" fmla="*/ 23 h 489"/>
                <a:gd name="T10" fmla="*/ 232 w 384"/>
                <a:gd name="T11" fmla="*/ 0 h 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4" h="489">
                  <a:moveTo>
                    <a:pt x="232" y="0"/>
                  </a:moveTo>
                  <a:lnTo>
                    <a:pt x="0" y="489"/>
                  </a:lnTo>
                  <a:lnTo>
                    <a:pt x="204" y="60"/>
                  </a:lnTo>
                  <a:lnTo>
                    <a:pt x="384" y="71"/>
                  </a:lnTo>
                  <a:lnTo>
                    <a:pt x="364" y="23"/>
                  </a:lnTo>
                  <a:lnTo>
                    <a:pt x="23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235" name="Freeform 58"/>
            <p:cNvSpPr>
              <a:spLocks noEditPoints="1"/>
            </p:cNvSpPr>
            <p:nvPr/>
          </p:nvSpPr>
          <p:spPr bwMode="auto">
            <a:xfrm>
              <a:off x="504962" y="1617618"/>
              <a:ext cx="1196946" cy="210402"/>
            </a:xfrm>
            <a:custGeom>
              <a:avLst/>
              <a:gdLst>
                <a:gd name="T0" fmla="*/ 125 w 256"/>
                <a:gd name="T1" fmla="*/ 20 h 45"/>
                <a:gd name="T2" fmla="*/ 124 w 256"/>
                <a:gd name="T3" fmla="*/ 22 h 45"/>
                <a:gd name="T4" fmla="*/ 256 w 256"/>
                <a:gd name="T5" fmla="*/ 45 h 45"/>
                <a:gd name="T6" fmla="*/ 255 w 256"/>
                <a:gd name="T7" fmla="*/ 42 h 45"/>
                <a:gd name="T8" fmla="*/ 125 w 256"/>
                <a:gd name="T9" fmla="*/ 20 h 45"/>
                <a:gd name="T10" fmla="*/ 0 w 256"/>
                <a:gd name="T11" fmla="*/ 0 h 45"/>
                <a:gd name="T12" fmla="*/ 0 w 256"/>
                <a:gd name="T13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6" h="45">
                  <a:moveTo>
                    <a:pt x="125" y="20"/>
                  </a:moveTo>
                  <a:lnTo>
                    <a:pt x="124" y="22"/>
                  </a:lnTo>
                  <a:lnTo>
                    <a:pt x="256" y="45"/>
                  </a:lnTo>
                  <a:lnTo>
                    <a:pt x="255" y="42"/>
                  </a:lnTo>
                  <a:lnTo>
                    <a:pt x="125" y="2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DEDE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236" name="Freeform 59"/>
            <p:cNvSpPr>
              <a:spLocks noEditPoints="1"/>
            </p:cNvSpPr>
            <p:nvPr/>
          </p:nvSpPr>
          <p:spPr bwMode="auto">
            <a:xfrm>
              <a:off x="504962" y="1617618"/>
              <a:ext cx="1196946" cy="210402"/>
            </a:xfrm>
            <a:custGeom>
              <a:avLst/>
              <a:gdLst>
                <a:gd name="T0" fmla="*/ 125 w 256"/>
                <a:gd name="T1" fmla="*/ 20 h 45"/>
                <a:gd name="T2" fmla="*/ 124 w 256"/>
                <a:gd name="T3" fmla="*/ 22 h 45"/>
                <a:gd name="T4" fmla="*/ 256 w 256"/>
                <a:gd name="T5" fmla="*/ 45 h 45"/>
                <a:gd name="T6" fmla="*/ 255 w 256"/>
                <a:gd name="T7" fmla="*/ 42 h 45"/>
                <a:gd name="T8" fmla="*/ 125 w 256"/>
                <a:gd name="T9" fmla="*/ 20 h 45"/>
                <a:gd name="T10" fmla="*/ 0 w 256"/>
                <a:gd name="T11" fmla="*/ 0 h 45"/>
                <a:gd name="T12" fmla="*/ 0 w 256"/>
                <a:gd name="T13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6" h="45">
                  <a:moveTo>
                    <a:pt x="125" y="20"/>
                  </a:moveTo>
                  <a:lnTo>
                    <a:pt x="124" y="22"/>
                  </a:lnTo>
                  <a:lnTo>
                    <a:pt x="256" y="45"/>
                  </a:lnTo>
                  <a:lnTo>
                    <a:pt x="255" y="42"/>
                  </a:lnTo>
                  <a:lnTo>
                    <a:pt x="125" y="20"/>
                  </a:lnTo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237" name="Freeform 60"/>
            <p:cNvSpPr>
              <a:spLocks/>
            </p:cNvSpPr>
            <p:nvPr/>
          </p:nvSpPr>
          <p:spPr bwMode="auto">
            <a:xfrm>
              <a:off x="0" y="1617618"/>
              <a:ext cx="1089410" cy="2389219"/>
            </a:xfrm>
            <a:custGeom>
              <a:avLst/>
              <a:gdLst>
                <a:gd name="T0" fmla="*/ 108 w 233"/>
                <a:gd name="T1" fmla="*/ 0 h 511"/>
                <a:gd name="T2" fmla="*/ 0 w 233"/>
                <a:gd name="T3" fmla="*/ 511 h 511"/>
                <a:gd name="T4" fmla="*/ 232 w 233"/>
                <a:gd name="T5" fmla="*/ 22 h 511"/>
                <a:gd name="T6" fmla="*/ 233 w 233"/>
                <a:gd name="T7" fmla="*/ 20 h 511"/>
                <a:gd name="T8" fmla="*/ 108 w 23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3" h="511">
                  <a:moveTo>
                    <a:pt x="108" y="0"/>
                  </a:moveTo>
                  <a:lnTo>
                    <a:pt x="0" y="511"/>
                  </a:lnTo>
                  <a:lnTo>
                    <a:pt x="232" y="22"/>
                  </a:lnTo>
                  <a:lnTo>
                    <a:pt x="233" y="20"/>
                  </a:lnTo>
                  <a:lnTo>
                    <a:pt x="108" y="0"/>
                  </a:lnTo>
                  <a:close/>
                </a:path>
              </a:pathLst>
            </a:custGeom>
            <a:solidFill>
              <a:srgbClr val="DEDE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238" name="Freeform 61"/>
            <p:cNvSpPr>
              <a:spLocks/>
            </p:cNvSpPr>
            <p:nvPr/>
          </p:nvSpPr>
          <p:spPr bwMode="auto">
            <a:xfrm>
              <a:off x="0" y="1617618"/>
              <a:ext cx="1089410" cy="2389219"/>
            </a:xfrm>
            <a:custGeom>
              <a:avLst/>
              <a:gdLst>
                <a:gd name="T0" fmla="*/ 108 w 233"/>
                <a:gd name="T1" fmla="*/ 0 h 511"/>
                <a:gd name="T2" fmla="*/ 0 w 233"/>
                <a:gd name="T3" fmla="*/ 511 h 511"/>
                <a:gd name="T4" fmla="*/ 232 w 233"/>
                <a:gd name="T5" fmla="*/ 22 h 511"/>
                <a:gd name="T6" fmla="*/ 233 w 233"/>
                <a:gd name="T7" fmla="*/ 20 h 511"/>
                <a:gd name="T8" fmla="*/ 108 w 23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3" h="511">
                  <a:moveTo>
                    <a:pt x="108" y="0"/>
                  </a:moveTo>
                  <a:lnTo>
                    <a:pt x="0" y="511"/>
                  </a:lnTo>
                  <a:lnTo>
                    <a:pt x="232" y="22"/>
                  </a:lnTo>
                  <a:lnTo>
                    <a:pt x="233" y="20"/>
                  </a:lnTo>
                  <a:lnTo>
                    <a:pt x="10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239" name="Oval 62"/>
            <p:cNvSpPr>
              <a:spLocks noChangeArrowheads="1"/>
            </p:cNvSpPr>
            <p:nvPr/>
          </p:nvSpPr>
          <p:spPr bwMode="auto">
            <a:xfrm>
              <a:off x="589122" y="1781261"/>
              <a:ext cx="140267" cy="140267"/>
            </a:xfrm>
            <a:prstGeom prst="ellipse">
              <a:avLst/>
            </a:prstGeom>
            <a:solidFill>
              <a:srgbClr val="4423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240" name="Freeform 63"/>
            <p:cNvSpPr>
              <a:spLocks/>
            </p:cNvSpPr>
            <p:nvPr/>
          </p:nvSpPr>
          <p:spPr bwMode="auto">
            <a:xfrm>
              <a:off x="3034447" y="514183"/>
              <a:ext cx="635878" cy="3151335"/>
            </a:xfrm>
            <a:custGeom>
              <a:avLst/>
              <a:gdLst>
                <a:gd name="T0" fmla="*/ 276 w 288"/>
                <a:gd name="T1" fmla="*/ 0 h 1431"/>
                <a:gd name="T2" fmla="*/ 151 w 288"/>
                <a:gd name="T3" fmla="*/ 344 h 1431"/>
                <a:gd name="T4" fmla="*/ 0 w 288"/>
                <a:gd name="T5" fmla="*/ 1431 h 1431"/>
                <a:gd name="T6" fmla="*/ 14 w 288"/>
                <a:gd name="T7" fmla="*/ 1396 h 1431"/>
                <a:gd name="T8" fmla="*/ 164 w 288"/>
                <a:gd name="T9" fmla="*/ 349 h 1431"/>
                <a:gd name="T10" fmla="*/ 288 w 288"/>
                <a:gd name="T11" fmla="*/ 7 h 1431"/>
                <a:gd name="T12" fmla="*/ 288 w 288"/>
                <a:gd name="T13" fmla="*/ 6 h 1431"/>
                <a:gd name="T14" fmla="*/ 276 w 288"/>
                <a:gd name="T15" fmla="*/ 0 h 1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8" h="1431">
                  <a:moveTo>
                    <a:pt x="276" y="0"/>
                  </a:moveTo>
                  <a:cubicBezTo>
                    <a:pt x="242" y="76"/>
                    <a:pt x="195" y="195"/>
                    <a:pt x="151" y="344"/>
                  </a:cubicBezTo>
                  <a:cubicBezTo>
                    <a:pt x="82" y="579"/>
                    <a:pt x="2" y="954"/>
                    <a:pt x="0" y="1431"/>
                  </a:cubicBezTo>
                  <a:cubicBezTo>
                    <a:pt x="14" y="1396"/>
                    <a:pt x="14" y="1396"/>
                    <a:pt x="14" y="1396"/>
                  </a:cubicBezTo>
                  <a:cubicBezTo>
                    <a:pt x="19" y="937"/>
                    <a:pt x="97" y="576"/>
                    <a:pt x="164" y="349"/>
                  </a:cubicBezTo>
                  <a:cubicBezTo>
                    <a:pt x="210" y="191"/>
                    <a:pt x="257" y="76"/>
                    <a:pt x="288" y="7"/>
                  </a:cubicBezTo>
                  <a:cubicBezTo>
                    <a:pt x="288" y="6"/>
                    <a:pt x="288" y="6"/>
                    <a:pt x="288" y="6"/>
                  </a:cubicBezTo>
                  <a:lnTo>
                    <a:pt x="276" y="0"/>
                  </a:lnTo>
                  <a:close/>
                </a:path>
              </a:pathLst>
            </a:custGeom>
            <a:solidFill>
              <a:srgbClr val="4423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</p:grpSp>
      <p:pic>
        <p:nvPicPr>
          <p:cNvPr id="66" name="Picture 65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530697" y="5967497"/>
            <a:ext cx="1673886" cy="358621"/>
          </a:xfrm>
          <a:prstGeom prst="rect">
            <a:avLst/>
          </a:prstGeom>
        </p:spPr>
      </p:pic>
      <p:grpSp>
        <p:nvGrpSpPr>
          <p:cNvPr id="67" name="Group 66"/>
          <p:cNvGrpSpPr/>
          <p:nvPr userDrawn="1"/>
        </p:nvGrpSpPr>
        <p:grpSpPr>
          <a:xfrm flipH="1">
            <a:off x="6911622" y="4456"/>
            <a:ext cx="5280378" cy="6853545"/>
            <a:chOff x="0" y="4544"/>
            <a:chExt cx="5386261" cy="6989981"/>
          </a:xfrm>
        </p:grpSpPr>
        <p:sp>
          <p:nvSpPr>
            <p:cNvPr id="68" name="Rectangle 67"/>
            <p:cNvSpPr>
              <a:spLocks noChangeArrowheads="1"/>
            </p:cNvSpPr>
            <p:nvPr/>
          </p:nvSpPr>
          <p:spPr bwMode="auto">
            <a:xfrm>
              <a:off x="1538264" y="9221"/>
              <a:ext cx="3847997" cy="69806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69" name="Freeform 68"/>
            <p:cNvSpPr>
              <a:spLocks/>
            </p:cNvSpPr>
            <p:nvPr/>
          </p:nvSpPr>
          <p:spPr bwMode="auto">
            <a:xfrm>
              <a:off x="0" y="4544"/>
              <a:ext cx="4979485" cy="6989981"/>
            </a:xfrm>
            <a:custGeom>
              <a:avLst/>
              <a:gdLst>
                <a:gd name="T0" fmla="*/ 0 w 1065"/>
                <a:gd name="T1" fmla="*/ 0 h 1495"/>
                <a:gd name="T2" fmla="*/ 0 w 1065"/>
                <a:gd name="T3" fmla="*/ 690 h 1495"/>
                <a:gd name="T4" fmla="*/ 0 w 1065"/>
                <a:gd name="T5" fmla="*/ 1055 h 1495"/>
                <a:gd name="T6" fmla="*/ 0 w 1065"/>
                <a:gd name="T7" fmla="*/ 1495 h 1495"/>
                <a:gd name="T8" fmla="*/ 654 w 1065"/>
                <a:gd name="T9" fmla="*/ 1495 h 1495"/>
                <a:gd name="T10" fmla="*/ 567 w 1065"/>
                <a:gd name="T11" fmla="*/ 997 h 1495"/>
                <a:gd name="T12" fmla="*/ 656 w 1065"/>
                <a:gd name="T13" fmla="*/ 765 h 1495"/>
                <a:gd name="T14" fmla="*/ 797 w 1065"/>
                <a:gd name="T15" fmla="*/ 1289 h 1495"/>
                <a:gd name="T16" fmla="*/ 787 w 1065"/>
                <a:gd name="T17" fmla="*/ 1494 h 1495"/>
                <a:gd name="T18" fmla="*/ 1050 w 1065"/>
                <a:gd name="T19" fmla="*/ 1494 h 1495"/>
                <a:gd name="T20" fmla="*/ 1065 w 1065"/>
                <a:gd name="T21" fmla="*/ 1255 h 1495"/>
                <a:gd name="T22" fmla="*/ 785 w 1065"/>
                <a:gd name="T23" fmla="*/ 112 h 1495"/>
                <a:gd name="T24" fmla="*/ 567 w 1065"/>
                <a:gd name="T25" fmla="*/ 0 h 1495"/>
                <a:gd name="T26" fmla="*/ 0 w 1065"/>
                <a:gd name="T27" fmla="*/ 0 h 1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65" h="1495">
                  <a:moveTo>
                    <a:pt x="0" y="0"/>
                  </a:moveTo>
                  <a:lnTo>
                    <a:pt x="0" y="690"/>
                  </a:lnTo>
                  <a:lnTo>
                    <a:pt x="0" y="1055"/>
                  </a:lnTo>
                  <a:lnTo>
                    <a:pt x="0" y="1495"/>
                  </a:lnTo>
                  <a:lnTo>
                    <a:pt x="654" y="1495"/>
                  </a:lnTo>
                  <a:lnTo>
                    <a:pt x="567" y="997"/>
                  </a:lnTo>
                  <a:lnTo>
                    <a:pt x="656" y="765"/>
                  </a:lnTo>
                  <a:lnTo>
                    <a:pt x="797" y="1289"/>
                  </a:lnTo>
                  <a:lnTo>
                    <a:pt x="787" y="1494"/>
                  </a:lnTo>
                  <a:lnTo>
                    <a:pt x="1050" y="1494"/>
                  </a:lnTo>
                  <a:lnTo>
                    <a:pt x="1065" y="1255"/>
                  </a:lnTo>
                  <a:lnTo>
                    <a:pt x="785" y="112"/>
                  </a:lnTo>
                  <a:lnTo>
                    <a:pt x="56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B00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70" name="Freeform 69"/>
            <p:cNvSpPr>
              <a:spLocks/>
            </p:cNvSpPr>
            <p:nvPr/>
          </p:nvSpPr>
          <p:spPr bwMode="auto">
            <a:xfrm>
              <a:off x="0" y="4544"/>
              <a:ext cx="4979485" cy="6989981"/>
            </a:xfrm>
            <a:custGeom>
              <a:avLst/>
              <a:gdLst>
                <a:gd name="T0" fmla="*/ 0 w 1065"/>
                <a:gd name="T1" fmla="*/ 0 h 1495"/>
                <a:gd name="T2" fmla="*/ 0 w 1065"/>
                <a:gd name="T3" fmla="*/ 690 h 1495"/>
                <a:gd name="T4" fmla="*/ 0 w 1065"/>
                <a:gd name="T5" fmla="*/ 1055 h 1495"/>
                <a:gd name="T6" fmla="*/ 0 w 1065"/>
                <a:gd name="T7" fmla="*/ 1495 h 1495"/>
                <a:gd name="T8" fmla="*/ 654 w 1065"/>
                <a:gd name="T9" fmla="*/ 1495 h 1495"/>
                <a:gd name="T10" fmla="*/ 567 w 1065"/>
                <a:gd name="T11" fmla="*/ 997 h 1495"/>
                <a:gd name="T12" fmla="*/ 656 w 1065"/>
                <a:gd name="T13" fmla="*/ 765 h 1495"/>
                <a:gd name="T14" fmla="*/ 797 w 1065"/>
                <a:gd name="T15" fmla="*/ 1289 h 1495"/>
                <a:gd name="T16" fmla="*/ 787 w 1065"/>
                <a:gd name="T17" fmla="*/ 1494 h 1495"/>
                <a:gd name="T18" fmla="*/ 1050 w 1065"/>
                <a:gd name="T19" fmla="*/ 1494 h 1495"/>
                <a:gd name="T20" fmla="*/ 1065 w 1065"/>
                <a:gd name="T21" fmla="*/ 1255 h 1495"/>
                <a:gd name="T22" fmla="*/ 785 w 1065"/>
                <a:gd name="T23" fmla="*/ 112 h 1495"/>
                <a:gd name="T24" fmla="*/ 567 w 1065"/>
                <a:gd name="T25" fmla="*/ 0 h 1495"/>
                <a:gd name="T26" fmla="*/ 0 w 1065"/>
                <a:gd name="T27" fmla="*/ 0 h 1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65" h="1495">
                  <a:moveTo>
                    <a:pt x="0" y="0"/>
                  </a:moveTo>
                  <a:lnTo>
                    <a:pt x="0" y="690"/>
                  </a:lnTo>
                  <a:lnTo>
                    <a:pt x="0" y="1055"/>
                  </a:lnTo>
                  <a:lnTo>
                    <a:pt x="0" y="1495"/>
                  </a:lnTo>
                  <a:lnTo>
                    <a:pt x="654" y="1495"/>
                  </a:lnTo>
                  <a:lnTo>
                    <a:pt x="567" y="997"/>
                  </a:lnTo>
                  <a:lnTo>
                    <a:pt x="656" y="765"/>
                  </a:lnTo>
                  <a:lnTo>
                    <a:pt x="797" y="1289"/>
                  </a:lnTo>
                  <a:lnTo>
                    <a:pt x="787" y="1494"/>
                  </a:lnTo>
                  <a:lnTo>
                    <a:pt x="1050" y="1494"/>
                  </a:lnTo>
                  <a:lnTo>
                    <a:pt x="1065" y="1255"/>
                  </a:lnTo>
                  <a:lnTo>
                    <a:pt x="785" y="112"/>
                  </a:lnTo>
                  <a:lnTo>
                    <a:pt x="567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71" name="Freeform 70"/>
            <p:cNvSpPr>
              <a:spLocks/>
            </p:cNvSpPr>
            <p:nvPr/>
          </p:nvSpPr>
          <p:spPr bwMode="auto">
            <a:xfrm>
              <a:off x="2136738" y="2150633"/>
              <a:ext cx="88837" cy="1683206"/>
            </a:xfrm>
            <a:custGeom>
              <a:avLst/>
              <a:gdLst>
                <a:gd name="T0" fmla="*/ 19 w 19"/>
                <a:gd name="T1" fmla="*/ 360 h 360"/>
                <a:gd name="T2" fmla="*/ 0 w 19"/>
                <a:gd name="T3" fmla="*/ 360 h 360"/>
                <a:gd name="T4" fmla="*/ 0 w 19"/>
                <a:gd name="T5" fmla="*/ 0 h 360"/>
                <a:gd name="T6" fmla="*/ 19 w 19"/>
                <a:gd name="T7" fmla="*/ 41 h 360"/>
                <a:gd name="T8" fmla="*/ 19 w 19"/>
                <a:gd name="T9" fmla="*/ 36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360">
                  <a:moveTo>
                    <a:pt x="19" y="360"/>
                  </a:moveTo>
                  <a:lnTo>
                    <a:pt x="0" y="360"/>
                  </a:lnTo>
                  <a:lnTo>
                    <a:pt x="0" y="0"/>
                  </a:lnTo>
                  <a:lnTo>
                    <a:pt x="19" y="41"/>
                  </a:lnTo>
                  <a:lnTo>
                    <a:pt x="19" y="360"/>
                  </a:lnTo>
                  <a:close/>
                </a:path>
              </a:pathLst>
            </a:custGeom>
            <a:solidFill>
              <a:srgbClr val="BA14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72" name="Rectangle 71"/>
            <p:cNvSpPr>
              <a:spLocks noChangeArrowheads="1"/>
            </p:cNvSpPr>
            <p:nvPr/>
          </p:nvSpPr>
          <p:spPr bwMode="auto">
            <a:xfrm>
              <a:off x="2375190" y="2702350"/>
              <a:ext cx="130916" cy="1131488"/>
            </a:xfrm>
            <a:prstGeom prst="rect">
              <a:avLst/>
            </a:pr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73" name="Rectangle 72"/>
            <p:cNvSpPr>
              <a:spLocks noChangeArrowheads="1"/>
            </p:cNvSpPr>
            <p:nvPr/>
          </p:nvSpPr>
          <p:spPr bwMode="auto">
            <a:xfrm>
              <a:off x="2506106" y="2702350"/>
              <a:ext cx="70135" cy="1131488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74" name="Rectangle 73"/>
            <p:cNvSpPr>
              <a:spLocks noChangeArrowheads="1"/>
            </p:cNvSpPr>
            <p:nvPr/>
          </p:nvSpPr>
          <p:spPr bwMode="auto">
            <a:xfrm>
              <a:off x="2375190" y="2473246"/>
              <a:ext cx="130916" cy="229104"/>
            </a:xfrm>
            <a:prstGeom prst="rect">
              <a:avLst/>
            </a:prstGeom>
            <a:solidFill>
              <a:srgbClr val="00B2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75" name="Rectangle 74"/>
            <p:cNvSpPr>
              <a:spLocks noChangeArrowheads="1"/>
            </p:cNvSpPr>
            <p:nvPr/>
          </p:nvSpPr>
          <p:spPr bwMode="auto">
            <a:xfrm>
              <a:off x="2506106" y="2473246"/>
              <a:ext cx="70135" cy="229104"/>
            </a:xfrm>
            <a:prstGeom prst="rect">
              <a:avLst/>
            </a:pr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auto">
            <a:xfrm>
              <a:off x="2375190" y="2337656"/>
              <a:ext cx="201051" cy="135593"/>
            </a:xfrm>
            <a:custGeom>
              <a:avLst/>
              <a:gdLst>
                <a:gd name="T0" fmla="*/ 91 w 91"/>
                <a:gd name="T1" fmla="*/ 61 h 61"/>
                <a:gd name="T2" fmla="*/ 91 w 91"/>
                <a:gd name="T3" fmla="*/ 30 h 61"/>
                <a:gd name="T4" fmla="*/ 61 w 91"/>
                <a:gd name="T5" fmla="*/ 0 h 61"/>
                <a:gd name="T6" fmla="*/ 29 w 91"/>
                <a:gd name="T7" fmla="*/ 0 h 61"/>
                <a:gd name="T8" fmla="*/ 0 w 91"/>
                <a:gd name="T9" fmla="*/ 30 h 61"/>
                <a:gd name="T10" fmla="*/ 0 w 91"/>
                <a:gd name="T11" fmla="*/ 61 h 61"/>
                <a:gd name="T12" fmla="*/ 91 w 91"/>
                <a:gd name="T13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61">
                  <a:moveTo>
                    <a:pt x="91" y="61"/>
                  </a:moveTo>
                  <a:cubicBezTo>
                    <a:pt x="91" y="30"/>
                    <a:pt x="91" y="30"/>
                    <a:pt x="91" y="30"/>
                  </a:cubicBezTo>
                  <a:cubicBezTo>
                    <a:pt x="91" y="30"/>
                    <a:pt x="91" y="0"/>
                    <a:pt x="61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0"/>
                    <a:pt x="0" y="0"/>
                    <a:pt x="0" y="30"/>
                  </a:cubicBezTo>
                  <a:cubicBezTo>
                    <a:pt x="0" y="61"/>
                    <a:pt x="0" y="61"/>
                    <a:pt x="0" y="61"/>
                  </a:cubicBezTo>
                  <a:lnTo>
                    <a:pt x="91" y="61"/>
                  </a:lnTo>
                  <a:close/>
                </a:path>
              </a:pathLst>
            </a:custGeom>
            <a:solidFill>
              <a:srgbClr val="EC0B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77" name="Freeform 76"/>
            <p:cNvSpPr>
              <a:spLocks/>
            </p:cNvSpPr>
            <p:nvPr/>
          </p:nvSpPr>
          <p:spPr bwMode="auto">
            <a:xfrm>
              <a:off x="2122709" y="1355786"/>
              <a:ext cx="355343" cy="757443"/>
            </a:xfrm>
            <a:custGeom>
              <a:avLst/>
              <a:gdLst>
                <a:gd name="T0" fmla="*/ 0 w 76"/>
                <a:gd name="T1" fmla="*/ 0 h 162"/>
                <a:gd name="T2" fmla="*/ 0 w 76"/>
                <a:gd name="T3" fmla="*/ 119 h 162"/>
                <a:gd name="T4" fmla="*/ 20 w 76"/>
                <a:gd name="T5" fmla="*/ 162 h 162"/>
                <a:gd name="T6" fmla="*/ 56 w 76"/>
                <a:gd name="T7" fmla="*/ 162 h 162"/>
                <a:gd name="T8" fmla="*/ 76 w 76"/>
                <a:gd name="T9" fmla="*/ 119 h 162"/>
                <a:gd name="T10" fmla="*/ 76 w 76"/>
                <a:gd name="T11" fmla="*/ 0 h 162"/>
                <a:gd name="T12" fmla="*/ 0 w 76"/>
                <a:gd name="T13" fmla="*/ 0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" h="162">
                  <a:moveTo>
                    <a:pt x="0" y="0"/>
                  </a:moveTo>
                  <a:lnTo>
                    <a:pt x="0" y="119"/>
                  </a:lnTo>
                  <a:lnTo>
                    <a:pt x="20" y="162"/>
                  </a:lnTo>
                  <a:lnTo>
                    <a:pt x="56" y="162"/>
                  </a:lnTo>
                  <a:lnTo>
                    <a:pt x="76" y="119"/>
                  </a:lnTo>
                  <a:lnTo>
                    <a:pt x="7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78" name="Rectangle 77"/>
            <p:cNvSpPr>
              <a:spLocks noChangeArrowheads="1"/>
            </p:cNvSpPr>
            <p:nvPr/>
          </p:nvSpPr>
          <p:spPr bwMode="auto">
            <a:xfrm>
              <a:off x="2174142" y="1407215"/>
              <a:ext cx="252481" cy="444181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79" name="Rectangle 78"/>
            <p:cNvSpPr>
              <a:spLocks noChangeArrowheads="1"/>
            </p:cNvSpPr>
            <p:nvPr/>
          </p:nvSpPr>
          <p:spPr bwMode="auto">
            <a:xfrm>
              <a:off x="2262976" y="2085175"/>
              <a:ext cx="70135" cy="126242"/>
            </a:xfrm>
            <a:prstGeom prst="rect">
              <a:avLst/>
            </a:pr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80" name="Rectangle 79"/>
            <p:cNvSpPr>
              <a:spLocks noChangeArrowheads="1"/>
            </p:cNvSpPr>
            <p:nvPr/>
          </p:nvSpPr>
          <p:spPr bwMode="auto">
            <a:xfrm>
              <a:off x="2174142" y="1234221"/>
              <a:ext cx="252481" cy="12156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81" name="Rectangle 19"/>
            <p:cNvSpPr>
              <a:spLocks noChangeArrowheads="1"/>
            </p:cNvSpPr>
            <p:nvPr/>
          </p:nvSpPr>
          <p:spPr bwMode="auto">
            <a:xfrm>
              <a:off x="2291030" y="2211414"/>
              <a:ext cx="18702" cy="164580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82" name="Rectangle 20"/>
            <p:cNvSpPr>
              <a:spLocks noChangeArrowheads="1"/>
            </p:cNvSpPr>
            <p:nvPr/>
          </p:nvSpPr>
          <p:spPr bwMode="auto">
            <a:xfrm>
              <a:off x="2375190" y="2463895"/>
              <a:ext cx="201051" cy="3273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83" name="Freeform 21"/>
            <p:cNvSpPr>
              <a:spLocks/>
            </p:cNvSpPr>
            <p:nvPr/>
          </p:nvSpPr>
          <p:spPr bwMode="auto">
            <a:xfrm>
              <a:off x="2375190" y="2463895"/>
              <a:ext cx="201051" cy="32730"/>
            </a:xfrm>
            <a:custGeom>
              <a:avLst/>
              <a:gdLst>
                <a:gd name="T0" fmla="*/ 43 w 43"/>
                <a:gd name="T1" fmla="*/ 7 h 7"/>
                <a:gd name="T2" fmla="*/ 43 w 43"/>
                <a:gd name="T3" fmla="*/ 0 h 7"/>
                <a:gd name="T4" fmla="*/ 0 w 43"/>
                <a:gd name="T5" fmla="*/ 0 h 7"/>
                <a:gd name="T6" fmla="*/ 0 w 43"/>
                <a:gd name="T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" h="7">
                  <a:moveTo>
                    <a:pt x="43" y="7"/>
                  </a:moveTo>
                  <a:lnTo>
                    <a:pt x="43" y="0"/>
                  </a:lnTo>
                  <a:lnTo>
                    <a:pt x="0" y="0"/>
                  </a:lnTo>
                  <a:lnTo>
                    <a:pt x="0" y="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84" name="Rectangle 22"/>
            <p:cNvSpPr>
              <a:spLocks noChangeArrowheads="1"/>
            </p:cNvSpPr>
            <p:nvPr/>
          </p:nvSpPr>
          <p:spPr bwMode="auto">
            <a:xfrm>
              <a:off x="1421374" y="2150633"/>
              <a:ext cx="715364" cy="1683206"/>
            </a:xfrm>
            <a:prstGeom prst="rect">
              <a:avLst/>
            </a:prstGeom>
            <a:solidFill>
              <a:srgbClr val="DC3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85" name="Freeform 23"/>
            <p:cNvSpPr>
              <a:spLocks/>
            </p:cNvSpPr>
            <p:nvPr/>
          </p:nvSpPr>
          <p:spPr bwMode="auto">
            <a:xfrm>
              <a:off x="1500860" y="2267521"/>
              <a:ext cx="556394" cy="98188"/>
            </a:xfrm>
            <a:custGeom>
              <a:avLst/>
              <a:gdLst>
                <a:gd name="T0" fmla="*/ 21 w 253"/>
                <a:gd name="T1" fmla="*/ 0 h 45"/>
                <a:gd name="T2" fmla="*/ 0 w 253"/>
                <a:gd name="T3" fmla="*/ 20 h 45"/>
                <a:gd name="T4" fmla="*/ 0 w 253"/>
                <a:gd name="T5" fmla="*/ 24 h 45"/>
                <a:gd name="T6" fmla="*/ 21 w 253"/>
                <a:gd name="T7" fmla="*/ 45 h 45"/>
                <a:gd name="T8" fmla="*/ 232 w 253"/>
                <a:gd name="T9" fmla="*/ 45 h 45"/>
                <a:gd name="T10" fmla="*/ 253 w 253"/>
                <a:gd name="T11" fmla="*/ 24 h 45"/>
                <a:gd name="T12" fmla="*/ 253 w 253"/>
                <a:gd name="T13" fmla="*/ 20 h 45"/>
                <a:gd name="T14" fmla="*/ 232 w 253"/>
                <a:gd name="T15" fmla="*/ 0 h 45"/>
                <a:gd name="T16" fmla="*/ 135 w 253"/>
                <a:gd name="T17" fmla="*/ 0 h 45"/>
                <a:gd name="T18" fmla="*/ 21 w 253"/>
                <a:gd name="T19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3" h="45">
                  <a:moveTo>
                    <a:pt x="21" y="0"/>
                  </a:moveTo>
                  <a:cubicBezTo>
                    <a:pt x="21" y="0"/>
                    <a:pt x="0" y="0"/>
                    <a:pt x="0" y="2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45"/>
                    <a:pt x="21" y="45"/>
                  </a:cubicBezTo>
                  <a:cubicBezTo>
                    <a:pt x="232" y="45"/>
                    <a:pt x="232" y="45"/>
                    <a:pt x="232" y="45"/>
                  </a:cubicBezTo>
                  <a:cubicBezTo>
                    <a:pt x="232" y="45"/>
                    <a:pt x="253" y="45"/>
                    <a:pt x="253" y="24"/>
                  </a:cubicBezTo>
                  <a:cubicBezTo>
                    <a:pt x="253" y="20"/>
                    <a:pt x="253" y="20"/>
                    <a:pt x="253" y="20"/>
                  </a:cubicBezTo>
                  <a:cubicBezTo>
                    <a:pt x="253" y="20"/>
                    <a:pt x="253" y="0"/>
                    <a:pt x="232" y="0"/>
                  </a:cubicBezTo>
                  <a:cubicBezTo>
                    <a:pt x="135" y="0"/>
                    <a:pt x="135" y="0"/>
                    <a:pt x="135" y="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BA14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86" name="Freeform 24"/>
            <p:cNvSpPr>
              <a:spLocks/>
            </p:cNvSpPr>
            <p:nvPr/>
          </p:nvSpPr>
          <p:spPr bwMode="auto">
            <a:xfrm>
              <a:off x="1500860" y="2440518"/>
              <a:ext cx="556394" cy="98188"/>
            </a:xfrm>
            <a:custGeom>
              <a:avLst/>
              <a:gdLst>
                <a:gd name="T0" fmla="*/ 21 w 253"/>
                <a:gd name="T1" fmla="*/ 0 h 44"/>
                <a:gd name="T2" fmla="*/ 0 w 253"/>
                <a:gd name="T3" fmla="*/ 20 h 44"/>
                <a:gd name="T4" fmla="*/ 0 w 253"/>
                <a:gd name="T5" fmla="*/ 24 h 44"/>
                <a:gd name="T6" fmla="*/ 21 w 253"/>
                <a:gd name="T7" fmla="*/ 44 h 44"/>
                <a:gd name="T8" fmla="*/ 232 w 253"/>
                <a:gd name="T9" fmla="*/ 44 h 44"/>
                <a:gd name="T10" fmla="*/ 253 w 253"/>
                <a:gd name="T11" fmla="*/ 24 h 44"/>
                <a:gd name="T12" fmla="*/ 253 w 253"/>
                <a:gd name="T13" fmla="*/ 20 h 44"/>
                <a:gd name="T14" fmla="*/ 232 w 253"/>
                <a:gd name="T15" fmla="*/ 0 h 44"/>
                <a:gd name="T16" fmla="*/ 135 w 253"/>
                <a:gd name="T17" fmla="*/ 0 h 44"/>
                <a:gd name="T18" fmla="*/ 21 w 253"/>
                <a:gd name="T1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3" h="44">
                  <a:moveTo>
                    <a:pt x="21" y="0"/>
                  </a:moveTo>
                  <a:cubicBezTo>
                    <a:pt x="21" y="0"/>
                    <a:pt x="0" y="0"/>
                    <a:pt x="0" y="2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44"/>
                    <a:pt x="21" y="44"/>
                  </a:cubicBezTo>
                  <a:cubicBezTo>
                    <a:pt x="232" y="44"/>
                    <a:pt x="232" y="44"/>
                    <a:pt x="232" y="44"/>
                  </a:cubicBezTo>
                  <a:cubicBezTo>
                    <a:pt x="232" y="44"/>
                    <a:pt x="253" y="44"/>
                    <a:pt x="253" y="24"/>
                  </a:cubicBezTo>
                  <a:cubicBezTo>
                    <a:pt x="253" y="20"/>
                    <a:pt x="253" y="20"/>
                    <a:pt x="253" y="20"/>
                  </a:cubicBezTo>
                  <a:cubicBezTo>
                    <a:pt x="253" y="20"/>
                    <a:pt x="253" y="0"/>
                    <a:pt x="232" y="0"/>
                  </a:cubicBezTo>
                  <a:cubicBezTo>
                    <a:pt x="135" y="0"/>
                    <a:pt x="135" y="0"/>
                    <a:pt x="135" y="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BA14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87" name="Freeform 25"/>
            <p:cNvSpPr>
              <a:spLocks/>
            </p:cNvSpPr>
            <p:nvPr/>
          </p:nvSpPr>
          <p:spPr bwMode="auto">
            <a:xfrm>
              <a:off x="1500860" y="2613513"/>
              <a:ext cx="556394" cy="98188"/>
            </a:xfrm>
            <a:custGeom>
              <a:avLst/>
              <a:gdLst>
                <a:gd name="T0" fmla="*/ 21 w 253"/>
                <a:gd name="T1" fmla="*/ 0 h 44"/>
                <a:gd name="T2" fmla="*/ 0 w 253"/>
                <a:gd name="T3" fmla="*/ 20 h 44"/>
                <a:gd name="T4" fmla="*/ 0 w 253"/>
                <a:gd name="T5" fmla="*/ 24 h 44"/>
                <a:gd name="T6" fmla="*/ 21 w 253"/>
                <a:gd name="T7" fmla="*/ 44 h 44"/>
                <a:gd name="T8" fmla="*/ 232 w 253"/>
                <a:gd name="T9" fmla="*/ 44 h 44"/>
                <a:gd name="T10" fmla="*/ 253 w 253"/>
                <a:gd name="T11" fmla="*/ 24 h 44"/>
                <a:gd name="T12" fmla="*/ 253 w 253"/>
                <a:gd name="T13" fmla="*/ 20 h 44"/>
                <a:gd name="T14" fmla="*/ 232 w 253"/>
                <a:gd name="T15" fmla="*/ 0 h 44"/>
                <a:gd name="T16" fmla="*/ 135 w 253"/>
                <a:gd name="T17" fmla="*/ 0 h 44"/>
                <a:gd name="T18" fmla="*/ 21 w 253"/>
                <a:gd name="T1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3" h="44">
                  <a:moveTo>
                    <a:pt x="21" y="0"/>
                  </a:moveTo>
                  <a:cubicBezTo>
                    <a:pt x="21" y="0"/>
                    <a:pt x="0" y="0"/>
                    <a:pt x="0" y="2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44"/>
                    <a:pt x="21" y="44"/>
                  </a:cubicBezTo>
                  <a:cubicBezTo>
                    <a:pt x="232" y="44"/>
                    <a:pt x="232" y="44"/>
                    <a:pt x="232" y="44"/>
                  </a:cubicBezTo>
                  <a:cubicBezTo>
                    <a:pt x="232" y="44"/>
                    <a:pt x="253" y="44"/>
                    <a:pt x="253" y="24"/>
                  </a:cubicBezTo>
                  <a:cubicBezTo>
                    <a:pt x="253" y="20"/>
                    <a:pt x="253" y="20"/>
                    <a:pt x="253" y="20"/>
                  </a:cubicBezTo>
                  <a:cubicBezTo>
                    <a:pt x="253" y="20"/>
                    <a:pt x="253" y="0"/>
                    <a:pt x="232" y="0"/>
                  </a:cubicBezTo>
                  <a:cubicBezTo>
                    <a:pt x="135" y="0"/>
                    <a:pt x="135" y="0"/>
                    <a:pt x="135" y="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BA14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88" name="Freeform 26"/>
            <p:cNvSpPr>
              <a:spLocks/>
            </p:cNvSpPr>
            <p:nvPr/>
          </p:nvSpPr>
          <p:spPr bwMode="auto">
            <a:xfrm>
              <a:off x="1500860" y="2786511"/>
              <a:ext cx="556394" cy="98188"/>
            </a:xfrm>
            <a:custGeom>
              <a:avLst/>
              <a:gdLst>
                <a:gd name="T0" fmla="*/ 21 w 253"/>
                <a:gd name="T1" fmla="*/ 0 h 44"/>
                <a:gd name="T2" fmla="*/ 0 w 253"/>
                <a:gd name="T3" fmla="*/ 20 h 44"/>
                <a:gd name="T4" fmla="*/ 0 w 253"/>
                <a:gd name="T5" fmla="*/ 24 h 44"/>
                <a:gd name="T6" fmla="*/ 21 w 253"/>
                <a:gd name="T7" fmla="*/ 44 h 44"/>
                <a:gd name="T8" fmla="*/ 232 w 253"/>
                <a:gd name="T9" fmla="*/ 44 h 44"/>
                <a:gd name="T10" fmla="*/ 253 w 253"/>
                <a:gd name="T11" fmla="*/ 24 h 44"/>
                <a:gd name="T12" fmla="*/ 253 w 253"/>
                <a:gd name="T13" fmla="*/ 20 h 44"/>
                <a:gd name="T14" fmla="*/ 232 w 253"/>
                <a:gd name="T15" fmla="*/ 0 h 44"/>
                <a:gd name="T16" fmla="*/ 135 w 253"/>
                <a:gd name="T17" fmla="*/ 0 h 44"/>
                <a:gd name="T18" fmla="*/ 21 w 253"/>
                <a:gd name="T1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3" h="44">
                  <a:moveTo>
                    <a:pt x="21" y="0"/>
                  </a:moveTo>
                  <a:cubicBezTo>
                    <a:pt x="21" y="0"/>
                    <a:pt x="0" y="0"/>
                    <a:pt x="0" y="2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44"/>
                    <a:pt x="21" y="44"/>
                  </a:cubicBezTo>
                  <a:cubicBezTo>
                    <a:pt x="232" y="44"/>
                    <a:pt x="232" y="44"/>
                    <a:pt x="232" y="44"/>
                  </a:cubicBezTo>
                  <a:cubicBezTo>
                    <a:pt x="232" y="44"/>
                    <a:pt x="253" y="44"/>
                    <a:pt x="253" y="24"/>
                  </a:cubicBezTo>
                  <a:cubicBezTo>
                    <a:pt x="253" y="20"/>
                    <a:pt x="253" y="20"/>
                    <a:pt x="253" y="20"/>
                  </a:cubicBezTo>
                  <a:cubicBezTo>
                    <a:pt x="253" y="20"/>
                    <a:pt x="253" y="0"/>
                    <a:pt x="232" y="0"/>
                  </a:cubicBezTo>
                  <a:cubicBezTo>
                    <a:pt x="135" y="0"/>
                    <a:pt x="135" y="0"/>
                    <a:pt x="135" y="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BA14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89" name="Freeform 27"/>
            <p:cNvSpPr>
              <a:spLocks/>
            </p:cNvSpPr>
            <p:nvPr/>
          </p:nvSpPr>
          <p:spPr bwMode="auto">
            <a:xfrm>
              <a:off x="1500860" y="2964182"/>
              <a:ext cx="556394" cy="93511"/>
            </a:xfrm>
            <a:custGeom>
              <a:avLst/>
              <a:gdLst>
                <a:gd name="T0" fmla="*/ 21 w 253"/>
                <a:gd name="T1" fmla="*/ 0 h 44"/>
                <a:gd name="T2" fmla="*/ 0 w 253"/>
                <a:gd name="T3" fmla="*/ 20 h 44"/>
                <a:gd name="T4" fmla="*/ 0 w 253"/>
                <a:gd name="T5" fmla="*/ 24 h 44"/>
                <a:gd name="T6" fmla="*/ 21 w 253"/>
                <a:gd name="T7" fmla="*/ 44 h 44"/>
                <a:gd name="T8" fmla="*/ 232 w 253"/>
                <a:gd name="T9" fmla="*/ 44 h 44"/>
                <a:gd name="T10" fmla="*/ 253 w 253"/>
                <a:gd name="T11" fmla="*/ 24 h 44"/>
                <a:gd name="T12" fmla="*/ 253 w 253"/>
                <a:gd name="T13" fmla="*/ 20 h 44"/>
                <a:gd name="T14" fmla="*/ 232 w 253"/>
                <a:gd name="T15" fmla="*/ 0 h 44"/>
                <a:gd name="T16" fmla="*/ 135 w 253"/>
                <a:gd name="T17" fmla="*/ 0 h 44"/>
                <a:gd name="T18" fmla="*/ 21 w 253"/>
                <a:gd name="T1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3" h="44">
                  <a:moveTo>
                    <a:pt x="21" y="0"/>
                  </a:moveTo>
                  <a:cubicBezTo>
                    <a:pt x="21" y="0"/>
                    <a:pt x="0" y="0"/>
                    <a:pt x="0" y="2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44"/>
                    <a:pt x="21" y="44"/>
                  </a:cubicBezTo>
                  <a:cubicBezTo>
                    <a:pt x="232" y="44"/>
                    <a:pt x="232" y="44"/>
                    <a:pt x="232" y="44"/>
                  </a:cubicBezTo>
                  <a:cubicBezTo>
                    <a:pt x="232" y="44"/>
                    <a:pt x="253" y="44"/>
                    <a:pt x="253" y="24"/>
                  </a:cubicBezTo>
                  <a:cubicBezTo>
                    <a:pt x="253" y="20"/>
                    <a:pt x="253" y="20"/>
                    <a:pt x="253" y="20"/>
                  </a:cubicBezTo>
                  <a:cubicBezTo>
                    <a:pt x="253" y="20"/>
                    <a:pt x="253" y="0"/>
                    <a:pt x="232" y="0"/>
                  </a:cubicBezTo>
                  <a:cubicBezTo>
                    <a:pt x="135" y="0"/>
                    <a:pt x="135" y="0"/>
                    <a:pt x="135" y="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BA14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90" name="Freeform 28"/>
            <p:cNvSpPr>
              <a:spLocks/>
            </p:cNvSpPr>
            <p:nvPr/>
          </p:nvSpPr>
          <p:spPr bwMode="auto">
            <a:xfrm>
              <a:off x="1500860" y="3137177"/>
              <a:ext cx="556394" cy="93511"/>
            </a:xfrm>
            <a:custGeom>
              <a:avLst/>
              <a:gdLst>
                <a:gd name="T0" fmla="*/ 21 w 253"/>
                <a:gd name="T1" fmla="*/ 0 h 44"/>
                <a:gd name="T2" fmla="*/ 0 w 253"/>
                <a:gd name="T3" fmla="*/ 20 h 44"/>
                <a:gd name="T4" fmla="*/ 0 w 253"/>
                <a:gd name="T5" fmla="*/ 24 h 44"/>
                <a:gd name="T6" fmla="*/ 21 w 253"/>
                <a:gd name="T7" fmla="*/ 44 h 44"/>
                <a:gd name="T8" fmla="*/ 232 w 253"/>
                <a:gd name="T9" fmla="*/ 44 h 44"/>
                <a:gd name="T10" fmla="*/ 253 w 253"/>
                <a:gd name="T11" fmla="*/ 24 h 44"/>
                <a:gd name="T12" fmla="*/ 253 w 253"/>
                <a:gd name="T13" fmla="*/ 20 h 44"/>
                <a:gd name="T14" fmla="*/ 232 w 253"/>
                <a:gd name="T15" fmla="*/ 0 h 44"/>
                <a:gd name="T16" fmla="*/ 135 w 253"/>
                <a:gd name="T17" fmla="*/ 0 h 44"/>
                <a:gd name="T18" fmla="*/ 21 w 253"/>
                <a:gd name="T1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3" h="44">
                  <a:moveTo>
                    <a:pt x="21" y="0"/>
                  </a:moveTo>
                  <a:cubicBezTo>
                    <a:pt x="21" y="0"/>
                    <a:pt x="0" y="0"/>
                    <a:pt x="0" y="2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44"/>
                    <a:pt x="21" y="44"/>
                  </a:cubicBezTo>
                  <a:cubicBezTo>
                    <a:pt x="232" y="44"/>
                    <a:pt x="232" y="44"/>
                    <a:pt x="232" y="44"/>
                  </a:cubicBezTo>
                  <a:cubicBezTo>
                    <a:pt x="232" y="44"/>
                    <a:pt x="253" y="44"/>
                    <a:pt x="253" y="24"/>
                  </a:cubicBezTo>
                  <a:cubicBezTo>
                    <a:pt x="253" y="20"/>
                    <a:pt x="253" y="20"/>
                    <a:pt x="253" y="20"/>
                  </a:cubicBezTo>
                  <a:cubicBezTo>
                    <a:pt x="253" y="20"/>
                    <a:pt x="253" y="0"/>
                    <a:pt x="232" y="0"/>
                  </a:cubicBezTo>
                  <a:cubicBezTo>
                    <a:pt x="135" y="0"/>
                    <a:pt x="135" y="0"/>
                    <a:pt x="135" y="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BA14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91" name="Freeform 29"/>
            <p:cNvSpPr>
              <a:spLocks/>
            </p:cNvSpPr>
            <p:nvPr/>
          </p:nvSpPr>
          <p:spPr bwMode="auto">
            <a:xfrm>
              <a:off x="1500860" y="3310175"/>
              <a:ext cx="556394" cy="98188"/>
            </a:xfrm>
            <a:custGeom>
              <a:avLst/>
              <a:gdLst>
                <a:gd name="T0" fmla="*/ 21 w 253"/>
                <a:gd name="T1" fmla="*/ 0 h 45"/>
                <a:gd name="T2" fmla="*/ 0 w 253"/>
                <a:gd name="T3" fmla="*/ 21 h 45"/>
                <a:gd name="T4" fmla="*/ 0 w 253"/>
                <a:gd name="T5" fmla="*/ 25 h 45"/>
                <a:gd name="T6" fmla="*/ 21 w 253"/>
                <a:gd name="T7" fmla="*/ 45 h 45"/>
                <a:gd name="T8" fmla="*/ 232 w 253"/>
                <a:gd name="T9" fmla="*/ 45 h 45"/>
                <a:gd name="T10" fmla="*/ 253 w 253"/>
                <a:gd name="T11" fmla="*/ 25 h 45"/>
                <a:gd name="T12" fmla="*/ 253 w 253"/>
                <a:gd name="T13" fmla="*/ 21 h 45"/>
                <a:gd name="T14" fmla="*/ 232 w 253"/>
                <a:gd name="T15" fmla="*/ 0 h 45"/>
                <a:gd name="T16" fmla="*/ 135 w 253"/>
                <a:gd name="T17" fmla="*/ 0 h 45"/>
                <a:gd name="T18" fmla="*/ 21 w 253"/>
                <a:gd name="T19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3" h="45">
                  <a:moveTo>
                    <a:pt x="21" y="0"/>
                  </a:moveTo>
                  <a:cubicBezTo>
                    <a:pt x="21" y="0"/>
                    <a:pt x="0" y="0"/>
                    <a:pt x="0" y="21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5"/>
                    <a:pt x="0" y="45"/>
                    <a:pt x="21" y="45"/>
                  </a:cubicBezTo>
                  <a:cubicBezTo>
                    <a:pt x="232" y="45"/>
                    <a:pt x="232" y="45"/>
                    <a:pt x="232" y="45"/>
                  </a:cubicBezTo>
                  <a:cubicBezTo>
                    <a:pt x="232" y="45"/>
                    <a:pt x="253" y="45"/>
                    <a:pt x="253" y="25"/>
                  </a:cubicBezTo>
                  <a:cubicBezTo>
                    <a:pt x="253" y="21"/>
                    <a:pt x="253" y="21"/>
                    <a:pt x="253" y="21"/>
                  </a:cubicBezTo>
                  <a:cubicBezTo>
                    <a:pt x="253" y="21"/>
                    <a:pt x="253" y="0"/>
                    <a:pt x="232" y="0"/>
                  </a:cubicBezTo>
                  <a:cubicBezTo>
                    <a:pt x="135" y="0"/>
                    <a:pt x="135" y="0"/>
                    <a:pt x="135" y="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BA14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92" name="Freeform 30"/>
            <p:cNvSpPr>
              <a:spLocks/>
            </p:cNvSpPr>
            <p:nvPr/>
          </p:nvSpPr>
          <p:spPr bwMode="auto">
            <a:xfrm>
              <a:off x="1500860" y="3483169"/>
              <a:ext cx="556394" cy="98188"/>
            </a:xfrm>
            <a:custGeom>
              <a:avLst/>
              <a:gdLst>
                <a:gd name="T0" fmla="*/ 21 w 253"/>
                <a:gd name="T1" fmla="*/ 0 h 45"/>
                <a:gd name="T2" fmla="*/ 0 w 253"/>
                <a:gd name="T3" fmla="*/ 21 h 45"/>
                <a:gd name="T4" fmla="*/ 0 w 253"/>
                <a:gd name="T5" fmla="*/ 25 h 45"/>
                <a:gd name="T6" fmla="*/ 21 w 253"/>
                <a:gd name="T7" fmla="*/ 45 h 45"/>
                <a:gd name="T8" fmla="*/ 232 w 253"/>
                <a:gd name="T9" fmla="*/ 45 h 45"/>
                <a:gd name="T10" fmla="*/ 253 w 253"/>
                <a:gd name="T11" fmla="*/ 25 h 45"/>
                <a:gd name="T12" fmla="*/ 253 w 253"/>
                <a:gd name="T13" fmla="*/ 21 h 45"/>
                <a:gd name="T14" fmla="*/ 232 w 253"/>
                <a:gd name="T15" fmla="*/ 0 h 45"/>
                <a:gd name="T16" fmla="*/ 135 w 253"/>
                <a:gd name="T17" fmla="*/ 0 h 45"/>
                <a:gd name="T18" fmla="*/ 21 w 253"/>
                <a:gd name="T19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3" h="45">
                  <a:moveTo>
                    <a:pt x="21" y="0"/>
                  </a:moveTo>
                  <a:cubicBezTo>
                    <a:pt x="21" y="0"/>
                    <a:pt x="0" y="0"/>
                    <a:pt x="0" y="21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5"/>
                    <a:pt x="0" y="45"/>
                    <a:pt x="21" y="45"/>
                  </a:cubicBezTo>
                  <a:cubicBezTo>
                    <a:pt x="232" y="45"/>
                    <a:pt x="232" y="45"/>
                    <a:pt x="232" y="45"/>
                  </a:cubicBezTo>
                  <a:cubicBezTo>
                    <a:pt x="232" y="45"/>
                    <a:pt x="253" y="45"/>
                    <a:pt x="253" y="25"/>
                  </a:cubicBezTo>
                  <a:cubicBezTo>
                    <a:pt x="253" y="21"/>
                    <a:pt x="253" y="21"/>
                    <a:pt x="253" y="21"/>
                  </a:cubicBezTo>
                  <a:cubicBezTo>
                    <a:pt x="253" y="21"/>
                    <a:pt x="253" y="0"/>
                    <a:pt x="232" y="0"/>
                  </a:cubicBezTo>
                  <a:cubicBezTo>
                    <a:pt x="135" y="0"/>
                    <a:pt x="135" y="0"/>
                    <a:pt x="135" y="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BA14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93" name="Oval 31"/>
            <p:cNvSpPr>
              <a:spLocks noChangeArrowheads="1"/>
            </p:cNvSpPr>
            <p:nvPr/>
          </p:nvSpPr>
          <p:spPr bwMode="auto">
            <a:xfrm>
              <a:off x="1949715" y="2286223"/>
              <a:ext cx="56107" cy="5610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94" name="Oval 32"/>
            <p:cNvSpPr>
              <a:spLocks noChangeArrowheads="1"/>
            </p:cNvSpPr>
            <p:nvPr/>
          </p:nvSpPr>
          <p:spPr bwMode="auto">
            <a:xfrm>
              <a:off x="1949715" y="2459221"/>
              <a:ext cx="56107" cy="5610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95" name="Oval 33"/>
            <p:cNvSpPr>
              <a:spLocks noChangeArrowheads="1"/>
            </p:cNvSpPr>
            <p:nvPr/>
          </p:nvSpPr>
          <p:spPr bwMode="auto">
            <a:xfrm>
              <a:off x="1949715" y="2632215"/>
              <a:ext cx="56107" cy="5610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96" name="Oval 34"/>
            <p:cNvSpPr>
              <a:spLocks noChangeArrowheads="1"/>
            </p:cNvSpPr>
            <p:nvPr/>
          </p:nvSpPr>
          <p:spPr bwMode="auto">
            <a:xfrm>
              <a:off x="1949715" y="2809887"/>
              <a:ext cx="56107" cy="5143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97" name="Oval 35"/>
            <p:cNvSpPr>
              <a:spLocks noChangeArrowheads="1"/>
            </p:cNvSpPr>
            <p:nvPr/>
          </p:nvSpPr>
          <p:spPr bwMode="auto">
            <a:xfrm>
              <a:off x="1949715" y="2982885"/>
              <a:ext cx="56107" cy="5610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98" name="Oval 36"/>
            <p:cNvSpPr>
              <a:spLocks noChangeArrowheads="1"/>
            </p:cNvSpPr>
            <p:nvPr/>
          </p:nvSpPr>
          <p:spPr bwMode="auto">
            <a:xfrm>
              <a:off x="1949715" y="3155879"/>
              <a:ext cx="56107" cy="5610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99" name="Oval 37"/>
            <p:cNvSpPr>
              <a:spLocks noChangeArrowheads="1"/>
            </p:cNvSpPr>
            <p:nvPr/>
          </p:nvSpPr>
          <p:spPr bwMode="auto">
            <a:xfrm>
              <a:off x="1949715" y="3328877"/>
              <a:ext cx="56107" cy="5610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100" name="Oval 38"/>
            <p:cNvSpPr>
              <a:spLocks noChangeArrowheads="1"/>
            </p:cNvSpPr>
            <p:nvPr/>
          </p:nvSpPr>
          <p:spPr bwMode="auto">
            <a:xfrm>
              <a:off x="1949715" y="3501872"/>
              <a:ext cx="56107" cy="5610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101" name="Freeform 39"/>
            <p:cNvSpPr>
              <a:spLocks/>
            </p:cNvSpPr>
            <p:nvPr/>
          </p:nvSpPr>
          <p:spPr bwMode="auto">
            <a:xfrm>
              <a:off x="1500860" y="3656167"/>
              <a:ext cx="556394" cy="98188"/>
            </a:xfrm>
            <a:custGeom>
              <a:avLst/>
              <a:gdLst>
                <a:gd name="T0" fmla="*/ 21 w 253"/>
                <a:gd name="T1" fmla="*/ 0 h 45"/>
                <a:gd name="T2" fmla="*/ 0 w 253"/>
                <a:gd name="T3" fmla="*/ 20 h 45"/>
                <a:gd name="T4" fmla="*/ 0 w 253"/>
                <a:gd name="T5" fmla="*/ 24 h 45"/>
                <a:gd name="T6" fmla="*/ 21 w 253"/>
                <a:gd name="T7" fmla="*/ 45 h 45"/>
                <a:gd name="T8" fmla="*/ 232 w 253"/>
                <a:gd name="T9" fmla="*/ 45 h 45"/>
                <a:gd name="T10" fmla="*/ 253 w 253"/>
                <a:gd name="T11" fmla="*/ 24 h 45"/>
                <a:gd name="T12" fmla="*/ 253 w 253"/>
                <a:gd name="T13" fmla="*/ 20 h 45"/>
                <a:gd name="T14" fmla="*/ 232 w 253"/>
                <a:gd name="T15" fmla="*/ 0 h 45"/>
                <a:gd name="T16" fmla="*/ 135 w 253"/>
                <a:gd name="T17" fmla="*/ 0 h 45"/>
                <a:gd name="T18" fmla="*/ 21 w 253"/>
                <a:gd name="T19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3" h="45">
                  <a:moveTo>
                    <a:pt x="21" y="0"/>
                  </a:moveTo>
                  <a:cubicBezTo>
                    <a:pt x="21" y="0"/>
                    <a:pt x="0" y="0"/>
                    <a:pt x="0" y="2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45"/>
                    <a:pt x="21" y="45"/>
                  </a:cubicBezTo>
                  <a:cubicBezTo>
                    <a:pt x="232" y="45"/>
                    <a:pt x="232" y="45"/>
                    <a:pt x="232" y="45"/>
                  </a:cubicBezTo>
                  <a:cubicBezTo>
                    <a:pt x="232" y="45"/>
                    <a:pt x="253" y="45"/>
                    <a:pt x="253" y="24"/>
                  </a:cubicBezTo>
                  <a:cubicBezTo>
                    <a:pt x="253" y="20"/>
                    <a:pt x="253" y="20"/>
                    <a:pt x="253" y="20"/>
                  </a:cubicBezTo>
                  <a:cubicBezTo>
                    <a:pt x="253" y="20"/>
                    <a:pt x="253" y="0"/>
                    <a:pt x="232" y="0"/>
                  </a:cubicBezTo>
                  <a:cubicBezTo>
                    <a:pt x="135" y="0"/>
                    <a:pt x="135" y="0"/>
                    <a:pt x="135" y="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BA14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102" name="Oval 40"/>
            <p:cNvSpPr>
              <a:spLocks noChangeArrowheads="1"/>
            </p:cNvSpPr>
            <p:nvPr/>
          </p:nvSpPr>
          <p:spPr bwMode="auto">
            <a:xfrm>
              <a:off x="1753341" y="3679543"/>
              <a:ext cx="51433" cy="5143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103" name="Freeform 41"/>
            <p:cNvSpPr>
              <a:spLocks/>
            </p:cNvSpPr>
            <p:nvPr/>
          </p:nvSpPr>
          <p:spPr bwMode="auto">
            <a:xfrm>
              <a:off x="1056679" y="3137177"/>
              <a:ext cx="364695" cy="84160"/>
            </a:xfrm>
            <a:custGeom>
              <a:avLst/>
              <a:gdLst>
                <a:gd name="T0" fmla="*/ 78 w 166"/>
                <a:gd name="T1" fmla="*/ 15 h 38"/>
                <a:gd name="T2" fmla="*/ 166 w 166"/>
                <a:gd name="T3" fmla="*/ 38 h 38"/>
                <a:gd name="T4" fmla="*/ 166 w 166"/>
                <a:gd name="T5" fmla="*/ 10 h 38"/>
                <a:gd name="T6" fmla="*/ 106 w 166"/>
                <a:gd name="T7" fmla="*/ 0 h 38"/>
                <a:gd name="T8" fmla="*/ 0 w 166"/>
                <a:gd name="T9" fmla="*/ 32 h 38"/>
                <a:gd name="T10" fmla="*/ 78 w 166"/>
                <a:gd name="T11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6" h="38">
                  <a:moveTo>
                    <a:pt x="78" y="15"/>
                  </a:moveTo>
                  <a:cubicBezTo>
                    <a:pt x="110" y="15"/>
                    <a:pt x="140" y="23"/>
                    <a:pt x="166" y="38"/>
                  </a:cubicBezTo>
                  <a:cubicBezTo>
                    <a:pt x="166" y="10"/>
                    <a:pt x="166" y="10"/>
                    <a:pt x="166" y="10"/>
                  </a:cubicBezTo>
                  <a:cubicBezTo>
                    <a:pt x="147" y="3"/>
                    <a:pt x="127" y="0"/>
                    <a:pt x="106" y="0"/>
                  </a:cubicBezTo>
                  <a:cubicBezTo>
                    <a:pt x="67" y="0"/>
                    <a:pt x="30" y="12"/>
                    <a:pt x="0" y="32"/>
                  </a:cubicBezTo>
                  <a:cubicBezTo>
                    <a:pt x="24" y="21"/>
                    <a:pt x="50" y="15"/>
                    <a:pt x="78" y="15"/>
                  </a:cubicBezTo>
                </a:path>
              </a:pathLst>
            </a:custGeom>
            <a:solidFill>
              <a:srgbClr val="4423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104" name="Freeform 42"/>
            <p:cNvSpPr>
              <a:spLocks/>
            </p:cNvSpPr>
            <p:nvPr/>
          </p:nvSpPr>
          <p:spPr bwMode="auto">
            <a:xfrm>
              <a:off x="1421374" y="3155879"/>
              <a:ext cx="617175" cy="677959"/>
            </a:xfrm>
            <a:custGeom>
              <a:avLst/>
              <a:gdLst>
                <a:gd name="T0" fmla="*/ 280 w 280"/>
                <a:gd name="T1" fmla="*/ 232 h 306"/>
                <a:gd name="T2" fmla="*/ 151 w 280"/>
                <a:gd name="T3" fmla="*/ 103 h 306"/>
                <a:gd name="T4" fmla="*/ 115 w 280"/>
                <a:gd name="T5" fmla="*/ 108 h 306"/>
                <a:gd name="T6" fmla="*/ 0 w 280"/>
                <a:gd name="T7" fmla="*/ 0 h 306"/>
                <a:gd name="T8" fmla="*/ 0 w 280"/>
                <a:gd name="T9" fmla="*/ 27 h 306"/>
                <a:gd name="T10" fmla="*/ 87 w 280"/>
                <a:gd name="T11" fmla="*/ 123 h 306"/>
                <a:gd name="T12" fmla="*/ 123 w 280"/>
                <a:gd name="T13" fmla="*/ 118 h 306"/>
                <a:gd name="T14" fmla="*/ 253 w 280"/>
                <a:gd name="T15" fmla="*/ 247 h 306"/>
                <a:gd name="T16" fmla="*/ 238 w 280"/>
                <a:gd name="T17" fmla="*/ 306 h 306"/>
                <a:gd name="T18" fmla="*/ 267 w 280"/>
                <a:gd name="T19" fmla="*/ 306 h 306"/>
                <a:gd name="T20" fmla="*/ 280 w 280"/>
                <a:gd name="T21" fmla="*/ 232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0" h="306">
                  <a:moveTo>
                    <a:pt x="280" y="232"/>
                  </a:moveTo>
                  <a:cubicBezTo>
                    <a:pt x="280" y="160"/>
                    <a:pt x="222" y="103"/>
                    <a:pt x="151" y="103"/>
                  </a:cubicBezTo>
                  <a:cubicBezTo>
                    <a:pt x="138" y="103"/>
                    <a:pt x="126" y="104"/>
                    <a:pt x="115" y="108"/>
                  </a:cubicBezTo>
                  <a:cubicBezTo>
                    <a:pt x="94" y="57"/>
                    <a:pt x="52" y="18"/>
                    <a:pt x="0" y="0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39" y="48"/>
                    <a:pt x="70" y="82"/>
                    <a:pt x="87" y="123"/>
                  </a:cubicBezTo>
                  <a:cubicBezTo>
                    <a:pt x="99" y="120"/>
                    <a:pt x="111" y="118"/>
                    <a:pt x="123" y="118"/>
                  </a:cubicBezTo>
                  <a:cubicBezTo>
                    <a:pt x="195" y="118"/>
                    <a:pt x="253" y="176"/>
                    <a:pt x="253" y="247"/>
                  </a:cubicBezTo>
                  <a:cubicBezTo>
                    <a:pt x="253" y="268"/>
                    <a:pt x="247" y="288"/>
                    <a:pt x="238" y="306"/>
                  </a:cubicBezTo>
                  <a:cubicBezTo>
                    <a:pt x="267" y="306"/>
                    <a:pt x="267" y="306"/>
                    <a:pt x="267" y="306"/>
                  </a:cubicBezTo>
                  <a:cubicBezTo>
                    <a:pt x="275" y="284"/>
                    <a:pt x="280" y="252"/>
                    <a:pt x="280" y="232"/>
                  </a:cubicBezTo>
                </a:path>
              </a:pathLst>
            </a:custGeom>
            <a:solidFill>
              <a:srgbClr val="BA14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105" name="Freeform 43"/>
            <p:cNvSpPr>
              <a:spLocks/>
            </p:cNvSpPr>
            <p:nvPr/>
          </p:nvSpPr>
          <p:spPr bwMode="auto">
            <a:xfrm>
              <a:off x="603150" y="3169907"/>
              <a:ext cx="1379295" cy="663931"/>
            </a:xfrm>
            <a:custGeom>
              <a:avLst/>
              <a:gdLst>
                <a:gd name="T0" fmla="*/ 610 w 625"/>
                <a:gd name="T1" fmla="*/ 301 h 301"/>
                <a:gd name="T2" fmla="*/ 625 w 625"/>
                <a:gd name="T3" fmla="*/ 242 h 301"/>
                <a:gd name="T4" fmla="*/ 495 w 625"/>
                <a:gd name="T5" fmla="*/ 113 h 301"/>
                <a:gd name="T6" fmla="*/ 459 w 625"/>
                <a:gd name="T7" fmla="*/ 118 h 301"/>
                <a:gd name="T8" fmla="*/ 284 w 625"/>
                <a:gd name="T9" fmla="*/ 0 h 301"/>
                <a:gd name="T10" fmla="*/ 95 w 625"/>
                <a:gd name="T11" fmla="*/ 178 h 301"/>
                <a:gd name="T12" fmla="*/ 0 w 625"/>
                <a:gd name="T13" fmla="*/ 276 h 301"/>
                <a:gd name="T14" fmla="*/ 3 w 625"/>
                <a:gd name="T15" fmla="*/ 301 h 301"/>
                <a:gd name="T16" fmla="*/ 610 w 625"/>
                <a:gd name="T17" fmla="*/ 301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5" h="301">
                  <a:moveTo>
                    <a:pt x="610" y="301"/>
                  </a:moveTo>
                  <a:cubicBezTo>
                    <a:pt x="619" y="283"/>
                    <a:pt x="625" y="263"/>
                    <a:pt x="625" y="242"/>
                  </a:cubicBezTo>
                  <a:cubicBezTo>
                    <a:pt x="625" y="171"/>
                    <a:pt x="567" y="113"/>
                    <a:pt x="495" y="113"/>
                  </a:cubicBezTo>
                  <a:cubicBezTo>
                    <a:pt x="483" y="113"/>
                    <a:pt x="471" y="115"/>
                    <a:pt x="459" y="118"/>
                  </a:cubicBezTo>
                  <a:cubicBezTo>
                    <a:pt x="431" y="49"/>
                    <a:pt x="363" y="0"/>
                    <a:pt x="284" y="0"/>
                  </a:cubicBezTo>
                  <a:cubicBezTo>
                    <a:pt x="183" y="0"/>
                    <a:pt x="101" y="79"/>
                    <a:pt x="95" y="178"/>
                  </a:cubicBezTo>
                  <a:cubicBezTo>
                    <a:pt x="42" y="180"/>
                    <a:pt x="0" y="223"/>
                    <a:pt x="0" y="276"/>
                  </a:cubicBezTo>
                  <a:cubicBezTo>
                    <a:pt x="0" y="285"/>
                    <a:pt x="1" y="293"/>
                    <a:pt x="3" y="301"/>
                  </a:cubicBezTo>
                  <a:lnTo>
                    <a:pt x="610" y="30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106" name="Rectangle 44"/>
            <p:cNvSpPr>
              <a:spLocks noChangeArrowheads="1"/>
            </p:cNvSpPr>
            <p:nvPr/>
          </p:nvSpPr>
          <p:spPr bwMode="auto">
            <a:xfrm>
              <a:off x="504962" y="3833839"/>
              <a:ext cx="2146089" cy="116891"/>
            </a:xfrm>
            <a:prstGeom prst="rect">
              <a:avLst/>
            </a:prstGeom>
            <a:solidFill>
              <a:srgbClr val="4423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107" name="Freeform 45"/>
            <p:cNvSpPr>
              <a:spLocks/>
            </p:cNvSpPr>
            <p:nvPr/>
          </p:nvSpPr>
          <p:spPr bwMode="auto">
            <a:xfrm>
              <a:off x="0" y="4221910"/>
              <a:ext cx="205725" cy="416127"/>
            </a:xfrm>
            <a:custGeom>
              <a:avLst/>
              <a:gdLst>
                <a:gd name="T0" fmla="*/ 0 w 94"/>
                <a:gd name="T1" fmla="*/ 0 h 188"/>
                <a:gd name="T2" fmla="*/ 94 w 94"/>
                <a:gd name="T3" fmla="*/ 94 h 188"/>
                <a:gd name="T4" fmla="*/ 0 w 94"/>
                <a:gd name="T5" fmla="*/ 18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4" h="188">
                  <a:moveTo>
                    <a:pt x="0" y="0"/>
                  </a:moveTo>
                  <a:cubicBezTo>
                    <a:pt x="52" y="0"/>
                    <a:pt x="94" y="42"/>
                    <a:pt x="94" y="94"/>
                  </a:cubicBezTo>
                  <a:cubicBezTo>
                    <a:pt x="94" y="146"/>
                    <a:pt x="52" y="188"/>
                    <a:pt x="0" y="188"/>
                  </a:cubicBezTo>
                </a:path>
              </a:pathLst>
            </a:custGeom>
            <a:solidFill>
              <a:srgbClr val="4423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108" name="Freeform 46"/>
            <p:cNvSpPr>
              <a:spLocks/>
            </p:cNvSpPr>
            <p:nvPr/>
          </p:nvSpPr>
          <p:spPr bwMode="auto">
            <a:xfrm>
              <a:off x="0" y="5287940"/>
              <a:ext cx="205725" cy="416127"/>
            </a:xfrm>
            <a:custGeom>
              <a:avLst/>
              <a:gdLst>
                <a:gd name="T0" fmla="*/ 0 w 94"/>
                <a:gd name="T1" fmla="*/ 0 h 188"/>
                <a:gd name="T2" fmla="*/ 94 w 94"/>
                <a:gd name="T3" fmla="*/ 94 h 188"/>
                <a:gd name="T4" fmla="*/ 0 w 94"/>
                <a:gd name="T5" fmla="*/ 18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4" h="188">
                  <a:moveTo>
                    <a:pt x="0" y="0"/>
                  </a:moveTo>
                  <a:cubicBezTo>
                    <a:pt x="52" y="0"/>
                    <a:pt x="94" y="42"/>
                    <a:pt x="94" y="94"/>
                  </a:cubicBezTo>
                  <a:cubicBezTo>
                    <a:pt x="94" y="146"/>
                    <a:pt x="52" y="188"/>
                    <a:pt x="0" y="188"/>
                  </a:cubicBezTo>
                </a:path>
              </a:pathLst>
            </a:custGeom>
            <a:solidFill>
              <a:srgbClr val="4423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109" name="Freeform 47"/>
            <p:cNvSpPr>
              <a:spLocks/>
            </p:cNvSpPr>
            <p:nvPr/>
          </p:nvSpPr>
          <p:spPr bwMode="auto">
            <a:xfrm>
              <a:off x="0" y="6353970"/>
              <a:ext cx="205725" cy="416127"/>
            </a:xfrm>
            <a:custGeom>
              <a:avLst/>
              <a:gdLst>
                <a:gd name="T0" fmla="*/ 0 w 94"/>
                <a:gd name="T1" fmla="*/ 0 h 188"/>
                <a:gd name="T2" fmla="*/ 94 w 94"/>
                <a:gd name="T3" fmla="*/ 94 h 188"/>
                <a:gd name="T4" fmla="*/ 0 w 94"/>
                <a:gd name="T5" fmla="*/ 18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4" h="188">
                  <a:moveTo>
                    <a:pt x="0" y="0"/>
                  </a:moveTo>
                  <a:cubicBezTo>
                    <a:pt x="52" y="0"/>
                    <a:pt x="94" y="42"/>
                    <a:pt x="94" y="94"/>
                  </a:cubicBezTo>
                  <a:cubicBezTo>
                    <a:pt x="94" y="146"/>
                    <a:pt x="52" y="188"/>
                    <a:pt x="0" y="188"/>
                  </a:cubicBezTo>
                </a:path>
              </a:pathLst>
            </a:custGeom>
            <a:solidFill>
              <a:srgbClr val="4423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110" name="Freeform 48"/>
            <p:cNvSpPr>
              <a:spLocks/>
            </p:cNvSpPr>
            <p:nvPr/>
          </p:nvSpPr>
          <p:spPr bwMode="auto">
            <a:xfrm>
              <a:off x="0" y="4544"/>
              <a:ext cx="1182921" cy="3226144"/>
            </a:xfrm>
            <a:custGeom>
              <a:avLst/>
              <a:gdLst>
                <a:gd name="T0" fmla="*/ 253 w 253"/>
                <a:gd name="T1" fmla="*/ 0 h 690"/>
                <a:gd name="T2" fmla="*/ 0 w 253"/>
                <a:gd name="T3" fmla="*/ 690 h 690"/>
                <a:gd name="T4" fmla="*/ 0 w 253"/>
                <a:gd name="T5" fmla="*/ 0 h 690"/>
                <a:gd name="T6" fmla="*/ 253 w 253"/>
                <a:gd name="T7" fmla="*/ 0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3" h="690">
                  <a:moveTo>
                    <a:pt x="253" y="0"/>
                  </a:moveTo>
                  <a:lnTo>
                    <a:pt x="0" y="690"/>
                  </a:lnTo>
                  <a:lnTo>
                    <a:pt x="0" y="0"/>
                  </a:lnTo>
                  <a:lnTo>
                    <a:pt x="253" y="0"/>
                  </a:lnTo>
                  <a:close/>
                </a:path>
              </a:pathLst>
            </a:custGeom>
            <a:solidFill>
              <a:srgbClr val="FCD1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111" name="Freeform 49"/>
            <p:cNvSpPr>
              <a:spLocks/>
            </p:cNvSpPr>
            <p:nvPr/>
          </p:nvSpPr>
          <p:spPr bwMode="auto">
            <a:xfrm>
              <a:off x="0" y="4544"/>
              <a:ext cx="1182921" cy="3226144"/>
            </a:xfrm>
            <a:custGeom>
              <a:avLst/>
              <a:gdLst>
                <a:gd name="T0" fmla="*/ 253 w 253"/>
                <a:gd name="T1" fmla="*/ 0 h 690"/>
                <a:gd name="T2" fmla="*/ 0 w 253"/>
                <a:gd name="T3" fmla="*/ 690 h 690"/>
                <a:gd name="T4" fmla="*/ 0 w 253"/>
                <a:gd name="T5" fmla="*/ 0 h 690"/>
                <a:gd name="T6" fmla="*/ 253 w 253"/>
                <a:gd name="T7" fmla="*/ 0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3" h="690">
                  <a:moveTo>
                    <a:pt x="253" y="0"/>
                  </a:moveTo>
                  <a:lnTo>
                    <a:pt x="0" y="690"/>
                  </a:lnTo>
                  <a:lnTo>
                    <a:pt x="0" y="0"/>
                  </a:lnTo>
                  <a:lnTo>
                    <a:pt x="25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112" name="Freeform 50"/>
            <p:cNvSpPr>
              <a:spLocks/>
            </p:cNvSpPr>
            <p:nvPr/>
          </p:nvSpPr>
          <p:spPr bwMode="auto">
            <a:xfrm>
              <a:off x="0" y="1510078"/>
              <a:ext cx="888359" cy="2440648"/>
            </a:xfrm>
            <a:custGeom>
              <a:avLst/>
              <a:gdLst>
                <a:gd name="T0" fmla="*/ 0 w 190"/>
                <a:gd name="T1" fmla="*/ 522 h 522"/>
                <a:gd name="T2" fmla="*/ 190 w 190"/>
                <a:gd name="T3" fmla="*/ 0 h 522"/>
                <a:gd name="T4" fmla="*/ 0 w 190"/>
                <a:gd name="T5" fmla="*/ 0 h 522"/>
                <a:gd name="T6" fmla="*/ 0 w 190"/>
                <a:gd name="T7" fmla="*/ 522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0" h="522">
                  <a:moveTo>
                    <a:pt x="0" y="522"/>
                  </a:moveTo>
                  <a:lnTo>
                    <a:pt x="190" y="0"/>
                  </a:lnTo>
                  <a:lnTo>
                    <a:pt x="0" y="0"/>
                  </a:lnTo>
                  <a:lnTo>
                    <a:pt x="0" y="522"/>
                  </a:lnTo>
                  <a:close/>
                </a:path>
              </a:pathLst>
            </a:custGeom>
            <a:solidFill>
              <a:srgbClr val="E81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113" name="Freeform 51"/>
            <p:cNvSpPr>
              <a:spLocks/>
            </p:cNvSpPr>
            <p:nvPr/>
          </p:nvSpPr>
          <p:spPr bwMode="auto">
            <a:xfrm>
              <a:off x="0" y="1510078"/>
              <a:ext cx="888359" cy="2440648"/>
            </a:xfrm>
            <a:custGeom>
              <a:avLst/>
              <a:gdLst>
                <a:gd name="T0" fmla="*/ 0 w 190"/>
                <a:gd name="T1" fmla="*/ 522 h 522"/>
                <a:gd name="T2" fmla="*/ 190 w 190"/>
                <a:gd name="T3" fmla="*/ 0 h 522"/>
                <a:gd name="T4" fmla="*/ 0 w 190"/>
                <a:gd name="T5" fmla="*/ 0 h 522"/>
                <a:gd name="T6" fmla="*/ 0 w 190"/>
                <a:gd name="T7" fmla="*/ 522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0" h="522">
                  <a:moveTo>
                    <a:pt x="0" y="522"/>
                  </a:moveTo>
                  <a:lnTo>
                    <a:pt x="190" y="0"/>
                  </a:lnTo>
                  <a:lnTo>
                    <a:pt x="0" y="0"/>
                  </a:lnTo>
                  <a:lnTo>
                    <a:pt x="0" y="52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114" name="Freeform 52"/>
            <p:cNvSpPr>
              <a:spLocks/>
            </p:cNvSpPr>
            <p:nvPr/>
          </p:nvSpPr>
          <p:spPr bwMode="auto">
            <a:xfrm>
              <a:off x="504962" y="4544"/>
              <a:ext cx="1341890" cy="1846852"/>
            </a:xfrm>
            <a:custGeom>
              <a:avLst/>
              <a:gdLst>
                <a:gd name="T0" fmla="*/ 145 w 287"/>
                <a:gd name="T1" fmla="*/ 0 h 395"/>
                <a:gd name="T2" fmla="*/ 221 w 287"/>
                <a:gd name="T3" fmla="*/ 0 h 395"/>
                <a:gd name="T4" fmla="*/ 287 w 287"/>
                <a:gd name="T5" fmla="*/ 395 h 395"/>
                <a:gd name="T6" fmla="*/ 23 w 287"/>
                <a:gd name="T7" fmla="*/ 350 h 395"/>
                <a:gd name="T8" fmla="*/ 0 w 287"/>
                <a:gd name="T9" fmla="*/ 345 h 395"/>
                <a:gd name="T10" fmla="*/ 113 w 287"/>
                <a:gd name="T11" fmla="*/ 88 h 395"/>
                <a:gd name="T12" fmla="*/ 145 w 287"/>
                <a:gd name="T13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7" h="395">
                  <a:moveTo>
                    <a:pt x="145" y="0"/>
                  </a:moveTo>
                  <a:lnTo>
                    <a:pt x="221" y="0"/>
                  </a:lnTo>
                  <a:lnTo>
                    <a:pt x="287" y="395"/>
                  </a:lnTo>
                  <a:lnTo>
                    <a:pt x="23" y="350"/>
                  </a:lnTo>
                  <a:lnTo>
                    <a:pt x="0" y="345"/>
                  </a:lnTo>
                  <a:lnTo>
                    <a:pt x="113" y="88"/>
                  </a:lnTo>
                  <a:lnTo>
                    <a:pt x="14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115" name="Freeform 53"/>
            <p:cNvSpPr>
              <a:spLocks/>
            </p:cNvSpPr>
            <p:nvPr/>
          </p:nvSpPr>
          <p:spPr bwMode="auto">
            <a:xfrm>
              <a:off x="504962" y="4544"/>
              <a:ext cx="1341890" cy="1846852"/>
            </a:xfrm>
            <a:custGeom>
              <a:avLst/>
              <a:gdLst>
                <a:gd name="T0" fmla="*/ 145 w 287"/>
                <a:gd name="T1" fmla="*/ 0 h 395"/>
                <a:gd name="T2" fmla="*/ 221 w 287"/>
                <a:gd name="T3" fmla="*/ 0 h 395"/>
                <a:gd name="T4" fmla="*/ 287 w 287"/>
                <a:gd name="T5" fmla="*/ 395 h 395"/>
                <a:gd name="T6" fmla="*/ 23 w 287"/>
                <a:gd name="T7" fmla="*/ 350 h 395"/>
                <a:gd name="T8" fmla="*/ 0 w 287"/>
                <a:gd name="T9" fmla="*/ 345 h 395"/>
                <a:gd name="T10" fmla="*/ 113 w 287"/>
                <a:gd name="T11" fmla="*/ 88 h 395"/>
                <a:gd name="T12" fmla="*/ 145 w 287"/>
                <a:gd name="T13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7" h="395">
                  <a:moveTo>
                    <a:pt x="145" y="0"/>
                  </a:moveTo>
                  <a:lnTo>
                    <a:pt x="221" y="0"/>
                  </a:lnTo>
                  <a:lnTo>
                    <a:pt x="287" y="395"/>
                  </a:lnTo>
                  <a:lnTo>
                    <a:pt x="23" y="350"/>
                  </a:lnTo>
                  <a:lnTo>
                    <a:pt x="0" y="345"/>
                  </a:lnTo>
                  <a:lnTo>
                    <a:pt x="113" y="88"/>
                  </a:lnTo>
                  <a:lnTo>
                    <a:pt x="14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116" name="Freeform 54"/>
            <p:cNvSpPr>
              <a:spLocks/>
            </p:cNvSpPr>
            <p:nvPr/>
          </p:nvSpPr>
          <p:spPr bwMode="auto">
            <a:xfrm>
              <a:off x="0" y="1617618"/>
              <a:ext cx="1126814" cy="2389219"/>
            </a:xfrm>
            <a:custGeom>
              <a:avLst/>
              <a:gdLst>
                <a:gd name="T0" fmla="*/ 241 w 241"/>
                <a:gd name="T1" fmla="*/ 5 h 511"/>
                <a:gd name="T2" fmla="*/ 0 w 241"/>
                <a:gd name="T3" fmla="*/ 511 h 511"/>
                <a:gd name="T4" fmla="*/ 108 w 241"/>
                <a:gd name="T5" fmla="*/ 0 h 511"/>
                <a:gd name="T6" fmla="*/ 241 w 241"/>
                <a:gd name="T7" fmla="*/ 5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1" h="511">
                  <a:moveTo>
                    <a:pt x="241" y="5"/>
                  </a:moveTo>
                  <a:lnTo>
                    <a:pt x="0" y="511"/>
                  </a:lnTo>
                  <a:lnTo>
                    <a:pt x="108" y="0"/>
                  </a:lnTo>
                  <a:lnTo>
                    <a:pt x="241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117" name="Freeform 55"/>
            <p:cNvSpPr>
              <a:spLocks/>
            </p:cNvSpPr>
            <p:nvPr/>
          </p:nvSpPr>
          <p:spPr bwMode="auto">
            <a:xfrm>
              <a:off x="0" y="1617618"/>
              <a:ext cx="1126814" cy="2389219"/>
            </a:xfrm>
            <a:custGeom>
              <a:avLst/>
              <a:gdLst>
                <a:gd name="T0" fmla="*/ 241 w 241"/>
                <a:gd name="T1" fmla="*/ 5 h 511"/>
                <a:gd name="T2" fmla="*/ 0 w 241"/>
                <a:gd name="T3" fmla="*/ 511 h 511"/>
                <a:gd name="T4" fmla="*/ 108 w 241"/>
                <a:gd name="T5" fmla="*/ 0 h 511"/>
                <a:gd name="T6" fmla="*/ 241 w 241"/>
                <a:gd name="T7" fmla="*/ 5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1" h="511">
                  <a:moveTo>
                    <a:pt x="241" y="5"/>
                  </a:moveTo>
                  <a:lnTo>
                    <a:pt x="0" y="511"/>
                  </a:lnTo>
                  <a:lnTo>
                    <a:pt x="108" y="0"/>
                  </a:lnTo>
                  <a:lnTo>
                    <a:pt x="241" y="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118" name="Freeform 56"/>
            <p:cNvSpPr>
              <a:spLocks/>
            </p:cNvSpPr>
            <p:nvPr/>
          </p:nvSpPr>
          <p:spPr bwMode="auto">
            <a:xfrm>
              <a:off x="0" y="1720480"/>
              <a:ext cx="1795419" cy="2286356"/>
            </a:xfrm>
            <a:custGeom>
              <a:avLst/>
              <a:gdLst>
                <a:gd name="T0" fmla="*/ 232 w 384"/>
                <a:gd name="T1" fmla="*/ 0 h 489"/>
                <a:gd name="T2" fmla="*/ 0 w 384"/>
                <a:gd name="T3" fmla="*/ 489 h 489"/>
                <a:gd name="T4" fmla="*/ 204 w 384"/>
                <a:gd name="T5" fmla="*/ 60 h 489"/>
                <a:gd name="T6" fmla="*/ 384 w 384"/>
                <a:gd name="T7" fmla="*/ 71 h 489"/>
                <a:gd name="T8" fmla="*/ 364 w 384"/>
                <a:gd name="T9" fmla="*/ 23 h 489"/>
                <a:gd name="T10" fmla="*/ 232 w 384"/>
                <a:gd name="T11" fmla="*/ 0 h 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4" h="489">
                  <a:moveTo>
                    <a:pt x="232" y="0"/>
                  </a:moveTo>
                  <a:lnTo>
                    <a:pt x="0" y="489"/>
                  </a:lnTo>
                  <a:lnTo>
                    <a:pt x="204" y="60"/>
                  </a:lnTo>
                  <a:lnTo>
                    <a:pt x="384" y="71"/>
                  </a:lnTo>
                  <a:lnTo>
                    <a:pt x="364" y="23"/>
                  </a:lnTo>
                  <a:lnTo>
                    <a:pt x="232" y="0"/>
                  </a:lnTo>
                  <a:close/>
                </a:path>
              </a:pathLst>
            </a:custGeom>
            <a:solidFill>
              <a:srgbClr val="5B1D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119" name="Freeform 57"/>
            <p:cNvSpPr>
              <a:spLocks/>
            </p:cNvSpPr>
            <p:nvPr/>
          </p:nvSpPr>
          <p:spPr bwMode="auto">
            <a:xfrm>
              <a:off x="0" y="1720480"/>
              <a:ext cx="1795419" cy="2286356"/>
            </a:xfrm>
            <a:custGeom>
              <a:avLst/>
              <a:gdLst>
                <a:gd name="T0" fmla="*/ 232 w 384"/>
                <a:gd name="T1" fmla="*/ 0 h 489"/>
                <a:gd name="T2" fmla="*/ 0 w 384"/>
                <a:gd name="T3" fmla="*/ 489 h 489"/>
                <a:gd name="T4" fmla="*/ 204 w 384"/>
                <a:gd name="T5" fmla="*/ 60 h 489"/>
                <a:gd name="T6" fmla="*/ 384 w 384"/>
                <a:gd name="T7" fmla="*/ 71 h 489"/>
                <a:gd name="T8" fmla="*/ 364 w 384"/>
                <a:gd name="T9" fmla="*/ 23 h 489"/>
                <a:gd name="T10" fmla="*/ 232 w 384"/>
                <a:gd name="T11" fmla="*/ 0 h 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4" h="489">
                  <a:moveTo>
                    <a:pt x="232" y="0"/>
                  </a:moveTo>
                  <a:lnTo>
                    <a:pt x="0" y="489"/>
                  </a:lnTo>
                  <a:lnTo>
                    <a:pt x="204" y="60"/>
                  </a:lnTo>
                  <a:lnTo>
                    <a:pt x="384" y="71"/>
                  </a:lnTo>
                  <a:lnTo>
                    <a:pt x="364" y="23"/>
                  </a:lnTo>
                  <a:lnTo>
                    <a:pt x="23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120" name="Freeform 58"/>
            <p:cNvSpPr>
              <a:spLocks noEditPoints="1"/>
            </p:cNvSpPr>
            <p:nvPr/>
          </p:nvSpPr>
          <p:spPr bwMode="auto">
            <a:xfrm>
              <a:off x="504962" y="1617618"/>
              <a:ext cx="1196946" cy="210402"/>
            </a:xfrm>
            <a:custGeom>
              <a:avLst/>
              <a:gdLst>
                <a:gd name="T0" fmla="*/ 125 w 256"/>
                <a:gd name="T1" fmla="*/ 20 h 45"/>
                <a:gd name="T2" fmla="*/ 124 w 256"/>
                <a:gd name="T3" fmla="*/ 22 h 45"/>
                <a:gd name="T4" fmla="*/ 256 w 256"/>
                <a:gd name="T5" fmla="*/ 45 h 45"/>
                <a:gd name="T6" fmla="*/ 255 w 256"/>
                <a:gd name="T7" fmla="*/ 42 h 45"/>
                <a:gd name="T8" fmla="*/ 125 w 256"/>
                <a:gd name="T9" fmla="*/ 20 h 45"/>
                <a:gd name="T10" fmla="*/ 0 w 256"/>
                <a:gd name="T11" fmla="*/ 0 h 45"/>
                <a:gd name="T12" fmla="*/ 0 w 256"/>
                <a:gd name="T13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6" h="45">
                  <a:moveTo>
                    <a:pt x="125" y="20"/>
                  </a:moveTo>
                  <a:lnTo>
                    <a:pt x="124" y="22"/>
                  </a:lnTo>
                  <a:lnTo>
                    <a:pt x="256" y="45"/>
                  </a:lnTo>
                  <a:lnTo>
                    <a:pt x="255" y="42"/>
                  </a:lnTo>
                  <a:lnTo>
                    <a:pt x="125" y="2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DEDE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121" name="Freeform 59"/>
            <p:cNvSpPr>
              <a:spLocks noEditPoints="1"/>
            </p:cNvSpPr>
            <p:nvPr/>
          </p:nvSpPr>
          <p:spPr bwMode="auto">
            <a:xfrm>
              <a:off x="504962" y="1617618"/>
              <a:ext cx="1196946" cy="210402"/>
            </a:xfrm>
            <a:custGeom>
              <a:avLst/>
              <a:gdLst>
                <a:gd name="T0" fmla="*/ 125 w 256"/>
                <a:gd name="T1" fmla="*/ 20 h 45"/>
                <a:gd name="T2" fmla="*/ 124 w 256"/>
                <a:gd name="T3" fmla="*/ 22 h 45"/>
                <a:gd name="T4" fmla="*/ 256 w 256"/>
                <a:gd name="T5" fmla="*/ 45 h 45"/>
                <a:gd name="T6" fmla="*/ 255 w 256"/>
                <a:gd name="T7" fmla="*/ 42 h 45"/>
                <a:gd name="T8" fmla="*/ 125 w 256"/>
                <a:gd name="T9" fmla="*/ 20 h 45"/>
                <a:gd name="T10" fmla="*/ 0 w 256"/>
                <a:gd name="T11" fmla="*/ 0 h 45"/>
                <a:gd name="T12" fmla="*/ 0 w 256"/>
                <a:gd name="T13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6" h="45">
                  <a:moveTo>
                    <a:pt x="125" y="20"/>
                  </a:moveTo>
                  <a:lnTo>
                    <a:pt x="124" y="22"/>
                  </a:lnTo>
                  <a:lnTo>
                    <a:pt x="256" y="45"/>
                  </a:lnTo>
                  <a:lnTo>
                    <a:pt x="255" y="42"/>
                  </a:lnTo>
                  <a:lnTo>
                    <a:pt x="125" y="20"/>
                  </a:lnTo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122" name="Freeform 60"/>
            <p:cNvSpPr>
              <a:spLocks/>
            </p:cNvSpPr>
            <p:nvPr/>
          </p:nvSpPr>
          <p:spPr bwMode="auto">
            <a:xfrm>
              <a:off x="0" y="1617618"/>
              <a:ext cx="1089410" cy="2389219"/>
            </a:xfrm>
            <a:custGeom>
              <a:avLst/>
              <a:gdLst>
                <a:gd name="T0" fmla="*/ 108 w 233"/>
                <a:gd name="T1" fmla="*/ 0 h 511"/>
                <a:gd name="T2" fmla="*/ 0 w 233"/>
                <a:gd name="T3" fmla="*/ 511 h 511"/>
                <a:gd name="T4" fmla="*/ 232 w 233"/>
                <a:gd name="T5" fmla="*/ 22 h 511"/>
                <a:gd name="T6" fmla="*/ 233 w 233"/>
                <a:gd name="T7" fmla="*/ 20 h 511"/>
                <a:gd name="T8" fmla="*/ 108 w 23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3" h="511">
                  <a:moveTo>
                    <a:pt x="108" y="0"/>
                  </a:moveTo>
                  <a:lnTo>
                    <a:pt x="0" y="511"/>
                  </a:lnTo>
                  <a:lnTo>
                    <a:pt x="232" y="22"/>
                  </a:lnTo>
                  <a:lnTo>
                    <a:pt x="233" y="20"/>
                  </a:lnTo>
                  <a:lnTo>
                    <a:pt x="108" y="0"/>
                  </a:lnTo>
                  <a:close/>
                </a:path>
              </a:pathLst>
            </a:custGeom>
            <a:solidFill>
              <a:srgbClr val="DEDE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123" name="Freeform 61"/>
            <p:cNvSpPr>
              <a:spLocks/>
            </p:cNvSpPr>
            <p:nvPr/>
          </p:nvSpPr>
          <p:spPr bwMode="auto">
            <a:xfrm>
              <a:off x="0" y="1617618"/>
              <a:ext cx="1089410" cy="2389219"/>
            </a:xfrm>
            <a:custGeom>
              <a:avLst/>
              <a:gdLst>
                <a:gd name="T0" fmla="*/ 108 w 233"/>
                <a:gd name="T1" fmla="*/ 0 h 511"/>
                <a:gd name="T2" fmla="*/ 0 w 233"/>
                <a:gd name="T3" fmla="*/ 511 h 511"/>
                <a:gd name="T4" fmla="*/ 232 w 233"/>
                <a:gd name="T5" fmla="*/ 22 h 511"/>
                <a:gd name="T6" fmla="*/ 233 w 233"/>
                <a:gd name="T7" fmla="*/ 20 h 511"/>
                <a:gd name="T8" fmla="*/ 108 w 23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3" h="511">
                  <a:moveTo>
                    <a:pt x="108" y="0"/>
                  </a:moveTo>
                  <a:lnTo>
                    <a:pt x="0" y="511"/>
                  </a:lnTo>
                  <a:lnTo>
                    <a:pt x="232" y="22"/>
                  </a:lnTo>
                  <a:lnTo>
                    <a:pt x="233" y="20"/>
                  </a:lnTo>
                  <a:lnTo>
                    <a:pt x="10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124" name="Oval 62"/>
            <p:cNvSpPr>
              <a:spLocks noChangeArrowheads="1"/>
            </p:cNvSpPr>
            <p:nvPr/>
          </p:nvSpPr>
          <p:spPr bwMode="auto">
            <a:xfrm>
              <a:off x="589122" y="1781261"/>
              <a:ext cx="140267" cy="140267"/>
            </a:xfrm>
            <a:prstGeom prst="ellipse">
              <a:avLst/>
            </a:prstGeom>
            <a:solidFill>
              <a:srgbClr val="4423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  <p:sp>
          <p:nvSpPr>
            <p:cNvPr id="125" name="Freeform 63"/>
            <p:cNvSpPr>
              <a:spLocks/>
            </p:cNvSpPr>
            <p:nvPr/>
          </p:nvSpPr>
          <p:spPr bwMode="auto">
            <a:xfrm>
              <a:off x="3034447" y="514183"/>
              <a:ext cx="635878" cy="3151335"/>
            </a:xfrm>
            <a:custGeom>
              <a:avLst/>
              <a:gdLst>
                <a:gd name="T0" fmla="*/ 276 w 288"/>
                <a:gd name="T1" fmla="*/ 0 h 1431"/>
                <a:gd name="T2" fmla="*/ 151 w 288"/>
                <a:gd name="T3" fmla="*/ 344 h 1431"/>
                <a:gd name="T4" fmla="*/ 0 w 288"/>
                <a:gd name="T5" fmla="*/ 1431 h 1431"/>
                <a:gd name="T6" fmla="*/ 14 w 288"/>
                <a:gd name="T7" fmla="*/ 1396 h 1431"/>
                <a:gd name="T8" fmla="*/ 164 w 288"/>
                <a:gd name="T9" fmla="*/ 349 h 1431"/>
                <a:gd name="T10" fmla="*/ 288 w 288"/>
                <a:gd name="T11" fmla="*/ 7 h 1431"/>
                <a:gd name="T12" fmla="*/ 288 w 288"/>
                <a:gd name="T13" fmla="*/ 6 h 1431"/>
                <a:gd name="T14" fmla="*/ 276 w 288"/>
                <a:gd name="T15" fmla="*/ 0 h 1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8" h="1431">
                  <a:moveTo>
                    <a:pt x="276" y="0"/>
                  </a:moveTo>
                  <a:cubicBezTo>
                    <a:pt x="242" y="76"/>
                    <a:pt x="195" y="195"/>
                    <a:pt x="151" y="344"/>
                  </a:cubicBezTo>
                  <a:cubicBezTo>
                    <a:pt x="82" y="579"/>
                    <a:pt x="2" y="954"/>
                    <a:pt x="0" y="1431"/>
                  </a:cubicBezTo>
                  <a:cubicBezTo>
                    <a:pt x="14" y="1396"/>
                    <a:pt x="14" y="1396"/>
                    <a:pt x="14" y="1396"/>
                  </a:cubicBezTo>
                  <a:cubicBezTo>
                    <a:pt x="19" y="937"/>
                    <a:pt x="97" y="576"/>
                    <a:pt x="164" y="349"/>
                  </a:cubicBezTo>
                  <a:cubicBezTo>
                    <a:pt x="210" y="191"/>
                    <a:pt x="257" y="76"/>
                    <a:pt x="288" y="7"/>
                  </a:cubicBezTo>
                  <a:cubicBezTo>
                    <a:pt x="288" y="6"/>
                    <a:pt x="288" y="6"/>
                    <a:pt x="288" y="6"/>
                  </a:cubicBezTo>
                  <a:lnTo>
                    <a:pt x="276" y="0"/>
                  </a:lnTo>
                  <a:close/>
                </a:path>
              </a:pathLst>
            </a:custGeom>
            <a:solidFill>
              <a:srgbClr val="4423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65" kern="0" dirty="0" smtClean="0">
                <a:solidFill>
                  <a:srgbClr val="3F3F3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800213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_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8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0696" y="961926"/>
            <a:ext cx="11130608" cy="2601611"/>
          </a:xfrm>
        </p:spPr>
        <p:txBody>
          <a:bodyPr anchor="b">
            <a:noAutofit/>
          </a:bodyPr>
          <a:lstStyle>
            <a:lvl1pPr algn="l">
              <a:defRPr sz="5294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0696" y="3809931"/>
            <a:ext cx="11130607" cy="1752600"/>
          </a:xfrm>
        </p:spPr>
        <p:txBody>
          <a:bodyPr>
            <a:noAutofit/>
          </a:bodyPr>
          <a:lstStyle>
            <a:lvl1pPr marL="0" indent="0" algn="l">
              <a:spcBef>
                <a:spcPts val="1176"/>
              </a:spcBef>
              <a:buNone/>
              <a:defRPr sz="2745" baseline="0">
                <a:solidFill>
                  <a:schemeClr val="bg1"/>
                </a:solidFill>
              </a:defRPr>
            </a:lvl1pPr>
            <a:lvl2pPr marL="5441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5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7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0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1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5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artner name</a:t>
            </a:r>
          </a:p>
          <a:p>
            <a:r>
              <a:rPr lang="en-US" dirty="0" smtClean="0"/>
              <a:t>Partner org</a:t>
            </a:r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603"/>
          <a:stretch/>
        </p:blipFill>
        <p:spPr>
          <a:xfrm>
            <a:off x="530696" y="5930469"/>
            <a:ext cx="1462846" cy="78683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8327779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_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2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0696" y="961926"/>
            <a:ext cx="11130608" cy="2601611"/>
          </a:xfrm>
        </p:spPr>
        <p:txBody>
          <a:bodyPr anchor="b">
            <a:noAutofit/>
          </a:bodyPr>
          <a:lstStyle>
            <a:lvl1pPr algn="l">
              <a:defRPr sz="5294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0696" y="3809931"/>
            <a:ext cx="11130607" cy="1752600"/>
          </a:xfrm>
        </p:spPr>
        <p:txBody>
          <a:bodyPr>
            <a:noAutofit/>
          </a:bodyPr>
          <a:lstStyle>
            <a:lvl1pPr marL="0" indent="0" algn="l">
              <a:spcBef>
                <a:spcPts val="1176"/>
              </a:spcBef>
              <a:buNone/>
              <a:defRPr sz="2745">
                <a:solidFill>
                  <a:schemeClr val="bg1"/>
                </a:solidFill>
              </a:defRPr>
            </a:lvl1pPr>
            <a:lvl2pPr marL="5441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5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7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0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1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5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</a:p>
          <a:p>
            <a:r>
              <a:rPr lang="en-US" dirty="0" smtClean="0"/>
              <a:t>Speaker org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530697" y="5967497"/>
            <a:ext cx="1673886" cy="35862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530697" y="5967497"/>
            <a:ext cx="1673886" cy="358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71921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96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30696" y="1559755"/>
            <a:ext cx="11130608" cy="3657680"/>
          </a:xfrm>
        </p:spPr>
        <p:txBody>
          <a:bodyPr/>
          <a:lstStyle>
            <a:lvl1pPr marL="0" indent="0">
              <a:spcBef>
                <a:spcPts val="588"/>
              </a:spcBef>
              <a:buNone/>
              <a:defRPr sz="2353" b="0">
                <a:solidFill>
                  <a:schemeClr val="accent1"/>
                </a:solidFill>
                <a:latin typeface="Segoe UI Semibold" panose="020B0702040204020203" pitchFamily="34" charset="0"/>
              </a:defRPr>
            </a:lvl1pPr>
            <a:lvl2pPr marL="336145" marR="0" indent="-224097" algn="l" defTabSz="544196" rtl="0" eaLnBrk="1" fontAlgn="auto" latinLnBrk="0" hangingPunct="1">
              <a:lnSpc>
                <a:spcPct val="100000"/>
              </a:lnSpc>
              <a:spcBef>
                <a:spcPts val="294"/>
              </a:spcBef>
              <a:spcAft>
                <a:spcPts val="294"/>
              </a:spcAft>
              <a:buClrTx/>
              <a:buSzTx/>
              <a:buFont typeface="Arial" panose="020B0604020202020204" pitchFamily="34" charset="0"/>
              <a:buChar char="•"/>
              <a:tabLst/>
              <a:defRPr sz="2745">
                <a:solidFill>
                  <a:schemeClr val="accent1"/>
                </a:solidFill>
              </a:defRPr>
            </a:lvl2pPr>
            <a:lvl3pPr marL="1088393" indent="0">
              <a:buNone/>
              <a:defRPr>
                <a:solidFill>
                  <a:schemeClr val="accent4"/>
                </a:solidFill>
              </a:defRPr>
            </a:lvl3pPr>
            <a:lvl4pPr marL="1632589" indent="0">
              <a:buNone/>
              <a:defRPr>
                <a:solidFill>
                  <a:schemeClr val="accent4"/>
                </a:solidFill>
              </a:defRPr>
            </a:lvl4pPr>
            <a:lvl5pPr marL="2176785" indent="0">
              <a:buNone/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dirty="0" smtClean="0"/>
              <a:t>Header</a:t>
            </a:r>
          </a:p>
          <a:p>
            <a:pPr lvl="1"/>
            <a:r>
              <a:rPr lang="en-US" dirty="0" smtClean="0"/>
              <a:t>Place holder for text</a:t>
            </a:r>
          </a:p>
          <a:p>
            <a:pPr marL="336145" marR="0" lvl="1" indent="-224097" algn="l" defTabSz="544196" rtl="0" eaLnBrk="1" fontAlgn="auto" latinLnBrk="0" hangingPunct="1">
              <a:lnSpc>
                <a:spcPct val="100000"/>
              </a:lnSpc>
              <a:spcBef>
                <a:spcPts val="294"/>
              </a:spcBef>
              <a:spcAft>
                <a:spcPts val="294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 smtClean="0"/>
              <a:t>Place holder for text</a:t>
            </a:r>
          </a:p>
          <a:p>
            <a:pPr marL="336145" marR="0" lvl="1" indent="-224097" algn="l" defTabSz="544196" rtl="0" eaLnBrk="1" fontAlgn="auto" latinLnBrk="0" hangingPunct="1">
              <a:lnSpc>
                <a:spcPct val="100000"/>
              </a:lnSpc>
              <a:spcBef>
                <a:spcPts val="294"/>
              </a:spcBef>
              <a:spcAft>
                <a:spcPts val="294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 smtClean="0"/>
              <a:t>Place holder for tex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3F3F3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255DB77-E0AE-A349-8FAE-C666923B773F}" type="slidenum">
              <a:rPr lang="en-US" smtClean="0">
                <a:solidFill>
                  <a:srgbClr val="3F3F3F"/>
                </a:solidFill>
              </a:rPr>
              <a:pPr/>
              <a:t>‹#›</a:t>
            </a:fld>
            <a:endParaRPr lang="en-US" dirty="0">
              <a:solidFill>
                <a:srgbClr val="3F3F3F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30228" y="467572"/>
            <a:ext cx="11131076" cy="732448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19442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0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255DB77-E0AE-A349-8FAE-C666923B773F}" type="slidenum">
              <a:rPr lang="en-US" smtClean="0">
                <a:solidFill>
                  <a:srgbClr val="3F3F3F"/>
                </a:solidFill>
              </a:rPr>
              <a:pPr/>
              <a:t>‹#›</a:t>
            </a:fld>
            <a:endParaRPr lang="en-US" dirty="0">
              <a:solidFill>
                <a:srgbClr val="3F3F3F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30228" y="469023"/>
            <a:ext cx="11131076" cy="732448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30695" y="6356351"/>
            <a:ext cx="3271951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3F3F3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42765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oran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44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0696" y="1559754"/>
            <a:ext cx="11130608" cy="3245518"/>
          </a:xfrm>
          <a:noFill/>
        </p:spPr>
        <p:txBody>
          <a:bodyPr/>
          <a:lstStyle>
            <a:lvl1pPr marL="0" indent="0">
              <a:spcBef>
                <a:spcPts val="588"/>
              </a:spcBef>
              <a:buFont typeface="Arial" panose="020B0604020202020204" pitchFamily="34" charset="0"/>
              <a:buNone/>
              <a:defRPr sz="2157">
                <a:solidFill>
                  <a:schemeClr val="bg1"/>
                </a:solidFill>
                <a:latin typeface="Segoe UI Semibold" panose="020B0702040204020203" pitchFamily="34" charset="0"/>
              </a:defRPr>
            </a:lvl1pPr>
            <a:lvl2pPr marL="336145" marR="0" indent="-224097" algn="l" defTabSz="544196" rtl="0" eaLnBrk="1" fontAlgn="auto" latinLnBrk="0" hangingPunct="1">
              <a:lnSpc>
                <a:spcPct val="100000"/>
              </a:lnSpc>
              <a:spcBef>
                <a:spcPts val="294"/>
              </a:spcBef>
              <a:spcAft>
                <a:spcPts val="294"/>
              </a:spcAft>
              <a:buClrTx/>
              <a:buSzTx/>
              <a:buFont typeface="Arial" panose="020B0604020202020204" pitchFamily="34" charset="0"/>
              <a:buChar char="•"/>
              <a:tabLst/>
              <a:defRPr sz="1765">
                <a:solidFill>
                  <a:schemeClr val="bg1"/>
                </a:solidFill>
              </a:defRPr>
            </a:lvl2pPr>
            <a:lvl3pPr marL="1088393" indent="0">
              <a:buNone/>
              <a:defRPr>
                <a:solidFill>
                  <a:schemeClr val="bg1"/>
                </a:solidFill>
              </a:defRPr>
            </a:lvl3pPr>
            <a:lvl4pPr marL="1632589" indent="0">
              <a:buNone/>
              <a:defRPr>
                <a:solidFill>
                  <a:schemeClr val="bg1"/>
                </a:solidFill>
              </a:defRPr>
            </a:lvl4pPr>
            <a:lvl5pPr marL="2176785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Header</a:t>
            </a:r>
          </a:p>
          <a:p>
            <a:pPr lvl="1"/>
            <a:r>
              <a:rPr lang="en-US" dirty="0" smtClean="0"/>
              <a:t>Place holder for text</a:t>
            </a:r>
          </a:p>
          <a:p>
            <a:pPr marL="340814" marR="0" lvl="1" indent="-228766" algn="l" defTabSz="544196" rtl="0" eaLnBrk="1" fontAlgn="auto" latinLnBrk="0" hangingPunct="1">
              <a:lnSpc>
                <a:spcPct val="100000"/>
              </a:lnSpc>
              <a:spcBef>
                <a:spcPts val="294"/>
              </a:spcBef>
              <a:spcAft>
                <a:spcPts val="294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 smtClean="0"/>
              <a:t>Place holder for text</a:t>
            </a:r>
          </a:p>
          <a:p>
            <a:pPr marL="340814" marR="0" lvl="1" indent="-228766" algn="l" defTabSz="544196" rtl="0" eaLnBrk="1" fontAlgn="auto" latinLnBrk="0" hangingPunct="1">
              <a:lnSpc>
                <a:spcPct val="100000"/>
              </a:lnSpc>
              <a:spcBef>
                <a:spcPts val="294"/>
              </a:spcBef>
              <a:spcAft>
                <a:spcPts val="294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 smtClean="0"/>
              <a:t>Place holder for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55DB77-E0AE-A349-8FAE-C666923B773F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8200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_oran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8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55DB77-E0AE-A349-8FAE-C666923B773F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68492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_oran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92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55DB77-E0AE-A349-8FAE-C666923B773F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21383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 with Graphics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16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 rot="5400000">
            <a:off x="-1380694" y="1380698"/>
            <a:ext cx="6858000" cy="409661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544196"/>
            <a:endParaRPr lang="en-US" sz="2157" dirty="0">
              <a:solidFill>
                <a:srgbClr val="FD7425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30697" y="3111472"/>
            <a:ext cx="3271952" cy="911041"/>
          </a:xfrm>
        </p:spPr>
        <p:txBody>
          <a:bodyPr lIns="0" tIns="0" rIns="0">
            <a:noAutofit/>
          </a:bodyPr>
          <a:lstStyle>
            <a:lvl1pPr marL="0" indent="0">
              <a:spcBef>
                <a:spcPts val="0"/>
              </a:spcBef>
              <a:spcAft>
                <a:spcPts val="1176"/>
              </a:spcAft>
              <a:buNone/>
              <a:defRPr sz="2157" b="0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588"/>
              </a:spcBef>
              <a:buNone/>
              <a:defRPr sz="2157">
                <a:solidFill>
                  <a:schemeClr val="bg1"/>
                </a:solidFill>
              </a:defRPr>
            </a:lvl2pPr>
            <a:lvl3pPr marL="1088393" indent="0">
              <a:buNone/>
              <a:defRPr/>
            </a:lvl3pPr>
            <a:lvl4pPr marL="1632589" indent="0">
              <a:buNone/>
              <a:defRPr/>
            </a:lvl4pPr>
            <a:lvl5pPr marL="2176785" indent="0">
              <a:buNone/>
              <a:defRPr/>
            </a:lvl5pPr>
          </a:lstStyle>
          <a:p>
            <a:pPr lvl="0"/>
            <a:r>
              <a:rPr lang="en-US" dirty="0" smtClean="0"/>
              <a:t>Heading</a:t>
            </a:r>
          </a:p>
          <a:p>
            <a:pPr lvl="1"/>
            <a:r>
              <a:rPr lang="en-US" dirty="0" smtClean="0"/>
              <a:t>Tex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255DB77-E0AE-A349-8FAE-C666923B773F}" type="slidenum">
              <a:rPr lang="en-US" smtClean="0">
                <a:solidFill>
                  <a:srgbClr val="3F3F3F"/>
                </a:solidFill>
              </a:rPr>
              <a:pPr/>
              <a:t>‹#›</a:t>
            </a:fld>
            <a:endParaRPr lang="en-US" dirty="0">
              <a:solidFill>
                <a:srgbClr val="3F3F3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697" y="574892"/>
            <a:ext cx="3271951" cy="1466598"/>
          </a:xfrm>
          <a:noFill/>
        </p:spPr>
        <p:txBody>
          <a:bodyPr vert="horz" wrap="square" lIns="0" tIns="0" rIns="0" bIns="0" rtlCol="0" anchor="t">
            <a:noAutofit/>
          </a:bodyPr>
          <a:lstStyle>
            <a:lvl1pPr>
              <a:defRPr lang="en-US" sz="3921" dirty="0">
                <a:solidFill>
                  <a:schemeClr val="bg1"/>
                </a:solidFill>
                <a:latin typeface="Segoe UI Semibold"/>
                <a:ea typeface="+mn-ea"/>
                <a:cs typeface="Segoe UI Semibold"/>
              </a:defRPr>
            </a:lvl1pPr>
          </a:lstStyle>
          <a:p>
            <a:pPr marL="0"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 rot="5400000">
            <a:off x="-1380694" y="1380698"/>
            <a:ext cx="6858000" cy="409661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544196"/>
            <a:endParaRPr lang="en-US" sz="2157" dirty="0">
              <a:solidFill>
                <a:srgbClr val="FD742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63048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 with Graphics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40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 rot="5400000">
            <a:off x="-1380694" y="1380698"/>
            <a:ext cx="6858000" cy="409661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544196"/>
            <a:endParaRPr lang="en-US" sz="2157" dirty="0">
              <a:solidFill>
                <a:srgbClr val="FD7425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30697" y="3111472"/>
            <a:ext cx="3271952" cy="911041"/>
          </a:xfrm>
        </p:spPr>
        <p:txBody>
          <a:bodyPr lIns="0" tIns="0" rIns="0">
            <a:noAutofit/>
          </a:bodyPr>
          <a:lstStyle>
            <a:lvl1pPr marL="0" indent="0">
              <a:spcBef>
                <a:spcPts val="0"/>
              </a:spcBef>
              <a:spcAft>
                <a:spcPts val="1176"/>
              </a:spcAft>
              <a:buNone/>
              <a:defRPr sz="2157" b="0">
                <a:solidFill>
                  <a:schemeClr val="accent2"/>
                </a:solidFill>
                <a:latin typeface="+mj-lt"/>
              </a:defRPr>
            </a:lvl1pPr>
            <a:lvl2pPr marL="0" indent="0">
              <a:spcBef>
                <a:spcPts val="588"/>
              </a:spcBef>
              <a:buNone/>
              <a:defRPr sz="2157">
                <a:solidFill>
                  <a:schemeClr val="bg1"/>
                </a:solidFill>
              </a:defRPr>
            </a:lvl2pPr>
            <a:lvl3pPr marL="1088393" indent="0">
              <a:buNone/>
              <a:defRPr/>
            </a:lvl3pPr>
            <a:lvl4pPr marL="1632589" indent="0">
              <a:buNone/>
              <a:defRPr/>
            </a:lvl4pPr>
            <a:lvl5pPr marL="2176785" indent="0">
              <a:buNone/>
              <a:defRPr/>
            </a:lvl5pPr>
          </a:lstStyle>
          <a:p>
            <a:pPr lvl="0"/>
            <a:r>
              <a:rPr lang="en-US" dirty="0" smtClean="0"/>
              <a:t>Heading</a:t>
            </a:r>
          </a:p>
          <a:p>
            <a:pPr lvl="1"/>
            <a:r>
              <a:rPr lang="en-US" dirty="0" smtClean="0"/>
              <a:t>Tex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255DB77-E0AE-A349-8FAE-C666923B773F}" type="slidenum">
              <a:rPr lang="en-US" smtClean="0">
                <a:solidFill>
                  <a:srgbClr val="3F3F3F"/>
                </a:solidFill>
              </a:rPr>
              <a:pPr/>
              <a:t>‹#›</a:t>
            </a:fld>
            <a:endParaRPr lang="en-US" dirty="0">
              <a:solidFill>
                <a:srgbClr val="3F3F3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697" y="574892"/>
            <a:ext cx="3271951" cy="1466598"/>
          </a:xfrm>
          <a:noFill/>
        </p:spPr>
        <p:txBody>
          <a:bodyPr wrap="square" lIns="0" tIns="0" rIns="0" bIns="0" rtlCol="0" anchor="t">
            <a:noAutofit/>
          </a:bodyPr>
          <a:lstStyle>
            <a:lvl1pPr>
              <a:defRPr lang="en-US" sz="3921" spc="-157" baseline="0" dirty="0">
                <a:solidFill>
                  <a:schemeClr val="bg1"/>
                </a:solidFill>
                <a:latin typeface="Segoe UI Semibold"/>
                <a:ea typeface="+mn-ea"/>
                <a:cs typeface="Segoe UI Semibold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 rot="5400000">
            <a:off x="-1380694" y="1380698"/>
            <a:ext cx="6858000" cy="409661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544196"/>
            <a:endParaRPr lang="en-US" sz="2157" dirty="0">
              <a:solidFill>
                <a:srgbClr val="FD742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43299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9103D2-72A0-4C12-A232-58991DCA312B}" type="datetimeFigureOut">
              <a:rPr lang="en-US" smtClean="0"/>
              <a:t>12/17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E84F3A-632D-4576-8FBC-69BA2D0B9C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247856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 with Graphics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64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 rot="5400000">
            <a:off x="-1380694" y="1380698"/>
            <a:ext cx="6858000" cy="409661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544196"/>
            <a:endParaRPr lang="en-US" sz="2157" dirty="0">
              <a:solidFill>
                <a:srgbClr val="FD7425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30697" y="3111472"/>
            <a:ext cx="3271952" cy="911041"/>
          </a:xfrm>
        </p:spPr>
        <p:txBody>
          <a:bodyPr lIns="0" tIns="0" rIns="0">
            <a:noAutofit/>
          </a:bodyPr>
          <a:lstStyle>
            <a:lvl1pPr marL="0" indent="0">
              <a:spcBef>
                <a:spcPts val="0"/>
              </a:spcBef>
              <a:spcAft>
                <a:spcPts val="1176"/>
              </a:spcAft>
              <a:buNone/>
              <a:defRPr sz="2157" b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588"/>
              </a:spcBef>
              <a:buNone/>
              <a:defRPr sz="2157">
                <a:solidFill>
                  <a:schemeClr val="bg1"/>
                </a:solidFill>
              </a:defRPr>
            </a:lvl2pPr>
            <a:lvl3pPr marL="1088393" indent="0">
              <a:buNone/>
              <a:defRPr/>
            </a:lvl3pPr>
            <a:lvl4pPr marL="1632589" indent="0">
              <a:buNone/>
              <a:defRPr/>
            </a:lvl4pPr>
            <a:lvl5pPr marL="2176785" indent="0">
              <a:buNone/>
              <a:defRPr/>
            </a:lvl5pPr>
          </a:lstStyle>
          <a:p>
            <a:pPr lvl="0"/>
            <a:r>
              <a:rPr lang="en-US" dirty="0" smtClean="0"/>
              <a:t>Heading</a:t>
            </a:r>
          </a:p>
          <a:p>
            <a:pPr lvl="1"/>
            <a:r>
              <a:rPr lang="en-US" dirty="0" smtClean="0"/>
              <a:t>Tex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255DB77-E0AE-A349-8FAE-C666923B773F}" type="slidenum">
              <a:rPr lang="en-US" smtClean="0">
                <a:solidFill>
                  <a:srgbClr val="3F3F3F"/>
                </a:solidFill>
              </a:rPr>
              <a:pPr/>
              <a:t>‹#›</a:t>
            </a:fld>
            <a:endParaRPr lang="en-US" dirty="0">
              <a:solidFill>
                <a:srgbClr val="3F3F3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697" y="574892"/>
            <a:ext cx="3271951" cy="1466598"/>
          </a:xfrm>
          <a:noFill/>
        </p:spPr>
        <p:txBody>
          <a:bodyPr wrap="square" lIns="0" tIns="0" rIns="0" bIns="0" rtlCol="0" anchor="t">
            <a:noAutofit/>
          </a:bodyPr>
          <a:lstStyle>
            <a:lvl1pPr>
              <a:defRPr lang="en-US" sz="3921" spc="-157" baseline="0" dirty="0">
                <a:solidFill>
                  <a:schemeClr val="bg1"/>
                </a:solidFill>
                <a:latin typeface="Segoe UI Semibold"/>
                <a:ea typeface="+mn-ea"/>
                <a:cs typeface="Segoe UI Semibold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 rot="5400000">
            <a:off x="-1380694" y="1380698"/>
            <a:ext cx="6858000" cy="409661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544196"/>
            <a:endParaRPr lang="en-US" sz="2157" dirty="0">
              <a:solidFill>
                <a:srgbClr val="FD742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71271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 with Graphics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88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 rot="5400000">
            <a:off x="-1380694" y="1380698"/>
            <a:ext cx="6858000" cy="409661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544196"/>
            <a:endParaRPr lang="en-US" sz="2157" dirty="0">
              <a:solidFill>
                <a:srgbClr val="FD7425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30697" y="3111472"/>
            <a:ext cx="3271952" cy="911041"/>
          </a:xfrm>
        </p:spPr>
        <p:txBody>
          <a:bodyPr lIns="0" tIns="0" rIns="0">
            <a:noAutofit/>
          </a:bodyPr>
          <a:lstStyle>
            <a:lvl1pPr marL="0" indent="0">
              <a:spcBef>
                <a:spcPts val="0"/>
              </a:spcBef>
              <a:spcAft>
                <a:spcPts val="1176"/>
              </a:spcAft>
              <a:buNone/>
              <a:defRPr sz="2157" b="0">
                <a:solidFill>
                  <a:schemeClr val="accent3"/>
                </a:solidFill>
                <a:latin typeface="+mj-lt"/>
              </a:defRPr>
            </a:lvl1pPr>
            <a:lvl2pPr marL="0" indent="0">
              <a:spcBef>
                <a:spcPts val="588"/>
              </a:spcBef>
              <a:buNone/>
              <a:defRPr sz="2157">
                <a:solidFill>
                  <a:schemeClr val="bg1"/>
                </a:solidFill>
              </a:defRPr>
            </a:lvl2pPr>
            <a:lvl3pPr marL="1088393" indent="0">
              <a:buNone/>
              <a:defRPr/>
            </a:lvl3pPr>
            <a:lvl4pPr marL="1632589" indent="0">
              <a:buNone/>
              <a:defRPr/>
            </a:lvl4pPr>
            <a:lvl5pPr marL="2176785" indent="0">
              <a:buNone/>
              <a:defRPr/>
            </a:lvl5pPr>
          </a:lstStyle>
          <a:p>
            <a:pPr lvl="0"/>
            <a:r>
              <a:rPr lang="en-US" dirty="0" smtClean="0"/>
              <a:t>Heading</a:t>
            </a:r>
          </a:p>
          <a:p>
            <a:pPr lvl="1"/>
            <a:r>
              <a:rPr lang="en-US" dirty="0" smtClean="0"/>
              <a:t>Tex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255DB77-E0AE-A349-8FAE-C666923B773F}" type="slidenum">
              <a:rPr lang="en-US" smtClean="0">
                <a:solidFill>
                  <a:srgbClr val="3F3F3F"/>
                </a:solidFill>
              </a:rPr>
              <a:pPr/>
              <a:t>‹#›</a:t>
            </a:fld>
            <a:endParaRPr lang="en-US" dirty="0">
              <a:solidFill>
                <a:srgbClr val="3F3F3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697" y="574892"/>
            <a:ext cx="3271951" cy="1466598"/>
          </a:xfrm>
          <a:noFill/>
        </p:spPr>
        <p:txBody>
          <a:bodyPr vert="horz" wrap="square" lIns="0" tIns="0" rIns="0" bIns="0" rtlCol="0" anchor="t">
            <a:noAutofit/>
          </a:bodyPr>
          <a:lstStyle>
            <a:lvl1pPr>
              <a:defRPr lang="en-US" sz="3921" dirty="0">
                <a:solidFill>
                  <a:schemeClr val="bg1"/>
                </a:solidFill>
                <a:latin typeface="Segoe UI Semibold"/>
                <a:ea typeface="+mn-ea"/>
                <a:cs typeface="Segoe UI Semibold"/>
              </a:defRPr>
            </a:lvl1pPr>
          </a:lstStyle>
          <a:p>
            <a:pPr marL="0"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 rot="5400000">
            <a:off x="-1380694" y="1380698"/>
            <a:ext cx="6858000" cy="409661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544196"/>
            <a:endParaRPr lang="en-US" sz="2157" dirty="0">
              <a:solidFill>
                <a:srgbClr val="FD742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69148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 with Graphics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12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 rot="5400000">
            <a:off x="-1380694" y="1380698"/>
            <a:ext cx="6858000" cy="409661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544196"/>
            <a:endParaRPr lang="en-US" sz="2157" dirty="0">
              <a:solidFill>
                <a:srgbClr val="FD7425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30697" y="3111472"/>
            <a:ext cx="3271952" cy="911041"/>
          </a:xfrm>
        </p:spPr>
        <p:txBody>
          <a:bodyPr lIns="0" tIns="0" rIns="0">
            <a:noAutofit/>
          </a:bodyPr>
          <a:lstStyle>
            <a:lvl1pPr marL="0" indent="0">
              <a:spcBef>
                <a:spcPts val="0"/>
              </a:spcBef>
              <a:spcAft>
                <a:spcPts val="1176"/>
              </a:spcAft>
              <a:buNone/>
              <a:defRPr sz="2157" b="0">
                <a:solidFill>
                  <a:schemeClr val="bg2"/>
                </a:solidFill>
                <a:latin typeface="+mj-lt"/>
              </a:defRPr>
            </a:lvl1pPr>
            <a:lvl2pPr marL="0" indent="0">
              <a:spcBef>
                <a:spcPts val="588"/>
              </a:spcBef>
              <a:buNone/>
              <a:defRPr sz="2157">
                <a:solidFill>
                  <a:schemeClr val="tx2"/>
                </a:solidFill>
              </a:defRPr>
            </a:lvl2pPr>
            <a:lvl3pPr marL="1088393" indent="0">
              <a:buNone/>
              <a:defRPr/>
            </a:lvl3pPr>
            <a:lvl4pPr marL="1632589" indent="0">
              <a:buNone/>
              <a:defRPr/>
            </a:lvl4pPr>
            <a:lvl5pPr marL="2176785" indent="0">
              <a:buNone/>
              <a:defRPr/>
            </a:lvl5pPr>
          </a:lstStyle>
          <a:p>
            <a:pPr lvl="0"/>
            <a:r>
              <a:rPr lang="en-US" dirty="0" smtClean="0"/>
              <a:t>Heading</a:t>
            </a:r>
          </a:p>
          <a:p>
            <a:pPr lvl="1"/>
            <a:r>
              <a:rPr lang="en-US" dirty="0" smtClean="0"/>
              <a:t>Tex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3F3F3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255DB77-E0AE-A349-8FAE-C666923B773F}" type="slidenum">
              <a:rPr lang="en-US" smtClean="0">
                <a:solidFill>
                  <a:srgbClr val="3F3F3F"/>
                </a:solidFill>
              </a:rPr>
              <a:pPr/>
              <a:t>‹#›</a:t>
            </a:fld>
            <a:endParaRPr lang="en-US" dirty="0">
              <a:solidFill>
                <a:srgbClr val="3F3F3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697" y="574892"/>
            <a:ext cx="3271951" cy="1466598"/>
          </a:xfrm>
          <a:noFill/>
        </p:spPr>
        <p:txBody>
          <a:bodyPr vert="horz" wrap="square" lIns="0" tIns="0" rIns="0" bIns="0" rtlCol="0" anchor="t">
            <a:noAutofit/>
          </a:bodyPr>
          <a:lstStyle>
            <a:lvl1pPr>
              <a:defRPr lang="en-US" sz="3921" dirty="0">
                <a:solidFill>
                  <a:schemeClr val="accent1"/>
                </a:solidFill>
                <a:latin typeface="Segoe UI Semibold"/>
                <a:ea typeface="+mn-ea"/>
                <a:cs typeface="Segoe UI Semibold"/>
              </a:defRPr>
            </a:lvl1pPr>
          </a:lstStyle>
          <a:p>
            <a:pPr marL="0"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 rot="5400000">
            <a:off x="-1380694" y="1380698"/>
            <a:ext cx="6858000" cy="409661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544196"/>
            <a:endParaRPr lang="en-US" sz="2157" dirty="0">
              <a:solidFill>
                <a:srgbClr val="FD742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44016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 with Graphics 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36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 rot="5400000">
            <a:off x="-1380694" y="1380698"/>
            <a:ext cx="6858000" cy="409661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544196"/>
            <a:endParaRPr lang="en-US" sz="2157" dirty="0">
              <a:solidFill>
                <a:srgbClr val="FD7425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30697" y="3111472"/>
            <a:ext cx="3271952" cy="911041"/>
          </a:xfrm>
        </p:spPr>
        <p:txBody>
          <a:bodyPr lIns="0" tIns="0" rIns="0">
            <a:noAutofit/>
          </a:bodyPr>
          <a:lstStyle>
            <a:lvl1pPr marL="0" indent="0">
              <a:spcBef>
                <a:spcPts val="0"/>
              </a:spcBef>
              <a:spcAft>
                <a:spcPts val="1176"/>
              </a:spcAft>
              <a:buNone/>
              <a:defRPr sz="2157" b="0">
                <a:solidFill>
                  <a:schemeClr val="accent3"/>
                </a:solidFill>
                <a:latin typeface="+mj-lt"/>
              </a:defRPr>
            </a:lvl1pPr>
            <a:lvl2pPr marL="0" indent="0">
              <a:spcBef>
                <a:spcPts val="588"/>
              </a:spcBef>
              <a:buNone/>
              <a:defRPr sz="2157">
                <a:solidFill>
                  <a:schemeClr val="bg1"/>
                </a:solidFill>
              </a:defRPr>
            </a:lvl2pPr>
            <a:lvl3pPr marL="1088393" indent="0">
              <a:buNone/>
              <a:defRPr/>
            </a:lvl3pPr>
            <a:lvl4pPr marL="1632589" indent="0">
              <a:buNone/>
              <a:defRPr/>
            </a:lvl4pPr>
            <a:lvl5pPr marL="2176785" indent="0">
              <a:buNone/>
              <a:defRPr/>
            </a:lvl5pPr>
          </a:lstStyle>
          <a:p>
            <a:pPr lvl="0"/>
            <a:r>
              <a:rPr lang="en-US" dirty="0" smtClean="0"/>
              <a:t>Heading</a:t>
            </a:r>
          </a:p>
          <a:p>
            <a:pPr lvl="1"/>
            <a:r>
              <a:rPr lang="en-US" dirty="0" smtClean="0"/>
              <a:t>Tex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30696" y="6356351"/>
            <a:ext cx="3271953" cy="365125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255DB77-E0AE-A349-8FAE-C666923B773F}" type="slidenum">
              <a:rPr lang="en-US" smtClean="0">
                <a:solidFill>
                  <a:srgbClr val="3F3F3F"/>
                </a:solidFill>
              </a:rPr>
              <a:pPr/>
              <a:t>‹#›</a:t>
            </a:fld>
            <a:endParaRPr lang="en-US" dirty="0">
              <a:solidFill>
                <a:srgbClr val="3F3F3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697" y="574892"/>
            <a:ext cx="3271951" cy="1466598"/>
          </a:xfrm>
          <a:noFill/>
        </p:spPr>
        <p:txBody>
          <a:bodyPr vert="horz" wrap="square" lIns="0" tIns="0" rIns="0" bIns="0" rtlCol="0" anchor="t">
            <a:noAutofit/>
          </a:bodyPr>
          <a:lstStyle>
            <a:lvl1pPr>
              <a:defRPr lang="en-US" sz="3921" dirty="0">
                <a:latin typeface="Segoe UI Semibold"/>
                <a:ea typeface="+mn-ea"/>
                <a:cs typeface="Segoe UI Semibold"/>
              </a:defRPr>
            </a:lvl1pPr>
          </a:lstStyle>
          <a:p>
            <a:pPr marL="0"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 rot="5400000">
            <a:off x="-1380694" y="1380698"/>
            <a:ext cx="6858000" cy="409661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544196"/>
            <a:endParaRPr lang="en-US" sz="2157" dirty="0">
              <a:solidFill>
                <a:srgbClr val="FD742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37338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60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63084" y="2747962"/>
            <a:ext cx="10363200" cy="1362075"/>
          </a:xfrm>
        </p:spPr>
        <p:txBody>
          <a:bodyPr anchor="ctr">
            <a:noAutofit/>
          </a:bodyPr>
          <a:lstStyle>
            <a:lvl1pPr algn="l">
              <a:defRPr sz="5294" b="0" cap="none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07127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_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84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63084" y="2747962"/>
            <a:ext cx="10363200" cy="1362075"/>
          </a:xfrm>
        </p:spPr>
        <p:txBody>
          <a:bodyPr anchor="ctr">
            <a:noAutofit/>
          </a:bodyPr>
          <a:lstStyle>
            <a:lvl1pPr algn="l">
              <a:defRPr sz="5294" b="0" cap="none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05751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8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228" y="354081"/>
            <a:ext cx="11131076" cy="76347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55DB77-E0AE-A349-8FAE-C666923B773F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139778"/>
      </p:ext>
    </p:extLst>
  </p:cSld>
  <p:clrMapOvr>
    <a:masterClrMapping/>
  </p:clrMapOvr>
  <p:transition spd="slow">
    <p:wipe dir="r"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32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30696" y="1975216"/>
            <a:ext cx="11130608" cy="3242218"/>
          </a:xfrm>
        </p:spPr>
        <p:txBody>
          <a:bodyPr/>
          <a:lstStyle>
            <a:lvl1pPr marL="0" indent="0">
              <a:spcBef>
                <a:spcPts val="588"/>
              </a:spcBef>
              <a:buNone/>
              <a:defRPr sz="1961" b="0">
                <a:solidFill>
                  <a:schemeClr val="tx1"/>
                </a:solidFill>
                <a:latin typeface="Segoe UI Semibold" panose="020B0702040204020203" pitchFamily="34" charset="0"/>
              </a:defRPr>
            </a:lvl1pPr>
            <a:lvl2pPr marL="336145" marR="0" indent="-224097" algn="l" defTabSz="544196" rtl="0" eaLnBrk="1" fontAlgn="auto" latinLnBrk="0" hangingPunct="1">
              <a:lnSpc>
                <a:spcPct val="100000"/>
              </a:lnSpc>
              <a:spcBef>
                <a:spcPts val="294"/>
              </a:spcBef>
              <a:spcAft>
                <a:spcPts val="294"/>
              </a:spcAft>
              <a:buClrTx/>
              <a:buSzTx/>
              <a:buFont typeface="Arial" panose="020B0604020202020204" pitchFamily="34" charset="0"/>
              <a:buChar char="•"/>
              <a:tabLst/>
              <a:defRPr sz="1765">
                <a:solidFill>
                  <a:schemeClr val="tx1"/>
                </a:solidFill>
              </a:defRPr>
            </a:lvl2pPr>
            <a:lvl3pPr marL="1088393" indent="0">
              <a:buNone/>
              <a:defRPr>
                <a:solidFill>
                  <a:schemeClr val="accent4"/>
                </a:solidFill>
              </a:defRPr>
            </a:lvl3pPr>
            <a:lvl4pPr marL="1632589" indent="0">
              <a:buNone/>
              <a:defRPr>
                <a:solidFill>
                  <a:schemeClr val="accent4"/>
                </a:solidFill>
              </a:defRPr>
            </a:lvl4pPr>
            <a:lvl5pPr marL="2176785" indent="0">
              <a:buNone/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dirty="0" smtClean="0"/>
              <a:t>Header</a:t>
            </a:r>
          </a:p>
          <a:p>
            <a:pPr lvl="1"/>
            <a:r>
              <a:rPr lang="en-US" dirty="0" smtClean="0"/>
              <a:t>Place holder for text</a:t>
            </a:r>
          </a:p>
          <a:p>
            <a:pPr marL="336145" marR="0" lvl="1" indent="-224097" algn="l" defTabSz="544196" rtl="0" eaLnBrk="1" fontAlgn="auto" latinLnBrk="0" hangingPunct="1">
              <a:lnSpc>
                <a:spcPct val="100000"/>
              </a:lnSpc>
              <a:spcBef>
                <a:spcPts val="294"/>
              </a:spcBef>
              <a:spcAft>
                <a:spcPts val="294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 smtClean="0"/>
              <a:t>Place holder for text</a:t>
            </a:r>
          </a:p>
          <a:p>
            <a:pPr marL="336145" marR="0" lvl="1" indent="-224097" algn="l" defTabSz="544196" rtl="0" eaLnBrk="1" fontAlgn="auto" latinLnBrk="0" hangingPunct="1">
              <a:lnSpc>
                <a:spcPct val="100000"/>
              </a:lnSpc>
              <a:spcBef>
                <a:spcPts val="294"/>
              </a:spcBef>
              <a:spcAft>
                <a:spcPts val="294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 smtClean="0"/>
              <a:t>Place holder for tex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255DB77-E0AE-A349-8FAE-C666923B773F}" type="slidenum">
              <a:rPr lang="en-US" smtClean="0">
                <a:solidFill>
                  <a:srgbClr val="3F3F3F"/>
                </a:solidFill>
              </a:rPr>
              <a:pPr/>
              <a:t>‹#›</a:t>
            </a:fld>
            <a:endParaRPr lang="en-US" dirty="0">
              <a:solidFill>
                <a:srgbClr val="3F3F3F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30228" y="469023"/>
            <a:ext cx="11131076" cy="763475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551923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Soli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9241" y="2100816"/>
            <a:ext cx="11007660" cy="879910"/>
          </a:xfrm>
        </p:spPr>
        <p:txBody>
          <a:bodyPr/>
          <a:lstStyle>
            <a:lvl1pPr>
              <a:defRPr sz="5885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9306" y="3778473"/>
            <a:ext cx="8534710" cy="816265"/>
          </a:xfrm>
        </p:spPr>
        <p:txBody>
          <a:bodyPr/>
          <a:lstStyle>
            <a:lvl1pPr marL="0" indent="0" algn="l">
              <a:lnSpc>
                <a:spcPts val="2645"/>
              </a:lnSpc>
              <a:buNone/>
              <a:defRPr sz="2155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j-lt"/>
              </a:defRPr>
            </a:lvl1pPr>
            <a:lvl2pPr marL="448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5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8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30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1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6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61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Speaker Name</a:t>
            </a:r>
            <a:br>
              <a:rPr lang="en-US" smtClean="0"/>
            </a:br>
            <a:r>
              <a:rPr lang="en-US" smtClean="0"/>
              <a:t>Dat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43" y="3050958"/>
            <a:ext cx="11051235" cy="535255"/>
          </a:xfrm>
        </p:spPr>
        <p:txBody>
          <a:bodyPr anchor="ctr"/>
          <a:lstStyle>
            <a:lvl1pPr marL="0" indent="0">
              <a:lnSpc>
                <a:spcPts val="4120"/>
              </a:lnSpc>
              <a:spcBef>
                <a:spcPts val="0"/>
              </a:spcBef>
              <a:buNone/>
              <a:defRPr sz="2600" b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j-lt"/>
              </a:defRPr>
            </a:lvl1pPr>
            <a:lvl2pPr marL="0" indent="0">
              <a:buNone/>
              <a:defRPr sz="3430" b="0">
                <a:solidFill>
                  <a:schemeClr val="bg1"/>
                </a:solidFill>
                <a:latin typeface="+mj-lt"/>
              </a:defRPr>
            </a:lvl2pPr>
            <a:lvl3pPr marL="0" indent="0">
              <a:buNone/>
              <a:defRPr sz="3430" b="0">
                <a:solidFill>
                  <a:schemeClr val="bg1"/>
                </a:solidFill>
                <a:latin typeface="+mj-lt"/>
              </a:defRPr>
            </a:lvl3pPr>
            <a:lvl4pPr marL="0" indent="0">
              <a:buNone/>
              <a:defRPr sz="3430" b="0">
                <a:solidFill>
                  <a:schemeClr val="bg1"/>
                </a:solidFill>
                <a:latin typeface="+mj-lt"/>
              </a:defRPr>
            </a:lvl4pPr>
            <a:lvl5pPr marL="0" indent="0">
              <a:buNone/>
              <a:defRPr sz="3430" b="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18134955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80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816503" y="6356351"/>
            <a:ext cx="2844800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255DB77-E0AE-A349-8FAE-C666923B773F}" type="slidenum">
              <a:rPr lang="en-US" smtClean="0">
                <a:solidFill>
                  <a:srgbClr val="3F3F3F"/>
                </a:solidFill>
              </a:rPr>
              <a:pPr/>
              <a:t>‹#›</a:t>
            </a:fld>
            <a:endParaRPr lang="en-US" dirty="0">
              <a:solidFill>
                <a:srgbClr val="3F3F3F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30695" y="6356351"/>
            <a:ext cx="3271951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3F3F3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51093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9103D2-72A0-4C12-A232-58991DCA312B}" type="datetimeFigureOut">
              <a:rPr lang="en-US" smtClean="0"/>
              <a:t>12/17/201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E84F3A-632D-4576-8FBC-69BA2D0B9C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491250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Column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04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679323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>
                <a:gradFill>
                  <a:gsLst>
                    <a:gs pos="5109">
                      <a:schemeClr val="tx2"/>
                    </a:gs>
                    <a:gs pos="25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679323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037841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ox with Graphics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28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 rot="5400000">
            <a:off x="-1380694" y="1380698"/>
            <a:ext cx="6858000" cy="4096610"/>
          </a:xfrm>
          <a:prstGeom prst="rect">
            <a:avLst/>
          </a:prstGeom>
          <a:solidFill>
            <a:srgbClr val="0018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544196"/>
            <a:endParaRPr lang="en-US" sz="2157" dirty="0">
              <a:solidFill>
                <a:srgbClr val="FD7425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30697" y="3111472"/>
            <a:ext cx="3271952" cy="911041"/>
          </a:xfrm>
        </p:spPr>
        <p:txBody>
          <a:bodyPr lIns="0" tIns="0" rIns="0">
            <a:noAutofit/>
          </a:bodyPr>
          <a:lstStyle>
            <a:lvl1pPr marL="0" indent="0">
              <a:spcBef>
                <a:spcPts val="0"/>
              </a:spcBef>
              <a:spcAft>
                <a:spcPts val="1176"/>
              </a:spcAft>
              <a:buNone/>
              <a:defRPr sz="2157" b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588"/>
              </a:spcBef>
              <a:buNone/>
              <a:defRPr sz="2157">
                <a:solidFill>
                  <a:schemeClr val="bg1"/>
                </a:solidFill>
              </a:defRPr>
            </a:lvl2pPr>
            <a:lvl3pPr marL="1088393" indent="0">
              <a:buNone/>
              <a:defRPr/>
            </a:lvl3pPr>
            <a:lvl4pPr marL="1632589" indent="0">
              <a:buNone/>
              <a:defRPr/>
            </a:lvl4pPr>
            <a:lvl5pPr marL="2176785" indent="0">
              <a:buNone/>
              <a:defRPr/>
            </a:lvl5pPr>
          </a:lstStyle>
          <a:p>
            <a:pPr lvl="0"/>
            <a:r>
              <a:rPr lang="en-US" dirty="0" smtClean="0"/>
              <a:t>Heading</a:t>
            </a:r>
          </a:p>
          <a:p>
            <a:pPr lvl="1"/>
            <a:r>
              <a:rPr lang="en-US" dirty="0" smtClean="0"/>
              <a:t>Tex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255DB77-E0AE-A349-8FAE-C666923B773F}" type="slidenum">
              <a:rPr lang="en-US" smtClean="0">
                <a:solidFill>
                  <a:srgbClr val="3F3F3F"/>
                </a:solidFill>
              </a:rPr>
              <a:pPr/>
              <a:t>‹#›</a:t>
            </a:fld>
            <a:endParaRPr lang="en-US" dirty="0">
              <a:solidFill>
                <a:srgbClr val="3F3F3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697" y="574892"/>
            <a:ext cx="3271951" cy="1466598"/>
          </a:xfrm>
          <a:noFill/>
        </p:spPr>
        <p:txBody>
          <a:bodyPr vert="horz" wrap="square" lIns="0" tIns="0" rIns="0" bIns="0" rtlCol="0" anchor="t">
            <a:noAutofit/>
          </a:bodyPr>
          <a:lstStyle>
            <a:lvl1pPr>
              <a:defRPr lang="en-US" sz="3921" dirty="0">
                <a:solidFill>
                  <a:schemeClr val="bg1"/>
                </a:solidFill>
                <a:latin typeface="Segoe UI Semibold"/>
                <a:ea typeface="+mn-ea"/>
                <a:cs typeface="Segoe UI Semibold"/>
              </a:defRPr>
            </a:lvl1pPr>
          </a:lstStyle>
          <a:p>
            <a:pPr marL="0" lvl="0"/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52473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52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30696" y="1559755"/>
            <a:ext cx="11130608" cy="3657680"/>
          </a:xfrm>
        </p:spPr>
        <p:txBody>
          <a:bodyPr/>
          <a:lstStyle>
            <a:lvl1pPr marL="0" indent="0">
              <a:spcBef>
                <a:spcPts val="588"/>
              </a:spcBef>
              <a:buNone/>
              <a:defRPr sz="2353" b="0">
                <a:solidFill>
                  <a:schemeClr val="accent1"/>
                </a:solidFill>
                <a:latin typeface="Segoe UI Semibold" panose="020B0702040204020203" pitchFamily="34" charset="0"/>
              </a:defRPr>
            </a:lvl1pPr>
            <a:lvl2pPr marL="336145" marR="0" indent="-224097" algn="l" defTabSz="544196" rtl="0" eaLnBrk="1" fontAlgn="auto" latinLnBrk="0" hangingPunct="1">
              <a:lnSpc>
                <a:spcPct val="100000"/>
              </a:lnSpc>
              <a:spcBef>
                <a:spcPts val="294"/>
              </a:spcBef>
              <a:spcAft>
                <a:spcPts val="294"/>
              </a:spcAft>
              <a:buClrTx/>
              <a:buSzTx/>
              <a:buFont typeface="Arial" panose="020B0604020202020204" pitchFamily="34" charset="0"/>
              <a:buChar char="•"/>
              <a:tabLst/>
              <a:defRPr sz="2745">
                <a:solidFill>
                  <a:schemeClr val="accent1"/>
                </a:solidFill>
              </a:defRPr>
            </a:lvl2pPr>
            <a:lvl3pPr marL="1088393" indent="0">
              <a:buNone/>
              <a:defRPr>
                <a:solidFill>
                  <a:schemeClr val="accent4"/>
                </a:solidFill>
              </a:defRPr>
            </a:lvl3pPr>
            <a:lvl4pPr marL="1632589" indent="0">
              <a:buNone/>
              <a:defRPr>
                <a:solidFill>
                  <a:schemeClr val="accent4"/>
                </a:solidFill>
              </a:defRPr>
            </a:lvl4pPr>
            <a:lvl5pPr marL="2176785" indent="0">
              <a:buNone/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dirty="0" smtClean="0"/>
              <a:t>Header</a:t>
            </a:r>
          </a:p>
          <a:p>
            <a:pPr lvl="1"/>
            <a:r>
              <a:rPr lang="en-US" dirty="0" smtClean="0"/>
              <a:t>Place holder for text</a:t>
            </a:r>
          </a:p>
          <a:p>
            <a:pPr marL="336145" marR="0" lvl="1" indent="-224097" algn="l" defTabSz="544196" rtl="0" eaLnBrk="1" fontAlgn="auto" latinLnBrk="0" hangingPunct="1">
              <a:lnSpc>
                <a:spcPct val="100000"/>
              </a:lnSpc>
              <a:spcBef>
                <a:spcPts val="294"/>
              </a:spcBef>
              <a:spcAft>
                <a:spcPts val="294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 smtClean="0"/>
              <a:t>Place holder for text</a:t>
            </a:r>
          </a:p>
          <a:p>
            <a:pPr marL="336145" marR="0" lvl="1" indent="-224097" algn="l" defTabSz="544196" rtl="0" eaLnBrk="1" fontAlgn="auto" latinLnBrk="0" hangingPunct="1">
              <a:lnSpc>
                <a:spcPct val="100000"/>
              </a:lnSpc>
              <a:spcBef>
                <a:spcPts val="294"/>
              </a:spcBef>
              <a:spcAft>
                <a:spcPts val="294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 smtClean="0"/>
              <a:t>Place holder for tex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3F3F3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255DB77-E0AE-A349-8FAE-C666923B773F}" type="slidenum">
              <a:rPr lang="en-US" smtClean="0">
                <a:solidFill>
                  <a:srgbClr val="3F3F3F"/>
                </a:solidFill>
              </a:rPr>
              <a:pPr/>
              <a:t>‹#›</a:t>
            </a:fld>
            <a:endParaRPr lang="en-US" dirty="0">
              <a:solidFill>
                <a:srgbClr val="3F3F3F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30228" y="467572"/>
            <a:ext cx="11131076" cy="732448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38554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76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255DB77-E0AE-A349-8FAE-C666923B773F}" type="slidenum">
              <a:rPr lang="en-US" smtClean="0">
                <a:solidFill>
                  <a:srgbClr val="3F3F3F"/>
                </a:solidFill>
              </a:rPr>
              <a:pPr/>
              <a:t>‹#›</a:t>
            </a:fld>
            <a:endParaRPr lang="en-US" dirty="0">
              <a:solidFill>
                <a:srgbClr val="3F3F3F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30228" y="469023"/>
            <a:ext cx="11131076" cy="732448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30695" y="6356351"/>
            <a:ext cx="3271951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3F3F3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68165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_oran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00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0696" y="1559754"/>
            <a:ext cx="11130608" cy="3245518"/>
          </a:xfrm>
          <a:noFill/>
        </p:spPr>
        <p:txBody>
          <a:bodyPr/>
          <a:lstStyle>
            <a:lvl1pPr marL="0" indent="0">
              <a:spcBef>
                <a:spcPts val="588"/>
              </a:spcBef>
              <a:buFont typeface="Arial" panose="020B0604020202020204" pitchFamily="34" charset="0"/>
              <a:buNone/>
              <a:defRPr sz="2157">
                <a:solidFill>
                  <a:schemeClr val="bg1"/>
                </a:solidFill>
                <a:latin typeface="Segoe UI Semibold" panose="020B0702040204020203" pitchFamily="34" charset="0"/>
              </a:defRPr>
            </a:lvl1pPr>
            <a:lvl2pPr marL="336145" marR="0" indent="-224097" algn="l" defTabSz="544196" rtl="0" eaLnBrk="1" fontAlgn="auto" latinLnBrk="0" hangingPunct="1">
              <a:lnSpc>
                <a:spcPct val="100000"/>
              </a:lnSpc>
              <a:spcBef>
                <a:spcPts val="294"/>
              </a:spcBef>
              <a:spcAft>
                <a:spcPts val="294"/>
              </a:spcAft>
              <a:buClrTx/>
              <a:buSzTx/>
              <a:buFont typeface="Arial" panose="020B0604020202020204" pitchFamily="34" charset="0"/>
              <a:buChar char="•"/>
              <a:tabLst/>
              <a:defRPr sz="1765">
                <a:solidFill>
                  <a:schemeClr val="bg1"/>
                </a:solidFill>
              </a:defRPr>
            </a:lvl2pPr>
            <a:lvl3pPr marL="1088393" indent="0">
              <a:buNone/>
              <a:defRPr>
                <a:solidFill>
                  <a:schemeClr val="bg1"/>
                </a:solidFill>
              </a:defRPr>
            </a:lvl3pPr>
            <a:lvl4pPr marL="1632589" indent="0">
              <a:buNone/>
              <a:defRPr>
                <a:solidFill>
                  <a:schemeClr val="bg1"/>
                </a:solidFill>
              </a:defRPr>
            </a:lvl4pPr>
            <a:lvl5pPr marL="2176785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Header</a:t>
            </a:r>
          </a:p>
          <a:p>
            <a:pPr lvl="1"/>
            <a:r>
              <a:rPr lang="en-US" dirty="0" smtClean="0"/>
              <a:t>Place holder for text</a:t>
            </a:r>
          </a:p>
          <a:p>
            <a:pPr marL="340814" marR="0" lvl="1" indent="-228766" algn="l" defTabSz="544196" rtl="0" eaLnBrk="1" fontAlgn="auto" latinLnBrk="0" hangingPunct="1">
              <a:lnSpc>
                <a:spcPct val="100000"/>
              </a:lnSpc>
              <a:spcBef>
                <a:spcPts val="294"/>
              </a:spcBef>
              <a:spcAft>
                <a:spcPts val="294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 smtClean="0"/>
              <a:t>Place holder for text</a:t>
            </a:r>
          </a:p>
          <a:p>
            <a:pPr marL="340814" marR="0" lvl="1" indent="-228766" algn="l" defTabSz="544196" rtl="0" eaLnBrk="1" fontAlgn="auto" latinLnBrk="0" hangingPunct="1">
              <a:lnSpc>
                <a:spcPct val="100000"/>
              </a:lnSpc>
              <a:spcBef>
                <a:spcPts val="294"/>
              </a:spcBef>
              <a:spcAft>
                <a:spcPts val="294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 smtClean="0"/>
              <a:t>Place holder for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55DB77-E0AE-A349-8FAE-C666923B773F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08864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ox with Graphics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24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 rot="5400000">
            <a:off x="-1380694" y="1380698"/>
            <a:ext cx="6858000" cy="409661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544196"/>
            <a:endParaRPr lang="en-US" sz="2157" dirty="0">
              <a:solidFill>
                <a:srgbClr val="FD7425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30697" y="3111472"/>
            <a:ext cx="3271952" cy="911041"/>
          </a:xfrm>
        </p:spPr>
        <p:txBody>
          <a:bodyPr lIns="0" tIns="0" rIns="0">
            <a:noAutofit/>
          </a:bodyPr>
          <a:lstStyle>
            <a:lvl1pPr marL="0" indent="0">
              <a:spcBef>
                <a:spcPts val="0"/>
              </a:spcBef>
              <a:spcAft>
                <a:spcPts val="1176"/>
              </a:spcAft>
              <a:buNone/>
              <a:defRPr sz="2157" b="0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588"/>
              </a:spcBef>
              <a:buNone/>
              <a:defRPr sz="2157">
                <a:solidFill>
                  <a:schemeClr val="bg1"/>
                </a:solidFill>
              </a:defRPr>
            </a:lvl2pPr>
            <a:lvl3pPr marL="1088393" indent="0">
              <a:buNone/>
              <a:defRPr/>
            </a:lvl3pPr>
            <a:lvl4pPr marL="1632589" indent="0">
              <a:buNone/>
              <a:defRPr/>
            </a:lvl4pPr>
            <a:lvl5pPr marL="2176785" indent="0">
              <a:buNone/>
              <a:defRPr/>
            </a:lvl5pPr>
          </a:lstStyle>
          <a:p>
            <a:pPr lvl="0"/>
            <a:r>
              <a:rPr lang="en-US" dirty="0" smtClean="0"/>
              <a:t>Heading</a:t>
            </a:r>
          </a:p>
          <a:p>
            <a:pPr lvl="1"/>
            <a:r>
              <a:rPr lang="en-US" dirty="0" smtClean="0"/>
              <a:t>Tex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255DB77-E0AE-A349-8FAE-C666923B773F}" type="slidenum">
              <a:rPr lang="en-US" smtClean="0">
                <a:solidFill>
                  <a:srgbClr val="3F3F3F"/>
                </a:solidFill>
              </a:rPr>
              <a:pPr/>
              <a:t>‹#›</a:t>
            </a:fld>
            <a:endParaRPr lang="en-US" dirty="0">
              <a:solidFill>
                <a:srgbClr val="3F3F3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697" y="574892"/>
            <a:ext cx="3271951" cy="1466598"/>
          </a:xfrm>
          <a:noFill/>
        </p:spPr>
        <p:txBody>
          <a:bodyPr vert="horz" wrap="square" lIns="0" tIns="0" rIns="0" bIns="0" rtlCol="0" anchor="t">
            <a:noAutofit/>
          </a:bodyPr>
          <a:lstStyle>
            <a:lvl1pPr>
              <a:defRPr lang="en-US" sz="3921" dirty="0">
                <a:solidFill>
                  <a:schemeClr val="bg1"/>
                </a:solidFill>
                <a:latin typeface="Segoe UI Semibold"/>
                <a:ea typeface="+mn-ea"/>
                <a:cs typeface="Segoe UI Semibold"/>
              </a:defRPr>
            </a:lvl1pPr>
          </a:lstStyle>
          <a:p>
            <a:pPr marL="0" lvl="0"/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38032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ox with Graphics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8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 rot="5400000">
            <a:off x="-1380694" y="1380698"/>
            <a:ext cx="6858000" cy="409661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544196"/>
            <a:endParaRPr lang="en-US" sz="2157" dirty="0">
              <a:solidFill>
                <a:srgbClr val="FD7425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30697" y="3111472"/>
            <a:ext cx="3271952" cy="911041"/>
          </a:xfrm>
        </p:spPr>
        <p:txBody>
          <a:bodyPr lIns="0" tIns="0" rIns="0">
            <a:noAutofit/>
          </a:bodyPr>
          <a:lstStyle>
            <a:lvl1pPr marL="0" indent="0">
              <a:spcBef>
                <a:spcPts val="0"/>
              </a:spcBef>
              <a:spcAft>
                <a:spcPts val="1176"/>
              </a:spcAft>
              <a:buNone/>
              <a:defRPr sz="2157" b="0">
                <a:solidFill>
                  <a:schemeClr val="accent2"/>
                </a:solidFill>
                <a:latin typeface="+mj-lt"/>
              </a:defRPr>
            </a:lvl1pPr>
            <a:lvl2pPr marL="0" indent="0">
              <a:spcBef>
                <a:spcPts val="588"/>
              </a:spcBef>
              <a:buNone/>
              <a:defRPr sz="2157">
                <a:solidFill>
                  <a:schemeClr val="bg1"/>
                </a:solidFill>
              </a:defRPr>
            </a:lvl2pPr>
            <a:lvl3pPr marL="1088393" indent="0">
              <a:buNone/>
              <a:defRPr/>
            </a:lvl3pPr>
            <a:lvl4pPr marL="1632589" indent="0">
              <a:buNone/>
              <a:defRPr/>
            </a:lvl4pPr>
            <a:lvl5pPr marL="2176785" indent="0">
              <a:buNone/>
              <a:defRPr/>
            </a:lvl5pPr>
          </a:lstStyle>
          <a:p>
            <a:pPr lvl="0"/>
            <a:r>
              <a:rPr lang="en-US" dirty="0" smtClean="0"/>
              <a:t>Heading</a:t>
            </a:r>
          </a:p>
          <a:p>
            <a:pPr lvl="1"/>
            <a:r>
              <a:rPr lang="en-US" dirty="0" smtClean="0"/>
              <a:t>Tex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255DB77-E0AE-A349-8FAE-C666923B773F}" type="slidenum">
              <a:rPr lang="en-US" smtClean="0">
                <a:solidFill>
                  <a:srgbClr val="3F3F3F"/>
                </a:solidFill>
              </a:rPr>
              <a:pPr/>
              <a:t>‹#›</a:t>
            </a:fld>
            <a:endParaRPr lang="en-US" dirty="0">
              <a:solidFill>
                <a:srgbClr val="3F3F3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697" y="574892"/>
            <a:ext cx="3271951" cy="1466598"/>
          </a:xfrm>
          <a:noFill/>
        </p:spPr>
        <p:txBody>
          <a:bodyPr wrap="square" lIns="0" tIns="0" rIns="0" bIns="0" rtlCol="0" anchor="t">
            <a:noAutofit/>
          </a:bodyPr>
          <a:lstStyle>
            <a:lvl1pPr>
              <a:defRPr lang="en-US" sz="3921" spc="-157" baseline="0" dirty="0">
                <a:solidFill>
                  <a:schemeClr val="bg1"/>
                </a:solidFill>
                <a:latin typeface="Segoe UI Semibold"/>
                <a:ea typeface="+mn-ea"/>
                <a:cs typeface="Segoe UI Semibold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00885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ox with Graphics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72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 rot="5400000">
            <a:off x="-1380694" y="1380698"/>
            <a:ext cx="6858000" cy="409661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544196"/>
            <a:endParaRPr lang="en-US" sz="2157" dirty="0">
              <a:solidFill>
                <a:srgbClr val="FD7425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30697" y="3111472"/>
            <a:ext cx="3271952" cy="911041"/>
          </a:xfrm>
        </p:spPr>
        <p:txBody>
          <a:bodyPr lIns="0" tIns="0" rIns="0">
            <a:noAutofit/>
          </a:bodyPr>
          <a:lstStyle>
            <a:lvl1pPr marL="0" indent="0">
              <a:spcBef>
                <a:spcPts val="0"/>
              </a:spcBef>
              <a:spcAft>
                <a:spcPts val="1176"/>
              </a:spcAft>
              <a:buNone/>
              <a:defRPr sz="2157" b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588"/>
              </a:spcBef>
              <a:buNone/>
              <a:defRPr sz="2157">
                <a:solidFill>
                  <a:schemeClr val="bg1"/>
                </a:solidFill>
              </a:defRPr>
            </a:lvl2pPr>
            <a:lvl3pPr marL="1088393" indent="0">
              <a:buNone/>
              <a:defRPr/>
            </a:lvl3pPr>
            <a:lvl4pPr marL="1632589" indent="0">
              <a:buNone/>
              <a:defRPr/>
            </a:lvl4pPr>
            <a:lvl5pPr marL="2176785" indent="0">
              <a:buNone/>
              <a:defRPr/>
            </a:lvl5pPr>
          </a:lstStyle>
          <a:p>
            <a:pPr lvl="0"/>
            <a:r>
              <a:rPr lang="en-US" dirty="0" smtClean="0"/>
              <a:t>Heading</a:t>
            </a:r>
          </a:p>
          <a:p>
            <a:pPr lvl="1"/>
            <a:r>
              <a:rPr lang="en-US" dirty="0" smtClean="0"/>
              <a:t>Tex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255DB77-E0AE-A349-8FAE-C666923B773F}" type="slidenum">
              <a:rPr lang="en-US" smtClean="0">
                <a:solidFill>
                  <a:srgbClr val="3F3F3F"/>
                </a:solidFill>
              </a:rPr>
              <a:pPr/>
              <a:t>‹#›</a:t>
            </a:fld>
            <a:endParaRPr lang="en-US" dirty="0">
              <a:solidFill>
                <a:srgbClr val="3F3F3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697" y="574892"/>
            <a:ext cx="3271951" cy="1466598"/>
          </a:xfrm>
          <a:noFill/>
        </p:spPr>
        <p:txBody>
          <a:bodyPr wrap="square" lIns="0" tIns="0" rIns="0" bIns="0" rtlCol="0" anchor="t">
            <a:noAutofit/>
          </a:bodyPr>
          <a:lstStyle>
            <a:lvl1pPr>
              <a:defRPr lang="en-US" sz="3921" spc="-157" baseline="0" dirty="0">
                <a:solidFill>
                  <a:schemeClr val="bg1"/>
                </a:solidFill>
                <a:latin typeface="Segoe UI Semibold"/>
                <a:ea typeface="+mn-ea"/>
                <a:cs typeface="Segoe UI Semibold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41818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ox with Graphics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96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 rot="5400000">
            <a:off x="-1380694" y="1380698"/>
            <a:ext cx="6858000" cy="409661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544196"/>
            <a:endParaRPr lang="en-US" sz="2157" dirty="0">
              <a:solidFill>
                <a:srgbClr val="FD7425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30697" y="3111472"/>
            <a:ext cx="3271952" cy="911041"/>
          </a:xfrm>
        </p:spPr>
        <p:txBody>
          <a:bodyPr lIns="0" tIns="0" rIns="0">
            <a:noAutofit/>
          </a:bodyPr>
          <a:lstStyle>
            <a:lvl1pPr marL="0" indent="0">
              <a:spcBef>
                <a:spcPts val="0"/>
              </a:spcBef>
              <a:spcAft>
                <a:spcPts val="1176"/>
              </a:spcAft>
              <a:buNone/>
              <a:defRPr sz="2157" b="0">
                <a:solidFill>
                  <a:schemeClr val="accent3"/>
                </a:solidFill>
                <a:latin typeface="+mj-lt"/>
              </a:defRPr>
            </a:lvl1pPr>
            <a:lvl2pPr marL="0" indent="0">
              <a:spcBef>
                <a:spcPts val="588"/>
              </a:spcBef>
              <a:buNone/>
              <a:defRPr sz="2157">
                <a:solidFill>
                  <a:schemeClr val="bg1"/>
                </a:solidFill>
              </a:defRPr>
            </a:lvl2pPr>
            <a:lvl3pPr marL="1088393" indent="0">
              <a:buNone/>
              <a:defRPr/>
            </a:lvl3pPr>
            <a:lvl4pPr marL="1632589" indent="0">
              <a:buNone/>
              <a:defRPr/>
            </a:lvl4pPr>
            <a:lvl5pPr marL="2176785" indent="0">
              <a:buNone/>
              <a:defRPr/>
            </a:lvl5pPr>
          </a:lstStyle>
          <a:p>
            <a:pPr lvl="0"/>
            <a:r>
              <a:rPr lang="en-US" dirty="0" smtClean="0"/>
              <a:t>Heading</a:t>
            </a:r>
          </a:p>
          <a:p>
            <a:pPr lvl="1"/>
            <a:r>
              <a:rPr lang="en-US" dirty="0" smtClean="0"/>
              <a:t>Tex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255DB77-E0AE-A349-8FAE-C666923B773F}" type="slidenum">
              <a:rPr lang="en-US" smtClean="0">
                <a:solidFill>
                  <a:srgbClr val="3F3F3F"/>
                </a:solidFill>
              </a:rPr>
              <a:pPr/>
              <a:t>‹#›</a:t>
            </a:fld>
            <a:endParaRPr lang="en-US" dirty="0">
              <a:solidFill>
                <a:srgbClr val="3F3F3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697" y="574892"/>
            <a:ext cx="3271951" cy="1466598"/>
          </a:xfrm>
          <a:noFill/>
        </p:spPr>
        <p:txBody>
          <a:bodyPr vert="horz" wrap="square" lIns="0" tIns="0" rIns="0" bIns="0" rtlCol="0" anchor="t">
            <a:noAutofit/>
          </a:bodyPr>
          <a:lstStyle>
            <a:lvl1pPr>
              <a:defRPr lang="en-US" sz="3921" dirty="0">
                <a:solidFill>
                  <a:schemeClr val="bg1"/>
                </a:solidFill>
                <a:latin typeface="Segoe UI Semibold"/>
                <a:ea typeface="+mn-ea"/>
                <a:cs typeface="Segoe UI Semibold"/>
              </a:defRPr>
            </a:lvl1pPr>
          </a:lstStyle>
          <a:p>
            <a:pPr marL="0" lvl="0"/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92984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ox with Graphics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20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 rot="5400000">
            <a:off x="-1380694" y="1380698"/>
            <a:ext cx="6858000" cy="409661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544196"/>
            <a:endParaRPr lang="en-US" sz="2157" dirty="0">
              <a:solidFill>
                <a:srgbClr val="FD7425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30697" y="3111472"/>
            <a:ext cx="3271952" cy="911041"/>
          </a:xfrm>
        </p:spPr>
        <p:txBody>
          <a:bodyPr lIns="0" tIns="0" rIns="0">
            <a:noAutofit/>
          </a:bodyPr>
          <a:lstStyle>
            <a:lvl1pPr marL="0" indent="0">
              <a:spcBef>
                <a:spcPts val="0"/>
              </a:spcBef>
              <a:spcAft>
                <a:spcPts val="1176"/>
              </a:spcAft>
              <a:buNone/>
              <a:defRPr sz="2157" b="0">
                <a:solidFill>
                  <a:schemeClr val="bg2"/>
                </a:solidFill>
                <a:latin typeface="+mj-lt"/>
              </a:defRPr>
            </a:lvl1pPr>
            <a:lvl2pPr marL="0" indent="0">
              <a:spcBef>
                <a:spcPts val="588"/>
              </a:spcBef>
              <a:buNone/>
              <a:defRPr sz="2157">
                <a:solidFill>
                  <a:schemeClr val="tx2"/>
                </a:solidFill>
              </a:defRPr>
            </a:lvl2pPr>
            <a:lvl3pPr marL="1088393" indent="0">
              <a:buNone/>
              <a:defRPr/>
            </a:lvl3pPr>
            <a:lvl4pPr marL="1632589" indent="0">
              <a:buNone/>
              <a:defRPr/>
            </a:lvl4pPr>
            <a:lvl5pPr marL="2176785" indent="0">
              <a:buNone/>
              <a:defRPr/>
            </a:lvl5pPr>
          </a:lstStyle>
          <a:p>
            <a:pPr lvl="0"/>
            <a:r>
              <a:rPr lang="en-US" dirty="0" smtClean="0"/>
              <a:t>Heading</a:t>
            </a:r>
          </a:p>
          <a:p>
            <a:pPr lvl="1"/>
            <a:r>
              <a:rPr lang="en-US" dirty="0" smtClean="0"/>
              <a:t>Tex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3F3F3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255DB77-E0AE-A349-8FAE-C666923B773F}" type="slidenum">
              <a:rPr lang="en-US" smtClean="0">
                <a:solidFill>
                  <a:srgbClr val="3F3F3F"/>
                </a:solidFill>
              </a:rPr>
              <a:pPr/>
              <a:t>‹#›</a:t>
            </a:fld>
            <a:endParaRPr lang="en-US" dirty="0">
              <a:solidFill>
                <a:srgbClr val="3F3F3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697" y="574892"/>
            <a:ext cx="3271951" cy="1466598"/>
          </a:xfrm>
          <a:noFill/>
        </p:spPr>
        <p:txBody>
          <a:bodyPr vert="horz" wrap="square" lIns="0" tIns="0" rIns="0" bIns="0" rtlCol="0" anchor="t">
            <a:noAutofit/>
          </a:bodyPr>
          <a:lstStyle>
            <a:lvl1pPr>
              <a:defRPr lang="en-US" sz="3921" dirty="0">
                <a:solidFill>
                  <a:schemeClr val="accent1"/>
                </a:solidFill>
                <a:latin typeface="Segoe UI Semibold"/>
                <a:ea typeface="+mn-ea"/>
                <a:cs typeface="Segoe UI Semibold"/>
              </a:defRPr>
            </a:lvl1pPr>
          </a:lstStyle>
          <a:p>
            <a:pPr marL="0" lvl="0"/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9243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9103D2-72A0-4C12-A232-58991DCA312B}" type="datetimeFigureOut">
              <a:rPr lang="en-US" smtClean="0"/>
              <a:t>12/17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E84F3A-632D-4576-8FBC-69BA2D0B9C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306291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ox with Graphics 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44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 rot="5400000">
            <a:off x="-1380694" y="1380698"/>
            <a:ext cx="6858000" cy="409661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544196"/>
            <a:endParaRPr lang="en-US" sz="2157" dirty="0">
              <a:solidFill>
                <a:srgbClr val="FD7425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30697" y="3111472"/>
            <a:ext cx="3271952" cy="911041"/>
          </a:xfrm>
        </p:spPr>
        <p:txBody>
          <a:bodyPr lIns="0" tIns="0" rIns="0">
            <a:noAutofit/>
          </a:bodyPr>
          <a:lstStyle>
            <a:lvl1pPr marL="0" indent="0">
              <a:spcBef>
                <a:spcPts val="0"/>
              </a:spcBef>
              <a:spcAft>
                <a:spcPts val="1176"/>
              </a:spcAft>
              <a:buNone/>
              <a:defRPr sz="2157" b="0">
                <a:solidFill>
                  <a:schemeClr val="accent3"/>
                </a:solidFill>
                <a:latin typeface="+mj-lt"/>
              </a:defRPr>
            </a:lvl1pPr>
            <a:lvl2pPr marL="0" indent="0">
              <a:spcBef>
                <a:spcPts val="588"/>
              </a:spcBef>
              <a:buNone/>
              <a:defRPr sz="2157">
                <a:solidFill>
                  <a:schemeClr val="bg1"/>
                </a:solidFill>
              </a:defRPr>
            </a:lvl2pPr>
            <a:lvl3pPr marL="1088393" indent="0">
              <a:buNone/>
              <a:defRPr/>
            </a:lvl3pPr>
            <a:lvl4pPr marL="1632589" indent="0">
              <a:buNone/>
              <a:defRPr/>
            </a:lvl4pPr>
            <a:lvl5pPr marL="2176785" indent="0">
              <a:buNone/>
              <a:defRPr/>
            </a:lvl5pPr>
          </a:lstStyle>
          <a:p>
            <a:pPr lvl="0"/>
            <a:r>
              <a:rPr lang="en-US" dirty="0" smtClean="0"/>
              <a:t>Heading</a:t>
            </a:r>
          </a:p>
          <a:p>
            <a:pPr lvl="1"/>
            <a:r>
              <a:rPr lang="en-US" dirty="0" smtClean="0"/>
              <a:t>Tex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30696" y="6356351"/>
            <a:ext cx="3271953" cy="365125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255DB77-E0AE-A349-8FAE-C666923B773F}" type="slidenum">
              <a:rPr lang="en-US" smtClean="0">
                <a:solidFill>
                  <a:srgbClr val="3F3F3F"/>
                </a:solidFill>
              </a:rPr>
              <a:pPr/>
              <a:t>‹#›</a:t>
            </a:fld>
            <a:endParaRPr lang="en-US" dirty="0">
              <a:solidFill>
                <a:srgbClr val="3F3F3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697" y="574892"/>
            <a:ext cx="3271951" cy="1466598"/>
          </a:xfrm>
          <a:noFill/>
        </p:spPr>
        <p:txBody>
          <a:bodyPr vert="horz" wrap="square" lIns="0" tIns="0" rIns="0" bIns="0" rtlCol="0" anchor="t">
            <a:noAutofit/>
          </a:bodyPr>
          <a:lstStyle>
            <a:lvl1pPr>
              <a:defRPr lang="en-US" sz="3921" dirty="0">
                <a:latin typeface="Segoe UI Semibold"/>
                <a:ea typeface="+mn-ea"/>
                <a:cs typeface="Segoe UI Semibold"/>
              </a:defRPr>
            </a:lvl1pPr>
          </a:lstStyle>
          <a:p>
            <a:pPr marL="0" lvl="0"/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45924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68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63084" y="2747962"/>
            <a:ext cx="10363200" cy="1362075"/>
          </a:xfrm>
        </p:spPr>
        <p:txBody>
          <a:bodyPr anchor="ctr">
            <a:noAutofit/>
          </a:bodyPr>
          <a:lstStyle>
            <a:lvl1pPr algn="l">
              <a:defRPr sz="5294" b="0" cap="none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63055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_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92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63084" y="2747962"/>
            <a:ext cx="10363200" cy="1362075"/>
          </a:xfrm>
        </p:spPr>
        <p:txBody>
          <a:bodyPr anchor="ctr">
            <a:noAutofit/>
          </a:bodyPr>
          <a:lstStyle>
            <a:lvl1pPr algn="l">
              <a:defRPr sz="5294" b="0" cap="none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31438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16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679323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>
                <a:gradFill>
                  <a:gsLst>
                    <a:gs pos="5109">
                      <a:schemeClr val="tx2"/>
                    </a:gs>
                    <a:gs pos="25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679323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52784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ection Divider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40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47910" y="3018973"/>
            <a:ext cx="9996822" cy="1507408"/>
          </a:xfrm>
        </p:spPr>
        <p:txBody>
          <a:bodyPr anchor="ctr"/>
          <a:lstStyle>
            <a:lvl1pPr algn="l">
              <a:defRPr sz="5998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Sample 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45710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54p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64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259792"/>
            <a:ext cx="8964247" cy="1075884"/>
          </a:xfrm>
        </p:spPr>
        <p:txBody>
          <a:bodyPr lIns="143407" tIns="89629" rIns="143407" bIns="89629"/>
          <a:lstStyle>
            <a:lvl1pPr>
              <a:lnSpc>
                <a:spcPts val="6174"/>
              </a:lnSpc>
              <a:defRPr sz="5299" baseline="0">
                <a:solidFill>
                  <a:srgbClr val="0072C6"/>
                </a:solidFill>
              </a:defRPr>
            </a:lvl1pPr>
          </a:lstStyle>
          <a:p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05569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9103D2-72A0-4C12-A232-58991DCA312B}" type="datetimeFigureOut">
              <a:rPr lang="en-US" smtClean="0"/>
              <a:t>12/17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E84F3A-632D-4576-8FBC-69BA2D0B9C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1328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9103D2-72A0-4C12-A232-58991DCA312B}" type="datetimeFigureOut">
              <a:rPr lang="en-US" smtClean="0"/>
              <a:t>12/17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E84F3A-632D-4576-8FBC-69BA2D0B9C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10667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9103D2-72A0-4C12-A232-58991DCA312B}" type="datetimeFigureOut">
              <a:rPr lang="en-US" smtClean="0"/>
              <a:t>12/17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E84F3A-632D-4576-8FBC-69BA2D0B9C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65488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26" Type="http://schemas.openxmlformats.org/officeDocument/2006/relationships/slideLayout" Target="../slideLayouts/slideLayout55.xml"/><Relationship Id="rId39" Type="http://schemas.openxmlformats.org/officeDocument/2006/relationships/tags" Target="../tags/tag2.xml"/><Relationship Id="rId21" Type="http://schemas.openxmlformats.org/officeDocument/2006/relationships/slideLayout" Target="../slideLayouts/slideLayout50.xml"/><Relationship Id="rId34" Type="http://schemas.openxmlformats.org/officeDocument/2006/relationships/slideLayout" Target="../slideLayouts/slideLayout63.xml"/><Relationship Id="rId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29" Type="http://schemas.openxmlformats.org/officeDocument/2006/relationships/slideLayout" Target="../slideLayouts/slideLayout58.xml"/><Relationship Id="rId41" Type="http://schemas.openxmlformats.org/officeDocument/2006/relationships/image" Target="../media/image2.emf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24" Type="http://schemas.openxmlformats.org/officeDocument/2006/relationships/slideLayout" Target="../slideLayouts/slideLayout53.xml"/><Relationship Id="rId32" Type="http://schemas.openxmlformats.org/officeDocument/2006/relationships/slideLayout" Target="../slideLayouts/slideLayout61.xml"/><Relationship Id="rId37" Type="http://schemas.openxmlformats.org/officeDocument/2006/relationships/theme" Target="../theme/theme3.xml"/><Relationship Id="rId40" Type="http://schemas.openxmlformats.org/officeDocument/2006/relationships/oleObject" Target="../embeddings/oleObject2.bin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slideLayout" Target="../slideLayouts/slideLayout52.xml"/><Relationship Id="rId28" Type="http://schemas.openxmlformats.org/officeDocument/2006/relationships/slideLayout" Target="../slideLayouts/slideLayout57.xml"/><Relationship Id="rId36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31" Type="http://schemas.openxmlformats.org/officeDocument/2006/relationships/slideLayout" Target="../slideLayouts/slideLayout60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slideLayout" Target="../slideLayouts/slideLayout51.xml"/><Relationship Id="rId27" Type="http://schemas.openxmlformats.org/officeDocument/2006/relationships/slideLayout" Target="../slideLayouts/slideLayout56.xml"/><Relationship Id="rId30" Type="http://schemas.openxmlformats.org/officeDocument/2006/relationships/slideLayout" Target="../slideLayouts/slideLayout59.xml"/><Relationship Id="rId35" Type="http://schemas.openxmlformats.org/officeDocument/2006/relationships/slideLayout" Target="../slideLayouts/slideLayout64.xml"/><Relationship Id="rId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5" Type="http://schemas.openxmlformats.org/officeDocument/2006/relationships/slideLayout" Target="../slideLayouts/slideLayout54.xml"/><Relationship Id="rId33" Type="http://schemas.openxmlformats.org/officeDocument/2006/relationships/slideLayout" Target="../slideLayouts/slideLayout62.xml"/><Relationship Id="rId38" Type="http://schemas.openxmlformats.org/officeDocument/2006/relationships/vmlDrawing" Target="../drawings/vmlDrawing2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9103D2-72A0-4C12-A232-58991DCA312B}" type="datetimeFigureOut">
              <a:rPr lang="en-US" smtClean="0"/>
              <a:t>12/1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EE84F3A-632D-4576-8FBC-69BA2D0B9C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4569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D74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111026" tIns="55513" rIns="111026" bIns="55513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111026" tIns="55513" rIns="111026" bIns="55513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111026" tIns="55513" rIns="111026" bIns="55513" rtlCol="0" anchor="ctr"/>
          <a:lstStyle>
            <a:lvl1pPr algn="l">
              <a:defRPr sz="147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44196"/>
            <a:fld id="{28754D8D-3A7F-184B-A4E9-0408566F33B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544196"/>
              <a:t>12/17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111026" tIns="55513" rIns="111026" bIns="55513" rtlCol="0" anchor="ctr"/>
          <a:lstStyle>
            <a:lvl1pPr algn="ctr">
              <a:defRPr sz="147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44196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111026" tIns="55513" rIns="111026" bIns="55513" rtlCol="0" anchor="ctr"/>
          <a:lstStyle>
            <a:lvl1pPr algn="r">
              <a:defRPr sz="147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44196"/>
            <a:fld id="{1255DB77-E0AE-A349-8FAE-C666923B773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544196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13271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</p:sldLayoutIdLst>
  <p:txStyles>
    <p:titleStyle>
      <a:lvl1pPr algn="ctr" defTabSz="544196" rtl="0" eaLnBrk="1" latinLnBrk="0" hangingPunct="1">
        <a:spcBef>
          <a:spcPct val="0"/>
        </a:spcBef>
        <a:buNone/>
        <a:defRPr sz="519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08147" indent="-408147" algn="l" defTabSz="544196" rtl="0" eaLnBrk="1" latinLnBrk="0" hangingPunct="1">
        <a:spcBef>
          <a:spcPct val="20000"/>
        </a:spcBef>
        <a:buFont typeface="Arial"/>
        <a:buChar char="•"/>
        <a:defRPr sz="3823" kern="1200">
          <a:solidFill>
            <a:schemeClr val="tx1"/>
          </a:solidFill>
          <a:latin typeface="+mn-lt"/>
          <a:ea typeface="+mn-ea"/>
          <a:cs typeface="+mn-cs"/>
        </a:defRPr>
      </a:lvl1pPr>
      <a:lvl2pPr marL="884319" indent="-340123" algn="l" defTabSz="544196" rtl="0" eaLnBrk="1" latinLnBrk="0" hangingPunct="1">
        <a:spcBef>
          <a:spcPct val="20000"/>
        </a:spcBef>
        <a:buFont typeface="Arial"/>
        <a:buChar char="–"/>
        <a:defRPr sz="3333" kern="1200">
          <a:solidFill>
            <a:schemeClr val="tx1"/>
          </a:solidFill>
          <a:latin typeface="+mn-lt"/>
          <a:ea typeface="+mn-ea"/>
          <a:cs typeface="+mn-cs"/>
        </a:defRPr>
      </a:lvl2pPr>
      <a:lvl3pPr marL="1360491" indent="-272098" algn="l" defTabSz="544196" rtl="0" eaLnBrk="1" latinLnBrk="0" hangingPunct="1">
        <a:spcBef>
          <a:spcPct val="20000"/>
        </a:spcBef>
        <a:buFont typeface="Arial"/>
        <a:buChar char="•"/>
        <a:defRPr sz="2843" kern="1200">
          <a:solidFill>
            <a:schemeClr val="tx1"/>
          </a:solidFill>
          <a:latin typeface="+mn-lt"/>
          <a:ea typeface="+mn-ea"/>
          <a:cs typeface="+mn-cs"/>
        </a:defRPr>
      </a:lvl3pPr>
      <a:lvl4pPr marL="1904687" indent="-272098" algn="l" defTabSz="544196" rtl="0" eaLnBrk="1" latinLnBrk="0" hangingPunct="1">
        <a:spcBef>
          <a:spcPct val="20000"/>
        </a:spcBef>
        <a:buFont typeface="Arial"/>
        <a:buChar char="–"/>
        <a:defRPr sz="2353" kern="1200">
          <a:solidFill>
            <a:schemeClr val="tx1"/>
          </a:solidFill>
          <a:latin typeface="+mn-lt"/>
          <a:ea typeface="+mn-ea"/>
          <a:cs typeface="+mn-cs"/>
        </a:defRPr>
      </a:lvl4pPr>
      <a:lvl5pPr marL="2448883" indent="-272098" algn="l" defTabSz="544196" rtl="0" eaLnBrk="1" latinLnBrk="0" hangingPunct="1">
        <a:spcBef>
          <a:spcPct val="20000"/>
        </a:spcBef>
        <a:buFont typeface="Arial"/>
        <a:buChar char="»"/>
        <a:defRPr sz="2353" kern="1200">
          <a:solidFill>
            <a:schemeClr val="tx1"/>
          </a:solidFill>
          <a:latin typeface="+mn-lt"/>
          <a:ea typeface="+mn-ea"/>
          <a:cs typeface="+mn-cs"/>
        </a:defRPr>
      </a:lvl5pPr>
      <a:lvl6pPr marL="2993078" indent="-272098" algn="l" defTabSz="544196" rtl="0" eaLnBrk="1" latinLnBrk="0" hangingPunct="1">
        <a:spcBef>
          <a:spcPct val="20000"/>
        </a:spcBef>
        <a:buFont typeface="Arial"/>
        <a:buChar char="•"/>
        <a:defRPr sz="2353" kern="1200">
          <a:solidFill>
            <a:schemeClr val="tx1"/>
          </a:solidFill>
          <a:latin typeface="+mn-lt"/>
          <a:ea typeface="+mn-ea"/>
          <a:cs typeface="+mn-cs"/>
        </a:defRPr>
      </a:lvl6pPr>
      <a:lvl7pPr marL="3537275" indent="-272098" algn="l" defTabSz="544196" rtl="0" eaLnBrk="1" latinLnBrk="0" hangingPunct="1">
        <a:spcBef>
          <a:spcPct val="20000"/>
        </a:spcBef>
        <a:buFont typeface="Arial"/>
        <a:buChar char="•"/>
        <a:defRPr sz="2353" kern="1200">
          <a:solidFill>
            <a:schemeClr val="tx1"/>
          </a:solidFill>
          <a:latin typeface="+mn-lt"/>
          <a:ea typeface="+mn-ea"/>
          <a:cs typeface="+mn-cs"/>
        </a:defRPr>
      </a:lvl7pPr>
      <a:lvl8pPr marL="4081471" indent="-272098" algn="l" defTabSz="544196" rtl="0" eaLnBrk="1" latinLnBrk="0" hangingPunct="1">
        <a:spcBef>
          <a:spcPct val="20000"/>
        </a:spcBef>
        <a:buFont typeface="Arial"/>
        <a:buChar char="•"/>
        <a:defRPr sz="2353" kern="1200">
          <a:solidFill>
            <a:schemeClr val="tx1"/>
          </a:solidFill>
          <a:latin typeface="+mn-lt"/>
          <a:ea typeface="+mn-ea"/>
          <a:cs typeface="+mn-cs"/>
        </a:defRPr>
      </a:lvl8pPr>
      <a:lvl9pPr marL="4625667" indent="-272098" algn="l" defTabSz="544196" rtl="0" eaLnBrk="1" latinLnBrk="0" hangingPunct="1">
        <a:spcBef>
          <a:spcPct val="20000"/>
        </a:spcBef>
        <a:buFont typeface="Arial"/>
        <a:buChar char="•"/>
        <a:defRPr sz="23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44196" rtl="0" eaLnBrk="1" latinLnBrk="0" hangingPunct="1">
        <a:defRPr sz="2157" kern="1200">
          <a:solidFill>
            <a:schemeClr val="tx1"/>
          </a:solidFill>
          <a:latin typeface="+mn-lt"/>
          <a:ea typeface="+mn-ea"/>
          <a:cs typeface="+mn-cs"/>
        </a:defRPr>
      </a:lvl1pPr>
      <a:lvl2pPr marL="544196" algn="l" defTabSz="544196" rtl="0" eaLnBrk="1" latinLnBrk="0" hangingPunct="1">
        <a:defRPr sz="2157" kern="1200">
          <a:solidFill>
            <a:schemeClr val="tx1"/>
          </a:solidFill>
          <a:latin typeface="+mn-lt"/>
          <a:ea typeface="+mn-ea"/>
          <a:cs typeface="+mn-cs"/>
        </a:defRPr>
      </a:lvl2pPr>
      <a:lvl3pPr marL="1088392" algn="l" defTabSz="544196" rtl="0" eaLnBrk="1" latinLnBrk="0" hangingPunct="1">
        <a:defRPr sz="2157" kern="1200">
          <a:solidFill>
            <a:schemeClr val="tx1"/>
          </a:solidFill>
          <a:latin typeface="+mn-lt"/>
          <a:ea typeface="+mn-ea"/>
          <a:cs typeface="+mn-cs"/>
        </a:defRPr>
      </a:lvl3pPr>
      <a:lvl4pPr marL="1632589" algn="l" defTabSz="544196" rtl="0" eaLnBrk="1" latinLnBrk="0" hangingPunct="1">
        <a:defRPr sz="2157" kern="1200">
          <a:solidFill>
            <a:schemeClr val="tx1"/>
          </a:solidFill>
          <a:latin typeface="+mn-lt"/>
          <a:ea typeface="+mn-ea"/>
          <a:cs typeface="+mn-cs"/>
        </a:defRPr>
      </a:lvl4pPr>
      <a:lvl5pPr marL="2176785" algn="l" defTabSz="544196" rtl="0" eaLnBrk="1" latinLnBrk="0" hangingPunct="1">
        <a:defRPr sz="2157" kern="1200">
          <a:solidFill>
            <a:schemeClr val="tx1"/>
          </a:solidFill>
          <a:latin typeface="+mn-lt"/>
          <a:ea typeface="+mn-ea"/>
          <a:cs typeface="+mn-cs"/>
        </a:defRPr>
      </a:lvl5pPr>
      <a:lvl6pPr marL="2720980" algn="l" defTabSz="544196" rtl="0" eaLnBrk="1" latinLnBrk="0" hangingPunct="1">
        <a:defRPr sz="2157" kern="1200">
          <a:solidFill>
            <a:schemeClr val="tx1"/>
          </a:solidFill>
          <a:latin typeface="+mn-lt"/>
          <a:ea typeface="+mn-ea"/>
          <a:cs typeface="+mn-cs"/>
        </a:defRPr>
      </a:lvl6pPr>
      <a:lvl7pPr marL="3265176" algn="l" defTabSz="544196" rtl="0" eaLnBrk="1" latinLnBrk="0" hangingPunct="1">
        <a:defRPr sz="2157" kern="1200">
          <a:solidFill>
            <a:schemeClr val="tx1"/>
          </a:solidFill>
          <a:latin typeface="+mn-lt"/>
          <a:ea typeface="+mn-ea"/>
          <a:cs typeface="+mn-cs"/>
        </a:defRPr>
      </a:lvl7pPr>
      <a:lvl8pPr marL="3809373" algn="l" defTabSz="544196" rtl="0" eaLnBrk="1" latinLnBrk="0" hangingPunct="1">
        <a:defRPr sz="2157" kern="1200">
          <a:solidFill>
            <a:schemeClr val="tx1"/>
          </a:solidFill>
          <a:latin typeface="+mn-lt"/>
          <a:ea typeface="+mn-ea"/>
          <a:cs typeface="+mn-cs"/>
        </a:defRPr>
      </a:lvl8pPr>
      <a:lvl9pPr marL="4353569" algn="l" defTabSz="544196" rtl="0" eaLnBrk="1" latinLnBrk="0" hangingPunct="1">
        <a:defRPr sz="215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9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0" name="think-cell Slide" r:id="rId40" imgW="377" imgH="377" progId="TCLayout.ActiveDocument.1">
                  <p:embed/>
                </p:oleObj>
              </mc:Choice>
              <mc:Fallback>
                <p:oleObj name="think-cell Slide" r:id="rId40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0228" y="274638"/>
            <a:ext cx="11131076" cy="73244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0696" y="1600201"/>
            <a:ext cx="11130607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0695" y="6356351"/>
            <a:ext cx="3271951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372">
                <a:solidFill>
                  <a:schemeClr val="bg1"/>
                </a:solidFill>
              </a:defRPr>
            </a:lvl1pPr>
          </a:lstStyle>
          <a:p>
            <a:pPr defTabSz="544196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7847" y="6356351"/>
            <a:ext cx="513455" cy="36292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372">
                <a:solidFill>
                  <a:schemeClr val="bg1"/>
                </a:solidFill>
              </a:defRPr>
            </a:lvl1pPr>
          </a:lstStyle>
          <a:p>
            <a:pPr defTabSz="544196"/>
            <a:fld id="{1255DB77-E0AE-A349-8FAE-C666923B773F}" type="slidenum">
              <a:rPr lang="en-US" smtClean="0">
                <a:solidFill>
                  <a:prstClr val="white"/>
                </a:solidFill>
              </a:rPr>
              <a:pPr defTabSz="544196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7436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691" r:id="rId12"/>
    <p:sldLayoutId id="2147483692" r:id="rId13"/>
    <p:sldLayoutId id="2147483693" r:id="rId14"/>
    <p:sldLayoutId id="2147483694" r:id="rId15"/>
    <p:sldLayoutId id="2147483695" r:id="rId16"/>
    <p:sldLayoutId id="2147483696" r:id="rId17"/>
    <p:sldLayoutId id="2147483697" r:id="rId18"/>
    <p:sldLayoutId id="2147483698" r:id="rId19"/>
    <p:sldLayoutId id="2147483699" r:id="rId20"/>
    <p:sldLayoutId id="2147483700" r:id="rId21"/>
    <p:sldLayoutId id="2147483701" r:id="rId22"/>
    <p:sldLayoutId id="2147483702" r:id="rId23"/>
    <p:sldLayoutId id="2147483703" r:id="rId24"/>
    <p:sldLayoutId id="2147483704" r:id="rId25"/>
    <p:sldLayoutId id="2147483705" r:id="rId26"/>
    <p:sldLayoutId id="2147483706" r:id="rId27"/>
    <p:sldLayoutId id="2147483707" r:id="rId28"/>
    <p:sldLayoutId id="2147483708" r:id="rId29"/>
    <p:sldLayoutId id="2147483709" r:id="rId30"/>
    <p:sldLayoutId id="2147483710" r:id="rId31"/>
    <p:sldLayoutId id="2147483711" r:id="rId32"/>
    <p:sldLayoutId id="2147483712" r:id="rId33"/>
    <p:sldLayoutId id="2147483713" r:id="rId34"/>
    <p:sldLayoutId id="2147483714" r:id="rId35"/>
    <p:sldLayoutId id="2147483715" r:id="rId3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544196" rtl="0" eaLnBrk="1" latinLnBrk="0" hangingPunct="1">
        <a:lnSpc>
          <a:spcPct val="90000"/>
        </a:lnSpc>
        <a:spcBef>
          <a:spcPct val="0"/>
        </a:spcBef>
        <a:buNone/>
        <a:defRPr sz="4705" kern="1200" spc="-157" baseline="0">
          <a:solidFill>
            <a:schemeClr val="bg1"/>
          </a:solidFill>
          <a:latin typeface="Segoe UI Semibold" panose="020B0702040204020203" pitchFamily="34" charset="0"/>
          <a:ea typeface="+mj-ea"/>
          <a:cs typeface="Segoe UI Semibold" panose="020B0702040204020203" pitchFamily="34" charset="0"/>
        </a:defRPr>
      </a:lvl1pPr>
    </p:titleStyle>
    <p:bodyStyle>
      <a:lvl1pPr marL="408147" indent="-408147" algn="l" defTabSz="544196" rtl="0" eaLnBrk="1" latinLnBrk="0" hangingPunct="1">
        <a:spcBef>
          <a:spcPct val="20000"/>
        </a:spcBef>
        <a:buFont typeface="Arial"/>
        <a:buChar char="•"/>
        <a:defRPr sz="3529" kern="1200">
          <a:solidFill>
            <a:schemeClr val="bg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884319" indent="-340123" algn="l" defTabSz="544196" rtl="0" eaLnBrk="1" latinLnBrk="0" hangingPunct="1">
        <a:spcBef>
          <a:spcPct val="20000"/>
        </a:spcBef>
        <a:buFont typeface="Arial"/>
        <a:buChar char="–"/>
        <a:defRPr sz="3333" kern="1200">
          <a:solidFill>
            <a:schemeClr val="bg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360491" indent="-272098" algn="l" defTabSz="544196" rtl="0" eaLnBrk="1" latinLnBrk="0" hangingPunct="1">
        <a:spcBef>
          <a:spcPct val="20000"/>
        </a:spcBef>
        <a:buFont typeface="Arial"/>
        <a:buChar char="•"/>
        <a:defRPr sz="2843" kern="1200">
          <a:solidFill>
            <a:schemeClr val="bg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904687" indent="-272098" algn="l" defTabSz="544196" rtl="0" eaLnBrk="1" latinLnBrk="0" hangingPunct="1">
        <a:spcBef>
          <a:spcPct val="20000"/>
        </a:spcBef>
        <a:buFont typeface="Arial"/>
        <a:buChar char="–"/>
        <a:defRPr sz="2353" kern="1200">
          <a:solidFill>
            <a:schemeClr val="bg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448883" indent="-272098" algn="l" defTabSz="544196" rtl="0" eaLnBrk="1" latinLnBrk="0" hangingPunct="1">
        <a:spcBef>
          <a:spcPct val="20000"/>
        </a:spcBef>
        <a:buFont typeface="Arial"/>
        <a:buChar char="»"/>
        <a:defRPr sz="2353" kern="1200">
          <a:solidFill>
            <a:schemeClr val="bg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993078" indent="-272098" algn="l" defTabSz="544196" rtl="0" eaLnBrk="1" latinLnBrk="0" hangingPunct="1">
        <a:spcBef>
          <a:spcPct val="20000"/>
        </a:spcBef>
        <a:buFont typeface="Arial"/>
        <a:buChar char="•"/>
        <a:defRPr sz="2353" kern="1200">
          <a:solidFill>
            <a:schemeClr val="tx1"/>
          </a:solidFill>
          <a:latin typeface="+mn-lt"/>
          <a:ea typeface="+mn-ea"/>
          <a:cs typeface="+mn-cs"/>
        </a:defRPr>
      </a:lvl6pPr>
      <a:lvl7pPr marL="3537275" indent="-272098" algn="l" defTabSz="544196" rtl="0" eaLnBrk="1" latinLnBrk="0" hangingPunct="1">
        <a:spcBef>
          <a:spcPct val="20000"/>
        </a:spcBef>
        <a:buFont typeface="Arial"/>
        <a:buChar char="•"/>
        <a:defRPr sz="2353" kern="1200">
          <a:solidFill>
            <a:schemeClr val="tx1"/>
          </a:solidFill>
          <a:latin typeface="+mn-lt"/>
          <a:ea typeface="+mn-ea"/>
          <a:cs typeface="+mn-cs"/>
        </a:defRPr>
      </a:lvl7pPr>
      <a:lvl8pPr marL="4081471" indent="-272098" algn="l" defTabSz="544196" rtl="0" eaLnBrk="1" latinLnBrk="0" hangingPunct="1">
        <a:spcBef>
          <a:spcPct val="20000"/>
        </a:spcBef>
        <a:buFont typeface="Arial"/>
        <a:buChar char="•"/>
        <a:defRPr sz="2353" kern="1200">
          <a:solidFill>
            <a:schemeClr val="tx1"/>
          </a:solidFill>
          <a:latin typeface="+mn-lt"/>
          <a:ea typeface="+mn-ea"/>
          <a:cs typeface="+mn-cs"/>
        </a:defRPr>
      </a:lvl8pPr>
      <a:lvl9pPr marL="4625667" indent="-272098" algn="l" defTabSz="544196" rtl="0" eaLnBrk="1" latinLnBrk="0" hangingPunct="1">
        <a:spcBef>
          <a:spcPct val="20000"/>
        </a:spcBef>
        <a:buFont typeface="Arial"/>
        <a:buChar char="•"/>
        <a:defRPr sz="23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44196" rtl="0" eaLnBrk="1" latinLnBrk="0" hangingPunct="1">
        <a:defRPr sz="2157" kern="1200">
          <a:solidFill>
            <a:schemeClr val="tx1"/>
          </a:solidFill>
          <a:latin typeface="+mn-lt"/>
          <a:ea typeface="+mn-ea"/>
          <a:cs typeface="+mn-cs"/>
        </a:defRPr>
      </a:lvl1pPr>
      <a:lvl2pPr marL="544196" algn="l" defTabSz="544196" rtl="0" eaLnBrk="1" latinLnBrk="0" hangingPunct="1">
        <a:defRPr sz="2157" kern="1200">
          <a:solidFill>
            <a:schemeClr val="tx1"/>
          </a:solidFill>
          <a:latin typeface="+mn-lt"/>
          <a:ea typeface="+mn-ea"/>
          <a:cs typeface="+mn-cs"/>
        </a:defRPr>
      </a:lvl2pPr>
      <a:lvl3pPr marL="1088392" algn="l" defTabSz="544196" rtl="0" eaLnBrk="1" latinLnBrk="0" hangingPunct="1">
        <a:defRPr sz="2157" kern="1200">
          <a:solidFill>
            <a:schemeClr val="tx1"/>
          </a:solidFill>
          <a:latin typeface="+mn-lt"/>
          <a:ea typeface="+mn-ea"/>
          <a:cs typeface="+mn-cs"/>
        </a:defRPr>
      </a:lvl3pPr>
      <a:lvl4pPr marL="1632589" algn="l" defTabSz="544196" rtl="0" eaLnBrk="1" latinLnBrk="0" hangingPunct="1">
        <a:defRPr sz="2157" kern="1200">
          <a:solidFill>
            <a:schemeClr val="tx1"/>
          </a:solidFill>
          <a:latin typeface="+mn-lt"/>
          <a:ea typeface="+mn-ea"/>
          <a:cs typeface="+mn-cs"/>
        </a:defRPr>
      </a:lvl4pPr>
      <a:lvl5pPr marL="2176785" algn="l" defTabSz="544196" rtl="0" eaLnBrk="1" latinLnBrk="0" hangingPunct="1">
        <a:defRPr sz="2157" kern="1200">
          <a:solidFill>
            <a:schemeClr val="tx1"/>
          </a:solidFill>
          <a:latin typeface="+mn-lt"/>
          <a:ea typeface="+mn-ea"/>
          <a:cs typeface="+mn-cs"/>
        </a:defRPr>
      </a:lvl5pPr>
      <a:lvl6pPr marL="2720980" algn="l" defTabSz="544196" rtl="0" eaLnBrk="1" latinLnBrk="0" hangingPunct="1">
        <a:defRPr sz="2157" kern="1200">
          <a:solidFill>
            <a:schemeClr val="tx1"/>
          </a:solidFill>
          <a:latin typeface="+mn-lt"/>
          <a:ea typeface="+mn-ea"/>
          <a:cs typeface="+mn-cs"/>
        </a:defRPr>
      </a:lvl6pPr>
      <a:lvl7pPr marL="3265176" algn="l" defTabSz="544196" rtl="0" eaLnBrk="1" latinLnBrk="0" hangingPunct="1">
        <a:defRPr sz="2157" kern="1200">
          <a:solidFill>
            <a:schemeClr val="tx1"/>
          </a:solidFill>
          <a:latin typeface="+mn-lt"/>
          <a:ea typeface="+mn-ea"/>
          <a:cs typeface="+mn-cs"/>
        </a:defRPr>
      </a:lvl7pPr>
      <a:lvl8pPr marL="3809373" algn="l" defTabSz="544196" rtl="0" eaLnBrk="1" latinLnBrk="0" hangingPunct="1">
        <a:defRPr sz="2157" kern="1200">
          <a:solidFill>
            <a:schemeClr val="tx1"/>
          </a:solidFill>
          <a:latin typeface="+mn-lt"/>
          <a:ea typeface="+mn-ea"/>
          <a:cs typeface="+mn-cs"/>
        </a:defRPr>
      </a:lvl8pPr>
      <a:lvl9pPr marL="4353569" algn="l" defTabSz="544196" rtl="0" eaLnBrk="1" latinLnBrk="0" hangingPunct="1">
        <a:defRPr sz="215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http://image.email.microsoftemail.com/lib/fe6b157075660478711c/m/11/136042_Partner3_MS_Led_Events_Banner.png" TargetMode="External"/><Relationship Id="rId3" Type="http://schemas.openxmlformats.org/officeDocument/2006/relationships/image" Target="../media/image6.emf"/><Relationship Id="rId7" Type="http://schemas.openxmlformats.org/officeDocument/2006/relationships/image" Target="../media/image10.gif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jpg"/><Relationship Id="rId5" Type="http://schemas.openxmlformats.org/officeDocument/2006/relationships/image" Target="../media/image8.png"/><Relationship Id="rId4" Type="http://schemas.openxmlformats.org/officeDocument/2006/relationships/image" Target="../media/image7.jp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5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13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Relationship Id="rId9" Type="http://schemas.openxmlformats.org/officeDocument/2006/relationships/image" Target="../media/image28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g"/><Relationship Id="rId2" Type="http://schemas.openxmlformats.org/officeDocument/2006/relationships/image" Target="../media/image32.jp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jp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g"/><Relationship Id="rId2" Type="http://schemas.openxmlformats.org/officeDocument/2006/relationships/image" Target="../media/image35.jp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7.jp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jp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2A5DFB20"/><Relationship Id="rId2" Type="http://schemas.openxmlformats.org/officeDocument/2006/relationships/image" Target="../media/image40.0E098010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2.jp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5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1.2A5DFB20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E5589EB0"/><Relationship Id="rId3" Type="http://schemas.openxmlformats.org/officeDocument/2006/relationships/image" Target="../media/image47.jpeg"/><Relationship Id="rId7" Type="http://schemas.openxmlformats.org/officeDocument/2006/relationships/image" Target="../media/image51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0.emf"/><Relationship Id="rId5" Type="http://schemas.openxmlformats.org/officeDocument/2006/relationships/image" Target="../media/image49.png"/><Relationship Id="rId4" Type="http://schemas.openxmlformats.org/officeDocument/2006/relationships/image" Target="../media/image48.jp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emf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gif"/><Relationship Id="rId2" Type="http://schemas.openxmlformats.org/officeDocument/2006/relationships/image" Target="../media/image54.gif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6.jp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emf"/><Relationship Id="rId7" Type="http://schemas.openxmlformats.org/officeDocument/2006/relationships/image" Target="../media/image64.png"/><Relationship Id="rId2" Type="http://schemas.openxmlformats.org/officeDocument/2006/relationships/image" Target="../media/image53.em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3.jpg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jpeg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3" Type="http://schemas.openxmlformats.org/officeDocument/2006/relationships/tags" Target="../tags/tag41.xml"/><Relationship Id="rId7" Type="http://schemas.openxmlformats.org/officeDocument/2006/relationships/tags" Target="../tags/tag45.xml"/><Relationship Id="rId12" Type="http://schemas.openxmlformats.org/officeDocument/2006/relationships/slideLayout" Target="../slideLayouts/slideLayout7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11" Type="http://schemas.openxmlformats.org/officeDocument/2006/relationships/tags" Target="../tags/tag49.xml"/><Relationship Id="rId5" Type="http://schemas.openxmlformats.org/officeDocument/2006/relationships/tags" Target="../tags/tag43.xml"/><Relationship Id="rId10" Type="http://schemas.openxmlformats.org/officeDocument/2006/relationships/tags" Target="../tags/tag48.xml"/><Relationship Id="rId4" Type="http://schemas.openxmlformats.org/officeDocument/2006/relationships/tags" Target="../tags/tag42.xml"/><Relationship Id="rId9" Type="http://schemas.openxmlformats.org/officeDocument/2006/relationships/tags" Target="../tags/tag47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emf"/><Relationship Id="rId2" Type="http://schemas.openxmlformats.org/officeDocument/2006/relationships/image" Target="../media/image66.emf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51.xml"/><Relationship Id="rId1" Type="http://schemas.openxmlformats.org/officeDocument/2006/relationships/tags" Target="../tags/tag50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emf"/><Relationship Id="rId2" Type="http://schemas.openxmlformats.org/officeDocument/2006/relationships/image" Target="../media/image68.em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2.emf"/><Relationship Id="rId5" Type="http://schemas.openxmlformats.org/officeDocument/2006/relationships/image" Target="../media/image71.emf"/><Relationship Id="rId4" Type="http://schemas.openxmlformats.org/officeDocument/2006/relationships/image" Target="../media/image70.emf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emf"/><Relationship Id="rId2" Type="http://schemas.openxmlformats.org/officeDocument/2006/relationships/image" Target="../media/image73.emf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75.emf"/><Relationship Id="rId4" Type="http://schemas.openxmlformats.org/officeDocument/2006/relationships/image" Target="../media/image74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microsoft.com/office/2007/relationships/hdphoto" Target="../media/hdphoto1.wdp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emf"/><Relationship Id="rId2" Type="http://schemas.openxmlformats.org/officeDocument/2006/relationships/image" Target="../media/image72.emf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75.emf"/><Relationship Id="rId4" Type="http://schemas.openxmlformats.org/officeDocument/2006/relationships/image" Target="../media/image74.emf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image" Target="../media/image76.jpeg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emf"/><Relationship Id="rId3" Type="http://schemas.openxmlformats.org/officeDocument/2006/relationships/image" Target="../media/image78.emf"/><Relationship Id="rId7" Type="http://schemas.openxmlformats.org/officeDocument/2006/relationships/image" Target="../media/image82.emf"/><Relationship Id="rId2" Type="http://schemas.openxmlformats.org/officeDocument/2006/relationships/image" Target="../media/image77.em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1.emf"/><Relationship Id="rId5" Type="http://schemas.openxmlformats.org/officeDocument/2006/relationships/image" Target="../media/image80.emf"/><Relationship Id="rId10" Type="http://schemas.openxmlformats.org/officeDocument/2006/relationships/image" Target="../media/image85.emf"/><Relationship Id="rId4" Type="http://schemas.openxmlformats.org/officeDocument/2006/relationships/image" Target="../media/image79.emf"/><Relationship Id="rId9" Type="http://schemas.openxmlformats.org/officeDocument/2006/relationships/image" Target="../media/image84.emf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emf"/><Relationship Id="rId2" Type="http://schemas.openxmlformats.org/officeDocument/2006/relationships/image" Target="../media/image53.emf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88.emf"/><Relationship Id="rId4" Type="http://schemas.openxmlformats.org/officeDocument/2006/relationships/image" Target="../media/image87.emf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emf"/><Relationship Id="rId2" Type="http://schemas.openxmlformats.org/officeDocument/2006/relationships/image" Target="../media/image89.em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7.emf"/><Relationship Id="rId5" Type="http://schemas.openxmlformats.org/officeDocument/2006/relationships/image" Target="../media/image86.emf"/><Relationship Id="rId4" Type="http://schemas.openxmlformats.org/officeDocument/2006/relationships/image" Target="../media/image88.emf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png"/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92.jpeg"/><Relationship Id="rId2" Type="http://schemas.openxmlformats.org/officeDocument/2006/relationships/tags" Target="../tags/tag52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9.bin"/><Relationship Id="rId4" Type="http://schemas.openxmlformats.org/officeDocument/2006/relationships/notesSlide" Target="../notesSlides/notesSlide7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4.jpeg"/><Relationship Id="rId1" Type="http://schemas.openxmlformats.org/officeDocument/2006/relationships/slideLayout" Target="../slideLayouts/slideLayout7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4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5" Type="http://schemas.microsoft.com/office/2007/relationships/hdphoto" Target="../media/hdphoto2.wdp"/><Relationship Id="rId4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microsoft.com/office/2007/relationships/hdphoto" Target="../media/hdphoto3.wdp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microsoft.com/office/2007/relationships/hdphoto" Target="../media/hdphoto2.wdp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1688841" y="1408922"/>
            <a:ext cx="6667500" cy="1562099"/>
            <a:chOff x="1688841" y="1408922"/>
            <a:chExt cx="6667500" cy="1562099"/>
          </a:xfrm>
        </p:grpSpPr>
        <p:sp>
          <p:nvSpPr>
            <p:cNvPr id="4" name="Rectangle 3"/>
            <p:cNvSpPr/>
            <p:nvPr/>
          </p:nvSpPr>
          <p:spPr>
            <a:xfrm>
              <a:off x="1688841" y="1408922"/>
              <a:ext cx="6667500" cy="155359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" name="Rectangle 62"/>
            <p:cNvSpPr/>
            <p:nvPr/>
          </p:nvSpPr>
          <p:spPr>
            <a:xfrm>
              <a:off x="4187834" y="1408922"/>
              <a:ext cx="4167050" cy="1562099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61" name="Group 60"/>
            <p:cNvGrpSpPr/>
            <p:nvPr/>
          </p:nvGrpSpPr>
          <p:grpSpPr>
            <a:xfrm>
              <a:off x="1891155" y="1483341"/>
              <a:ext cx="2146430" cy="1470101"/>
              <a:chOff x="6576921" y="3113125"/>
              <a:chExt cx="4384846" cy="3050335"/>
            </a:xfrm>
          </p:grpSpPr>
          <p:grpSp>
            <p:nvGrpSpPr>
              <p:cNvPr id="6" name="Group 5"/>
              <p:cNvGrpSpPr/>
              <p:nvPr/>
            </p:nvGrpSpPr>
            <p:grpSpPr>
              <a:xfrm>
                <a:off x="6576921" y="3978462"/>
                <a:ext cx="4004690" cy="2184998"/>
                <a:chOff x="3982076" y="4694333"/>
                <a:chExt cx="4156084" cy="2037901"/>
              </a:xfrm>
            </p:grpSpPr>
            <p:sp>
              <p:nvSpPr>
                <p:cNvPr id="29" name="Rectangle 28"/>
                <p:cNvSpPr>
                  <a:spLocks noChangeArrowheads="1"/>
                </p:cNvSpPr>
                <p:nvPr/>
              </p:nvSpPr>
              <p:spPr bwMode="auto">
                <a:xfrm>
                  <a:off x="3982076" y="6653725"/>
                  <a:ext cx="640080" cy="70538"/>
                </a:xfrm>
                <a:prstGeom prst="rect">
                  <a:avLst/>
                </a:prstGeom>
                <a:solidFill>
                  <a:srgbClr val="7FBA00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155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316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847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463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078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694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3102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29258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30" name="Freeform 29"/>
                <p:cNvSpPr>
                  <a:spLocks/>
                </p:cNvSpPr>
                <p:nvPr/>
              </p:nvSpPr>
              <p:spPr bwMode="auto">
                <a:xfrm>
                  <a:off x="4857164" y="5730850"/>
                  <a:ext cx="1181514" cy="993413"/>
                </a:xfrm>
                <a:custGeom>
                  <a:avLst/>
                  <a:gdLst>
                    <a:gd name="T0" fmla="*/ 332 w 603"/>
                    <a:gd name="T1" fmla="*/ 86 h 507"/>
                    <a:gd name="T2" fmla="*/ 332 w 603"/>
                    <a:gd name="T3" fmla="*/ 0 h 507"/>
                    <a:gd name="T4" fmla="*/ 398 w 603"/>
                    <a:gd name="T5" fmla="*/ 0 h 507"/>
                    <a:gd name="T6" fmla="*/ 398 w 603"/>
                    <a:gd name="T7" fmla="*/ 86 h 507"/>
                    <a:gd name="T8" fmla="*/ 420 w 603"/>
                    <a:gd name="T9" fmla="*/ 86 h 507"/>
                    <a:gd name="T10" fmla="*/ 420 w 603"/>
                    <a:gd name="T11" fmla="*/ 0 h 507"/>
                    <a:gd name="T12" fmla="*/ 486 w 603"/>
                    <a:gd name="T13" fmla="*/ 0 h 507"/>
                    <a:gd name="T14" fmla="*/ 486 w 603"/>
                    <a:gd name="T15" fmla="*/ 86 h 507"/>
                    <a:gd name="T16" fmla="*/ 603 w 603"/>
                    <a:gd name="T17" fmla="*/ 86 h 507"/>
                    <a:gd name="T18" fmla="*/ 603 w 603"/>
                    <a:gd name="T19" fmla="*/ 106 h 507"/>
                    <a:gd name="T20" fmla="*/ 576 w 603"/>
                    <a:gd name="T21" fmla="*/ 106 h 507"/>
                    <a:gd name="T22" fmla="*/ 576 w 603"/>
                    <a:gd name="T23" fmla="*/ 507 h 507"/>
                    <a:gd name="T24" fmla="*/ 28 w 603"/>
                    <a:gd name="T25" fmla="*/ 507 h 507"/>
                    <a:gd name="T26" fmla="*/ 28 w 603"/>
                    <a:gd name="T27" fmla="*/ 106 h 507"/>
                    <a:gd name="T28" fmla="*/ 0 w 603"/>
                    <a:gd name="T29" fmla="*/ 106 h 507"/>
                    <a:gd name="T30" fmla="*/ 0 w 603"/>
                    <a:gd name="T31" fmla="*/ 86 h 507"/>
                    <a:gd name="T32" fmla="*/ 332 w 603"/>
                    <a:gd name="T33" fmla="*/ 86 h 5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03" h="507">
                      <a:moveTo>
                        <a:pt x="332" y="86"/>
                      </a:moveTo>
                      <a:lnTo>
                        <a:pt x="332" y="0"/>
                      </a:lnTo>
                      <a:lnTo>
                        <a:pt x="398" y="0"/>
                      </a:lnTo>
                      <a:lnTo>
                        <a:pt x="398" y="86"/>
                      </a:lnTo>
                      <a:lnTo>
                        <a:pt x="420" y="86"/>
                      </a:lnTo>
                      <a:lnTo>
                        <a:pt x="420" y="0"/>
                      </a:lnTo>
                      <a:lnTo>
                        <a:pt x="486" y="0"/>
                      </a:lnTo>
                      <a:lnTo>
                        <a:pt x="486" y="86"/>
                      </a:lnTo>
                      <a:lnTo>
                        <a:pt x="603" y="86"/>
                      </a:lnTo>
                      <a:lnTo>
                        <a:pt x="603" y="106"/>
                      </a:lnTo>
                      <a:lnTo>
                        <a:pt x="576" y="106"/>
                      </a:lnTo>
                      <a:lnTo>
                        <a:pt x="576" y="507"/>
                      </a:lnTo>
                      <a:lnTo>
                        <a:pt x="28" y="507"/>
                      </a:lnTo>
                      <a:lnTo>
                        <a:pt x="28" y="106"/>
                      </a:lnTo>
                      <a:lnTo>
                        <a:pt x="0" y="106"/>
                      </a:lnTo>
                      <a:lnTo>
                        <a:pt x="0" y="86"/>
                      </a:lnTo>
                      <a:lnTo>
                        <a:pt x="332" y="86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75000"/>
                  </a:sys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155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316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847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463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078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694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3102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29258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31" name="Rectangle 30"/>
                <p:cNvSpPr>
                  <a:spLocks noChangeArrowheads="1"/>
                </p:cNvSpPr>
                <p:nvPr/>
              </p:nvSpPr>
              <p:spPr bwMode="auto">
                <a:xfrm>
                  <a:off x="5399915" y="6653725"/>
                  <a:ext cx="403635" cy="70538"/>
                </a:xfrm>
                <a:prstGeom prst="rect">
                  <a:avLst/>
                </a:prstGeom>
                <a:solidFill>
                  <a:srgbClr val="7FBA00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155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316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847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463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078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694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3102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29258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32" name="Freeform 31"/>
                <p:cNvSpPr>
                  <a:spLocks/>
                </p:cNvSpPr>
                <p:nvPr/>
              </p:nvSpPr>
              <p:spPr bwMode="auto">
                <a:xfrm>
                  <a:off x="6095685" y="5730850"/>
                  <a:ext cx="1181514" cy="993413"/>
                </a:xfrm>
                <a:custGeom>
                  <a:avLst/>
                  <a:gdLst>
                    <a:gd name="T0" fmla="*/ 333 w 603"/>
                    <a:gd name="T1" fmla="*/ 86 h 507"/>
                    <a:gd name="T2" fmla="*/ 333 w 603"/>
                    <a:gd name="T3" fmla="*/ 0 h 507"/>
                    <a:gd name="T4" fmla="*/ 397 w 603"/>
                    <a:gd name="T5" fmla="*/ 0 h 507"/>
                    <a:gd name="T6" fmla="*/ 397 w 603"/>
                    <a:gd name="T7" fmla="*/ 86 h 507"/>
                    <a:gd name="T8" fmla="*/ 420 w 603"/>
                    <a:gd name="T9" fmla="*/ 86 h 507"/>
                    <a:gd name="T10" fmla="*/ 420 w 603"/>
                    <a:gd name="T11" fmla="*/ 0 h 507"/>
                    <a:gd name="T12" fmla="*/ 486 w 603"/>
                    <a:gd name="T13" fmla="*/ 0 h 507"/>
                    <a:gd name="T14" fmla="*/ 486 w 603"/>
                    <a:gd name="T15" fmla="*/ 86 h 507"/>
                    <a:gd name="T16" fmla="*/ 603 w 603"/>
                    <a:gd name="T17" fmla="*/ 86 h 507"/>
                    <a:gd name="T18" fmla="*/ 603 w 603"/>
                    <a:gd name="T19" fmla="*/ 106 h 507"/>
                    <a:gd name="T20" fmla="*/ 576 w 603"/>
                    <a:gd name="T21" fmla="*/ 106 h 507"/>
                    <a:gd name="T22" fmla="*/ 576 w 603"/>
                    <a:gd name="T23" fmla="*/ 507 h 507"/>
                    <a:gd name="T24" fmla="*/ 28 w 603"/>
                    <a:gd name="T25" fmla="*/ 507 h 507"/>
                    <a:gd name="T26" fmla="*/ 28 w 603"/>
                    <a:gd name="T27" fmla="*/ 106 h 507"/>
                    <a:gd name="T28" fmla="*/ 0 w 603"/>
                    <a:gd name="T29" fmla="*/ 106 h 507"/>
                    <a:gd name="T30" fmla="*/ 0 w 603"/>
                    <a:gd name="T31" fmla="*/ 86 h 507"/>
                    <a:gd name="T32" fmla="*/ 333 w 603"/>
                    <a:gd name="T33" fmla="*/ 86 h 5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03" h="507">
                      <a:moveTo>
                        <a:pt x="333" y="86"/>
                      </a:moveTo>
                      <a:lnTo>
                        <a:pt x="333" y="0"/>
                      </a:lnTo>
                      <a:lnTo>
                        <a:pt x="397" y="0"/>
                      </a:lnTo>
                      <a:lnTo>
                        <a:pt x="397" y="86"/>
                      </a:lnTo>
                      <a:lnTo>
                        <a:pt x="420" y="86"/>
                      </a:lnTo>
                      <a:lnTo>
                        <a:pt x="420" y="0"/>
                      </a:lnTo>
                      <a:lnTo>
                        <a:pt x="486" y="0"/>
                      </a:lnTo>
                      <a:lnTo>
                        <a:pt x="486" y="86"/>
                      </a:lnTo>
                      <a:lnTo>
                        <a:pt x="603" y="86"/>
                      </a:lnTo>
                      <a:lnTo>
                        <a:pt x="603" y="106"/>
                      </a:lnTo>
                      <a:lnTo>
                        <a:pt x="576" y="106"/>
                      </a:lnTo>
                      <a:lnTo>
                        <a:pt x="576" y="507"/>
                      </a:lnTo>
                      <a:lnTo>
                        <a:pt x="28" y="507"/>
                      </a:lnTo>
                      <a:lnTo>
                        <a:pt x="28" y="106"/>
                      </a:lnTo>
                      <a:lnTo>
                        <a:pt x="0" y="106"/>
                      </a:lnTo>
                      <a:lnTo>
                        <a:pt x="0" y="86"/>
                      </a:lnTo>
                      <a:lnTo>
                        <a:pt x="333" y="86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75000"/>
                  </a:sys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155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316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847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463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078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694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3102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29258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33" name="Freeform 32"/>
                <p:cNvSpPr>
                  <a:spLocks/>
                </p:cNvSpPr>
                <p:nvPr/>
              </p:nvSpPr>
              <p:spPr bwMode="auto">
                <a:xfrm>
                  <a:off x="4234077" y="5730850"/>
                  <a:ext cx="1181514" cy="993413"/>
                </a:xfrm>
                <a:custGeom>
                  <a:avLst/>
                  <a:gdLst>
                    <a:gd name="T0" fmla="*/ 333 w 603"/>
                    <a:gd name="T1" fmla="*/ 86 h 507"/>
                    <a:gd name="T2" fmla="*/ 333 w 603"/>
                    <a:gd name="T3" fmla="*/ 0 h 507"/>
                    <a:gd name="T4" fmla="*/ 397 w 603"/>
                    <a:gd name="T5" fmla="*/ 0 h 507"/>
                    <a:gd name="T6" fmla="*/ 397 w 603"/>
                    <a:gd name="T7" fmla="*/ 86 h 507"/>
                    <a:gd name="T8" fmla="*/ 420 w 603"/>
                    <a:gd name="T9" fmla="*/ 86 h 507"/>
                    <a:gd name="T10" fmla="*/ 420 w 603"/>
                    <a:gd name="T11" fmla="*/ 0 h 507"/>
                    <a:gd name="T12" fmla="*/ 486 w 603"/>
                    <a:gd name="T13" fmla="*/ 0 h 507"/>
                    <a:gd name="T14" fmla="*/ 486 w 603"/>
                    <a:gd name="T15" fmla="*/ 86 h 507"/>
                    <a:gd name="T16" fmla="*/ 603 w 603"/>
                    <a:gd name="T17" fmla="*/ 86 h 507"/>
                    <a:gd name="T18" fmla="*/ 603 w 603"/>
                    <a:gd name="T19" fmla="*/ 106 h 507"/>
                    <a:gd name="T20" fmla="*/ 576 w 603"/>
                    <a:gd name="T21" fmla="*/ 106 h 507"/>
                    <a:gd name="T22" fmla="*/ 576 w 603"/>
                    <a:gd name="T23" fmla="*/ 507 h 507"/>
                    <a:gd name="T24" fmla="*/ 28 w 603"/>
                    <a:gd name="T25" fmla="*/ 507 h 507"/>
                    <a:gd name="T26" fmla="*/ 28 w 603"/>
                    <a:gd name="T27" fmla="*/ 106 h 507"/>
                    <a:gd name="T28" fmla="*/ 0 w 603"/>
                    <a:gd name="T29" fmla="*/ 106 h 507"/>
                    <a:gd name="T30" fmla="*/ 0 w 603"/>
                    <a:gd name="T31" fmla="*/ 86 h 507"/>
                    <a:gd name="T32" fmla="*/ 333 w 603"/>
                    <a:gd name="T33" fmla="*/ 86 h 5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03" h="507">
                      <a:moveTo>
                        <a:pt x="333" y="86"/>
                      </a:moveTo>
                      <a:lnTo>
                        <a:pt x="333" y="0"/>
                      </a:lnTo>
                      <a:lnTo>
                        <a:pt x="397" y="0"/>
                      </a:lnTo>
                      <a:lnTo>
                        <a:pt x="397" y="86"/>
                      </a:lnTo>
                      <a:lnTo>
                        <a:pt x="420" y="86"/>
                      </a:lnTo>
                      <a:lnTo>
                        <a:pt x="420" y="0"/>
                      </a:lnTo>
                      <a:lnTo>
                        <a:pt x="486" y="0"/>
                      </a:lnTo>
                      <a:lnTo>
                        <a:pt x="486" y="86"/>
                      </a:lnTo>
                      <a:lnTo>
                        <a:pt x="603" y="86"/>
                      </a:lnTo>
                      <a:lnTo>
                        <a:pt x="603" y="106"/>
                      </a:lnTo>
                      <a:lnTo>
                        <a:pt x="576" y="106"/>
                      </a:lnTo>
                      <a:lnTo>
                        <a:pt x="576" y="507"/>
                      </a:lnTo>
                      <a:lnTo>
                        <a:pt x="28" y="507"/>
                      </a:lnTo>
                      <a:lnTo>
                        <a:pt x="28" y="106"/>
                      </a:lnTo>
                      <a:lnTo>
                        <a:pt x="0" y="106"/>
                      </a:lnTo>
                      <a:lnTo>
                        <a:pt x="0" y="86"/>
                      </a:lnTo>
                      <a:lnTo>
                        <a:pt x="333" y="86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75000"/>
                  </a:sys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155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316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847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463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078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694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3102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29258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34" name="Rectangle 33"/>
                <p:cNvSpPr>
                  <a:spLocks noChangeArrowheads="1"/>
                </p:cNvSpPr>
                <p:nvPr/>
              </p:nvSpPr>
              <p:spPr bwMode="auto">
                <a:xfrm>
                  <a:off x="5719297" y="5382079"/>
                  <a:ext cx="1075705" cy="1342184"/>
                </a:xfrm>
                <a:prstGeom prst="rect">
                  <a:avLst/>
                </a:prstGeom>
                <a:solidFill>
                  <a:srgbClr val="AB0086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155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316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847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463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078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694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3102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29258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35" name="Rectangle 34"/>
                <p:cNvSpPr>
                  <a:spLocks noChangeArrowheads="1"/>
                </p:cNvSpPr>
                <p:nvPr/>
              </p:nvSpPr>
              <p:spPr bwMode="auto">
                <a:xfrm>
                  <a:off x="5666393" y="5340932"/>
                  <a:ext cx="1179554" cy="41148"/>
                </a:xfrm>
                <a:prstGeom prst="rect">
                  <a:avLst/>
                </a:prstGeom>
                <a:solidFill>
                  <a:srgbClr val="AB0086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155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316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847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463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078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694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3102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29258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36" name="Rectangle 35"/>
                <p:cNvSpPr>
                  <a:spLocks noChangeArrowheads="1"/>
                </p:cNvSpPr>
                <p:nvPr/>
              </p:nvSpPr>
              <p:spPr bwMode="auto">
                <a:xfrm>
                  <a:off x="6311033" y="6451907"/>
                  <a:ext cx="139116" cy="272356"/>
                </a:xfrm>
                <a:prstGeom prst="rect">
                  <a:avLst/>
                </a:prstGeom>
                <a:solidFill>
                  <a:srgbClr val="AB0086">
                    <a:lumMod val="50000"/>
                  </a:srgb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155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316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847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463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078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694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3102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29258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37" name="Rectangle 36"/>
                <p:cNvSpPr>
                  <a:spLocks noChangeArrowheads="1"/>
                </p:cNvSpPr>
                <p:nvPr/>
              </p:nvSpPr>
              <p:spPr bwMode="auto">
                <a:xfrm>
                  <a:off x="6068069" y="6451907"/>
                  <a:ext cx="141077" cy="272356"/>
                </a:xfrm>
                <a:prstGeom prst="rect">
                  <a:avLst/>
                </a:prstGeom>
                <a:solidFill>
                  <a:srgbClr val="AB0086">
                    <a:lumMod val="50000"/>
                  </a:srgb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155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316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847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463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078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694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3102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29258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38" name="Rectangle 37"/>
                <p:cNvSpPr>
                  <a:spLocks noChangeArrowheads="1"/>
                </p:cNvSpPr>
                <p:nvPr/>
              </p:nvSpPr>
              <p:spPr bwMode="auto">
                <a:xfrm>
                  <a:off x="5827063" y="5503561"/>
                  <a:ext cx="866052" cy="139117"/>
                </a:xfrm>
                <a:prstGeom prst="rect">
                  <a:avLst/>
                </a:prstGeom>
                <a:solidFill>
                  <a:srgbClr val="AB0086">
                    <a:lumMod val="50000"/>
                  </a:srgb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155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316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847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463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078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694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3102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29258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39" name="Rectangle 38"/>
                <p:cNvSpPr>
                  <a:spLocks noChangeArrowheads="1"/>
                </p:cNvSpPr>
                <p:nvPr/>
              </p:nvSpPr>
              <p:spPr bwMode="auto">
                <a:xfrm>
                  <a:off x="5827063" y="5744567"/>
                  <a:ext cx="866052" cy="141077"/>
                </a:xfrm>
                <a:prstGeom prst="rect">
                  <a:avLst/>
                </a:prstGeom>
                <a:solidFill>
                  <a:srgbClr val="AB0086">
                    <a:lumMod val="50000"/>
                  </a:srgb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155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316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847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463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078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694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3102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29258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0" name="Rectangle 39"/>
                <p:cNvSpPr>
                  <a:spLocks noChangeArrowheads="1"/>
                </p:cNvSpPr>
                <p:nvPr/>
              </p:nvSpPr>
              <p:spPr bwMode="auto">
                <a:xfrm>
                  <a:off x="5827063" y="5985572"/>
                  <a:ext cx="866052" cy="141077"/>
                </a:xfrm>
                <a:prstGeom prst="rect">
                  <a:avLst/>
                </a:prstGeom>
                <a:solidFill>
                  <a:srgbClr val="AB0086">
                    <a:lumMod val="50000"/>
                  </a:srgb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155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316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847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463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078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694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3102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29258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1" name="Rectangle 40"/>
                <p:cNvSpPr>
                  <a:spLocks noChangeArrowheads="1"/>
                </p:cNvSpPr>
                <p:nvPr/>
              </p:nvSpPr>
              <p:spPr bwMode="auto">
                <a:xfrm>
                  <a:off x="5827063" y="6226578"/>
                  <a:ext cx="866052" cy="141077"/>
                </a:xfrm>
                <a:prstGeom prst="rect">
                  <a:avLst/>
                </a:prstGeom>
                <a:solidFill>
                  <a:srgbClr val="AB0086">
                    <a:lumMod val="50000"/>
                  </a:srgb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155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316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847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463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078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694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3102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29258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2" name="Rectangle 41"/>
                <p:cNvSpPr>
                  <a:spLocks noChangeArrowheads="1"/>
                </p:cNvSpPr>
                <p:nvPr/>
              </p:nvSpPr>
              <p:spPr bwMode="auto">
                <a:xfrm>
                  <a:off x="6794998" y="6661696"/>
                  <a:ext cx="1343162" cy="70538"/>
                </a:xfrm>
                <a:prstGeom prst="rect">
                  <a:avLst/>
                </a:prstGeom>
                <a:solidFill>
                  <a:srgbClr val="7FBA00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155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316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847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463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078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694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3102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29258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3" name="Rectangle 42"/>
                <p:cNvSpPr>
                  <a:spLocks noChangeArrowheads="1"/>
                </p:cNvSpPr>
                <p:nvPr/>
              </p:nvSpPr>
              <p:spPr bwMode="auto">
                <a:xfrm>
                  <a:off x="4120303" y="6424476"/>
                  <a:ext cx="62700" cy="229250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155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316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847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463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078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694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3102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29258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4" name="Oval 43"/>
                <p:cNvSpPr>
                  <a:spLocks noChangeArrowheads="1"/>
                </p:cNvSpPr>
                <p:nvPr/>
              </p:nvSpPr>
              <p:spPr bwMode="auto">
                <a:xfrm>
                  <a:off x="4000779" y="6220699"/>
                  <a:ext cx="305666" cy="305665"/>
                </a:xfrm>
                <a:prstGeom prst="ellipse">
                  <a:avLst/>
                </a:prstGeom>
                <a:solidFill>
                  <a:srgbClr val="7FBA00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155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316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847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463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078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694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3102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29258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5" name="Oval 44"/>
                <p:cNvSpPr>
                  <a:spLocks noChangeArrowheads="1"/>
                </p:cNvSpPr>
                <p:nvPr/>
              </p:nvSpPr>
              <p:spPr bwMode="auto">
                <a:xfrm>
                  <a:off x="4039967" y="6063947"/>
                  <a:ext cx="227289" cy="223371"/>
                </a:xfrm>
                <a:prstGeom prst="ellipse">
                  <a:avLst/>
                </a:prstGeom>
                <a:solidFill>
                  <a:srgbClr val="7FBA00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155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316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847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463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078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694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3102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29258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6" name="Rectangle 45"/>
                <p:cNvSpPr>
                  <a:spLocks noChangeArrowheads="1"/>
                </p:cNvSpPr>
                <p:nvPr/>
              </p:nvSpPr>
              <p:spPr bwMode="auto">
                <a:xfrm>
                  <a:off x="5893682" y="5174384"/>
                  <a:ext cx="417350" cy="166549"/>
                </a:xfrm>
                <a:prstGeom prst="rect">
                  <a:avLst/>
                </a:prstGeom>
                <a:solidFill>
                  <a:sysClr val="window" lastClr="FFFFFF">
                    <a:lumMod val="75000"/>
                  </a:sys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155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316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847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463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078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694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3102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29258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7" name="Rectangle 46"/>
                <p:cNvSpPr>
                  <a:spLocks noChangeArrowheads="1"/>
                </p:cNvSpPr>
                <p:nvPr/>
              </p:nvSpPr>
              <p:spPr bwMode="auto">
                <a:xfrm>
                  <a:off x="4408463" y="4902029"/>
                  <a:ext cx="1073746" cy="1822234"/>
                </a:xfrm>
                <a:prstGeom prst="rect">
                  <a:avLst/>
                </a:prstGeom>
                <a:solidFill>
                  <a:srgbClr val="9B4F96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155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316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847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463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078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694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3102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29258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8" name="Rectangle 47"/>
                <p:cNvSpPr>
                  <a:spLocks noChangeArrowheads="1"/>
                </p:cNvSpPr>
                <p:nvPr/>
              </p:nvSpPr>
              <p:spPr bwMode="auto">
                <a:xfrm>
                  <a:off x="4353600" y="4862841"/>
                  <a:ext cx="1181514" cy="39188"/>
                </a:xfrm>
                <a:prstGeom prst="rect">
                  <a:avLst/>
                </a:prstGeom>
                <a:solidFill>
                  <a:srgbClr val="9B4F96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155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316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847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463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078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694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3102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29258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9" name="Rectangle 48"/>
                <p:cNvSpPr>
                  <a:spLocks noChangeArrowheads="1"/>
                </p:cNvSpPr>
                <p:nvPr/>
              </p:nvSpPr>
              <p:spPr bwMode="auto">
                <a:xfrm>
                  <a:off x="4998240" y="6451907"/>
                  <a:ext cx="141077" cy="272356"/>
                </a:xfrm>
                <a:prstGeom prst="rect">
                  <a:avLst/>
                </a:prstGeom>
                <a:solidFill>
                  <a:srgbClr val="663300">
                    <a:lumMod val="75000"/>
                  </a:srgb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155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316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847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463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078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694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3102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29258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0" name="Rectangle 49"/>
                <p:cNvSpPr>
                  <a:spLocks noChangeArrowheads="1"/>
                </p:cNvSpPr>
                <p:nvPr/>
              </p:nvSpPr>
              <p:spPr bwMode="auto">
                <a:xfrm>
                  <a:off x="4755276" y="6451907"/>
                  <a:ext cx="139116" cy="272356"/>
                </a:xfrm>
                <a:prstGeom prst="rect">
                  <a:avLst/>
                </a:prstGeom>
                <a:solidFill>
                  <a:srgbClr val="663300">
                    <a:lumMod val="75000"/>
                  </a:srgb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155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316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847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463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078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694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3102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29258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1" name="Rectangle 50"/>
                <p:cNvSpPr>
                  <a:spLocks noChangeArrowheads="1"/>
                </p:cNvSpPr>
                <p:nvPr/>
              </p:nvSpPr>
              <p:spPr bwMode="auto">
                <a:xfrm>
                  <a:off x="4512311" y="5503561"/>
                  <a:ext cx="868010" cy="139117"/>
                </a:xfrm>
                <a:prstGeom prst="rect">
                  <a:avLst/>
                </a:prstGeom>
                <a:solidFill>
                  <a:srgbClr val="663300">
                    <a:lumMod val="75000"/>
                  </a:srgb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155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316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847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463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078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694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3102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29258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2" name="Rectangle 51"/>
                <p:cNvSpPr>
                  <a:spLocks noChangeArrowheads="1"/>
                </p:cNvSpPr>
                <p:nvPr/>
              </p:nvSpPr>
              <p:spPr bwMode="auto">
                <a:xfrm>
                  <a:off x="4512311" y="5744567"/>
                  <a:ext cx="868010" cy="141077"/>
                </a:xfrm>
                <a:prstGeom prst="rect">
                  <a:avLst/>
                </a:prstGeom>
                <a:solidFill>
                  <a:srgbClr val="663300">
                    <a:lumMod val="75000"/>
                  </a:srgb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155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316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847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463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078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694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3102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29258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3" name="Rectangle 52"/>
                <p:cNvSpPr>
                  <a:spLocks noChangeArrowheads="1"/>
                </p:cNvSpPr>
                <p:nvPr/>
              </p:nvSpPr>
              <p:spPr bwMode="auto">
                <a:xfrm>
                  <a:off x="4512311" y="5985572"/>
                  <a:ext cx="868010" cy="141077"/>
                </a:xfrm>
                <a:prstGeom prst="rect">
                  <a:avLst/>
                </a:prstGeom>
                <a:solidFill>
                  <a:srgbClr val="663300">
                    <a:lumMod val="75000"/>
                  </a:srgb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155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316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847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463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078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694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3102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29258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4" name="Rectangle 53"/>
                <p:cNvSpPr>
                  <a:spLocks noChangeArrowheads="1"/>
                </p:cNvSpPr>
                <p:nvPr/>
              </p:nvSpPr>
              <p:spPr bwMode="auto">
                <a:xfrm>
                  <a:off x="4512311" y="6226578"/>
                  <a:ext cx="868010" cy="141077"/>
                </a:xfrm>
                <a:prstGeom prst="rect">
                  <a:avLst/>
                </a:prstGeom>
                <a:solidFill>
                  <a:srgbClr val="663300">
                    <a:lumMod val="75000"/>
                  </a:srgb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155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316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847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463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078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694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3102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29258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5" name="Rectangle 54"/>
                <p:cNvSpPr>
                  <a:spLocks noChangeArrowheads="1"/>
                </p:cNvSpPr>
                <p:nvPr/>
              </p:nvSpPr>
              <p:spPr bwMode="auto">
                <a:xfrm>
                  <a:off x="4512311" y="5021551"/>
                  <a:ext cx="868010" cy="139117"/>
                </a:xfrm>
                <a:prstGeom prst="rect">
                  <a:avLst/>
                </a:prstGeom>
                <a:solidFill>
                  <a:srgbClr val="663300">
                    <a:lumMod val="75000"/>
                  </a:srgb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155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316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847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463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078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694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3102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29258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6" name="Rectangle 55"/>
                <p:cNvSpPr>
                  <a:spLocks noChangeArrowheads="1"/>
                </p:cNvSpPr>
                <p:nvPr/>
              </p:nvSpPr>
              <p:spPr bwMode="auto">
                <a:xfrm>
                  <a:off x="4512311" y="5262557"/>
                  <a:ext cx="868010" cy="139117"/>
                </a:xfrm>
                <a:prstGeom prst="rect">
                  <a:avLst/>
                </a:prstGeom>
                <a:solidFill>
                  <a:srgbClr val="663300">
                    <a:lumMod val="75000"/>
                  </a:srgb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155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316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847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463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078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694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3102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29258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7" name="Rectangle 56"/>
                <p:cNvSpPr>
                  <a:spLocks noChangeArrowheads="1"/>
                </p:cNvSpPr>
                <p:nvPr/>
              </p:nvSpPr>
              <p:spPr bwMode="auto">
                <a:xfrm>
                  <a:off x="5176544" y="4694333"/>
                  <a:ext cx="129320" cy="168508"/>
                </a:xfrm>
                <a:prstGeom prst="rect">
                  <a:avLst/>
                </a:prstGeom>
                <a:solidFill>
                  <a:sysClr val="window" lastClr="FFFFFF">
                    <a:lumMod val="75000"/>
                  </a:sys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155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316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847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463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078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694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3102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29258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8" name="Rectangle 57"/>
                <p:cNvSpPr>
                  <a:spLocks noChangeArrowheads="1"/>
                </p:cNvSpPr>
                <p:nvPr/>
              </p:nvSpPr>
              <p:spPr bwMode="auto">
                <a:xfrm>
                  <a:off x="5004118" y="4694333"/>
                  <a:ext cx="127360" cy="168508"/>
                </a:xfrm>
                <a:prstGeom prst="rect">
                  <a:avLst/>
                </a:prstGeom>
                <a:solidFill>
                  <a:sysClr val="window" lastClr="FFFFFF">
                    <a:lumMod val="75000"/>
                  </a:sys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155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316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847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463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078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694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3102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29258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9" name="Freeform 58"/>
                <p:cNvSpPr>
                  <a:spLocks/>
                </p:cNvSpPr>
                <p:nvPr/>
              </p:nvSpPr>
              <p:spPr bwMode="auto">
                <a:xfrm>
                  <a:off x="6514810" y="5035268"/>
                  <a:ext cx="280193" cy="305665"/>
                </a:xfrm>
                <a:custGeom>
                  <a:avLst/>
                  <a:gdLst>
                    <a:gd name="T0" fmla="*/ 71 w 143"/>
                    <a:gd name="T1" fmla="*/ 0 h 156"/>
                    <a:gd name="T2" fmla="*/ 71 w 143"/>
                    <a:gd name="T3" fmla="*/ 0 h 156"/>
                    <a:gd name="T4" fmla="*/ 0 w 143"/>
                    <a:gd name="T5" fmla="*/ 156 h 156"/>
                    <a:gd name="T6" fmla="*/ 143 w 143"/>
                    <a:gd name="T7" fmla="*/ 156 h 156"/>
                    <a:gd name="T8" fmla="*/ 71 w 143"/>
                    <a:gd name="T9" fmla="*/ 0 h 1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43" h="156">
                      <a:moveTo>
                        <a:pt x="71" y="0"/>
                      </a:moveTo>
                      <a:lnTo>
                        <a:pt x="71" y="0"/>
                      </a:lnTo>
                      <a:lnTo>
                        <a:pt x="0" y="156"/>
                      </a:lnTo>
                      <a:lnTo>
                        <a:pt x="143" y="156"/>
                      </a:lnTo>
                      <a:lnTo>
                        <a:pt x="71" y="0"/>
                      </a:lnTo>
                      <a:close/>
                    </a:path>
                  </a:pathLst>
                </a:custGeom>
                <a:solidFill>
                  <a:srgbClr val="AB0086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155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316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847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463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078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694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3102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29258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7" name="Freeform 277"/>
              <p:cNvSpPr>
                <a:spLocks/>
              </p:cNvSpPr>
              <p:nvPr/>
            </p:nvSpPr>
            <p:spPr bwMode="auto">
              <a:xfrm>
                <a:off x="9778229" y="3113125"/>
                <a:ext cx="1183538" cy="660682"/>
              </a:xfrm>
              <a:custGeom>
                <a:avLst/>
                <a:gdLst>
                  <a:gd name="T0" fmla="*/ 1466 w 1746"/>
                  <a:gd name="T1" fmla="*/ 504 h 1148"/>
                  <a:gd name="T2" fmla="*/ 1466 w 1746"/>
                  <a:gd name="T3" fmla="*/ 481 h 1148"/>
                  <a:gd name="T4" fmla="*/ 985 w 1746"/>
                  <a:gd name="T5" fmla="*/ 0 h 1148"/>
                  <a:gd name="T6" fmla="*/ 584 w 1746"/>
                  <a:gd name="T7" fmla="*/ 215 h 1148"/>
                  <a:gd name="T8" fmla="*/ 452 w 1746"/>
                  <a:gd name="T9" fmla="*/ 180 h 1148"/>
                  <a:gd name="T10" fmla="*/ 297 w 1746"/>
                  <a:gd name="T11" fmla="*/ 226 h 1148"/>
                  <a:gd name="T12" fmla="*/ 173 w 1746"/>
                  <a:gd name="T13" fmla="*/ 452 h 1148"/>
                  <a:gd name="T14" fmla="*/ 0 w 1746"/>
                  <a:gd name="T15" fmla="*/ 770 h 1148"/>
                  <a:gd name="T16" fmla="*/ 337 w 1746"/>
                  <a:gd name="T17" fmla="*/ 1148 h 1148"/>
                  <a:gd name="T18" fmla="*/ 378 w 1746"/>
                  <a:gd name="T19" fmla="*/ 1148 h 1148"/>
                  <a:gd name="T20" fmla="*/ 417 w 1746"/>
                  <a:gd name="T21" fmla="*/ 1148 h 1148"/>
                  <a:gd name="T22" fmla="*/ 1203 w 1746"/>
                  <a:gd name="T23" fmla="*/ 1148 h 1148"/>
                  <a:gd name="T24" fmla="*/ 1219 w 1746"/>
                  <a:gd name="T25" fmla="*/ 1148 h 1148"/>
                  <a:gd name="T26" fmla="*/ 1239 w 1746"/>
                  <a:gd name="T27" fmla="*/ 1148 h 1148"/>
                  <a:gd name="T28" fmla="*/ 1296 w 1746"/>
                  <a:gd name="T29" fmla="*/ 1148 h 1148"/>
                  <a:gd name="T30" fmla="*/ 1422 w 1746"/>
                  <a:gd name="T31" fmla="*/ 1148 h 1148"/>
                  <a:gd name="T32" fmla="*/ 1746 w 1746"/>
                  <a:gd name="T33" fmla="*/ 824 h 1148"/>
                  <a:gd name="T34" fmla="*/ 1466 w 1746"/>
                  <a:gd name="T35" fmla="*/ 504 h 1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46" h="1148">
                    <a:moveTo>
                      <a:pt x="1466" y="504"/>
                    </a:moveTo>
                    <a:lnTo>
                      <a:pt x="1466" y="481"/>
                    </a:lnTo>
                    <a:cubicBezTo>
                      <a:pt x="1466" y="215"/>
                      <a:pt x="1251" y="0"/>
                      <a:pt x="985" y="0"/>
                    </a:cubicBezTo>
                    <a:cubicBezTo>
                      <a:pt x="818" y="0"/>
                      <a:pt x="671" y="87"/>
                      <a:pt x="584" y="215"/>
                    </a:cubicBezTo>
                    <a:cubicBezTo>
                      <a:pt x="545" y="193"/>
                      <a:pt x="500" y="180"/>
                      <a:pt x="452" y="180"/>
                    </a:cubicBezTo>
                    <a:cubicBezTo>
                      <a:pt x="394" y="180"/>
                      <a:pt x="341" y="197"/>
                      <a:pt x="297" y="226"/>
                    </a:cubicBezTo>
                    <a:cubicBezTo>
                      <a:pt x="223" y="275"/>
                      <a:pt x="175" y="358"/>
                      <a:pt x="173" y="452"/>
                    </a:cubicBezTo>
                    <a:cubicBezTo>
                      <a:pt x="70" y="520"/>
                      <a:pt x="0" y="638"/>
                      <a:pt x="0" y="770"/>
                    </a:cubicBezTo>
                    <a:cubicBezTo>
                      <a:pt x="0" y="966"/>
                      <a:pt x="147" y="1126"/>
                      <a:pt x="337" y="1148"/>
                    </a:cubicBezTo>
                    <a:lnTo>
                      <a:pt x="378" y="1148"/>
                    </a:lnTo>
                    <a:lnTo>
                      <a:pt x="417" y="1148"/>
                    </a:lnTo>
                    <a:lnTo>
                      <a:pt x="1203" y="1148"/>
                    </a:lnTo>
                    <a:lnTo>
                      <a:pt x="1219" y="1148"/>
                    </a:lnTo>
                    <a:lnTo>
                      <a:pt x="1239" y="1148"/>
                    </a:lnTo>
                    <a:lnTo>
                      <a:pt x="1296" y="1148"/>
                    </a:lnTo>
                    <a:lnTo>
                      <a:pt x="1422" y="1148"/>
                    </a:lnTo>
                    <a:cubicBezTo>
                      <a:pt x="1601" y="1145"/>
                      <a:pt x="1746" y="1001"/>
                      <a:pt x="1746" y="824"/>
                    </a:cubicBezTo>
                    <a:cubicBezTo>
                      <a:pt x="1746" y="661"/>
                      <a:pt x="1624" y="526"/>
                      <a:pt x="1466" y="504"/>
                    </a:cubicBezTo>
                  </a:path>
                </a:pathLst>
              </a:custGeom>
              <a:solidFill>
                <a:srgbClr val="00BCF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55513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" name="Freeform 7"/>
              <p:cNvSpPr/>
              <p:nvPr/>
            </p:nvSpPr>
            <p:spPr>
              <a:xfrm>
                <a:off x="9284753" y="3630204"/>
                <a:ext cx="635618" cy="612956"/>
              </a:xfrm>
              <a:custGeom>
                <a:avLst/>
                <a:gdLst>
                  <a:gd name="connsiteX0" fmla="*/ 147901 w 547492"/>
                  <a:gd name="connsiteY0" fmla="*/ 159 h 547027"/>
                  <a:gd name="connsiteX1" fmla="*/ 164790 w 547492"/>
                  <a:gd name="connsiteY1" fmla="*/ 17385 h 547027"/>
                  <a:gd name="connsiteX2" fmla="*/ 257543 w 547492"/>
                  <a:gd name="connsiteY2" fmla="*/ 261873 h 547027"/>
                  <a:gd name="connsiteX3" fmla="*/ 531263 w 547492"/>
                  <a:gd name="connsiteY3" fmla="*/ 383096 h 547027"/>
                  <a:gd name="connsiteX4" fmla="*/ 533050 w 547492"/>
                  <a:gd name="connsiteY4" fmla="*/ 419093 h 547027"/>
                  <a:gd name="connsiteX5" fmla="*/ 234902 w 547492"/>
                  <a:gd name="connsiteY5" fmla="*/ 291210 h 547027"/>
                  <a:gd name="connsiteX6" fmla="*/ 130118 w 547492"/>
                  <a:gd name="connsiteY6" fmla="*/ 16219 h 547027"/>
                  <a:gd name="connsiteX7" fmla="*/ 147901 w 547492"/>
                  <a:gd name="connsiteY7" fmla="*/ 159 h 547027"/>
                  <a:gd name="connsiteX8" fmla="*/ 258593 w 547492"/>
                  <a:gd name="connsiteY8" fmla="*/ 83 h 547027"/>
                  <a:gd name="connsiteX9" fmla="*/ 276870 w 547492"/>
                  <a:gd name="connsiteY9" fmla="*/ 19473 h 547027"/>
                  <a:gd name="connsiteX10" fmla="*/ 342477 w 547492"/>
                  <a:gd name="connsiteY10" fmla="*/ 185830 h 547027"/>
                  <a:gd name="connsiteX11" fmla="*/ 529533 w 547492"/>
                  <a:gd name="connsiteY11" fmla="*/ 271534 h 547027"/>
                  <a:gd name="connsiteX12" fmla="*/ 529010 w 547492"/>
                  <a:gd name="connsiteY12" fmla="*/ 308769 h 547027"/>
                  <a:gd name="connsiteX13" fmla="*/ 319908 w 547492"/>
                  <a:gd name="connsiteY13" fmla="*/ 218161 h 547027"/>
                  <a:gd name="connsiteX14" fmla="*/ 241025 w 547492"/>
                  <a:gd name="connsiteY14" fmla="*/ 18615 h 547027"/>
                  <a:gd name="connsiteX15" fmla="*/ 258593 w 547492"/>
                  <a:gd name="connsiteY15" fmla="*/ 83 h 547027"/>
                  <a:gd name="connsiteX16" fmla="*/ 18843 w 547492"/>
                  <a:gd name="connsiteY16" fmla="*/ 10 h 547027"/>
                  <a:gd name="connsiteX17" fmla="*/ 37685 w 547492"/>
                  <a:gd name="connsiteY17" fmla="*/ 16302 h 547027"/>
                  <a:gd name="connsiteX18" fmla="*/ 164891 w 547492"/>
                  <a:gd name="connsiteY18" fmla="*/ 345340 h 547027"/>
                  <a:gd name="connsiteX19" fmla="*/ 531167 w 547492"/>
                  <a:gd name="connsiteY19" fmla="*/ 510082 h 547027"/>
                  <a:gd name="connsiteX20" fmla="*/ 528039 w 547492"/>
                  <a:gd name="connsiteY20" fmla="*/ 547022 h 547027"/>
                  <a:gd name="connsiteX21" fmla="*/ 139867 w 547492"/>
                  <a:gd name="connsiteY21" fmla="*/ 375130 h 547027"/>
                  <a:gd name="connsiteX22" fmla="*/ 0 w 547492"/>
                  <a:gd name="connsiteY22" fmla="*/ 15557 h 547027"/>
                  <a:gd name="connsiteX23" fmla="*/ 18843 w 547492"/>
                  <a:gd name="connsiteY23" fmla="*/ 10 h 547027"/>
                  <a:gd name="connsiteX24" fmla="*/ 361357 w 547492"/>
                  <a:gd name="connsiteY24" fmla="*/ 3 h 547027"/>
                  <a:gd name="connsiteX25" fmla="*/ 379427 w 547492"/>
                  <a:gd name="connsiteY25" fmla="*/ 22811 h 547027"/>
                  <a:gd name="connsiteX26" fmla="*/ 416799 w 547492"/>
                  <a:gd name="connsiteY26" fmla="*/ 121134 h 547027"/>
                  <a:gd name="connsiteX27" fmla="*/ 530986 w 547492"/>
                  <a:gd name="connsiteY27" fmla="*/ 167238 h 547027"/>
                  <a:gd name="connsiteX28" fmla="*/ 528863 w 547492"/>
                  <a:gd name="connsiteY28" fmla="*/ 205554 h 547027"/>
                  <a:gd name="connsiteX29" fmla="*/ 395749 w 547492"/>
                  <a:gd name="connsiteY29" fmla="*/ 150171 h 547027"/>
                  <a:gd name="connsiteX30" fmla="*/ 342870 w 547492"/>
                  <a:gd name="connsiteY30" fmla="*/ 38961 h 547027"/>
                  <a:gd name="connsiteX31" fmla="*/ 343296 w 547492"/>
                  <a:gd name="connsiteY31" fmla="*/ 21634 h 547027"/>
                  <a:gd name="connsiteX32" fmla="*/ 361357 w 547492"/>
                  <a:gd name="connsiteY32" fmla="*/ 3 h 5470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547492" h="547027">
                    <a:moveTo>
                      <a:pt x="147901" y="159"/>
                    </a:moveTo>
                    <a:cubicBezTo>
                      <a:pt x="156233" y="1247"/>
                      <a:pt x="164417" y="7883"/>
                      <a:pt x="164790" y="17385"/>
                    </a:cubicBezTo>
                    <a:cubicBezTo>
                      <a:pt x="163504" y="123250"/>
                      <a:pt x="210481" y="208637"/>
                      <a:pt x="257543" y="261873"/>
                    </a:cubicBezTo>
                    <a:cubicBezTo>
                      <a:pt x="329801" y="345790"/>
                      <a:pt x="450493" y="385299"/>
                      <a:pt x="531263" y="383096"/>
                    </a:cubicBezTo>
                    <a:cubicBezTo>
                      <a:pt x="554755" y="384136"/>
                      <a:pt x="550415" y="419245"/>
                      <a:pt x="533050" y="419093"/>
                    </a:cubicBezTo>
                    <a:cubicBezTo>
                      <a:pt x="450691" y="419472"/>
                      <a:pt x="338455" y="398909"/>
                      <a:pt x="234902" y="291210"/>
                    </a:cubicBezTo>
                    <a:cubicBezTo>
                      <a:pt x="193363" y="241274"/>
                      <a:pt x="128927" y="167539"/>
                      <a:pt x="130118" y="16219"/>
                    </a:cubicBezTo>
                    <a:cubicBezTo>
                      <a:pt x="131087" y="3530"/>
                      <a:pt x="139569" y="-930"/>
                      <a:pt x="147901" y="159"/>
                    </a:cubicBezTo>
                    <a:close/>
                    <a:moveTo>
                      <a:pt x="258593" y="83"/>
                    </a:moveTo>
                    <a:cubicBezTo>
                      <a:pt x="267391" y="-753"/>
                      <a:pt x="276308" y="4730"/>
                      <a:pt x="276870" y="19473"/>
                    </a:cubicBezTo>
                    <a:cubicBezTo>
                      <a:pt x="277152" y="95057"/>
                      <a:pt x="309784" y="144239"/>
                      <a:pt x="342477" y="185830"/>
                    </a:cubicBezTo>
                    <a:cubicBezTo>
                      <a:pt x="395970" y="243463"/>
                      <a:pt x="472402" y="273156"/>
                      <a:pt x="529533" y="271534"/>
                    </a:cubicBezTo>
                    <a:cubicBezTo>
                      <a:pt x="554491" y="271108"/>
                      <a:pt x="552612" y="307689"/>
                      <a:pt x="529010" y="308769"/>
                    </a:cubicBezTo>
                    <a:cubicBezTo>
                      <a:pt x="463605" y="309049"/>
                      <a:pt x="394346" y="293904"/>
                      <a:pt x="319908" y="218161"/>
                    </a:cubicBezTo>
                    <a:cubicBezTo>
                      <a:pt x="290526" y="181384"/>
                      <a:pt x="240182" y="130058"/>
                      <a:pt x="241025" y="18615"/>
                    </a:cubicBezTo>
                    <a:cubicBezTo>
                      <a:pt x="241115" y="8077"/>
                      <a:pt x="249795" y="920"/>
                      <a:pt x="258593" y="83"/>
                    </a:cubicBezTo>
                    <a:close/>
                    <a:moveTo>
                      <a:pt x="18843" y="10"/>
                    </a:moveTo>
                    <a:cubicBezTo>
                      <a:pt x="28214" y="265"/>
                      <a:pt x="37586" y="5826"/>
                      <a:pt x="37685" y="16302"/>
                    </a:cubicBezTo>
                    <a:cubicBezTo>
                      <a:pt x="35997" y="154729"/>
                      <a:pt x="103125" y="275729"/>
                      <a:pt x="164891" y="345340"/>
                    </a:cubicBezTo>
                    <a:cubicBezTo>
                      <a:pt x="259725" y="455069"/>
                      <a:pt x="425162" y="512962"/>
                      <a:pt x="531167" y="510082"/>
                    </a:cubicBezTo>
                    <a:cubicBezTo>
                      <a:pt x="555744" y="509883"/>
                      <a:pt x="550829" y="547221"/>
                      <a:pt x="528039" y="547022"/>
                    </a:cubicBezTo>
                    <a:cubicBezTo>
                      <a:pt x="419949" y="547519"/>
                      <a:pt x="273429" y="516735"/>
                      <a:pt x="139867" y="375130"/>
                    </a:cubicBezTo>
                    <a:cubicBezTo>
                      <a:pt x="85350" y="312173"/>
                      <a:pt x="0" y="200955"/>
                      <a:pt x="0" y="15557"/>
                    </a:cubicBezTo>
                    <a:cubicBezTo>
                      <a:pt x="99" y="4808"/>
                      <a:pt x="9471" y="-244"/>
                      <a:pt x="18843" y="10"/>
                    </a:cubicBezTo>
                    <a:close/>
                    <a:moveTo>
                      <a:pt x="361357" y="3"/>
                    </a:moveTo>
                    <a:cubicBezTo>
                      <a:pt x="370360" y="-117"/>
                      <a:pt x="379364" y="7170"/>
                      <a:pt x="379427" y="22811"/>
                    </a:cubicBezTo>
                    <a:cubicBezTo>
                      <a:pt x="379608" y="73981"/>
                      <a:pt x="395801" y="92977"/>
                      <a:pt x="416799" y="121134"/>
                    </a:cubicBezTo>
                    <a:cubicBezTo>
                      <a:pt x="452945" y="158363"/>
                      <a:pt x="498462" y="168336"/>
                      <a:pt x="530986" y="167238"/>
                    </a:cubicBezTo>
                    <a:cubicBezTo>
                      <a:pt x="549400" y="166950"/>
                      <a:pt x="557131" y="203036"/>
                      <a:pt x="528863" y="205554"/>
                    </a:cubicBezTo>
                    <a:cubicBezTo>
                      <a:pt x="486854" y="205743"/>
                      <a:pt x="443561" y="201449"/>
                      <a:pt x="395749" y="150171"/>
                    </a:cubicBezTo>
                    <a:cubicBezTo>
                      <a:pt x="351991" y="102452"/>
                      <a:pt x="343809" y="62263"/>
                      <a:pt x="342870" y="38961"/>
                    </a:cubicBezTo>
                    <a:cubicBezTo>
                      <a:pt x="342557" y="31194"/>
                      <a:pt x="343049" y="25303"/>
                      <a:pt x="343296" y="21634"/>
                    </a:cubicBezTo>
                    <a:cubicBezTo>
                      <a:pt x="343354" y="7649"/>
                      <a:pt x="352355" y="122"/>
                      <a:pt x="361357" y="3"/>
                    </a:cubicBezTo>
                    <a:close/>
                  </a:path>
                </a:pathLst>
              </a:custGeom>
              <a:solidFill>
                <a:srgbClr val="EB3C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r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9" name="Group 8"/>
              <p:cNvGrpSpPr/>
              <p:nvPr/>
            </p:nvGrpSpPr>
            <p:grpSpPr>
              <a:xfrm>
                <a:off x="8328591" y="4246212"/>
                <a:ext cx="649980" cy="649980"/>
                <a:chOff x="9250745" y="2863148"/>
                <a:chExt cx="717419" cy="717419"/>
              </a:xfrm>
            </p:grpSpPr>
            <p:sp>
              <p:nvSpPr>
                <p:cNvPr id="22" name="Oval 312"/>
                <p:cNvSpPr>
                  <a:spLocks noChangeArrowheads="1"/>
                </p:cNvSpPr>
                <p:nvPr/>
              </p:nvSpPr>
              <p:spPr bwMode="auto">
                <a:xfrm>
                  <a:off x="9250745" y="2863148"/>
                  <a:ext cx="717419" cy="717419"/>
                </a:xfrm>
                <a:prstGeom prst="ellipse">
                  <a:avLst/>
                </a:prstGeom>
                <a:solidFill>
                  <a:srgbClr val="7FBA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555132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F3F3F"/>
                    </a:solidFill>
                    <a:effectLst/>
                    <a:uLnTx/>
                    <a:uFillTx/>
                  </a:endParaRPr>
                </a:p>
              </p:txBody>
            </p:sp>
            <p:grpSp>
              <p:nvGrpSpPr>
                <p:cNvPr id="23" name="Group 22"/>
                <p:cNvGrpSpPr/>
                <p:nvPr/>
              </p:nvGrpSpPr>
              <p:grpSpPr bwMode="black">
                <a:xfrm>
                  <a:off x="9407585" y="3106850"/>
                  <a:ext cx="403737" cy="250377"/>
                  <a:chOff x="10387012" y="4103350"/>
                  <a:chExt cx="995920" cy="725626"/>
                </a:xfrm>
                <a:solidFill>
                  <a:srgbClr val="FFFFFF"/>
                </a:solidFill>
              </p:grpSpPr>
              <p:sp>
                <p:nvSpPr>
                  <p:cNvPr id="24" name="Freeform 26"/>
                  <p:cNvSpPr>
                    <a:spLocks/>
                  </p:cNvSpPr>
                  <p:nvPr/>
                </p:nvSpPr>
                <p:spPr bwMode="black">
                  <a:xfrm>
                    <a:off x="10506081" y="4218399"/>
                    <a:ext cx="706438" cy="599679"/>
                  </a:xfrm>
                  <a:custGeom>
                    <a:avLst/>
                    <a:gdLst>
                      <a:gd name="T0" fmla="*/ 183 w 188"/>
                      <a:gd name="T1" fmla="*/ 84 h 137"/>
                      <a:gd name="T2" fmla="*/ 104 w 188"/>
                      <a:gd name="T3" fmla="*/ 27 h 137"/>
                      <a:gd name="T4" fmla="*/ 86 w 188"/>
                      <a:gd name="T5" fmla="*/ 19 h 137"/>
                      <a:gd name="T6" fmla="*/ 59 w 188"/>
                      <a:gd name="T7" fmla="*/ 34 h 137"/>
                      <a:gd name="T8" fmla="*/ 56 w 188"/>
                      <a:gd name="T9" fmla="*/ 36 h 137"/>
                      <a:gd name="T10" fmla="*/ 43 w 188"/>
                      <a:gd name="T11" fmla="*/ 38 h 137"/>
                      <a:gd name="T12" fmla="*/ 43 w 188"/>
                      <a:gd name="T13" fmla="*/ 38 h 137"/>
                      <a:gd name="T14" fmla="*/ 26 w 188"/>
                      <a:gd name="T15" fmla="*/ 27 h 137"/>
                      <a:gd name="T16" fmla="*/ 24 w 188"/>
                      <a:gd name="T17" fmla="*/ 14 h 137"/>
                      <a:gd name="T18" fmla="*/ 31 w 188"/>
                      <a:gd name="T19" fmla="*/ 0 h 137"/>
                      <a:gd name="T20" fmla="*/ 21 w 188"/>
                      <a:gd name="T21" fmla="*/ 0 h 137"/>
                      <a:gd name="T22" fmla="*/ 1 w 188"/>
                      <a:gd name="T23" fmla="*/ 79 h 137"/>
                      <a:gd name="T24" fmla="*/ 4 w 188"/>
                      <a:gd name="T25" fmla="*/ 80 h 137"/>
                      <a:gd name="T26" fmla="*/ 16 w 188"/>
                      <a:gd name="T27" fmla="*/ 70 h 137"/>
                      <a:gd name="T28" fmla="*/ 22 w 188"/>
                      <a:gd name="T29" fmla="*/ 70 h 137"/>
                      <a:gd name="T30" fmla="*/ 32 w 188"/>
                      <a:gd name="T31" fmla="*/ 74 h 137"/>
                      <a:gd name="T32" fmla="*/ 43 w 188"/>
                      <a:gd name="T33" fmla="*/ 72 h 137"/>
                      <a:gd name="T34" fmla="*/ 44 w 188"/>
                      <a:gd name="T35" fmla="*/ 72 h 137"/>
                      <a:gd name="T36" fmla="*/ 53 w 188"/>
                      <a:gd name="T37" fmla="*/ 76 h 137"/>
                      <a:gd name="T38" fmla="*/ 65 w 188"/>
                      <a:gd name="T39" fmla="*/ 74 h 137"/>
                      <a:gd name="T40" fmla="*/ 67 w 188"/>
                      <a:gd name="T41" fmla="*/ 74 h 137"/>
                      <a:gd name="T42" fmla="*/ 80 w 188"/>
                      <a:gd name="T43" fmla="*/ 88 h 137"/>
                      <a:gd name="T44" fmla="*/ 83 w 188"/>
                      <a:gd name="T45" fmla="*/ 88 h 137"/>
                      <a:gd name="T46" fmla="*/ 85 w 188"/>
                      <a:gd name="T47" fmla="*/ 89 h 137"/>
                      <a:gd name="T48" fmla="*/ 99 w 188"/>
                      <a:gd name="T49" fmla="*/ 108 h 137"/>
                      <a:gd name="T50" fmla="*/ 99 w 188"/>
                      <a:gd name="T51" fmla="*/ 110 h 137"/>
                      <a:gd name="T52" fmla="*/ 96 w 188"/>
                      <a:gd name="T53" fmla="*/ 124 h 137"/>
                      <a:gd name="T54" fmla="*/ 114 w 188"/>
                      <a:gd name="T55" fmla="*/ 137 h 137"/>
                      <a:gd name="T56" fmla="*/ 123 w 188"/>
                      <a:gd name="T57" fmla="*/ 132 h 137"/>
                      <a:gd name="T58" fmla="*/ 124 w 188"/>
                      <a:gd name="T59" fmla="*/ 124 h 137"/>
                      <a:gd name="T60" fmla="*/ 108 w 188"/>
                      <a:gd name="T61" fmla="*/ 112 h 137"/>
                      <a:gd name="T62" fmla="*/ 107 w 188"/>
                      <a:gd name="T63" fmla="*/ 109 h 137"/>
                      <a:gd name="T64" fmla="*/ 110 w 188"/>
                      <a:gd name="T65" fmla="*/ 109 h 137"/>
                      <a:gd name="T66" fmla="*/ 136 w 188"/>
                      <a:gd name="T67" fmla="*/ 127 h 137"/>
                      <a:gd name="T68" fmla="*/ 145 w 188"/>
                      <a:gd name="T69" fmla="*/ 123 h 137"/>
                      <a:gd name="T70" fmla="*/ 147 w 188"/>
                      <a:gd name="T71" fmla="*/ 114 h 137"/>
                      <a:gd name="T72" fmla="*/ 117 w 188"/>
                      <a:gd name="T73" fmla="*/ 93 h 137"/>
                      <a:gd name="T74" fmla="*/ 117 w 188"/>
                      <a:gd name="T75" fmla="*/ 90 h 137"/>
                      <a:gd name="T76" fmla="*/ 120 w 188"/>
                      <a:gd name="T77" fmla="*/ 89 h 137"/>
                      <a:gd name="T78" fmla="*/ 156 w 188"/>
                      <a:gd name="T79" fmla="*/ 116 h 137"/>
                      <a:gd name="T80" fmla="*/ 165 w 188"/>
                      <a:gd name="T81" fmla="*/ 111 h 137"/>
                      <a:gd name="T82" fmla="*/ 167 w 188"/>
                      <a:gd name="T83" fmla="*/ 102 h 137"/>
                      <a:gd name="T84" fmla="*/ 137 w 188"/>
                      <a:gd name="T85" fmla="*/ 81 h 137"/>
                      <a:gd name="T86" fmla="*/ 136 w 188"/>
                      <a:gd name="T87" fmla="*/ 78 h 137"/>
                      <a:gd name="T88" fmla="*/ 139 w 188"/>
                      <a:gd name="T89" fmla="*/ 77 h 137"/>
                      <a:gd name="T90" fmla="*/ 176 w 188"/>
                      <a:gd name="T91" fmla="*/ 104 h 137"/>
                      <a:gd name="T92" fmla="*/ 185 w 188"/>
                      <a:gd name="T93" fmla="*/ 99 h 137"/>
                      <a:gd name="T94" fmla="*/ 183 w 188"/>
                      <a:gd name="T95" fmla="*/ 84 h 13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</a:cxnLst>
                    <a:rect l="0" t="0" r="r" b="b"/>
                    <a:pathLst>
                      <a:path w="188" h="137">
                        <a:moveTo>
                          <a:pt x="183" y="84"/>
                        </a:moveTo>
                        <a:cubicBezTo>
                          <a:pt x="104" y="27"/>
                          <a:pt x="104" y="27"/>
                          <a:pt x="104" y="27"/>
                        </a:cubicBezTo>
                        <a:cubicBezTo>
                          <a:pt x="86" y="19"/>
                          <a:pt x="86" y="19"/>
                          <a:pt x="86" y="19"/>
                        </a:cubicBezTo>
                        <a:cubicBezTo>
                          <a:pt x="59" y="34"/>
                          <a:pt x="59" y="34"/>
                          <a:pt x="59" y="34"/>
                        </a:cubicBezTo>
                        <a:cubicBezTo>
                          <a:pt x="56" y="36"/>
                          <a:pt x="56" y="36"/>
                          <a:pt x="56" y="36"/>
                        </a:cubicBezTo>
                        <a:cubicBezTo>
                          <a:pt x="52" y="38"/>
                          <a:pt x="47" y="39"/>
                          <a:pt x="43" y="38"/>
                        </a:cubicBezTo>
                        <a:cubicBezTo>
                          <a:pt x="43" y="38"/>
                          <a:pt x="43" y="38"/>
                          <a:pt x="43" y="38"/>
                        </a:cubicBezTo>
                        <a:cubicBezTo>
                          <a:pt x="36" y="38"/>
                          <a:pt x="30" y="34"/>
                          <a:pt x="26" y="27"/>
                        </a:cubicBezTo>
                        <a:cubicBezTo>
                          <a:pt x="24" y="23"/>
                          <a:pt x="23" y="19"/>
                          <a:pt x="24" y="14"/>
                        </a:cubicBezTo>
                        <a:cubicBezTo>
                          <a:pt x="24" y="9"/>
                          <a:pt x="27" y="4"/>
                          <a:pt x="31" y="0"/>
                        </a:cubicBezTo>
                        <a:cubicBezTo>
                          <a:pt x="25" y="0"/>
                          <a:pt x="21" y="0"/>
                          <a:pt x="21" y="0"/>
                        </a:cubicBezTo>
                        <a:cubicBezTo>
                          <a:pt x="21" y="0"/>
                          <a:pt x="0" y="40"/>
                          <a:pt x="1" y="79"/>
                        </a:cubicBezTo>
                        <a:cubicBezTo>
                          <a:pt x="4" y="80"/>
                          <a:pt x="4" y="80"/>
                          <a:pt x="4" y="80"/>
                        </a:cubicBezTo>
                        <a:cubicBezTo>
                          <a:pt x="6" y="75"/>
                          <a:pt x="10" y="72"/>
                          <a:pt x="16" y="70"/>
                        </a:cubicBezTo>
                        <a:cubicBezTo>
                          <a:pt x="18" y="70"/>
                          <a:pt x="20" y="70"/>
                          <a:pt x="22" y="70"/>
                        </a:cubicBezTo>
                        <a:cubicBezTo>
                          <a:pt x="25" y="70"/>
                          <a:pt x="29" y="72"/>
                          <a:pt x="32" y="74"/>
                        </a:cubicBezTo>
                        <a:cubicBezTo>
                          <a:pt x="35" y="72"/>
                          <a:pt x="39" y="71"/>
                          <a:pt x="43" y="72"/>
                        </a:cubicBezTo>
                        <a:cubicBezTo>
                          <a:pt x="43" y="72"/>
                          <a:pt x="44" y="72"/>
                          <a:pt x="44" y="72"/>
                        </a:cubicBezTo>
                        <a:cubicBezTo>
                          <a:pt x="48" y="72"/>
                          <a:pt x="51" y="74"/>
                          <a:pt x="53" y="76"/>
                        </a:cubicBezTo>
                        <a:cubicBezTo>
                          <a:pt x="56" y="74"/>
                          <a:pt x="60" y="73"/>
                          <a:pt x="65" y="74"/>
                        </a:cubicBezTo>
                        <a:cubicBezTo>
                          <a:pt x="65" y="74"/>
                          <a:pt x="66" y="74"/>
                          <a:pt x="67" y="74"/>
                        </a:cubicBezTo>
                        <a:cubicBezTo>
                          <a:pt x="74" y="76"/>
                          <a:pt x="79" y="81"/>
                          <a:pt x="80" y="88"/>
                        </a:cubicBezTo>
                        <a:cubicBezTo>
                          <a:pt x="81" y="88"/>
                          <a:pt x="82" y="88"/>
                          <a:pt x="83" y="88"/>
                        </a:cubicBezTo>
                        <a:cubicBezTo>
                          <a:pt x="84" y="88"/>
                          <a:pt x="84" y="88"/>
                          <a:pt x="85" y="89"/>
                        </a:cubicBezTo>
                        <a:cubicBezTo>
                          <a:pt x="94" y="91"/>
                          <a:pt x="100" y="99"/>
                          <a:pt x="99" y="108"/>
                        </a:cubicBezTo>
                        <a:cubicBezTo>
                          <a:pt x="99" y="109"/>
                          <a:pt x="99" y="110"/>
                          <a:pt x="99" y="110"/>
                        </a:cubicBezTo>
                        <a:cubicBezTo>
                          <a:pt x="96" y="124"/>
                          <a:pt x="96" y="124"/>
                          <a:pt x="96" y="124"/>
                        </a:cubicBezTo>
                        <a:cubicBezTo>
                          <a:pt x="114" y="137"/>
                          <a:pt x="114" y="137"/>
                          <a:pt x="114" y="137"/>
                        </a:cubicBezTo>
                        <a:cubicBezTo>
                          <a:pt x="117" y="137"/>
                          <a:pt x="120" y="135"/>
                          <a:pt x="123" y="132"/>
                        </a:cubicBezTo>
                        <a:cubicBezTo>
                          <a:pt x="124" y="130"/>
                          <a:pt x="125" y="127"/>
                          <a:pt x="124" y="124"/>
                        </a:cubicBezTo>
                        <a:cubicBezTo>
                          <a:pt x="108" y="112"/>
                          <a:pt x="108" y="112"/>
                          <a:pt x="108" y="112"/>
                        </a:cubicBezTo>
                        <a:cubicBezTo>
                          <a:pt x="107" y="111"/>
                          <a:pt x="107" y="110"/>
                          <a:pt x="107" y="109"/>
                        </a:cubicBezTo>
                        <a:cubicBezTo>
                          <a:pt x="108" y="108"/>
                          <a:pt x="109" y="108"/>
                          <a:pt x="110" y="109"/>
                        </a:cubicBezTo>
                        <a:cubicBezTo>
                          <a:pt x="136" y="127"/>
                          <a:pt x="136" y="127"/>
                          <a:pt x="136" y="127"/>
                        </a:cubicBezTo>
                        <a:cubicBezTo>
                          <a:pt x="140" y="127"/>
                          <a:pt x="143" y="126"/>
                          <a:pt x="145" y="123"/>
                        </a:cubicBezTo>
                        <a:cubicBezTo>
                          <a:pt x="147" y="120"/>
                          <a:pt x="147" y="117"/>
                          <a:pt x="147" y="114"/>
                        </a:cubicBezTo>
                        <a:cubicBezTo>
                          <a:pt x="117" y="93"/>
                          <a:pt x="117" y="93"/>
                          <a:pt x="117" y="93"/>
                        </a:cubicBezTo>
                        <a:cubicBezTo>
                          <a:pt x="116" y="92"/>
                          <a:pt x="116" y="91"/>
                          <a:pt x="117" y="90"/>
                        </a:cubicBezTo>
                        <a:cubicBezTo>
                          <a:pt x="117" y="89"/>
                          <a:pt x="119" y="89"/>
                          <a:pt x="120" y="89"/>
                        </a:cubicBezTo>
                        <a:cubicBezTo>
                          <a:pt x="156" y="116"/>
                          <a:pt x="156" y="116"/>
                          <a:pt x="156" y="116"/>
                        </a:cubicBezTo>
                        <a:cubicBezTo>
                          <a:pt x="159" y="116"/>
                          <a:pt x="163" y="114"/>
                          <a:pt x="165" y="111"/>
                        </a:cubicBezTo>
                        <a:cubicBezTo>
                          <a:pt x="167" y="108"/>
                          <a:pt x="167" y="105"/>
                          <a:pt x="167" y="102"/>
                        </a:cubicBezTo>
                        <a:cubicBezTo>
                          <a:pt x="137" y="81"/>
                          <a:pt x="137" y="81"/>
                          <a:pt x="137" y="81"/>
                        </a:cubicBezTo>
                        <a:cubicBezTo>
                          <a:pt x="136" y="80"/>
                          <a:pt x="136" y="79"/>
                          <a:pt x="136" y="78"/>
                        </a:cubicBezTo>
                        <a:cubicBezTo>
                          <a:pt x="137" y="77"/>
                          <a:pt x="138" y="76"/>
                          <a:pt x="139" y="77"/>
                        </a:cubicBezTo>
                        <a:cubicBezTo>
                          <a:pt x="176" y="104"/>
                          <a:pt x="176" y="104"/>
                          <a:pt x="176" y="104"/>
                        </a:cubicBezTo>
                        <a:cubicBezTo>
                          <a:pt x="180" y="104"/>
                          <a:pt x="183" y="102"/>
                          <a:pt x="185" y="99"/>
                        </a:cubicBezTo>
                        <a:cubicBezTo>
                          <a:pt x="188" y="94"/>
                          <a:pt x="187" y="87"/>
                          <a:pt x="183" y="84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32316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0" cap="none" spc="0" normalizeH="0" baseline="0" noProof="0" dirty="0">
                      <a:ln>
                        <a:solidFill>
                          <a:srgbClr val="FFFFFF">
                            <a:alpha val="0"/>
                          </a:srgbClr>
                        </a:solidFill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25" name="Freeform 27"/>
                  <p:cNvSpPr>
                    <a:spLocks/>
                  </p:cNvSpPr>
                  <p:nvPr/>
                </p:nvSpPr>
                <p:spPr bwMode="black">
                  <a:xfrm>
                    <a:off x="10615616" y="4103350"/>
                    <a:ext cx="657226" cy="452255"/>
                  </a:xfrm>
                  <a:custGeom>
                    <a:avLst/>
                    <a:gdLst>
                      <a:gd name="T0" fmla="*/ 127 w 175"/>
                      <a:gd name="T1" fmla="*/ 31 h 100"/>
                      <a:gd name="T2" fmla="*/ 119 w 175"/>
                      <a:gd name="T3" fmla="*/ 28 h 100"/>
                      <a:gd name="T4" fmla="*/ 62 w 175"/>
                      <a:gd name="T5" fmla="*/ 2 h 100"/>
                      <a:gd name="T6" fmla="*/ 49 w 175"/>
                      <a:gd name="T7" fmla="*/ 3 h 100"/>
                      <a:gd name="T8" fmla="*/ 26 w 175"/>
                      <a:gd name="T9" fmla="*/ 16 h 100"/>
                      <a:gd name="T10" fmla="*/ 9 w 175"/>
                      <a:gd name="T11" fmla="*/ 25 h 100"/>
                      <a:gd name="T12" fmla="*/ 4 w 175"/>
                      <a:gd name="T13" fmla="*/ 45 h 100"/>
                      <a:gd name="T14" fmla="*/ 15 w 175"/>
                      <a:gd name="T15" fmla="*/ 52 h 100"/>
                      <a:gd name="T16" fmla="*/ 23 w 175"/>
                      <a:gd name="T17" fmla="*/ 50 h 100"/>
                      <a:gd name="T18" fmla="*/ 23 w 175"/>
                      <a:gd name="T19" fmla="*/ 50 h 100"/>
                      <a:gd name="T20" fmla="*/ 57 w 175"/>
                      <a:gd name="T21" fmla="*/ 32 h 100"/>
                      <a:gd name="T22" fmla="*/ 79 w 175"/>
                      <a:gd name="T23" fmla="*/ 42 h 100"/>
                      <a:gd name="T24" fmla="*/ 109 w 175"/>
                      <a:gd name="T25" fmla="*/ 64 h 100"/>
                      <a:gd name="T26" fmla="*/ 158 w 175"/>
                      <a:gd name="T27" fmla="*/ 99 h 100"/>
                      <a:gd name="T28" fmla="*/ 159 w 175"/>
                      <a:gd name="T29" fmla="*/ 100 h 100"/>
                      <a:gd name="T30" fmla="*/ 173 w 175"/>
                      <a:gd name="T31" fmla="*/ 97 h 100"/>
                      <a:gd name="T32" fmla="*/ 154 w 175"/>
                      <a:gd name="T33" fmla="*/ 29 h 100"/>
                      <a:gd name="T34" fmla="*/ 127 w 175"/>
                      <a:gd name="T35" fmla="*/ 31 h 1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75" h="100">
                        <a:moveTo>
                          <a:pt x="127" y="31"/>
                        </a:moveTo>
                        <a:cubicBezTo>
                          <a:pt x="125" y="31"/>
                          <a:pt x="122" y="30"/>
                          <a:pt x="119" y="28"/>
                        </a:cubicBezTo>
                        <a:cubicBezTo>
                          <a:pt x="62" y="2"/>
                          <a:pt x="62" y="2"/>
                          <a:pt x="62" y="2"/>
                        </a:cubicBezTo>
                        <a:cubicBezTo>
                          <a:pt x="58" y="0"/>
                          <a:pt x="53" y="1"/>
                          <a:pt x="49" y="3"/>
                        </a:cubicBezTo>
                        <a:cubicBezTo>
                          <a:pt x="26" y="16"/>
                          <a:pt x="26" y="16"/>
                          <a:pt x="26" y="16"/>
                        </a:cubicBezTo>
                        <a:cubicBezTo>
                          <a:pt x="9" y="25"/>
                          <a:pt x="9" y="25"/>
                          <a:pt x="9" y="25"/>
                        </a:cubicBezTo>
                        <a:cubicBezTo>
                          <a:pt x="2" y="29"/>
                          <a:pt x="0" y="38"/>
                          <a:pt x="4" y="45"/>
                        </a:cubicBezTo>
                        <a:cubicBezTo>
                          <a:pt x="6" y="49"/>
                          <a:pt x="10" y="52"/>
                          <a:pt x="15" y="52"/>
                        </a:cubicBezTo>
                        <a:cubicBezTo>
                          <a:pt x="18" y="52"/>
                          <a:pt x="21" y="52"/>
                          <a:pt x="23" y="50"/>
                        </a:cubicBezTo>
                        <a:cubicBezTo>
                          <a:pt x="23" y="50"/>
                          <a:pt x="23" y="50"/>
                          <a:pt x="23" y="50"/>
                        </a:cubicBezTo>
                        <a:cubicBezTo>
                          <a:pt x="57" y="32"/>
                          <a:pt x="57" y="32"/>
                          <a:pt x="57" y="32"/>
                        </a:cubicBezTo>
                        <a:cubicBezTo>
                          <a:pt x="79" y="42"/>
                          <a:pt x="79" y="42"/>
                          <a:pt x="79" y="42"/>
                        </a:cubicBezTo>
                        <a:cubicBezTo>
                          <a:pt x="109" y="64"/>
                          <a:pt x="109" y="64"/>
                          <a:pt x="109" y="64"/>
                        </a:cubicBezTo>
                        <a:cubicBezTo>
                          <a:pt x="158" y="99"/>
                          <a:pt x="158" y="99"/>
                          <a:pt x="158" y="99"/>
                        </a:cubicBezTo>
                        <a:cubicBezTo>
                          <a:pt x="158" y="99"/>
                          <a:pt x="159" y="100"/>
                          <a:pt x="159" y="100"/>
                        </a:cubicBezTo>
                        <a:cubicBezTo>
                          <a:pt x="173" y="97"/>
                          <a:pt x="173" y="97"/>
                          <a:pt x="173" y="97"/>
                        </a:cubicBezTo>
                        <a:cubicBezTo>
                          <a:pt x="175" y="51"/>
                          <a:pt x="154" y="29"/>
                          <a:pt x="154" y="29"/>
                        </a:cubicBezTo>
                        <a:cubicBezTo>
                          <a:pt x="154" y="29"/>
                          <a:pt x="133" y="33"/>
                          <a:pt x="127" y="31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32316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0" cap="none" spc="0" normalizeH="0" baseline="0" noProof="0" dirty="0">
                      <a:ln>
                        <a:solidFill>
                          <a:srgbClr val="FFFFFF">
                            <a:alpha val="0"/>
                          </a:srgbClr>
                        </a:solidFill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26" name="Freeform 28"/>
                  <p:cNvSpPr>
                    <a:spLocks/>
                  </p:cNvSpPr>
                  <p:nvPr/>
                </p:nvSpPr>
                <p:spPr bwMode="black">
                  <a:xfrm>
                    <a:off x="10536238" y="4554567"/>
                    <a:ext cx="319088" cy="274409"/>
                  </a:xfrm>
                  <a:custGeom>
                    <a:avLst/>
                    <a:gdLst>
                      <a:gd name="T0" fmla="*/ 76 w 85"/>
                      <a:gd name="T1" fmla="*/ 20 h 59"/>
                      <a:gd name="T2" fmla="*/ 64 w 85"/>
                      <a:gd name="T3" fmla="*/ 25 h 59"/>
                      <a:gd name="T4" fmla="*/ 65 w 85"/>
                      <a:gd name="T5" fmla="*/ 18 h 59"/>
                      <a:gd name="T6" fmla="*/ 57 w 85"/>
                      <a:gd name="T7" fmla="*/ 5 h 59"/>
                      <a:gd name="T8" fmla="*/ 44 w 85"/>
                      <a:gd name="T9" fmla="*/ 13 h 59"/>
                      <a:gd name="T10" fmla="*/ 44 w 85"/>
                      <a:gd name="T11" fmla="*/ 14 h 59"/>
                      <a:gd name="T12" fmla="*/ 35 w 85"/>
                      <a:gd name="T13" fmla="*/ 3 h 59"/>
                      <a:gd name="T14" fmla="*/ 23 w 85"/>
                      <a:gd name="T15" fmla="*/ 10 h 59"/>
                      <a:gd name="T16" fmla="*/ 23 w 85"/>
                      <a:gd name="T17" fmla="*/ 10 h 59"/>
                      <a:gd name="T18" fmla="*/ 10 w 85"/>
                      <a:gd name="T19" fmla="*/ 1 h 59"/>
                      <a:gd name="T20" fmla="*/ 1 w 85"/>
                      <a:gd name="T21" fmla="*/ 14 h 59"/>
                      <a:gd name="T22" fmla="*/ 4 w 85"/>
                      <a:gd name="T23" fmla="*/ 28 h 59"/>
                      <a:gd name="T24" fmla="*/ 14 w 85"/>
                      <a:gd name="T25" fmla="*/ 36 h 59"/>
                      <a:gd name="T26" fmla="*/ 17 w 85"/>
                      <a:gd name="T27" fmla="*/ 36 h 59"/>
                      <a:gd name="T28" fmla="*/ 19 w 85"/>
                      <a:gd name="T29" fmla="*/ 35 h 59"/>
                      <a:gd name="T30" fmla="*/ 27 w 85"/>
                      <a:gd name="T31" fmla="*/ 43 h 59"/>
                      <a:gd name="T32" fmla="*/ 28 w 85"/>
                      <a:gd name="T33" fmla="*/ 43 h 59"/>
                      <a:gd name="T34" fmla="*/ 39 w 85"/>
                      <a:gd name="T35" fmla="*/ 38 h 59"/>
                      <a:gd name="T36" fmla="*/ 38 w 85"/>
                      <a:gd name="T37" fmla="*/ 39 h 59"/>
                      <a:gd name="T38" fmla="*/ 47 w 85"/>
                      <a:gd name="T39" fmla="*/ 52 h 59"/>
                      <a:gd name="T40" fmla="*/ 48 w 85"/>
                      <a:gd name="T41" fmla="*/ 52 h 59"/>
                      <a:gd name="T42" fmla="*/ 58 w 85"/>
                      <a:gd name="T43" fmla="*/ 47 h 59"/>
                      <a:gd name="T44" fmla="*/ 67 w 85"/>
                      <a:gd name="T45" fmla="*/ 59 h 59"/>
                      <a:gd name="T46" fmla="*/ 68 w 85"/>
                      <a:gd name="T47" fmla="*/ 59 h 59"/>
                      <a:gd name="T48" fmla="*/ 80 w 85"/>
                      <a:gd name="T49" fmla="*/ 50 h 59"/>
                      <a:gd name="T50" fmla="*/ 84 w 85"/>
                      <a:gd name="T51" fmla="*/ 33 h 59"/>
                      <a:gd name="T52" fmla="*/ 76 w 85"/>
                      <a:gd name="T53" fmla="*/ 20 h 5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</a:cxnLst>
                    <a:rect l="0" t="0" r="r" b="b"/>
                    <a:pathLst>
                      <a:path w="85" h="59">
                        <a:moveTo>
                          <a:pt x="76" y="20"/>
                        </a:moveTo>
                        <a:cubicBezTo>
                          <a:pt x="71" y="19"/>
                          <a:pt x="66" y="21"/>
                          <a:pt x="64" y="25"/>
                        </a:cubicBezTo>
                        <a:cubicBezTo>
                          <a:pt x="65" y="18"/>
                          <a:pt x="65" y="18"/>
                          <a:pt x="65" y="18"/>
                        </a:cubicBezTo>
                        <a:cubicBezTo>
                          <a:pt x="67" y="12"/>
                          <a:pt x="63" y="6"/>
                          <a:pt x="57" y="5"/>
                        </a:cubicBezTo>
                        <a:cubicBezTo>
                          <a:pt x="51" y="4"/>
                          <a:pt x="45" y="7"/>
                          <a:pt x="44" y="13"/>
                        </a:cubicBezTo>
                        <a:cubicBezTo>
                          <a:pt x="44" y="14"/>
                          <a:pt x="44" y="14"/>
                          <a:pt x="44" y="14"/>
                        </a:cubicBezTo>
                        <a:cubicBezTo>
                          <a:pt x="44" y="9"/>
                          <a:pt x="40" y="4"/>
                          <a:pt x="35" y="3"/>
                        </a:cubicBezTo>
                        <a:cubicBezTo>
                          <a:pt x="30" y="2"/>
                          <a:pt x="24" y="5"/>
                          <a:pt x="23" y="10"/>
                        </a:cubicBezTo>
                        <a:cubicBezTo>
                          <a:pt x="23" y="10"/>
                          <a:pt x="23" y="10"/>
                          <a:pt x="23" y="10"/>
                        </a:cubicBezTo>
                        <a:cubicBezTo>
                          <a:pt x="21" y="4"/>
                          <a:pt x="15" y="0"/>
                          <a:pt x="10" y="1"/>
                        </a:cubicBezTo>
                        <a:cubicBezTo>
                          <a:pt x="4" y="3"/>
                          <a:pt x="0" y="8"/>
                          <a:pt x="1" y="14"/>
                        </a:cubicBezTo>
                        <a:cubicBezTo>
                          <a:pt x="4" y="28"/>
                          <a:pt x="4" y="28"/>
                          <a:pt x="4" y="28"/>
                        </a:cubicBezTo>
                        <a:cubicBezTo>
                          <a:pt x="5" y="32"/>
                          <a:pt x="9" y="36"/>
                          <a:pt x="14" y="36"/>
                        </a:cubicBezTo>
                        <a:cubicBezTo>
                          <a:pt x="15" y="36"/>
                          <a:pt x="16" y="36"/>
                          <a:pt x="17" y="36"/>
                        </a:cubicBezTo>
                        <a:cubicBezTo>
                          <a:pt x="18" y="36"/>
                          <a:pt x="18" y="36"/>
                          <a:pt x="19" y="35"/>
                        </a:cubicBezTo>
                        <a:cubicBezTo>
                          <a:pt x="20" y="39"/>
                          <a:pt x="23" y="42"/>
                          <a:pt x="27" y="43"/>
                        </a:cubicBezTo>
                        <a:cubicBezTo>
                          <a:pt x="28" y="43"/>
                          <a:pt x="28" y="43"/>
                          <a:pt x="28" y="43"/>
                        </a:cubicBezTo>
                        <a:cubicBezTo>
                          <a:pt x="32" y="43"/>
                          <a:pt x="36" y="41"/>
                          <a:pt x="39" y="38"/>
                        </a:cubicBezTo>
                        <a:cubicBezTo>
                          <a:pt x="38" y="39"/>
                          <a:pt x="38" y="39"/>
                          <a:pt x="38" y="39"/>
                        </a:cubicBezTo>
                        <a:cubicBezTo>
                          <a:pt x="37" y="44"/>
                          <a:pt x="41" y="50"/>
                          <a:pt x="47" y="52"/>
                        </a:cubicBezTo>
                        <a:cubicBezTo>
                          <a:pt x="47" y="52"/>
                          <a:pt x="47" y="52"/>
                          <a:pt x="48" y="52"/>
                        </a:cubicBezTo>
                        <a:cubicBezTo>
                          <a:pt x="52" y="52"/>
                          <a:pt x="56" y="50"/>
                          <a:pt x="58" y="47"/>
                        </a:cubicBezTo>
                        <a:cubicBezTo>
                          <a:pt x="58" y="52"/>
                          <a:pt x="61" y="57"/>
                          <a:pt x="67" y="59"/>
                        </a:cubicBezTo>
                        <a:cubicBezTo>
                          <a:pt x="67" y="59"/>
                          <a:pt x="67" y="59"/>
                          <a:pt x="68" y="59"/>
                        </a:cubicBezTo>
                        <a:cubicBezTo>
                          <a:pt x="73" y="59"/>
                          <a:pt x="78" y="56"/>
                          <a:pt x="80" y="50"/>
                        </a:cubicBezTo>
                        <a:cubicBezTo>
                          <a:pt x="84" y="33"/>
                          <a:pt x="84" y="33"/>
                          <a:pt x="84" y="33"/>
                        </a:cubicBezTo>
                        <a:cubicBezTo>
                          <a:pt x="85" y="27"/>
                          <a:pt x="81" y="21"/>
                          <a:pt x="76" y="2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32316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0" cap="none" spc="0" normalizeH="0" baseline="0" noProof="0" dirty="0">
                      <a:ln>
                        <a:solidFill>
                          <a:srgbClr val="FFFFFF">
                            <a:alpha val="0"/>
                          </a:srgbClr>
                        </a:solidFill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27" name="Freeform 29"/>
                  <p:cNvSpPr>
                    <a:spLocks/>
                  </p:cNvSpPr>
                  <p:nvPr/>
                </p:nvSpPr>
                <p:spPr bwMode="black">
                  <a:xfrm>
                    <a:off x="11207741" y="4198910"/>
                    <a:ext cx="175191" cy="359859"/>
                  </a:xfrm>
                  <a:custGeom>
                    <a:avLst/>
                    <a:gdLst>
                      <a:gd name="T0" fmla="*/ 41 w 41"/>
                      <a:gd name="T1" fmla="*/ 77 h 85"/>
                      <a:gd name="T2" fmla="*/ 33 w 41"/>
                      <a:gd name="T3" fmla="*/ 7 h 85"/>
                      <a:gd name="T4" fmla="*/ 24 w 41"/>
                      <a:gd name="T5" fmla="*/ 1 h 85"/>
                      <a:gd name="T6" fmla="*/ 0 w 41"/>
                      <a:gd name="T7" fmla="*/ 7 h 85"/>
                      <a:gd name="T8" fmla="*/ 22 w 41"/>
                      <a:gd name="T9" fmla="*/ 85 h 85"/>
                      <a:gd name="T10" fmla="*/ 33 w 41"/>
                      <a:gd name="T11" fmla="*/ 85 h 85"/>
                      <a:gd name="T12" fmla="*/ 41 w 41"/>
                      <a:gd name="T13" fmla="*/ 77 h 8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1" h="85">
                        <a:moveTo>
                          <a:pt x="41" y="77"/>
                        </a:moveTo>
                        <a:cubicBezTo>
                          <a:pt x="33" y="7"/>
                          <a:pt x="33" y="7"/>
                          <a:pt x="33" y="7"/>
                        </a:cubicBezTo>
                        <a:cubicBezTo>
                          <a:pt x="32" y="2"/>
                          <a:pt x="28" y="0"/>
                          <a:pt x="24" y="1"/>
                        </a:cubicBezTo>
                        <a:cubicBezTo>
                          <a:pt x="0" y="7"/>
                          <a:pt x="0" y="7"/>
                          <a:pt x="0" y="7"/>
                        </a:cubicBezTo>
                        <a:cubicBezTo>
                          <a:pt x="0" y="7"/>
                          <a:pt x="25" y="32"/>
                          <a:pt x="22" y="85"/>
                        </a:cubicBezTo>
                        <a:cubicBezTo>
                          <a:pt x="33" y="85"/>
                          <a:pt x="33" y="85"/>
                          <a:pt x="33" y="85"/>
                        </a:cubicBezTo>
                        <a:cubicBezTo>
                          <a:pt x="38" y="85"/>
                          <a:pt x="41" y="81"/>
                          <a:pt x="41" y="77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32316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0" cap="none" spc="0" normalizeH="0" baseline="0" noProof="0" dirty="0">
                      <a:ln>
                        <a:solidFill>
                          <a:srgbClr val="FFFFFF">
                            <a:alpha val="0"/>
                          </a:srgbClr>
                        </a:solidFill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28" name="Freeform 30"/>
                  <p:cNvSpPr>
                    <a:spLocks/>
                  </p:cNvSpPr>
                  <p:nvPr/>
                </p:nvSpPr>
                <p:spPr bwMode="black">
                  <a:xfrm>
                    <a:off x="10387012" y="4206348"/>
                    <a:ext cx="176211" cy="352424"/>
                  </a:xfrm>
                  <a:custGeom>
                    <a:avLst/>
                    <a:gdLst>
                      <a:gd name="T0" fmla="*/ 47 w 47"/>
                      <a:gd name="T1" fmla="*/ 9 h 94"/>
                      <a:gd name="T2" fmla="*/ 35 w 47"/>
                      <a:gd name="T3" fmla="*/ 2 h 94"/>
                      <a:gd name="T4" fmla="*/ 25 w 47"/>
                      <a:gd name="T5" fmla="*/ 6 h 94"/>
                      <a:gd name="T6" fmla="*/ 2 w 47"/>
                      <a:gd name="T7" fmla="*/ 81 h 94"/>
                      <a:gd name="T8" fmla="*/ 7 w 47"/>
                      <a:gd name="T9" fmla="*/ 90 h 94"/>
                      <a:gd name="T10" fmla="*/ 26 w 47"/>
                      <a:gd name="T11" fmla="*/ 94 h 94"/>
                      <a:gd name="T12" fmla="*/ 47 w 47"/>
                      <a:gd name="T13" fmla="*/ 9 h 9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7" h="94">
                        <a:moveTo>
                          <a:pt x="47" y="9"/>
                        </a:moveTo>
                        <a:cubicBezTo>
                          <a:pt x="35" y="2"/>
                          <a:pt x="35" y="2"/>
                          <a:pt x="35" y="2"/>
                        </a:cubicBezTo>
                        <a:cubicBezTo>
                          <a:pt x="31" y="0"/>
                          <a:pt x="27" y="2"/>
                          <a:pt x="25" y="6"/>
                        </a:cubicBezTo>
                        <a:cubicBezTo>
                          <a:pt x="2" y="81"/>
                          <a:pt x="2" y="81"/>
                          <a:pt x="2" y="81"/>
                        </a:cubicBezTo>
                        <a:cubicBezTo>
                          <a:pt x="0" y="86"/>
                          <a:pt x="3" y="90"/>
                          <a:pt x="7" y="90"/>
                        </a:cubicBezTo>
                        <a:cubicBezTo>
                          <a:pt x="26" y="94"/>
                          <a:pt x="26" y="94"/>
                          <a:pt x="26" y="94"/>
                        </a:cubicBezTo>
                        <a:cubicBezTo>
                          <a:pt x="24" y="52"/>
                          <a:pt x="47" y="9"/>
                          <a:pt x="47" y="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32316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0" cap="none" spc="0" normalizeH="0" baseline="0" noProof="0" dirty="0">
                      <a:ln>
                        <a:solidFill>
                          <a:srgbClr val="FFFFFF">
                            <a:alpha val="0"/>
                          </a:srgbClr>
                        </a:solidFill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</p:grpSp>
          <p:grpSp>
            <p:nvGrpSpPr>
              <p:cNvPr id="10" name="Group 9"/>
              <p:cNvGrpSpPr/>
              <p:nvPr/>
            </p:nvGrpSpPr>
            <p:grpSpPr>
              <a:xfrm>
                <a:off x="7696770" y="3327956"/>
                <a:ext cx="569902" cy="569902"/>
                <a:chOff x="8293716" y="4003332"/>
                <a:chExt cx="671134" cy="671134"/>
              </a:xfrm>
            </p:grpSpPr>
            <p:sp>
              <p:nvSpPr>
                <p:cNvPr id="20" name="Oval 310"/>
                <p:cNvSpPr>
                  <a:spLocks noChangeArrowheads="1"/>
                </p:cNvSpPr>
                <p:nvPr/>
              </p:nvSpPr>
              <p:spPr bwMode="auto">
                <a:xfrm>
                  <a:off x="8293716" y="4003332"/>
                  <a:ext cx="671134" cy="671134"/>
                </a:xfrm>
                <a:prstGeom prst="ellipse">
                  <a:avLst/>
                </a:prstGeom>
                <a:solidFill>
                  <a:srgbClr val="4F81BD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555132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F3F3F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1" name="Freeform 113"/>
                <p:cNvSpPr>
                  <a:spLocks noEditPoints="1"/>
                </p:cNvSpPr>
                <p:nvPr/>
              </p:nvSpPr>
              <p:spPr bwMode="black">
                <a:xfrm>
                  <a:off x="8501313" y="4194745"/>
                  <a:ext cx="288785" cy="288784"/>
                </a:xfrm>
                <a:custGeom>
                  <a:avLst/>
                  <a:gdLst>
                    <a:gd name="T0" fmla="*/ 47 w 66"/>
                    <a:gd name="T1" fmla="*/ 37 h 66"/>
                    <a:gd name="T2" fmla="*/ 51 w 66"/>
                    <a:gd name="T3" fmla="*/ 33 h 66"/>
                    <a:gd name="T4" fmla="*/ 47 w 66"/>
                    <a:gd name="T5" fmla="*/ 29 h 66"/>
                    <a:gd name="T6" fmla="*/ 37 w 66"/>
                    <a:gd name="T7" fmla="*/ 29 h 66"/>
                    <a:gd name="T8" fmla="*/ 37 w 66"/>
                    <a:gd name="T9" fmla="*/ 16 h 66"/>
                    <a:gd name="T10" fmla="*/ 33 w 66"/>
                    <a:gd name="T11" fmla="*/ 13 h 66"/>
                    <a:gd name="T12" fmla="*/ 29 w 66"/>
                    <a:gd name="T13" fmla="*/ 16 h 66"/>
                    <a:gd name="T14" fmla="*/ 29 w 66"/>
                    <a:gd name="T15" fmla="*/ 33 h 66"/>
                    <a:gd name="T16" fmla="*/ 33 w 66"/>
                    <a:gd name="T17" fmla="*/ 37 h 66"/>
                    <a:gd name="T18" fmla="*/ 47 w 66"/>
                    <a:gd name="T19" fmla="*/ 37 h 66"/>
                    <a:gd name="T20" fmla="*/ 33 w 66"/>
                    <a:gd name="T21" fmla="*/ 8 h 66"/>
                    <a:gd name="T22" fmla="*/ 58 w 66"/>
                    <a:gd name="T23" fmla="*/ 33 h 66"/>
                    <a:gd name="T24" fmla="*/ 33 w 66"/>
                    <a:gd name="T25" fmla="*/ 58 h 66"/>
                    <a:gd name="T26" fmla="*/ 8 w 66"/>
                    <a:gd name="T27" fmla="*/ 33 h 66"/>
                    <a:gd name="T28" fmla="*/ 33 w 66"/>
                    <a:gd name="T29" fmla="*/ 8 h 66"/>
                    <a:gd name="T30" fmla="*/ 33 w 66"/>
                    <a:gd name="T31" fmla="*/ 66 h 66"/>
                    <a:gd name="T32" fmla="*/ 66 w 66"/>
                    <a:gd name="T33" fmla="*/ 33 h 66"/>
                    <a:gd name="T34" fmla="*/ 33 w 66"/>
                    <a:gd name="T35" fmla="*/ 0 h 66"/>
                    <a:gd name="T36" fmla="*/ 0 w 66"/>
                    <a:gd name="T37" fmla="*/ 33 h 66"/>
                    <a:gd name="T38" fmla="*/ 33 w 66"/>
                    <a:gd name="T39" fmla="*/ 66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66" h="66">
                      <a:moveTo>
                        <a:pt x="47" y="37"/>
                      </a:moveTo>
                      <a:cubicBezTo>
                        <a:pt x="49" y="37"/>
                        <a:pt x="51" y="35"/>
                        <a:pt x="51" y="33"/>
                      </a:cubicBezTo>
                      <a:cubicBezTo>
                        <a:pt x="51" y="31"/>
                        <a:pt x="49" y="29"/>
                        <a:pt x="47" y="29"/>
                      </a:cubicBezTo>
                      <a:cubicBezTo>
                        <a:pt x="37" y="29"/>
                        <a:pt x="37" y="29"/>
                        <a:pt x="37" y="29"/>
                      </a:cubicBezTo>
                      <a:cubicBezTo>
                        <a:pt x="37" y="16"/>
                        <a:pt x="37" y="16"/>
                        <a:pt x="37" y="16"/>
                      </a:cubicBezTo>
                      <a:cubicBezTo>
                        <a:pt x="37" y="14"/>
                        <a:pt x="35" y="13"/>
                        <a:pt x="33" y="13"/>
                      </a:cubicBezTo>
                      <a:cubicBezTo>
                        <a:pt x="31" y="13"/>
                        <a:pt x="29" y="14"/>
                        <a:pt x="29" y="16"/>
                      </a:cubicBezTo>
                      <a:cubicBezTo>
                        <a:pt x="29" y="33"/>
                        <a:pt x="29" y="33"/>
                        <a:pt x="29" y="33"/>
                      </a:cubicBezTo>
                      <a:cubicBezTo>
                        <a:pt x="29" y="35"/>
                        <a:pt x="31" y="37"/>
                        <a:pt x="33" y="37"/>
                      </a:cubicBezTo>
                      <a:lnTo>
                        <a:pt x="47" y="37"/>
                      </a:lnTo>
                      <a:close/>
                      <a:moveTo>
                        <a:pt x="33" y="8"/>
                      </a:moveTo>
                      <a:cubicBezTo>
                        <a:pt x="47" y="8"/>
                        <a:pt x="58" y="19"/>
                        <a:pt x="58" y="33"/>
                      </a:cubicBezTo>
                      <a:cubicBezTo>
                        <a:pt x="58" y="47"/>
                        <a:pt x="47" y="58"/>
                        <a:pt x="33" y="58"/>
                      </a:cubicBezTo>
                      <a:cubicBezTo>
                        <a:pt x="19" y="58"/>
                        <a:pt x="8" y="47"/>
                        <a:pt x="8" y="33"/>
                      </a:cubicBezTo>
                      <a:cubicBezTo>
                        <a:pt x="8" y="19"/>
                        <a:pt x="19" y="8"/>
                        <a:pt x="33" y="8"/>
                      </a:cubicBezTo>
                      <a:moveTo>
                        <a:pt x="33" y="66"/>
                      </a:moveTo>
                      <a:cubicBezTo>
                        <a:pt x="51" y="66"/>
                        <a:pt x="66" y="51"/>
                        <a:pt x="66" y="33"/>
                      </a:cubicBezTo>
                      <a:cubicBezTo>
                        <a:pt x="66" y="15"/>
                        <a:pt x="51" y="0"/>
                        <a:pt x="33" y="0"/>
                      </a:cubicBezTo>
                      <a:cubicBezTo>
                        <a:pt x="15" y="0"/>
                        <a:pt x="0" y="15"/>
                        <a:pt x="0" y="33"/>
                      </a:cubicBezTo>
                      <a:cubicBezTo>
                        <a:pt x="0" y="51"/>
                        <a:pt x="15" y="66"/>
                        <a:pt x="33" y="66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3231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11" name="Group 10"/>
              <p:cNvGrpSpPr/>
              <p:nvPr/>
            </p:nvGrpSpPr>
            <p:grpSpPr>
              <a:xfrm>
                <a:off x="7549768" y="5018788"/>
                <a:ext cx="638107" cy="639738"/>
                <a:chOff x="6623809" y="3060227"/>
                <a:chExt cx="885760" cy="888024"/>
              </a:xfrm>
            </p:grpSpPr>
            <p:sp>
              <p:nvSpPr>
                <p:cNvPr id="18" name="Oval 307"/>
                <p:cNvSpPr>
                  <a:spLocks noChangeArrowheads="1"/>
                </p:cNvSpPr>
                <p:nvPr/>
              </p:nvSpPr>
              <p:spPr bwMode="auto">
                <a:xfrm>
                  <a:off x="6623809" y="3060227"/>
                  <a:ext cx="885760" cy="888024"/>
                </a:xfrm>
                <a:prstGeom prst="ellipse">
                  <a:avLst/>
                </a:prstGeom>
                <a:solidFill>
                  <a:srgbClr val="EB3C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555132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F3F3F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" name="Freeform 81"/>
                <p:cNvSpPr>
                  <a:spLocks noEditPoints="1"/>
                </p:cNvSpPr>
                <p:nvPr/>
              </p:nvSpPr>
              <p:spPr bwMode="black">
                <a:xfrm>
                  <a:off x="6889427" y="3371258"/>
                  <a:ext cx="344794" cy="266936"/>
                </a:xfrm>
                <a:custGeom>
                  <a:avLst/>
                  <a:gdLst>
                    <a:gd name="T0" fmla="*/ 71 w 75"/>
                    <a:gd name="T1" fmla="*/ 58 h 58"/>
                    <a:gd name="T2" fmla="*/ 4 w 75"/>
                    <a:gd name="T3" fmla="*/ 58 h 58"/>
                    <a:gd name="T4" fmla="*/ 0 w 75"/>
                    <a:gd name="T5" fmla="*/ 54 h 58"/>
                    <a:gd name="T6" fmla="*/ 0 w 75"/>
                    <a:gd name="T7" fmla="*/ 4 h 58"/>
                    <a:gd name="T8" fmla="*/ 4 w 75"/>
                    <a:gd name="T9" fmla="*/ 0 h 58"/>
                    <a:gd name="T10" fmla="*/ 71 w 75"/>
                    <a:gd name="T11" fmla="*/ 0 h 58"/>
                    <a:gd name="T12" fmla="*/ 75 w 75"/>
                    <a:gd name="T13" fmla="*/ 4 h 58"/>
                    <a:gd name="T14" fmla="*/ 75 w 75"/>
                    <a:gd name="T15" fmla="*/ 54 h 58"/>
                    <a:gd name="T16" fmla="*/ 71 w 75"/>
                    <a:gd name="T17" fmla="*/ 58 h 58"/>
                    <a:gd name="T18" fmla="*/ 8 w 75"/>
                    <a:gd name="T19" fmla="*/ 50 h 58"/>
                    <a:gd name="T20" fmla="*/ 67 w 75"/>
                    <a:gd name="T21" fmla="*/ 50 h 58"/>
                    <a:gd name="T22" fmla="*/ 67 w 75"/>
                    <a:gd name="T23" fmla="*/ 16 h 58"/>
                    <a:gd name="T24" fmla="*/ 39 w 75"/>
                    <a:gd name="T25" fmla="*/ 38 h 58"/>
                    <a:gd name="T26" fmla="*/ 35 w 75"/>
                    <a:gd name="T27" fmla="*/ 38 h 58"/>
                    <a:gd name="T28" fmla="*/ 8 w 75"/>
                    <a:gd name="T29" fmla="*/ 17 h 58"/>
                    <a:gd name="T30" fmla="*/ 8 w 75"/>
                    <a:gd name="T31" fmla="*/ 50 h 58"/>
                    <a:gd name="T32" fmla="*/ 9 w 75"/>
                    <a:gd name="T33" fmla="*/ 8 h 58"/>
                    <a:gd name="T34" fmla="*/ 37 w 75"/>
                    <a:gd name="T35" fmla="*/ 30 h 58"/>
                    <a:gd name="T36" fmla="*/ 65 w 75"/>
                    <a:gd name="T37" fmla="*/ 8 h 58"/>
                    <a:gd name="T38" fmla="*/ 9 w 75"/>
                    <a:gd name="T39" fmla="*/ 8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75" h="58">
                      <a:moveTo>
                        <a:pt x="71" y="58"/>
                      </a:moveTo>
                      <a:cubicBezTo>
                        <a:pt x="4" y="58"/>
                        <a:pt x="4" y="58"/>
                        <a:pt x="4" y="58"/>
                      </a:cubicBezTo>
                      <a:cubicBezTo>
                        <a:pt x="2" y="58"/>
                        <a:pt x="0" y="56"/>
                        <a:pt x="0" y="54"/>
                      </a:cubicBez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0" y="2"/>
                        <a:pt x="2" y="0"/>
                        <a:pt x="4" y="0"/>
                      </a:cubicBezTo>
                      <a:cubicBezTo>
                        <a:pt x="71" y="0"/>
                        <a:pt x="71" y="0"/>
                        <a:pt x="71" y="0"/>
                      </a:cubicBezTo>
                      <a:cubicBezTo>
                        <a:pt x="73" y="0"/>
                        <a:pt x="75" y="2"/>
                        <a:pt x="75" y="4"/>
                      </a:cubicBezTo>
                      <a:cubicBezTo>
                        <a:pt x="75" y="54"/>
                        <a:pt x="75" y="54"/>
                        <a:pt x="75" y="54"/>
                      </a:cubicBezTo>
                      <a:cubicBezTo>
                        <a:pt x="75" y="56"/>
                        <a:pt x="73" y="58"/>
                        <a:pt x="71" y="58"/>
                      </a:cubicBezTo>
                      <a:close/>
                      <a:moveTo>
                        <a:pt x="8" y="50"/>
                      </a:moveTo>
                      <a:cubicBezTo>
                        <a:pt x="67" y="50"/>
                        <a:pt x="67" y="50"/>
                        <a:pt x="67" y="50"/>
                      </a:cubicBezTo>
                      <a:cubicBezTo>
                        <a:pt x="67" y="16"/>
                        <a:pt x="67" y="16"/>
                        <a:pt x="67" y="16"/>
                      </a:cubicBezTo>
                      <a:cubicBezTo>
                        <a:pt x="39" y="38"/>
                        <a:pt x="39" y="38"/>
                        <a:pt x="39" y="38"/>
                      </a:cubicBezTo>
                      <a:cubicBezTo>
                        <a:pt x="38" y="39"/>
                        <a:pt x="36" y="39"/>
                        <a:pt x="35" y="38"/>
                      </a:cubicBezTo>
                      <a:cubicBezTo>
                        <a:pt x="8" y="17"/>
                        <a:pt x="8" y="17"/>
                        <a:pt x="8" y="17"/>
                      </a:cubicBezTo>
                      <a:lnTo>
                        <a:pt x="8" y="50"/>
                      </a:lnTo>
                      <a:close/>
                      <a:moveTo>
                        <a:pt x="9" y="8"/>
                      </a:moveTo>
                      <a:cubicBezTo>
                        <a:pt x="37" y="30"/>
                        <a:pt x="37" y="30"/>
                        <a:pt x="37" y="30"/>
                      </a:cubicBezTo>
                      <a:cubicBezTo>
                        <a:pt x="65" y="8"/>
                        <a:pt x="65" y="8"/>
                        <a:pt x="65" y="8"/>
                      </a:cubicBezTo>
                      <a:lnTo>
                        <a:pt x="9" y="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3231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12" name="Group 11"/>
              <p:cNvGrpSpPr/>
              <p:nvPr/>
            </p:nvGrpSpPr>
            <p:grpSpPr>
              <a:xfrm>
                <a:off x="6663292" y="4348091"/>
                <a:ext cx="615250" cy="632077"/>
                <a:chOff x="7710135" y="4895626"/>
                <a:chExt cx="664085" cy="682247"/>
              </a:xfrm>
            </p:grpSpPr>
            <p:sp>
              <p:nvSpPr>
                <p:cNvPr id="16" name="Oval 321"/>
                <p:cNvSpPr>
                  <a:spLocks noChangeArrowheads="1"/>
                </p:cNvSpPr>
                <p:nvPr/>
              </p:nvSpPr>
              <p:spPr bwMode="auto">
                <a:xfrm>
                  <a:off x="7760668" y="4932035"/>
                  <a:ext cx="563135" cy="565706"/>
                </a:xfrm>
                <a:prstGeom prst="ellipse">
                  <a:avLst/>
                </a:prstGeom>
                <a:solidFill>
                  <a:srgbClr val="EEECE1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555132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F3F3F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" name="TextBox 16"/>
                <p:cNvSpPr txBox="1"/>
                <p:nvPr/>
              </p:nvSpPr>
              <p:spPr>
                <a:xfrm>
                  <a:off x="7710135" y="4895626"/>
                  <a:ext cx="664085" cy="68224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ctr" defTabSz="555132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chemeClr val="bg1">
                          <a:lumMod val="65000"/>
                        </a:schemeClr>
                      </a:solidFill>
                      <a:effectLst/>
                      <a:uLnTx/>
                      <a:uFillTx/>
                      <a:latin typeface="Segoe UI Semibold" panose="020B0702040204020203" pitchFamily="34" charset="0"/>
                      <a:cs typeface="Segoe UI Semibold" panose="020B0702040204020203" pitchFamily="34" charset="0"/>
                    </a:rPr>
                    <a:t>$</a:t>
                  </a:r>
                  <a:endPara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>
                        <a:lumMod val="65000"/>
                      </a:schemeClr>
                    </a:solidFill>
                    <a:effectLst/>
                    <a:uLnTx/>
                    <a:uFillTx/>
                    <a:latin typeface="Segoe UI Semibold" panose="020B0702040204020203" pitchFamily="34" charset="0"/>
                    <a:cs typeface="Segoe UI Semibold" panose="020B0702040204020203" pitchFamily="34" charset="0"/>
                  </a:endParaRPr>
                </a:p>
              </p:txBody>
            </p:sp>
          </p:grpSp>
          <p:grpSp>
            <p:nvGrpSpPr>
              <p:cNvPr id="13" name="Group 12"/>
              <p:cNvGrpSpPr/>
              <p:nvPr/>
            </p:nvGrpSpPr>
            <p:grpSpPr>
              <a:xfrm>
                <a:off x="9869740" y="4673840"/>
                <a:ext cx="423848" cy="426341"/>
                <a:chOff x="10539483" y="2361140"/>
                <a:chExt cx="269875" cy="271463"/>
              </a:xfrm>
            </p:grpSpPr>
            <p:sp>
              <p:nvSpPr>
                <p:cNvPr id="14" name="Oval 318"/>
                <p:cNvSpPr>
                  <a:spLocks noChangeArrowheads="1"/>
                </p:cNvSpPr>
                <p:nvPr/>
              </p:nvSpPr>
              <p:spPr bwMode="auto">
                <a:xfrm>
                  <a:off x="10539483" y="2361140"/>
                  <a:ext cx="269875" cy="271463"/>
                </a:xfrm>
                <a:prstGeom prst="ellipse">
                  <a:avLst/>
                </a:prstGeom>
                <a:solidFill>
                  <a:srgbClr val="00B0F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555132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F3F3F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5" name="Freeform 319"/>
                <p:cNvSpPr>
                  <a:spLocks noEditPoints="1"/>
                </p:cNvSpPr>
                <p:nvPr/>
              </p:nvSpPr>
              <p:spPr bwMode="auto">
                <a:xfrm>
                  <a:off x="10607746" y="2438927"/>
                  <a:ext cx="134938" cy="114300"/>
                </a:xfrm>
                <a:custGeom>
                  <a:avLst/>
                  <a:gdLst>
                    <a:gd name="T0" fmla="*/ 227 w 374"/>
                    <a:gd name="T1" fmla="*/ 158 h 319"/>
                    <a:gd name="T2" fmla="*/ 257 w 374"/>
                    <a:gd name="T3" fmla="*/ 162 h 319"/>
                    <a:gd name="T4" fmla="*/ 263 w 374"/>
                    <a:gd name="T5" fmla="*/ 148 h 319"/>
                    <a:gd name="T6" fmla="*/ 261 w 374"/>
                    <a:gd name="T7" fmla="*/ 140 h 319"/>
                    <a:gd name="T8" fmla="*/ 250 w 374"/>
                    <a:gd name="T9" fmla="*/ 142 h 319"/>
                    <a:gd name="T10" fmla="*/ 238 w 374"/>
                    <a:gd name="T11" fmla="*/ 127 h 319"/>
                    <a:gd name="T12" fmla="*/ 228 w 374"/>
                    <a:gd name="T13" fmla="*/ 138 h 319"/>
                    <a:gd name="T14" fmla="*/ 213 w 374"/>
                    <a:gd name="T15" fmla="*/ 139 h 319"/>
                    <a:gd name="T16" fmla="*/ 207 w 374"/>
                    <a:gd name="T17" fmla="*/ 146 h 319"/>
                    <a:gd name="T18" fmla="*/ 213 w 374"/>
                    <a:gd name="T19" fmla="*/ 158 h 319"/>
                    <a:gd name="T20" fmla="*/ 207 w 374"/>
                    <a:gd name="T21" fmla="*/ 170 h 319"/>
                    <a:gd name="T22" fmla="*/ 213 w 374"/>
                    <a:gd name="T23" fmla="*/ 177 h 319"/>
                    <a:gd name="T24" fmla="*/ 228 w 374"/>
                    <a:gd name="T25" fmla="*/ 178 h 319"/>
                    <a:gd name="T26" fmla="*/ 238 w 374"/>
                    <a:gd name="T27" fmla="*/ 188 h 319"/>
                    <a:gd name="T28" fmla="*/ 250 w 374"/>
                    <a:gd name="T29" fmla="*/ 174 h 319"/>
                    <a:gd name="T30" fmla="*/ 261 w 374"/>
                    <a:gd name="T31" fmla="*/ 175 h 319"/>
                    <a:gd name="T32" fmla="*/ 263 w 374"/>
                    <a:gd name="T33" fmla="*/ 168 h 319"/>
                    <a:gd name="T34" fmla="*/ 167 w 374"/>
                    <a:gd name="T35" fmla="*/ 188 h 319"/>
                    <a:gd name="T36" fmla="*/ 156 w 374"/>
                    <a:gd name="T37" fmla="*/ 197 h 319"/>
                    <a:gd name="T38" fmla="*/ 167 w 374"/>
                    <a:gd name="T39" fmla="*/ 220 h 319"/>
                    <a:gd name="T40" fmla="*/ 151 w 374"/>
                    <a:gd name="T41" fmla="*/ 182 h 319"/>
                    <a:gd name="T42" fmla="*/ 189 w 374"/>
                    <a:gd name="T43" fmla="*/ 197 h 319"/>
                    <a:gd name="T44" fmla="*/ 218 w 374"/>
                    <a:gd name="T45" fmla="*/ 181 h 319"/>
                    <a:gd name="T46" fmla="*/ 208 w 374"/>
                    <a:gd name="T47" fmla="*/ 162 h 319"/>
                    <a:gd name="T48" fmla="*/ 195 w 374"/>
                    <a:gd name="T49" fmla="*/ 151 h 319"/>
                    <a:gd name="T50" fmla="*/ 174 w 374"/>
                    <a:gd name="T51" fmla="*/ 142 h 319"/>
                    <a:gd name="T52" fmla="*/ 158 w 374"/>
                    <a:gd name="T53" fmla="*/ 142 h 319"/>
                    <a:gd name="T54" fmla="*/ 138 w 374"/>
                    <a:gd name="T55" fmla="*/ 151 h 319"/>
                    <a:gd name="T56" fmla="*/ 126 w 374"/>
                    <a:gd name="T57" fmla="*/ 162 h 319"/>
                    <a:gd name="T58" fmla="*/ 115 w 374"/>
                    <a:gd name="T59" fmla="*/ 181 h 319"/>
                    <a:gd name="T60" fmla="*/ 112 w 374"/>
                    <a:gd name="T61" fmla="*/ 196 h 319"/>
                    <a:gd name="T62" fmla="*/ 116 w 374"/>
                    <a:gd name="T63" fmla="*/ 218 h 319"/>
                    <a:gd name="T64" fmla="*/ 124 w 374"/>
                    <a:gd name="T65" fmla="*/ 231 h 319"/>
                    <a:gd name="T66" fmla="*/ 141 w 374"/>
                    <a:gd name="T67" fmla="*/ 246 h 319"/>
                    <a:gd name="T68" fmla="*/ 156 w 374"/>
                    <a:gd name="T69" fmla="*/ 251 h 319"/>
                    <a:gd name="T70" fmla="*/ 169 w 374"/>
                    <a:gd name="T71" fmla="*/ 237 h 319"/>
                    <a:gd name="T72" fmla="*/ 191 w 374"/>
                    <a:gd name="T73" fmla="*/ 248 h 319"/>
                    <a:gd name="T74" fmla="*/ 194 w 374"/>
                    <a:gd name="T75" fmla="*/ 227 h 319"/>
                    <a:gd name="T76" fmla="*/ 218 w 374"/>
                    <a:gd name="T77" fmla="*/ 222 h 319"/>
                    <a:gd name="T78" fmla="*/ 206 w 374"/>
                    <a:gd name="T79" fmla="*/ 203 h 319"/>
                    <a:gd name="T80" fmla="*/ 0 w 374"/>
                    <a:gd name="T81" fmla="*/ 0 h 319"/>
                    <a:gd name="T82" fmla="*/ 0 w 374"/>
                    <a:gd name="T83" fmla="*/ 38 h 319"/>
                    <a:gd name="T84" fmla="*/ 374 w 374"/>
                    <a:gd name="T85" fmla="*/ 57 h 319"/>
                    <a:gd name="T86" fmla="*/ 0 w 374"/>
                    <a:gd name="T87" fmla="*/ 57 h 319"/>
                    <a:gd name="T88" fmla="*/ 356 w 374"/>
                    <a:gd name="T89" fmla="*/ 76 h 3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374" h="319">
                      <a:moveTo>
                        <a:pt x="244" y="158"/>
                      </a:moveTo>
                      <a:cubicBezTo>
                        <a:pt x="244" y="162"/>
                        <a:pt x="240" y="166"/>
                        <a:pt x="235" y="166"/>
                      </a:cubicBezTo>
                      <a:cubicBezTo>
                        <a:pt x="231" y="166"/>
                        <a:pt x="227" y="162"/>
                        <a:pt x="227" y="158"/>
                      </a:cubicBezTo>
                      <a:cubicBezTo>
                        <a:pt x="227" y="153"/>
                        <a:pt x="231" y="149"/>
                        <a:pt x="235" y="149"/>
                      </a:cubicBezTo>
                      <a:cubicBezTo>
                        <a:pt x="240" y="149"/>
                        <a:pt x="244" y="153"/>
                        <a:pt x="244" y="158"/>
                      </a:cubicBezTo>
                      <a:moveTo>
                        <a:pt x="257" y="162"/>
                      </a:moveTo>
                      <a:cubicBezTo>
                        <a:pt x="257" y="161"/>
                        <a:pt x="257" y="159"/>
                        <a:pt x="257" y="158"/>
                      </a:cubicBezTo>
                      <a:cubicBezTo>
                        <a:pt x="257" y="156"/>
                        <a:pt x="257" y="155"/>
                        <a:pt x="257" y="154"/>
                      </a:cubicBezTo>
                      <a:lnTo>
                        <a:pt x="263" y="148"/>
                      </a:lnTo>
                      <a:cubicBezTo>
                        <a:pt x="264" y="148"/>
                        <a:pt x="264" y="147"/>
                        <a:pt x="264" y="146"/>
                      </a:cubicBezTo>
                      <a:lnTo>
                        <a:pt x="264" y="145"/>
                      </a:lnTo>
                      <a:lnTo>
                        <a:pt x="261" y="140"/>
                      </a:lnTo>
                      <a:cubicBezTo>
                        <a:pt x="260" y="140"/>
                        <a:pt x="259" y="139"/>
                        <a:pt x="258" y="139"/>
                      </a:cubicBezTo>
                      <a:lnTo>
                        <a:pt x="257" y="139"/>
                      </a:lnTo>
                      <a:lnTo>
                        <a:pt x="250" y="142"/>
                      </a:lnTo>
                      <a:cubicBezTo>
                        <a:pt x="248" y="140"/>
                        <a:pt x="245" y="138"/>
                        <a:pt x="243" y="138"/>
                      </a:cubicBezTo>
                      <a:lnTo>
                        <a:pt x="241" y="129"/>
                      </a:lnTo>
                      <a:cubicBezTo>
                        <a:pt x="241" y="129"/>
                        <a:pt x="239" y="127"/>
                        <a:pt x="238" y="127"/>
                      </a:cubicBezTo>
                      <a:lnTo>
                        <a:pt x="233" y="127"/>
                      </a:lnTo>
                      <a:cubicBezTo>
                        <a:pt x="232" y="127"/>
                        <a:pt x="230" y="129"/>
                        <a:pt x="230" y="129"/>
                      </a:cubicBezTo>
                      <a:lnTo>
                        <a:pt x="228" y="138"/>
                      </a:lnTo>
                      <a:cubicBezTo>
                        <a:pt x="226" y="138"/>
                        <a:pt x="223" y="140"/>
                        <a:pt x="221" y="142"/>
                      </a:cubicBezTo>
                      <a:lnTo>
                        <a:pt x="213" y="139"/>
                      </a:lnTo>
                      <a:lnTo>
                        <a:pt x="213" y="139"/>
                      </a:lnTo>
                      <a:cubicBezTo>
                        <a:pt x="211" y="139"/>
                        <a:pt x="211" y="140"/>
                        <a:pt x="210" y="140"/>
                      </a:cubicBezTo>
                      <a:lnTo>
                        <a:pt x="208" y="145"/>
                      </a:lnTo>
                      <a:cubicBezTo>
                        <a:pt x="207" y="145"/>
                        <a:pt x="207" y="146"/>
                        <a:pt x="207" y="146"/>
                      </a:cubicBezTo>
                      <a:cubicBezTo>
                        <a:pt x="207" y="147"/>
                        <a:pt x="208" y="148"/>
                        <a:pt x="208" y="148"/>
                      </a:cubicBezTo>
                      <a:lnTo>
                        <a:pt x="215" y="154"/>
                      </a:lnTo>
                      <a:cubicBezTo>
                        <a:pt x="214" y="155"/>
                        <a:pt x="213" y="156"/>
                        <a:pt x="213" y="158"/>
                      </a:cubicBezTo>
                      <a:cubicBezTo>
                        <a:pt x="213" y="159"/>
                        <a:pt x="214" y="160"/>
                        <a:pt x="215" y="162"/>
                      </a:cubicBezTo>
                      <a:lnTo>
                        <a:pt x="208" y="168"/>
                      </a:lnTo>
                      <a:cubicBezTo>
                        <a:pt x="208" y="168"/>
                        <a:pt x="207" y="169"/>
                        <a:pt x="207" y="170"/>
                      </a:cubicBezTo>
                      <a:cubicBezTo>
                        <a:pt x="207" y="170"/>
                        <a:pt x="207" y="170"/>
                        <a:pt x="208" y="171"/>
                      </a:cubicBezTo>
                      <a:lnTo>
                        <a:pt x="210" y="175"/>
                      </a:lnTo>
                      <a:cubicBezTo>
                        <a:pt x="211" y="177"/>
                        <a:pt x="211" y="177"/>
                        <a:pt x="213" y="177"/>
                      </a:cubicBezTo>
                      <a:lnTo>
                        <a:pt x="213" y="177"/>
                      </a:lnTo>
                      <a:lnTo>
                        <a:pt x="221" y="174"/>
                      </a:lnTo>
                      <a:cubicBezTo>
                        <a:pt x="223" y="176"/>
                        <a:pt x="226" y="177"/>
                        <a:pt x="228" y="178"/>
                      </a:cubicBezTo>
                      <a:lnTo>
                        <a:pt x="230" y="186"/>
                      </a:lnTo>
                      <a:cubicBezTo>
                        <a:pt x="230" y="188"/>
                        <a:pt x="232" y="188"/>
                        <a:pt x="233" y="188"/>
                      </a:cubicBezTo>
                      <a:lnTo>
                        <a:pt x="238" y="188"/>
                      </a:lnTo>
                      <a:cubicBezTo>
                        <a:pt x="239" y="188"/>
                        <a:pt x="241" y="188"/>
                        <a:pt x="241" y="186"/>
                      </a:cubicBezTo>
                      <a:lnTo>
                        <a:pt x="243" y="179"/>
                      </a:lnTo>
                      <a:cubicBezTo>
                        <a:pt x="245" y="177"/>
                        <a:pt x="248" y="176"/>
                        <a:pt x="250" y="174"/>
                      </a:cubicBezTo>
                      <a:lnTo>
                        <a:pt x="257" y="177"/>
                      </a:lnTo>
                      <a:lnTo>
                        <a:pt x="258" y="177"/>
                      </a:lnTo>
                      <a:cubicBezTo>
                        <a:pt x="259" y="177"/>
                        <a:pt x="260" y="177"/>
                        <a:pt x="261" y="175"/>
                      </a:cubicBezTo>
                      <a:lnTo>
                        <a:pt x="264" y="171"/>
                      </a:lnTo>
                      <a:lnTo>
                        <a:pt x="264" y="170"/>
                      </a:lnTo>
                      <a:cubicBezTo>
                        <a:pt x="264" y="169"/>
                        <a:pt x="264" y="168"/>
                        <a:pt x="263" y="168"/>
                      </a:cubicBezTo>
                      <a:lnTo>
                        <a:pt x="257" y="162"/>
                      </a:lnTo>
                      <a:close/>
                      <a:moveTo>
                        <a:pt x="156" y="197"/>
                      </a:moveTo>
                      <a:cubicBezTo>
                        <a:pt x="156" y="192"/>
                        <a:pt x="161" y="188"/>
                        <a:pt x="167" y="188"/>
                      </a:cubicBezTo>
                      <a:cubicBezTo>
                        <a:pt x="172" y="188"/>
                        <a:pt x="177" y="192"/>
                        <a:pt x="177" y="197"/>
                      </a:cubicBezTo>
                      <a:cubicBezTo>
                        <a:pt x="177" y="203"/>
                        <a:pt x="172" y="208"/>
                        <a:pt x="167" y="208"/>
                      </a:cubicBezTo>
                      <a:cubicBezTo>
                        <a:pt x="161" y="208"/>
                        <a:pt x="156" y="203"/>
                        <a:pt x="156" y="197"/>
                      </a:cubicBezTo>
                      <a:moveTo>
                        <a:pt x="189" y="197"/>
                      </a:moveTo>
                      <a:cubicBezTo>
                        <a:pt x="189" y="204"/>
                        <a:pt x="186" y="209"/>
                        <a:pt x="182" y="214"/>
                      </a:cubicBezTo>
                      <a:cubicBezTo>
                        <a:pt x="178" y="218"/>
                        <a:pt x="172" y="220"/>
                        <a:pt x="167" y="220"/>
                      </a:cubicBezTo>
                      <a:cubicBezTo>
                        <a:pt x="160" y="220"/>
                        <a:pt x="155" y="218"/>
                        <a:pt x="151" y="214"/>
                      </a:cubicBezTo>
                      <a:cubicBezTo>
                        <a:pt x="147" y="209"/>
                        <a:pt x="145" y="204"/>
                        <a:pt x="145" y="197"/>
                      </a:cubicBezTo>
                      <a:cubicBezTo>
                        <a:pt x="145" y="192"/>
                        <a:pt x="147" y="186"/>
                        <a:pt x="151" y="182"/>
                      </a:cubicBezTo>
                      <a:cubicBezTo>
                        <a:pt x="155" y="178"/>
                        <a:pt x="160" y="175"/>
                        <a:pt x="167" y="175"/>
                      </a:cubicBezTo>
                      <a:cubicBezTo>
                        <a:pt x="172" y="175"/>
                        <a:pt x="178" y="178"/>
                        <a:pt x="182" y="182"/>
                      </a:cubicBezTo>
                      <a:cubicBezTo>
                        <a:pt x="186" y="186"/>
                        <a:pt x="189" y="192"/>
                        <a:pt x="189" y="197"/>
                      </a:cubicBezTo>
                      <a:moveTo>
                        <a:pt x="222" y="193"/>
                      </a:moveTo>
                      <a:lnTo>
                        <a:pt x="220" y="183"/>
                      </a:lnTo>
                      <a:cubicBezTo>
                        <a:pt x="220" y="182"/>
                        <a:pt x="220" y="181"/>
                        <a:pt x="218" y="181"/>
                      </a:cubicBezTo>
                      <a:lnTo>
                        <a:pt x="202" y="180"/>
                      </a:lnTo>
                      <a:cubicBezTo>
                        <a:pt x="202" y="179"/>
                        <a:pt x="201" y="177"/>
                        <a:pt x="200" y="176"/>
                      </a:cubicBezTo>
                      <a:lnTo>
                        <a:pt x="208" y="162"/>
                      </a:lnTo>
                      <a:cubicBezTo>
                        <a:pt x="208" y="160"/>
                        <a:pt x="208" y="159"/>
                        <a:pt x="206" y="158"/>
                      </a:cubicBezTo>
                      <a:lnTo>
                        <a:pt x="198" y="152"/>
                      </a:lnTo>
                      <a:cubicBezTo>
                        <a:pt x="198" y="151"/>
                        <a:pt x="196" y="151"/>
                        <a:pt x="195" y="151"/>
                      </a:cubicBezTo>
                      <a:lnTo>
                        <a:pt x="182" y="161"/>
                      </a:lnTo>
                      <a:cubicBezTo>
                        <a:pt x="181" y="160"/>
                        <a:pt x="180" y="160"/>
                        <a:pt x="178" y="160"/>
                      </a:cubicBezTo>
                      <a:lnTo>
                        <a:pt x="174" y="142"/>
                      </a:lnTo>
                      <a:cubicBezTo>
                        <a:pt x="174" y="140"/>
                        <a:pt x="173" y="140"/>
                        <a:pt x="172" y="140"/>
                      </a:cubicBezTo>
                      <a:lnTo>
                        <a:pt x="161" y="140"/>
                      </a:lnTo>
                      <a:cubicBezTo>
                        <a:pt x="160" y="140"/>
                        <a:pt x="159" y="140"/>
                        <a:pt x="158" y="142"/>
                      </a:cubicBezTo>
                      <a:lnTo>
                        <a:pt x="155" y="160"/>
                      </a:lnTo>
                      <a:cubicBezTo>
                        <a:pt x="153" y="160"/>
                        <a:pt x="152" y="160"/>
                        <a:pt x="151" y="161"/>
                      </a:cubicBezTo>
                      <a:lnTo>
                        <a:pt x="138" y="151"/>
                      </a:lnTo>
                      <a:cubicBezTo>
                        <a:pt x="137" y="151"/>
                        <a:pt x="135" y="151"/>
                        <a:pt x="135" y="151"/>
                      </a:cubicBezTo>
                      <a:lnTo>
                        <a:pt x="126" y="158"/>
                      </a:lnTo>
                      <a:cubicBezTo>
                        <a:pt x="126" y="159"/>
                        <a:pt x="126" y="160"/>
                        <a:pt x="126" y="162"/>
                      </a:cubicBezTo>
                      <a:lnTo>
                        <a:pt x="133" y="176"/>
                      </a:lnTo>
                      <a:cubicBezTo>
                        <a:pt x="132" y="177"/>
                        <a:pt x="131" y="179"/>
                        <a:pt x="131" y="180"/>
                      </a:cubicBezTo>
                      <a:lnTo>
                        <a:pt x="115" y="181"/>
                      </a:lnTo>
                      <a:cubicBezTo>
                        <a:pt x="113" y="181"/>
                        <a:pt x="113" y="182"/>
                        <a:pt x="112" y="183"/>
                      </a:cubicBezTo>
                      <a:lnTo>
                        <a:pt x="110" y="193"/>
                      </a:lnTo>
                      <a:cubicBezTo>
                        <a:pt x="110" y="194"/>
                        <a:pt x="111" y="195"/>
                        <a:pt x="112" y="196"/>
                      </a:cubicBezTo>
                      <a:lnTo>
                        <a:pt x="127" y="203"/>
                      </a:lnTo>
                      <a:cubicBezTo>
                        <a:pt x="127" y="204"/>
                        <a:pt x="127" y="205"/>
                        <a:pt x="128" y="207"/>
                      </a:cubicBezTo>
                      <a:lnTo>
                        <a:pt x="116" y="218"/>
                      </a:lnTo>
                      <a:cubicBezTo>
                        <a:pt x="115" y="218"/>
                        <a:pt x="115" y="220"/>
                        <a:pt x="115" y="222"/>
                      </a:cubicBezTo>
                      <a:lnTo>
                        <a:pt x="120" y="231"/>
                      </a:lnTo>
                      <a:cubicBezTo>
                        <a:pt x="121" y="231"/>
                        <a:pt x="122" y="232"/>
                        <a:pt x="124" y="231"/>
                      </a:cubicBezTo>
                      <a:lnTo>
                        <a:pt x="139" y="227"/>
                      </a:lnTo>
                      <a:cubicBezTo>
                        <a:pt x="141" y="228"/>
                        <a:pt x="141" y="229"/>
                        <a:pt x="143" y="230"/>
                      </a:cubicBezTo>
                      <a:lnTo>
                        <a:pt x="141" y="246"/>
                      </a:lnTo>
                      <a:cubicBezTo>
                        <a:pt x="141" y="247"/>
                        <a:pt x="141" y="248"/>
                        <a:pt x="143" y="248"/>
                      </a:cubicBezTo>
                      <a:lnTo>
                        <a:pt x="152" y="252"/>
                      </a:lnTo>
                      <a:cubicBezTo>
                        <a:pt x="154" y="252"/>
                        <a:pt x="155" y="252"/>
                        <a:pt x="156" y="251"/>
                      </a:cubicBezTo>
                      <a:lnTo>
                        <a:pt x="164" y="237"/>
                      </a:lnTo>
                      <a:cubicBezTo>
                        <a:pt x="165" y="237"/>
                        <a:pt x="166" y="238"/>
                        <a:pt x="167" y="238"/>
                      </a:cubicBezTo>
                      <a:cubicBezTo>
                        <a:pt x="167" y="238"/>
                        <a:pt x="168" y="237"/>
                        <a:pt x="169" y="237"/>
                      </a:cubicBezTo>
                      <a:lnTo>
                        <a:pt x="177" y="251"/>
                      </a:lnTo>
                      <a:cubicBezTo>
                        <a:pt x="178" y="252"/>
                        <a:pt x="180" y="252"/>
                        <a:pt x="181" y="252"/>
                      </a:cubicBezTo>
                      <a:lnTo>
                        <a:pt x="191" y="248"/>
                      </a:lnTo>
                      <a:cubicBezTo>
                        <a:pt x="192" y="248"/>
                        <a:pt x="193" y="247"/>
                        <a:pt x="193" y="246"/>
                      </a:cubicBezTo>
                      <a:lnTo>
                        <a:pt x="191" y="230"/>
                      </a:lnTo>
                      <a:cubicBezTo>
                        <a:pt x="191" y="229"/>
                        <a:pt x="193" y="228"/>
                        <a:pt x="194" y="227"/>
                      </a:cubicBezTo>
                      <a:lnTo>
                        <a:pt x="209" y="231"/>
                      </a:lnTo>
                      <a:cubicBezTo>
                        <a:pt x="210" y="232"/>
                        <a:pt x="212" y="231"/>
                        <a:pt x="212" y="231"/>
                      </a:cubicBezTo>
                      <a:lnTo>
                        <a:pt x="218" y="222"/>
                      </a:lnTo>
                      <a:cubicBezTo>
                        <a:pt x="219" y="220"/>
                        <a:pt x="218" y="218"/>
                        <a:pt x="217" y="218"/>
                      </a:cubicBezTo>
                      <a:lnTo>
                        <a:pt x="206" y="207"/>
                      </a:lnTo>
                      <a:cubicBezTo>
                        <a:pt x="206" y="205"/>
                        <a:pt x="206" y="204"/>
                        <a:pt x="206" y="203"/>
                      </a:cubicBezTo>
                      <a:lnTo>
                        <a:pt x="221" y="196"/>
                      </a:lnTo>
                      <a:cubicBezTo>
                        <a:pt x="222" y="195"/>
                        <a:pt x="222" y="195"/>
                        <a:pt x="222" y="193"/>
                      </a:cubicBezTo>
                      <a:moveTo>
                        <a:pt x="0" y="0"/>
                      </a:moveTo>
                      <a:lnTo>
                        <a:pt x="374" y="0"/>
                      </a:lnTo>
                      <a:lnTo>
                        <a:pt x="374" y="38"/>
                      </a:lnTo>
                      <a:lnTo>
                        <a:pt x="0" y="38"/>
                      </a:lnTo>
                      <a:lnTo>
                        <a:pt x="0" y="0"/>
                      </a:lnTo>
                      <a:close/>
                      <a:moveTo>
                        <a:pt x="0" y="57"/>
                      </a:moveTo>
                      <a:lnTo>
                        <a:pt x="374" y="57"/>
                      </a:lnTo>
                      <a:lnTo>
                        <a:pt x="374" y="319"/>
                      </a:lnTo>
                      <a:lnTo>
                        <a:pt x="0" y="319"/>
                      </a:lnTo>
                      <a:lnTo>
                        <a:pt x="0" y="57"/>
                      </a:lnTo>
                      <a:close/>
                      <a:moveTo>
                        <a:pt x="19" y="300"/>
                      </a:moveTo>
                      <a:lnTo>
                        <a:pt x="356" y="300"/>
                      </a:lnTo>
                      <a:lnTo>
                        <a:pt x="356" y="76"/>
                      </a:lnTo>
                      <a:lnTo>
                        <a:pt x="19" y="76"/>
                      </a:lnTo>
                      <a:lnTo>
                        <a:pt x="19" y="300"/>
                      </a:lnTo>
                      <a:close/>
                    </a:path>
                  </a:pathLst>
                </a:custGeom>
                <a:solidFill>
                  <a:srgbClr val="F5F5F5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555132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F3F3F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sp>
          <p:nvSpPr>
            <p:cNvPr id="62" name="TextBox 61"/>
            <p:cNvSpPr txBox="1"/>
            <p:nvPr/>
          </p:nvSpPr>
          <p:spPr>
            <a:xfrm>
              <a:off x="4418773" y="1849879"/>
              <a:ext cx="3936112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 smtClean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icrosoft Led Events</a:t>
              </a:r>
            </a:p>
            <a:p>
              <a:r>
                <a:rPr lang="en-US" sz="2000" b="1" dirty="0" smtClean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tay Compliant</a:t>
              </a:r>
              <a:endParaRPr lang="en-US" b="1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3" name="Rectangle 2"/>
          <p:cNvSpPr/>
          <p:nvPr/>
        </p:nvSpPr>
        <p:spPr>
          <a:xfrm>
            <a:off x="3085793" y="3993502"/>
            <a:ext cx="3301036" cy="578498"/>
          </a:xfrm>
          <a:prstGeom prst="rect">
            <a:avLst/>
          </a:prstGeom>
          <a:solidFill>
            <a:srgbClr val="ADD40D"/>
          </a:solidFill>
          <a:ln>
            <a:solidFill>
              <a:srgbClr val="ADD40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/>
              <a:t>Watch the recorded webcast</a:t>
            </a:r>
            <a:endParaRPr lang="en-US" b="1" dirty="0"/>
          </a:p>
        </p:txBody>
      </p:sp>
      <p:grpSp>
        <p:nvGrpSpPr>
          <p:cNvPr id="5" name="Group 4"/>
          <p:cNvGrpSpPr/>
          <p:nvPr/>
        </p:nvGrpSpPr>
        <p:grpSpPr>
          <a:xfrm>
            <a:off x="1961303" y="4826190"/>
            <a:ext cx="6692125" cy="1562099"/>
            <a:chOff x="1961303" y="4826190"/>
            <a:chExt cx="6692125" cy="1562099"/>
          </a:xfrm>
        </p:grpSpPr>
        <p:sp>
          <p:nvSpPr>
            <p:cNvPr id="64" name="Rectangle 63"/>
            <p:cNvSpPr/>
            <p:nvPr/>
          </p:nvSpPr>
          <p:spPr>
            <a:xfrm>
              <a:off x="1985928" y="4826190"/>
              <a:ext cx="6667500" cy="155359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65" name="Rectangle 64"/>
            <p:cNvSpPr/>
            <p:nvPr/>
          </p:nvSpPr>
          <p:spPr>
            <a:xfrm>
              <a:off x="4484921" y="4826190"/>
              <a:ext cx="4167050" cy="1562099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66" name="TextBox 61"/>
            <p:cNvSpPr txBox="1"/>
            <p:nvPr/>
          </p:nvSpPr>
          <p:spPr>
            <a:xfrm>
              <a:off x="4715860" y="5341376"/>
              <a:ext cx="393611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2800" b="1" dirty="0" smtClean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You’re Invited!</a:t>
              </a:r>
              <a:endParaRPr lang="en-US" sz="2400" b="1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67" name="Heart 66"/>
            <p:cNvSpPr/>
            <p:nvPr/>
          </p:nvSpPr>
          <p:spPr>
            <a:xfrm>
              <a:off x="2516178" y="4893564"/>
              <a:ext cx="1438494" cy="1438494"/>
            </a:xfrm>
            <a:prstGeom prst="hear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pic>
          <p:nvPicPr>
            <p:cNvPr id="68" name="Picture 6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961303" y="5426625"/>
              <a:ext cx="1212024" cy="372372"/>
            </a:xfrm>
            <a:prstGeom prst="rect">
              <a:avLst/>
            </a:prstGeom>
          </p:spPr>
        </p:pic>
        <p:pic>
          <p:nvPicPr>
            <p:cNvPr id="69" name="Picture 68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312367" y="5429161"/>
              <a:ext cx="1183273" cy="372372"/>
            </a:xfrm>
            <a:prstGeom prst="rect">
              <a:avLst/>
            </a:prstGeom>
          </p:spPr>
        </p:pic>
      </p:grpSp>
      <p:cxnSp>
        <p:nvCxnSpPr>
          <p:cNvPr id="71" name="Straight Arrow Connector 70"/>
          <p:cNvCxnSpPr/>
          <p:nvPr/>
        </p:nvCxnSpPr>
        <p:spPr>
          <a:xfrm>
            <a:off x="681135" y="625151"/>
            <a:ext cx="22393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/>
          <p:cNvCxnSpPr/>
          <p:nvPr/>
        </p:nvCxnSpPr>
        <p:spPr>
          <a:xfrm>
            <a:off x="1688841" y="541176"/>
            <a:ext cx="3532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/>
          <p:cNvCxnSpPr/>
          <p:nvPr/>
        </p:nvCxnSpPr>
        <p:spPr>
          <a:xfrm>
            <a:off x="2918356" y="522514"/>
            <a:ext cx="323628" cy="0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ectangle 95"/>
          <p:cNvSpPr/>
          <p:nvPr/>
        </p:nvSpPr>
        <p:spPr>
          <a:xfrm>
            <a:off x="7091737" y="3415005"/>
            <a:ext cx="2409102" cy="454494"/>
          </a:xfrm>
          <a:prstGeom prst="rect">
            <a:avLst/>
          </a:prstGeom>
          <a:solidFill>
            <a:srgbClr val="ADD40D"/>
          </a:solidFill>
          <a:ln>
            <a:solidFill>
              <a:srgbClr val="ADD40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See the full series here</a:t>
            </a:r>
            <a:endParaRPr lang="en-US" sz="14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79" name="Group 78"/>
          <p:cNvGrpSpPr/>
          <p:nvPr/>
        </p:nvGrpSpPr>
        <p:grpSpPr>
          <a:xfrm>
            <a:off x="172994" y="3603013"/>
            <a:ext cx="1631092" cy="454494"/>
            <a:chOff x="172994" y="3603013"/>
            <a:chExt cx="1631092" cy="454494"/>
          </a:xfrm>
        </p:grpSpPr>
        <p:sp>
          <p:nvSpPr>
            <p:cNvPr id="73" name="Rectangle 72"/>
            <p:cNvSpPr/>
            <p:nvPr/>
          </p:nvSpPr>
          <p:spPr>
            <a:xfrm>
              <a:off x="172994" y="3603013"/>
              <a:ext cx="1631092" cy="454494"/>
            </a:xfrm>
            <a:prstGeom prst="rect">
              <a:avLst/>
            </a:prstGeom>
            <a:solidFill>
              <a:srgbClr val="ADD40D"/>
            </a:solidFill>
            <a:ln>
              <a:solidFill>
                <a:srgbClr val="ADD40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200" b="1" dirty="0" smtClean="0">
                  <a:latin typeface="Segoe UI" panose="020B0502040204020203" pitchFamily="34" charset="0"/>
                  <a:cs typeface="Segoe UI" panose="020B0502040204020203" pitchFamily="34" charset="0"/>
                </a:rPr>
                <a:t> Register Now</a:t>
              </a:r>
              <a:endParaRPr lang="en-US" sz="1200" b="1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72" name="Group 71"/>
            <p:cNvGrpSpPr/>
            <p:nvPr/>
          </p:nvGrpSpPr>
          <p:grpSpPr>
            <a:xfrm>
              <a:off x="1375719" y="3672345"/>
              <a:ext cx="321360" cy="321360"/>
              <a:chOff x="1375719" y="3672345"/>
              <a:chExt cx="321360" cy="321360"/>
            </a:xfrm>
          </p:grpSpPr>
          <p:sp>
            <p:nvSpPr>
              <p:cNvPr id="70" name="Oval 69"/>
              <p:cNvSpPr/>
              <p:nvPr/>
            </p:nvSpPr>
            <p:spPr>
              <a:xfrm>
                <a:off x="1375719" y="3672345"/>
                <a:ext cx="321360" cy="321360"/>
              </a:xfrm>
              <a:prstGeom prst="ellipse">
                <a:avLst/>
              </a:prstGeom>
              <a:solidFill>
                <a:srgbClr val="ADD40D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60" name="Group 59"/>
              <p:cNvGrpSpPr/>
              <p:nvPr/>
            </p:nvGrpSpPr>
            <p:grpSpPr>
              <a:xfrm>
                <a:off x="1432652" y="3748215"/>
                <a:ext cx="193665" cy="165761"/>
                <a:chOff x="1422460" y="3785782"/>
                <a:chExt cx="195620" cy="167434"/>
              </a:xfrm>
              <a:solidFill>
                <a:schemeClr val="bg1"/>
              </a:solidFill>
            </p:grpSpPr>
            <p:sp>
              <p:nvSpPr>
                <p:cNvPr id="77" name="Chevron 76"/>
                <p:cNvSpPr/>
                <p:nvPr/>
              </p:nvSpPr>
              <p:spPr>
                <a:xfrm>
                  <a:off x="1521466" y="3785782"/>
                  <a:ext cx="96614" cy="167434"/>
                </a:xfrm>
                <a:prstGeom prst="chevron">
                  <a:avLst/>
                </a:prstGeom>
                <a:grpFill/>
                <a:ln w="31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78" name="Straight Connector 77"/>
                <p:cNvCxnSpPr>
                  <a:stCxn id="77" idx="1"/>
                </p:cNvCxnSpPr>
                <p:nvPr/>
              </p:nvCxnSpPr>
              <p:spPr>
                <a:xfrm flipH="1">
                  <a:off x="1422460" y="3869499"/>
                  <a:ext cx="147313" cy="0"/>
                </a:xfrm>
                <a:prstGeom prst="line">
                  <a:avLst/>
                </a:prstGeom>
                <a:grpFill/>
                <a:ln w="57150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pic>
        <p:nvPicPr>
          <p:cNvPr id="74" name="Picture 7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1571" y="4282751"/>
            <a:ext cx="2023872" cy="2023872"/>
          </a:xfrm>
          <a:prstGeom prst="rect">
            <a:avLst/>
          </a:prstGeom>
        </p:spPr>
      </p:pic>
      <p:sp>
        <p:nvSpPr>
          <p:cNvPr id="80" name="AutoShape 3"/>
          <p:cNvSpPr>
            <a:spLocks noChangeAspect="1" noChangeArrowheads="1" noTextEdit="1"/>
          </p:cNvSpPr>
          <p:nvPr/>
        </p:nvSpPr>
        <p:spPr bwMode="auto">
          <a:xfrm>
            <a:off x="8759773" y="2794413"/>
            <a:ext cx="1828800" cy="236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4" name="AutoShape 82"/>
          <p:cNvSpPr>
            <a:spLocks noChangeAspect="1" noChangeArrowheads="1" noTextEdit="1"/>
          </p:cNvSpPr>
          <p:nvPr/>
        </p:nvSpPr>
        <p:spPr bwMode="auto">
          <a:xfrm>
            <a:off x="5908675" y="3043238"/>
            <a:ext cx="1828800" cy="236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5" name="Rectangle 84"/>
          <p:cNvSpPr>
            <a:spLocks noChangeArrowheads="1"/>
          </p:cNvSpPr>
          <p:nvPr/>
        </p:nvSpPr>
        <p:spPr bwMode="auto">
          <a:xfrm>
            <a:off x="5908675" y="3043238"/>
            <a:ext cx="1828800" cy="2365375"/>
          </a:xfrm>
          <a:prstGeom prst="rect">
            <a:avLst/>
          </a:prstGeom>
          <a:solidFill>
            <a:srgbClr val="BAD80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6" name="Rectangle 85"/>
          <p:cNvSpPr>
            <a:spLocks noChangeArrowheads="1"/>
          </p:cNvSpPr>
          <p:nvPr/>
        </p:nvSpPr>
        <p:spPr bwMode="auto">
          <a:xfrm>
            <a:off x="5908675" y="3043238"/>
            <a:ext cx="1828800" cy="236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99" name="Group 198"/>
          <p:cNvGrpSpPr/>
          <p:nvPr/>
        </p:nvGrpSpPr>
        <p:grpSpPr>
          <a:xfrm>
            <a:off x="9137291" y="975526"/>
            <a:ext cx="2020208" cy="2023872"/>
            <a:chOff x="9137291" y="975526"/>
            <a:chExt cx="2020208" cy="2023872"/>
          </a:xfrm>
        </p:grpSpPr>
        <p:sp>
          <p:nvSpPr>
            <p:cNvPr id="75" name="Rectangle 74"/>
            <p:cNvSpPr/>
            <p:nvPr/>
          </p:nvSpPr>
          <p:spPr>
            <a:xfrm>
              <a:off x="9137291" y="975526"/>
              <a:ext cx="2020208" cy="2023872"/>
            </a:xfrm>
            <a:prstGeom prst="rect">
              <a:avLst/>
            </a:prstGeom>
            <a:solidFill>
              <a:srgbClr val="7FBA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98" name="Group 197"/>
            <p:cNvGrpSpPr/>
            <p:nvPr/>
          </p:nvGrpSpPr>
          <p:grpSpPr>
            <a:xfrm>
              <a:off x="9272512" y="1474410"/>
              <a:ext cx="1772859" cy="1026104"/>
              <a:chOff x="9325989" y="1889919"/>
              <a:chExt cx="1541463" cy="892176"/>
            </a:xfrm>
          </p:grpSpPr>
          <p:sp>
            <p:nvSpPr>
              <p:cNvPr id="169" name="Freeform 88"/>
              <p:cNvSpPr>
                <a:spLocks/>
              </p:cNvSpPr>
              <p:nvPr/>
            </p:nvSpPr>
            <p:spPr bwMode="auto">
              <a:xfrm>
                <a:off x="10070526" y="2383632"/>
                <a:ext cx="136525" cy="133350"/>
              </a:xfrm>
              <a:custGeom>
                <a:avLst/>
                <a:gdLst>
                  <a:gd name="T0" fmla="*/ 63 w 86"/>
                  <a:gd name="T1" fmla="*/ 84 h 84"/>
                  <a:gd name="T2" fmla="*/ 0 w 86"/>
                  <a:gd name="T3" fmla="*/ 25 h 84"/>
                  <a:gd name="T4" fmla="*/ 22 w 86"/>
                  <a:gd name="T5" fmla="*/ 0 h 84"/>
                  <a:gd name="T6" fmla="*/ 86 w 86"/>
                  <a:gd name="T7" fmla="*/ 59 h 84"/>
                  <a:gd name="T8" fmla="*/ 63 w 86"/>
                  <a:gd name="T9" fmla="*/ 8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6" h="84">
                    <a:moveTo>
                      <a:pt x="63" y="84"/>
                    </a:moveTo>
                    <a:lnTo>
                      <a:pt x="0" y="25"/>
                    </a:lnTo>
                    <a:lnTo>
                      <a:pt x="22" y="0"/>
                    </a:lnTo>
                    <a:lnTo>
                      <a:pt x="86" y="59"/>
                    </a:lnTo>
                    <a:lnTo>
                      <a:pt x="63" y="8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" name="Freeform 89"/>
              <p:cNvSpPr>
                <a:spLocks/>
              </p:cNvSpPr>
              <p:nvPr/>
            </p:nvSpPr>
            <p:spPr bwMode="auto">
              <a:xfrm>
                <a:off x="10167364" y="2466182"/>
                <a:ext cx="68263" cy="69850"/>
              </a:xfrm>
              <a:custGeom>
                <a:avLst/>
                <a:gdLst>
                  <a:gd name="T0" fmla="*/ 28 w 93"/>
                  <a:gd name="T1" fmla="*/ 79 h 93"/>
                  <a:gd name="T2" fmla="*/ 28 w 93"/>
                  <a:gd name="T3" fmla="*/ 80 h 93"/>
                  <a:gd name="T4" fmla="*/ 80 w 93"/>
                  <a:gd name="T5" fmla="*/ 78 h 93"/>
                  <a:gd name="T6" fmla="*/ 77 w 93"/>
                  <a:gd name="T7" fmla="*/ 27 h 93"/>
                  <a:gd name="T8" fmla="*/ 76 w 93"/>
                  <a:gd name="T9" fmla="*/ 26 h 93"/>
                  <a:gd name="T10" fmla="*/ 76 w 93"/>
                  <a:gd name="T11" fmla="*/ 26 h 93"/>
                  <a:gd name="T12" fmla="*/ 48 w 93"/>
                  <a:gd name="T13" fmla="*/ 0 h 93"/>
                  <a:gd name="T14" fmla="*/ 0 w 93"/>
                  <a:gd name="T15" fmla="*/ 54 h 93"/>
                  <a:gd name="T16" fmla="*/ 27 w 93"/>
                  <a:gd name="T17" fmla="*/ 79 h 93"/>
                  <a:gd name="T18" fmla="*/ 28 w 93"/>
                  <a:gd name="T19" fmla="*/ 79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3" h="93">
                    <a:moveTo>
                      <a:pt x="28" y="79"/>
                    </a:moveTo>
                    <a:cubicBezTo>
                      <a:pt x="28" y="79"/>
                      <a:pt x="28" y="80"/>
                      <a:pt x="28" y="80"/>
                    </a:cubicBezTo>
                    <a:cubicBezTo>
                      <a:pt x="43" y="93"/>
                      <a:pt x="66" y="92"/>
                      <a:pt x="80" y="78"/>
                    </a:cubicBezTo>
                    <a:cubicBezTo>
                      <a:pt x="93" y="63"/>
                      <a:pt x="92" y="40"/>
                      <a:pt x="77" y="27"/>
                    </a:cubicBezTo>
                    <a:cubicBezTo>
                      <a:pt x="77" y="26"/>
                      <a:pt x="76" y="26"/>
                      <a:pt x="76" y="26"/>
                    </a:cubicBezTo>
                    <a:cubicBezTo>
                      <a:pt x="76" y="26"/>
                      <a:pt x="76" y="26"/>
                      <a:pt x="76" y="26"/>
                    </a:cubicBezTo>
                    <a:cubicBezTo>
                      <a:pt x="48" y="0"/>
                      <a:pt x="48" y="0"/>
                      <a:pt x="48" y="0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27" y="79"/>
                      <a:pt x="27" y="79"/>
                      <a:pt x="27" y="79"/>
                    </a:cubicBezTo>
                    <a:lnTo>
                      <a:pt x="28" y="79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1" name="Freeform 90"/>
              <p:cNvSpPr>
                <a:spLocks/>
              </p:cNvSpPr>
              <p:nvPr/>
            </p:nvSpPr>
            <p:spPr bwMode="auto">
              <a:xfrm>
                <a:off x="10221339" y="2383632"/>
                <a:ext cx="138113" cy="133350"/>
              </a:xfrm>
              <a:custGeom>
                <a:avLst/>
                <a:gdLst>
                  <a:gd name="T0" fmla="*/ 23 w 87"/>
                  <a:gd name="T1" fmla="*/ 84 h 84"/>
                  <a:gd name="T2" fmla="*/ 87 w 87"/>
                  <a:gd name="T3" fmla="*/ 25 h 84"/>
                  <a:gd name="T4" fmla="*/ 64 w 87"/>
                  <a:gd name="T5" fmla="*/ 0 h 84"/>
                  <a:gd name="T6" fmla="*/ 0 w 87"/>
                  <a:gd name="T7" fmla="*/ 59 h 84"/>
                  <a:gd name="T8" fmla="*/ 23 w 87"/>
                  <a:gd name="T9" fmla="*/ 8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84">
                    <a:moveTo>
                      <a:pt x="23" y="84"/>
                    </a:moveTo>
                    <a:lnTo>
                      <a:pt x="87" y="25"/>
                    </a:lnTo>
                    <a:lnTo>
                      <a:pt x="64" y="0"/>
                    </a:lnTo>
                    <a:lnTo>
                      <a:pt x="0" y="59"/>
                    </a:lnTo>
                    <a:lnTo>
                      <a:pt x="23" y="8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" name="Freeform 91"/>
              <p:cNvSpPr>
                <a:spLocks/>
              </p:cNvSpPr>
              <p:nvPr/>
            </p:nvSpPr>
            <p:spPr bwMode="auto">
              <a:xfrm>
                <a:off x="10221339" y="2383632"/>
                <a:ext cx="138113" cy="133350"/>
              </a:xfrm>
              <a:custGeom>
                <a:avLst/>
                <a:gdLst>
                  <a:gd name="T0" fmla="*/ 23 w 87"/>
                  <a:gd name="T1" fmla="*/ 84 h 84"/>
                  <a:gd name="T2" fmla="*/ 87 w 87"/>
                  <a:gd name="T3" fmla="*/ 25 h 84"/>
                  <a:gd name="T4" fmla="*/ 64 w 87"/>
                  <a:gd name="T5" fmla="*/ 0 h 84"/>
                  <a:gd name="T6" fmla="*/ 0 w 87"/>
                  <a:gd name="T7" fmla="*/ 59 h 84"/>
                  <a:gd name="T8" fmla="*/ 23 w 87"/>
                  <a:gd name="T9" fmla="*/ 8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84">
                    <a:moveTo>
                      <a:pt x="23" y="84"/>
                    </a:moveTo>
                    <a:lnTo>
                      <a:pt x="87" y="25"/>
                    </a:lnTo>
                    <a:lnTo>
                      <a:pt x="64" y="0"/>
                    </a:lnTo>
                    <a:lnTo>
                      <a:pt x="0" y="59"/>
                    </a:lnTo>
                    <a:lnTo>
                      <a:pt x="23" y="8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3" name="Freeform 92"/>
              <p:cNvSpPr>
                <a:spLocks/>
              </p:cNvSpPr>
              <p:nvPr/>
            </p:nvSpPr>
            <p:spPr bwMode="auto">
              <a:xfrm>
                <a:off x="10197526" y="2466182"/>
                <a:ext cx="69850" cy="69850"/>
              </a:xfrm>
              <a:custGeom>
                <a:avLst/>
                <a:gdLst>
                  <a:gd name="T0" fmla="*/ 65 w 93"/>
                  <a:gd name="T1" fmla="*/ 79 h 93"/>
                  <a:gd name="T2" fmla="*/ 64 w 93"/>
                  <a:gd name="T3" fmla="*/ 80 h 93"/>
                  <a:gd name="T4" fmla="*/ 13 w 93"/>
                  <a:gd name="T5" fmla="*/ 78 h 93"/>
                  <a:gd name="T6" fmla="*/ 16 w 93"/>
                  <a:gd name="T7" fmla="*/ 27 h 93"/>
                  <a:gd name="T8" fmla="*/ 17 w 93"/>
                  <a:gd name="T9" fmla="*/ 26 h 93"/>
                  <a:gd name="T10" fmla="*/ 17 w 93"/>
                  <a:gd name="T11" fmla="*/ 26 h 93"/>
                  <a:gd name="T12" fmla="*/ 45 w 93"/>
                  <a:gd name="T13" fmla="*/ 0 h 93"/>
                  <a:gd name="T14" fmla="*/ 93 w 93"/>
                  <a:gd name="T15" fmla="*/ 54 h 93"/>
                  <a:gd name="T16" fmla="*/ 65 w 93"/>
                  <a:gd name="T17" fmla="*/ 79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93">
                    <a:moveTo>
                      <a:pt x="65" y="79"/>
                    </a:moveTo>
                    <a:cubicBezTo>
                      <a:pt x="65" y="79"/>
                      <a:pt x="65" y="80"/>
                      <a:pt x="64" y="80"/>
                    </a:cubicBezTo>
                    <a:cubicBezTo>
                      <a:pt x="49" y="93"/>
                      <a:pt x="27" y="92"/>
                      <a:pt x="13" y="78"/>
                    </a:cubicBezTo>
                    <a:cubicBezTo>
                      <a:pt x="0" y="63"/>
                      <a:pt x="1" y="40"/>
                      <a:pt x="16" y="27"/>
                    </a:cubicBezTo>
                    <a:cubicBezTo>
                      <a:pt x="16" y="26"/>
                      <a:pt x="17" y="26"/>
                      <a:pt x="17" y="26"/>
                    </a:cubicBezTo>
                    <a:cubicBezTo>
                      <a:pt x="17" y="26"/>
                      <a:pt x="17" y="26"/>
                      <a:pt x="17" y="26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93" y="54"/>
                      <a:pt x="93" y="54"/>
                      <a:pt x="93" y="54"/>
                    </a:cubicBezTo>
                    <a:cubicBezTo>
                      <a:pt x="65" y="79"/>
                      <a:pt x="65" y="79"/>
                      <a:pt x="65" y="7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4" name="Freeform 93"/>
              <p:cNvSpPr>
                <a:spLocks/>
              </p:cNvSpPr>
              <p:nvPr/>
            </p:nvSpPr>
            <p:spPr bwMode="auto">
              <a:xfrm>
                <a:off x="9797476" y="2720182"/>
                <a:ext cx="109538" cy="61913"/>
              </a:xfrm>
              <a:custGeom>
                <a:avLst/>
                <a:gdLst>
                  <a:gd name="T0" fmla="*/ 69 w 69"/>
                  <a:gd name="T1" fmla="*/ 29 h 39"/>
                  <a:gd name="T2" fmla="*/ 39 w 69"/>
                  <a:gd name="T3" fmla="*/ 0 h 39"/>
                  <a:gd name="T4" fmla="*/ 0 w 69"/>
                  <a:gd name="T5" fmla="*/ 0 h 39"/>
                  <a:gd name="T6" fmla="*/ 0 w 69"/>
                  <a:gd name="T7" fmla="*/ 39 h 39"/>
                  <a:gd name="T8" fmla="*/ 69 w 69"/>
                  <a:gd name="T9" fmla="*/ 39 h 39"/>
                  <a:gd name="T10" fmla="*/ 69 w 69"/>
                  <a:gd name="T11" fmla="*/ 2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9" h="39">
                    <a:moveTo>
                      <a:pt x="69" y="29"/>
                    </a:moveTo>
                    <a:lnTo>
                      <a:pt x="39" y="0"/>
                    </a:lnTo>
                    <a:lnTo>
                      <a:pt x="0" y="0"/>
                    </a:lnTo>
                    <a:lnTo>
                      <a:pt x="0" y="39"/>
                    </a:lnTo>
                    <a:lnTo>
                      <a:pt x="69" y="39"/>
                    </a:lnTo>
                    <a:lnTo>
                      <a:pt x="69" y="29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5" name="Rectangle 94"/>
              <p:cNvSpPr>
                <a:spLocks noChangeArrowheads="1"/>
              </p:cNvSpPr>
              <p:nvPr/>
            </p:nvSpPr>
            <p:spPr bwMode="auto">
              <a:xfrm>
                <a:off x="9797476" y="2318544"/>
                <a:ext cx="61913" cy="40322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6" name="Rectangle 95"/>
              <p:cNvSpPr>
                <a:spLocks noChangeArrowheads="1"/>
              </p:cNvSpPr>
              <p:nvPr/>
            </p:nvSpPr>
            <p:spPr bwMode="auto">
              <a:xfrm>
                <a:off x="9797476" y="2318544"/>
                <a:ext cx="61913" cy="403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7" name="Rectangle 96"/>
              <p:cNvSpPr>
                <a:spLocks noChangeArrowheads="1"/>
              </p:cNvSpPr>
              <p:nvPr/>
            </p:nvSpPr>
            <p:spPr bwMode="auto">
              <a:xfrm>
                <a:off x="9664126" y="2318544"/>
                <a:ext cx="61913" cy="40322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8" name="Rectangle 97"/>
              <p:cNvSpPr>
                <a:spLocks noChangeArrowheads="1"/>
              </p:cNvSpPr>
              <p:nvPr/>
            </p:nvSpPr>
            <p:spPr bwMode="auto">
              <a:xfrm>
                <a:off x="9664126" y="2318544"/>
                <a:ext cx="61913" cy="403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9" name="Freeform 98"/>
              <p:cNvSpPr>
                <a:spLocks/>
              </p:cNvSpPr>
              <p:nvPr/>
            </p:nvSpPr>
            <p:spPr bwMode="auto">
              <a:xfrm>
                <a:off x="9664126" y="2720182"/>
                <a:ext cx="109538" cy="61913"/>
              </a:xfrm>
              <a:custGeom>
                <a:avLst/>
                <a:gdLst>
                  <a:gd name="T0" fmla="*/ 69 w 69"/>
                  <a:gd name="T1" fmla="*/ 29 h 39"/>
                  <a:gd name="T2" fmla="*/ 39 w 69"/>
                  <a:gd name="T3" fmla="*/ 0 h 39"/>
                  <a:gd name="T4" fmla="*/ 0 w 69"/>
                  <a:gd name="T5" fmla="*/ 0 h 39"/>
                  <a:gd name="T6" fmla="*/ 0 w 69"/>
                  <a:gd name="T7" fmla="*/ 39 h 39"/>
                  <a:gd name="T8" fmla="*/ 69 w 69"/>
                  <a:gd name="T9" fmla="*/ 39 h 39"/>
                  <a:gd name="T10" fmla="*/ 69 w 69"/>
                  <a:gd name="T11" fmla="*/ 2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9" h="39">
                    <a:moveTo>
                      <a:pt x="69" y="29"/>
                    </a:moveTo>
                    <a:lnTo>
                      <a:pt x="39" y="0"/>
                    </a:lnTo>
                    <a:lnTo>
                      <a:pt x="0" y="0"/>
                    </a:lnTo>
                    <a:lnTo>
                      <a:pt x="0" y="39"/>
                    </a:lnTo>
                    <a:lnTo>
                      <a:pt x="69" y="39"/>
                    </a:lnTo>
                    <a:lnTo>
                      <a:pt x="69" y="29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0" name="Freeform 99"/>
              <p:cNvSpPr>
                <a:spLocks/>
              </p:cNvSpPr>
              <p:nvPr/>
            </p:nvSpPr>
            <p:spPr bwMode="auto">
              <a:xfrm>
                <a:off x="10453114" y="2720182"/>
                <a:ext cx="111125" cy="61913"/>
              </a:xfrm>
              <a:custGeom>
                <a:avLst/>
                <a:gdLst>
                  <a:gd name="T0" fmla="*/ 0 w 70"/>
                  <a:gd name="T1" fmla="*/ 29 h 39"/>
                  <a:gd name="T2" fmla="*/ 31 w 70"/>
                  <a:gd name="T3" fmla="*/ 0 h 39"/>
                  <a:gd name="T4" fmla="*/ 70 w 70"/>
                  <a:gd name="T5" fmla="*/ 0 h 39"/>
                  <a:gd name="T6" fmla="*/ 70 w 70"/>
                  <a:gd name="T7" fmla="*/ 39 h 39"/>
                  <a:gd name="T8" fmla="*/ 0 w 70"/>
                  <a:gd name="T9" fmla="*/ 39 h 39"/>
                  <a:gd name="T10" fmla="*/ 0 w 70"/>
                  <a:gd name="T11" fmla="*/ 2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0" h="39">
                    <a:moveTo>
                      <a:pt x="0" y="29"/>
                    </a:moveTo>
                    <a:lnTo>
                      <a:pt x="31" y="0"/>
                    </a:lnTo>
                    <a:lnTo>
                      <a:pt x="70" y="0"/>
                    </a:lnTo>
                    <a:lnTo>
                      <a:pt x="70" y="39"/>
                    </a:lnTo>
                    <a:lnTo>
                      <a:pt x="0" y="39"/>
                    </a:lnTo>
                    <a:lnTo>
                      <a:pt x="0" y="29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1" name="Rectangle 100"/>
              <p:cNvSpPr>
                <a:spLocks noChangeArrowheads="1"/>
              </p:cNvSpPr>
              <p:nvPr/>
            </p:nvSpPr>
            <p:spPr bwMode="auto">
              <a:xfrm>
                <a:off x="10502326" y="2318544"/>
                <a:ext cx="61913" cy="40322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2" name="Rectangle 101"/>
              <p:cNvSpPr>
                <a:spLocks noChangeArrowheads="1"/>
              </p:cNvSpPr>
              <p:nvPr/>
            </p:nvSpPr>
            <p:spPr bwMode="auto">
              <a:xfrm>
                <a:off x="10502326" y="2318544"/>
                <a:ext cx="61913" cy="403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" name="Rectangle 102"/>
              <p:cNvSpPr>
                <a:spLocks noChangeArrowheads="1"/>
              </p:cNvSpPr>
              <p:nvPr/>
            </p:nvSpPr>
            <p:spPr bwMode="auto">
              <a:xfrm>
                <a:off x="10635676" y="2318544"/>
                <a:ext cx="61913" cy="40322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" name="Rectangle 103"/>
              <p:cNvSpPr>
                <a:spLocks noChangeArrowheads="1"/>
              </p:cNvSpPr>
              <p:nvPr/>
            </p:nvSpPr>
            <p:spPr bwMode="auto">
              <a:xfrm>
                <a:off x="10635676" y="2318544"/>
                <a:ext cx="61913" cy="403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" name="Freeform 104"/>
              <p:cNvSpPr>
                <a:spLocks/>
              </p:cNvSpPr>
              <p:nvPr/>
            </p:nvSpPr>
            <p:spPr bwMode="auto">
              <a:xfrm>
                <a:off x="10588051" y="2720182"/>
                <a:ext cx="109538" cy="61913"/>
              </a:xfrm>
              <a:custGeom>
                <a:avLst/>
                <a:gdLst>
                  <a:gd name="T0" fmla="*/ 0 w 69"/>
                  <a:gd name="T1" fmla="*/ 29 h 39"/>
                  <a:gd name="T2" fmla="*/ 30 w 69"/>
                  <a:gd name="T3" fmla="*/ 0 h 39"/>
                  <a:gd name="T4" fmla="*/ 69 w 69"/>
                  <a:gd name="T5" fmla="*/ 0 h 39"/>
                  <a:gd name="T6" fmla="*/ 69 w 69"/>
                  <a:gd name="T7" fmla="*/ 39 h 39"/>
                  <a:gd name="T8" fmla="*/ 0 w 69"/>
                  <a:gd name="T9" fmla="*/ 39 h 39"/>
                  <a:gd name="T10" fmla="*/ 0 w 69"/>
                  <a:gd name="T11" fmla="*/ 2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9" h="39">
                    <a:moveTo>
                      <a:pt x="0" y="29"/>
                    </a:moveTo>
                    <a:lnTo>
                      <a:pt x="30" y="0"/>
                    </a:lnTo>
                    <a:lnTo>
                      <a:pt x="69" y="0"/>
                    </a:lnTo>
                    <a:lnTo>
                      <a:pt x="69" y="39"/>
                    </a:lnTo>
                    <a:lnTo>
                      <a:pt x="0" y="39"/>
                    </a:lnTo>
                    <a:lnTo>
                      <a:pt x="0" y="29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7" name="Freeform 106"/>
              <p:cNvSpPr>
                <a:spLocks/>
              </p:cNvSpPr>
              <p:nvPr/>
            </p:nvSpPr>
            <p:spPr bwMode="auto">
              <a:xfrm>
                <a:off x="9325989" y="2016919"/>
                <a:ext cx="801688" cy="468313"/>
              </a:xfrm>
              <a:custGeom>
                <a:avLst/>
                <a:gdLst>
                  <a:gd name="T0" fmla="*/ 941 w 1073"/>
                  <a:gd name="T1" fmla="*/ 336 h 628"/>
                  <a:gd name="T2" fmla="*/ 949 w 1073"/>
                  <a:gd name="T3" fmla="*/ 292 h 628"/>
                  <a:gd name="T4" fmla="*/ 802 w 1073"/>
                  <a:gd name="T5" fmla="*/ 146 h 628"/>
                  <a:gd name="T6" fmla="*/ 762 w 1073"/>
                  <a:gd name="T7" fmla="*/ 152 h 628"/>
                  <a:gd name="T8" fmla="*/ 545 w 1073"/>
                  <a:gd name="T9" fmla="*/ 0 h 628"/>
                  <a:gd name="T10" fmla="*/ 317 w 1073"/>
                  <a:gd name="T11" fmla="*/ 200 h 628"/>
                  <a:gd name="T12" fmla="*/ 256 w 1073"/>
                  <a:gd name="T13" fmla="*/ 188 h 628"/>
                  <a:gd name="T14" fmla="*/ 96 w 1073"/>
                  <a:gd name="T15" fmla="*/ 349 h 628"/>
                  <a:gd name="T16" fmla="*/ 102 w 1073"/>
                  <a:gd name="T17" fmla="*/ 392 h 628"/>
                  <a:gd name="T18" fmla="*/ 0 w 1073"/>
                  <a:gd name="T19" fmla="*/ 509 h 628"/>
                  <a:gd name="T20" fmla="*/ 112 w 1073"/>
                  <a:gd name="T21" fmla="*/ 627 h 628"/>
                  <a:gd name="T22" fmla="*/ 112 w 1073"/>
                  <a:gd name="T23" fmla="*/ 628 h 628"/>
                  <a:gd name="T24" fmla="*/ 926 w 1073"/>
                  <a:gd name="T25" fmla="*/ 628 h 628"/>
                  <a:gd name="T26" fmla="*/ 1073 w 1073"/>
                  <a:gd name="T27" fmla="*/ 482 h 628"/>
                  <a:gd name="T28" fmla="*/ 941 w 1073"/>
                  <a:gd name="T29" fmla="*/ 336 h 6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073" h="628">
                    <a:moveTo>
                      <a:pt x="941" y="336"/>
                    </a:moveTo>
                    <a:cubicBezTo>
                      <a:pt x="946" y="322"/>
                      <a:pt x="949" y="308"/>
                      <a:pt x="949" y="292"/>
                    </a:cubicBezTo>
                    <a:cubicBezTo>
                      <a:pt x="949" y="211"/>
                      <a:pt x="883" y="146"/>
                      <a:pt x="802" y="146"/>
                    </a:cubicBezTo>
                    <a:cubicBezTo>
                      <a:pt x="788" y="146"/>
                      <a:pt x="775" y="148"/>
                      <a:pt x="762" y="152"/>
                    </a:cubicBezTo>
                    <a:cubicBezTo>
                      <a:pt x="729" y="63"/>
                      <a:pt x="645" y="0"/>
                      <a:pt x="545" y="0"/>
                    </a:cubicBezTo>
                    <a:cubicBezTo>
                      <a:pt x="428" y="0"/>
                      <a:pt x="332" y="87"/>
                      <a:pt x="317" y="200"/>
                    </a:cubicBezTo>
                    <a:cubicBezTo>
                      <a:pt x="298" y="193"/>
                      <a:pt x="278" y="188"/>
                      <a:pt x="256" y="188"/>
                    </a:cubicBezTo>
                    <a:cubicBezTo>
                      <a:pt x="168" y="188"/>
                      <a:pt x="96" y="260"/>
                      <a:pt x="96" y="349"/>
                    </a:cubicBezTo>
                    <a:cubicBezTo>
                      <a:pt x="96" y="364"/>
                      <a:pt x="98" y="378"/>
                      <a:pt x="102" y="392"/>
                    </a:cubicBezTo>
                    <a:cubicBezTo>
                      <a:pt x="44" y="400"/>
                      <a:pt x="0" y="449"/>
                      <a:pt x="0" y="509"/>
                    </a:cubicBezTo>
                    <a:cubicBezTo>
                      <a:pt x="0" y="572"/>
                      <a:pt x="49" y="624"/>
                      <a:pt x="112" y="627"/>
                    </a:cubicBezTo>
                    <a:cubicBezTo>
                      <a:pt x="112" y="628"/>
                      <a:pt x="112" y="628"/>
                      <a:pt x="112" y="628"/>
                    </a:cubicBezTo>
                    <a:cubicBezTo>
                      <a:pt x="926" y="628"/>
                      <a:pt x="926" y="628"/>
                      <a:pt x="926" y="628"/>
                    </a:cubicBezTo>
                    <a:cubicBezTo>
                      <a:pt x="1007" y="628"/>
                      <a:pt x="1073" y="563"/>
                      <a:pt x="1073" y="482"/>
                    </a:cubicBezTo>
                    <a:cubicBezTo>
                      <a:pt x="1073" y="406"/>
                      <a:pt x="1015" y="344"/>
                      <a:pt x="941" y="336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8" name="Freeform 107"/>
              <p:cNvSpPr>
                <a:spLocks/>
              </p:cNvSpPr>
              <p:nvPr/>
            </p:nvSpPr>
            <p:spPr bwMode="auto">
              <a:xfrm>
                <a:off x="9397426" y="2156619"/>
                <a:ext cx="120650" cy="120650"/>
              </a:xfrm>
              <a:custGeom>
                <a:avLst/>
                <a:gdLst>
                  <a:gd name="T0" fmla="*/ 160 w 161"/>
                  <a:gd name="T1" fmla="*/ 0 h 161"/>
                  <a:gd name="T2" fmla="*/ 0 w 161"/>
                  <a:gd name="T3" fmla="*/ 161 h 161"/>
                  <a:gd name="T4" fmla="*/ 0 w 161"/>
                  <a:gd name="T5" fmla="*/ 161 h 161"/>
                  <a:gd name="T6" fmla="*/ 160 w 161"/>
                  <a:gd name="T7" fmla="*/ 0 h 161"/>
                  <a:gd name="T8" fmla="*/ 161 w 161"/>
                  <a:gd name="T9" fmla="*/ 0 h 161"/>
                  <a:gd name="T10" fmla="*/ 160 w 161"/>
                  <a:gd name="T11" fmla="*/ 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1" h="161">
                    <a:moveTo>
                      <a:pt x="160" y="0"/>
                    </a:moveTo>
                    <a:cubicBezTo>
                      <a:pt x="72" y="0"/>
                      <a:pt x="0" y="72"/>
                      <a:pt x="0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72"/>
                      <a:pt x="72" y="0"/>
                      <a:pt x="160" y="0"/>
                    </a:cubicBezTo>
                    <a:cubicBezTo>
                      <a:pt x="161" y="0"/>
                      <a:pt x="161" y="0"/>
                      <a:pt x="161" y="0"/>
                    </a:cubicBezTo>
                    <a:cubicBezTo>
                      <a:pt x="161" y="0"/>
                      <a:pt x="161" y="0"/>
                      <a:pt x="160" y="0"/>
                    </a:cubicBezTo>
                  </a:path>
                </a:pathLst>
              </a:custGeom>
              <a:solidFill>
                <a:srgbClr val="B1CD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0" name="Freeform 109"/>
              <p:cNvSpPr>
                <a:spLocks/>
              </p:cNvSpPr>
              <p:nvPr/>
            </p:nvSpPr>
            <p:spPr bwMode="auto">
              <a:xfrm>
                <a:off x="10329289" y="2077244"/>
                <a:ext cx="538163" cy="430213"/>
              </a:xfrm>
              <a:custGeom>
                <a:avLst/>
                <a:gdLst>
                  <a:gd name="T0" fmla="*/ 0 w 720"/>
                  <a:gd name="T1" fmla="*/ 36 h 576"/>
                  <a:gd name="T2" fmla="*/ 0 w 720"/>
                  <a:gd name="T3" fmla="*/ 540 h 576"/>
                  <a:gd name="T4" fmla="*/ 36 w 720"/>
                  <a:gd name="T5" fmla="*/ 576 h 576"/>
                  <a:gd name="T6" fmla="*/ 684 w 720"/>
                  <a:gd name="T7" fmla="*/ 576 h 576"/>
                  <a:gd name="T8" fmla="*/ 720 w 720"/>
                  <a:gd name="T9" fmla="*/ 540 h 576"/>
                  <a:gd name="T10" fmla="*/ 720 w 720"/>
                  <a:gd name="T11" fmla="*/ 36 h 576"/>
                  <a:gd name="T12" fmla="*/ 684 w 720"/>
                  <a:gd name="T13" fmla="*/ 0 h 576"/>
                  <a:gd name="T14" fmla="*/ 36 w 720"/>
                  <a:gd name="T15" fmla="*/ 0 h 576"/>
                  <a:gd name="T16" fmla="*/ 0 w 720"/>
                  <a:gd name="T17" fmla="*/ 36 h 5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20" h="576">
                    <a:moveTo>
                      <a:pt x="0" y="36"/>
                    </a:moveTo>
                    <a:cubicBezTo>
                      <a:pt x="0" y="540"/>
                      <a:pt x="0" y="540"/>
                      <a:pt x="0" y="540"/>
                    </a:cubicBezTo>
                    <a:cubicBezTo>
                      <a:pt x="0" y="540"/>
                      <a:pt x="0" y="576"/>
                      <a:pt x="36" y="576"/>
                    </a:cubicBezTo>
                    <a:cubicBezTo>
                      <a:pt x="684" y="576"/>
                      <a:pt x="684" y="576"/>
                      <a:pt x="684" y="576"/>
                    </a:cubicBezTo>
                    <a:cubicBezTo>
                      <a:pt x="684" y="576"/>
                      <a:pt x="720" y="576"/>
                      <a:pt x="720" y="540"/>
                    </a:cubicBezTo>
                    <a:cubicBezTo>
                      <a:pt x="720" y="36"/>
                      <a:pt x="720" y="36"/>
                      <a:pt x="720" y="36"/>
                    </a:cubicBezTo>
                    <a:cubicBezTo>
                      <a:pt x="720" y="36"/>
                      <a:pt x="720" y="0"/>
                      <a:pt x="684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6" y="0"/>
                      <a:pt x="0" y="0"/>
                      <a:pt x="0" y="36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1" name="Rectangle 110"/>
              <p:cNvSpPr>
                <a:spLocks noChangeArrowheads="1"/>
              </p:cNvSpPr>
              <p:nvPr/>
            </p:nvSpPr>
            <p:spPr bwMode="auto">
              <a:xfrm>
                <a:off x="10351514" y="2104232"/>
                <a:ext cx="484188" cy="322263"/>
              </a:xfrm>
              <a:prstGeom prst="rect">
                <a:avLst/>
              </a:prstGeom>
              <a:solidFill>
                <a:srgbClr val="7FB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2" name="Rectangle 111"/>
              <p:cNvSpPr>
                <a:spLocks noChangeArrowheads="1"/>
              </p:cNvSpPr>
              <p:nvPr/>
            </p:nvSpPr>
            <p:spPr bwMode="auto">
              <a:xfrm>
                <a:off x="10351514" y="2104232"/>
                <a:ext cx="484188" cy="322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3" name="Freeform 112"/>
              <p:cNvSpPr>
                <a:spLocks/>
              </p:cNvSpPr>
              <p:nvPr/>
            </p:nvSpPr>
            <p:spPr bwMode="auto">
              <a:xfrm>
                <a:off x="10064176" y="1889919"/>
                <a:ext cx="220663" cy="187325"/>
              </a:xfrm>
              <a:custGeom>
                <a:avLst/>
                <a:gdLst>
                  <a:gd name="T0" fmla="*/ 286 w 295"/>
                  <a:gd name="T1" fmla="*/ 70 h 252"/>
                  <a:gd name="T2" fmla="*/ 217 w 295"/>
                  <a:gd name="T3" fmla="*/ 0 h 252"/>
                  <a:gd name="T4" fmla="*/ 147 w 295"/>
                  <a:gd name="T5" fmla="*/ 70 h 252"/>
                  <a:gd name="T6" fmla="*/ 78 w 295"/>
                  <a:gd name="T7" fmla="*/ 0 h 252"/>
                  <a:gd name="T8" fmla="*/ 8 w 295"/>
                  <a:gd name="T9" fmla="*/ 70 h 252"/>
                  <a:gd name="T10" fmla="*/ 147 w 295"/>
                  <a:gd name="T11" fmla="*/ 252 h 252"/>
                  <a:gd name="T12" fmla="*/ 286 w 295"/>
                  <a:gd name="T13" fmla="*/ 70 h 2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5" h="252">
                    <a:moveTo>
                      <a:pt x="286" y="70"/>
                    </a:moveTo>
                    <a:cubicBezTo>
                      <a:pt x="286" y="31"/>
                      <a:pt x="255" y="0"/>
                      <a:pt x="217" y="0"/>
                    </a:cubicBezTo>
                    <a:cubicBezTo>
                      <a:pt x="179" y="0"/>
                      <a:pt x="147" y="31"/>
                      <a:pt x="147" y="70"/>
                    </a:cubicBezTo>
                    <a:cubicBezTo>
                      <a:pt x="147" y="31"/>
                      <a:pt x="116" y="0"/>
                      <a:pt x="78" y="0"/>
                    </a:cubicBezTo>
                    <a:cubicBezTo>
                      <a:pt x="39" y="0"/>
                      <a:pt x="8" y="31"/>
                      <a:pt x="8" y="70"/>
                    </a:cubicBezTo>
                    <a:cubicBezTo>
                      <a:pt x="8" y="70"/>
                      <a:pt x="0" y="184"/>
                      <a:pt x="147" y="252"/>
                    </a:cubicBezTo>
                    <a:cubicBezTo>
                      <a:pt x="295" y="184"/>
                      <a:pt x="286" y="70"/>
                      <a:pt x="286" y="7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4" name="Freeform 113"/>
              <p:cNvSpPr>
                <a:spLocks/>
              </p:cNvSpPr>
              <p:nvPr/>
            </p:nvSpPr>
            <p:spPr bwMode="auto">
              <a:xfrm>
                <a:off x="10835701" y="2453482"/>
                <a:ext cx="26988" cy="53975"/>
              </a:xfrm>
              <a:custGeom>
                <a:avLst/>
                <a:gdLst>
                  <a:gd name="T0" fmla="*/ 36 w 36"/>
                  <a:gd name="T1" fmla="*/ 0 h 72"/>
                  <a:gd name="T2" fmla="*/ 36 w 36"/>
                  <a:gd name="T3" fmla="*/ 36 h 72"/>
                  <a:gd name="T4" fmla="*/ 0 w 36"/>
                  <a:gd name="T5" fmla="*/ 72 h 72"/>
                  <a:gd name="T6" fmla="*/ 0 w 36"/>
                  <a:gd name="T7" fmla="*/ 72 h 72"/>
                  <a:gd name="T8" fmla="*/ 36 w 36"/>
                  <a:gd name="T9" fmla="*/ 36 h 72"/>
                  <a:gd name="T10" fmla="*/ 36 w 36"/>
                  <a:gd name="T11" fmla="*/ 0 h 72"/>
                  <a:gd name="T12" fmla="*/ 36 w 36"/>
                  <a:gd name="T13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6" h="72">
                    <a:moveTo>
                      <a:pt x="36" y="0"/>
                    </a:moveTo>
                    <a:cubicBezTo>
                      <a:pt x="36" y="36"/>
                      <a:pt x="36" y="36"/>
                      <a:pt x="36" y="36"/>
                    </a:cubicBezTo>
                    <a:cubicBezTo>
                      <a:pt x="36" y="72"/>
                      <a:pt x="0" y="72"/>
                      <a:pt x="0" y="72"/>
                    </a:cubicBezTo>
                    <a:cubicBezTo>
                      <a:pt x="0" y="72"/>
                      <a:pt x="0" y="72"/>
                      <a:pt x="0" y="72"/>
                    </a:cubicBezTo>
                    <a:cubicBezTo>
                      <a:pt x="0" y="72"/>
                      <a:pt x="36" y="72"/>
                      <a:pt x="36" y="36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6" y="0"/>
                      <a:pt x="36" y="0"/>
                      <a:pt x="36" y="0"/>
                    </a:cubicBezTo>
                  </a:path>
                </a:pathLst>
              </a:custGeom>
              <a:solidFill>
                <a:srgbClr val="0061A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7" name="Freeform 116"/>
              <p:cNvSpPr>
                <a:spLocks/>
              </p:cNvSpPr>
              <p:nvPr/>
            </p:nvSpPr>
            <p:spPr bwMode="auto">
              <a:xfrm>
                <a:off x="10351514" y="2147094"/>
                <a:ext cx="466725" cy="279400"/>
              </a:xfrm>
              <a:custGeom>
                <a:avLst/>
                <a:gdLst>
                  <a:gd name="T0" fmla="*/ 0 w 294"/>
                  <a:gd name="T1" fmla="*/ 0 h 176"/>
                  <a:gd name="T2" fmla="*/ 0 w 294"/>
                  <a:gd name="T3" fmla="*/ 176 h 176"/>
                  <a:gd name="T4" fmla="*/ 294 w 294"/>
                  <a:gd name="T5" fmla="*/ 176 h 176"/>
                  <a:gd name="T6" fmla="*/ 0 w 294"/>
                  <a:gd name="T7" fmla="*/ 0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4" h="176">
                    <a:moveTo>
                      <a:pt x="0" y="0"/>
                    </a:moveTo>
                    <a:lnTo>
                      <a:pt x="0" y="176"/>
                    </a:lnTo>
                    <a:lnTo>
                      <a:pt x="294" y="176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03" name="Group 202"/>
          <p:cNvGrpSpPr/>
          <p:nvPr/>
        </p:nvGrpSpPr>
        <p:grpSpPr>
          <a:xfrm>
            <a:off x="4695106" y="561952"/>
            <a:ext cx="1973942" cy="554490"/>
            <a:chOff x="4637215" y="236538"/>
            <a:chExt cx="1973942" cy="554490"/>
          </a:xfrm>
        </p:grpSpPr>
        <p:sp>
          <p:nvSpPr>
            <p:cNvPr id="201" name="Rectangle 200"/>
            <p:cNvSpPr/>
            <p:nvPr/>
          </p:nvSpPr>
          <p:spPr>
            <a:xfrm>
              <a:off x="4637215" y="236538"/>
              <a:ext cx="1973942" cy="554490"/>
            </a:xfrm>
            <a:prstGeom prst="rect">
              <a:avLst/>
            </a:prstGeom>
            <a:solidFill>
              <a:srgbClr val="0000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02" name="Picture 201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243" t="19519" r="8363" b="18802"/>
            <a:stretch/>
          </p:blipFill>
          <p:spPr>
            <a:xfrm>
              <a:off x="4717265" y="267047"/>
              <a:ext cx="1813841" cy="493472"/>
            </a:xfrm>
            <a:prstGeom prst="rect">
              <a:avLst/>
            </a:prstGeom>
          </p:spPr>
        </p:pic>
      </p:grpSp>
      <p:pic>
        <p:nvPicPr>
          <p:cNvPr id="204" name="Picture 20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4968" y="3556129"/>
            <a:ext cx="5715000" cy="2857500"/>
          </a:xfrm>
          <a:prstGeom prst="rect">
            <a:avLst/>
          </a:prstGeom>
        </p:spPr>
      </p:pic>
      <p:pic>
        <p:nvPicPr>
          <p:cNvPr id="76" name="Picture 7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296" y="4625061"/>
            <a:ext cx="1009650" cy="1009650"/>
          </a:xfrm>
          <a:prstGeom prst="rect">
            <a:avLst/>
          </a:prstGeom>
        </p:spPr>
      </p:pic>
      <p:sp>
        <p:nvSpPr>
          <p:cNvPr id="81" name="Rectangle 80"/>
          <p:cNvSpPr/>
          <p:nvPr/>
        </p:nvSpPr>
        <p:spPr>
          <a:xfrm>
            <a:off x="306858" y="1700440"/>
            <a:ext cx="1011107" cy="1009650"/>
          </a:xfrm>
          <a:prstGeom prst="rect">
            <a:avLst/>
          </a:prstGeom>
          <a:solidFill>
            <a:srgbClr val="5C00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b"/>
          <a:lstStyle/>
          <a:p>
            <a:pPr>
              <a:spcAft>
                <a:spcPts val="600"/>
              </a:spcAft>
            </a:pPr>
            <a:r>
              <a:rPr lang="en-US" sz="800" dirty="0" smtClean="0">
                <a:latin typeface="Segoe UI" panose="020B0502040204020203" pitchFamily="34" charset="0"/>
                <a:cs typeface="Segoe UI" panose="020B0502040204020203" pitchFamily="34" charset="0"/>
              </a:rPr>
              <a:t>Windows 10 Free Upgrade Offer</a:t>
            </a:r>
          </a:p>
        </p:txBody>
      </p:sp>
      <p:pic>
        <p:nvPicPr>
          <p:cNvPr id="119" name="Picture 118" descr="http://image.email.microsoftemail.com/lib/fe6b157075660478711c/m/11/136042_Partner3_MS_Led_Events_Banner.png"/>
          <p:cNvPicPr/>
          <p:nvPr/>
        </p:nvPicPr>
        <p:blipFill>
          <a:blip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697" y="312295"/>
            <a:ext cx="6668135" cy="156146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994943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1950" y="0"/>
            <a:ext cx="6994525" cy="6994525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5787" y="1638300"/>
            <a:ext cx="5514975" cy="933450"/>
          </a:xfrm>
          <a:prstGeom prst="rect">
            <a:avLst/>
          </a:prstGeom>
        </p:spPr>
      </p:pic>
      <p:sp>
        <p:nvSpPr>
          <p:cNvPr id="5" name="Freeform 69"/>
          <p:cNvSpPr>
            <a:spLocks/>
          </p:cNvSpPr>
          <p:nvPr/>
        </p:nvSpPr>
        <p:spPr bwMode="auto">
          <a:xfrm>
            <a:off x="2954742" y="3480937"/>
            <a:ext cx="483927" cy="277665"/>
          </a:xfrm>
          <a:custGeom>
            <a:avLst/>
            <a:gdLst>
              <a:gd name="T0" fmla="*/ 432 w 514"/>
              <a:gd name="T1" fmla="*/ 74 h 286"/>
              <a:gd name="T2" fmla="*/ 426 w 514"/>
              <a:gd name="T3" fmla="*/ 71 h 286"/>
              <a:gd name="T4" fmla="*/ 424 w 514"/>
              <a:gd name="T5" fmla="*/ 70 h 286"/>
              <a:gd name="T6" fmla="*/ 418 w 514"/>
              <a:gd name="T7" fmla="*/ 67 h 286"/>
              <a:gd name="T8" fmla="*/ 0 w 514"/>
              <a:gd name="T9" fmla="*/ 136 h 286"/>
              <a:gd name="T10" fmla="*/ 150 w 514"/>
              <a:gd name="T11" fmla="*/ 286 h 286"/>
              <a:gd name="T12" fmla="*/ 287 w 514"/>
              <a:gd name="T13" fmla="*/ 245 h 286"/>
              <a:gd name="T14" fmla="*/ 310 w 514"/>
              <a:gd name="T15" fmla="*/ 251 h 286"/>
              <a:gd name="T16" fmla="*/ 319 w 514"/>
              <a:gd name="T17" fmla="*/ 255 h 286"/>
              <a:gd name="T18" fmla="*/ 364 w 514"/>
              <a:gd name="T19" fmla="*/ 286 h 286"/>
              <a:gd name="T20" fmla="*/ 514 w 514"/>
              <a:gd name="T21" fmla="*/ 136 h 286"/>
              <a:gd name="T22" fmla="*/ 432 w 514"/>
              <a:gd name="T23" fmla="*/ 74 h 2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514" h="286">
                <a:moveTo>
                  <a:pt x="432" y="74"/>
                </a:moveTo>
                <a:cubicBezTo>
                  <a:pt x="430" y="73"/>
                  <a:pt x="428" y="72"/>
                  <a:pt x="426" y="71"/>
                </a:cubicBezTo>
                <a:cubicBezTo>
                  <a:pt x="425" y="71"/>
                  <a:pt x="424" y="70"/>
                  <a:pt x="424" y="70"/>
                </a:cubicBezTo>
                <a:cubicBezTo>
                  <a:pt x="422" y="69"/>
                  <a:pt x="420" y="68"/>
                  <a:pt x="418" y="67"/>
                </a:cubicBezTo>
                <a:cubicBezTo>
                  <a:pt x="282" y="0"/>
                  <a:pt x="113" y="23"/>
                  <a:pt x="0" y="136"/>
                </a:cubicBezTo>
                <a:cubicBezTo>
                  <a:pt x="150" y="286"/>
                  <a:pt x="150" y="286"/>
                  <a:pt x="150" y="286"/>
                </a:cubicBezTo>
                <a:cubicBezTo>
                  <a:pt x="187" y="249"/>
                  <a:pt x="239" y="235"/>
                  <a:pt x="287" y="245"/>
                </a:cubicBezTo>
                <a:cubicBezTo>
                  <a:pt x="295" y="246"/>
                  <a:pt x="302" y="248"/>
                  <a:pt x="310" y="251"/>
                </a:cubicBezTo>
                <a:cubicBezTo>
                  <a:pt x="313" y="252"/>
                  <a:pt x="316" y="253"/>
                  <a:pt x="319" y="255"/>
                </a:cubicBezTo>
                <a:cubicBezTo>
                  <a:pt x="335" y="262"/>
                  <a:pt x="351" y="272"/>
                  <a:pt x="364" y="286"/>
                </a:cubicBezTo>
                <a:cubicBezTo>
                  <a:pt x="514" y="136"/>
                  <a:pt x="514" y="136"/>
                  <a:pt x="514" y="136"/>
                </a:cubicBezTo>
                <a:cubicBezTo>
                  <a:pt x="489" y="111"/>
                  <a:pt x="461" y="91"/>
                  <a:pt x="432" y="74"/>
                </a:cubicBezTo>
                <a:close/>
              </a:path>
            </a:pathLst>
          </a:custGeom>
          <a:solidFill>
            <a:srgbClr val="BFBFB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800"/>
          </a:p>
        </p:txBody>
      </p:sp>
      <p:grpSp>
        <p:nvGrpSpPr>
          <p:cNvPr id="47" name="Group 113"/>
          <p:cNvGrpSpPr>
            <a:grpSpLocks noChangeAspect="1"/>
          </p:cNvGrpSpPr>
          <p:nvPr/>
        </p:nvGrpSpPr>
        <p:grpSpPr bwMode="auto">
          <a:xfrm>
            <a:off x="2192360" y="5272207"/>
            <a:ext cx="1004345" cy="1032475"/>
            <a:chOff x="3788" y="2411"/>
            <a:chExt cx="964" cy="991"/>
          </a:xfrm>
        </p:grpSpPr>
        <p:sp>
          <p:nvSpPr>
            <p:cNvPr id="48" name="Freeform 114"/>
            <p:cNvSpPr>
              <a:spLocks/>
            </p:cNvSpPr>
            <p:nvPr/>
          </p:nvSpPr>
          <p:spPr bwMode="auto">
            <a:xfrm>
              <a:off x="3788" y="3229"/>
              <a:ext cx="900" cy="117"/>
            </a:xfrm>
            <a:custGeom>
              <a:avLst/>
              <a:gdLst>
                <a:gd name="T0" fmla="*/ 784 w 900"/>
                <a:gd name="T1" fmla="*/ 117 h 117"/>
                <a:gd name="T2" fmla="*/ 0 w 900"/>
                <a:gd name="T3" fmla="*/ 117 h 117"/>
                <a:gd name="T4" fmla="*/ 118 w 900"/>
                <a:gd name="T5" fmla="*/ 0 h 117"/>
                <a:gd name="T6" fmla="*/ 900 w 900"/>
                <a:gd name="T7" fmla="*/ 0 h 117"/>
                <a:gd name="T8" fmla="*/ 784 w 900"/>
                <a:gd name="T9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0" h="117">
                  <a:moveTo>
                    <a:pt x="784" y="117"/>
                  </a:moveTo>
                  <a:lnTo>
                    <a:pt x="0" y="117"/>
                  </a:lnTo>
                  <a:lnTo>
                    <a:pt x="118" y="0"/>
                  </a:lnTo>
                  <a:lnTo>
                    <a:pt x="900" y="0"/>
                  </a:lnTo>
                  <a:lnTo>
                    <a:pt x="784" y="117"/>
                  </a:lnTo>
                  <a:close/>
                </a:path>
              </a:pathLst>
            </a:cu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115"/>
            <p:cNvSpPr>
              <a:spLocks/>
            </p:cNvSpPr>
            <p:nvPr/>
          </p:nvSpPr>
          <p:spPr bwMode="auto">
            <a:xfrm>
              <a:off x="3788" y="3229"/>
              <a:ext cx="900" cy="117"/>
            </a:xfrm>
            <a:custGeom>
              <a:avLst/>
              <a:gdLst>
                <a:gd name="T0" fmla="*/ 784 w 900"/>
                <a:gd name="T1" fmla="*/ 117 h 117"/>
                <a:gd name="T2" fmla="*/ 0 w 900"/>
                <a:gd name="T3" fmla="*/ 117 h 117"/>
                <a:gd name="T4" fmla="*/ 118 w 900"/>
                <a:gd name="T5" fmla="*/ 0 h 117"/>
                <a:gd name="T6" fmla="*/ 900 w 900"/>
                <a:gd name="T7" fmla="*/ 0 h 117"/>
                <a:gd name="T8" fmla="*/ 784 w 900"/>
                <a:gd name="T9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0" h="117">
                  <a:moveTo>
                    <a:pt x="784" y="117"/>
                  </a:moveTo>
                  <a:lnTo>
                    <a:pt x="0" y="117"/>
                  </a:lnTo>
                  <a:lnTo>
                    <a:pt x="118" y="0"/>
                  </a:lnTo>
                  <a:lnTo>
                    <a:pt x="900" y="0"/>
                  </a:lnTo>
                  <a:lnTo>
                    <a:pt x="784" y="11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116"/>
            <p:cNvSpPr>
              <a:spLocks/>
            </p:cNvSpPr>
            <p:nvPr/>
          </p:nvSpPr>
          <p:spPr bwMode="auto">
            <a:xfrm>
              <a:off x="3790" y="2411"/>
              <a:ext cx="116" cy="935"/>
            </a:xfrm>
            <a:custGeom>
              <a:avLst/>
              <a:gdLst>
                <a:gd name="T0" fmla="*/ 116 w 116"/>
                <a:gd name="T1" fmla="*/ 818 h 935"/>
                <a:gd name="T2" fmla="*/ 0 w 116"/>
                <a:gd name="T3" fmla="*/ 935 h 935"/>
                <a:gd name="T4" fmla="*/ 0 w 116"/>
                <a:gd name="T5" fmla="*/ 118 h 935"/>
                <a:gd name="T6" fmla="*/ 116 w 116"/>
                <a:gd name="T7" fmla="*/ 0 h 935"/>
                <a:gd name="T8" fmla="*/ 116 w 116"/>
                <a:gd name="T9" fmla="*/ 818 h 9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" h="935">
                  <a:moveTo>
                    <a:pt x="116" y="818"/>
                  </a:moveTo>
                  <a:lnTo>
                    <a:pt x="0" y="935"/>
                  </a:lnTo>
                  <a:lnTo>
                    <a:pt x="0" y="118"/>
                  </a:lnTo>
                  <a:lnTo>
                    <a:pt x="116" y="0"/>
                  </a:lnTo>
                  <a:lnTo>
                    <a:pt x="116" y="818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117"/>
            <p:cNvSpPr>
              <a:spLocks/>
            </p:cNvSpPr>
            <p:nvPr/>
          </p:nvSpPr>
          <p:spPr bwMode="auto">
            <a:xfrm>
              <a:off x="3790" y="2411"/>
              <a:ext cx="116" cy="935"/>
            </a:xfrm>
            <a:custGeom>
              <a:avLst/>
              <a:gdLst>
                <a:gd name="T0" fmla="*/ 116 w 116"/>
                <a:gd name="T1" fmla="*/ 818 h 935"/>
                <a:gd name="T2" fmla="*/ 0 w 116"/>
                <a:gd name="T3" fmla="*/ 935 h 935"/>
                <a:gd name="T4" fmla="*/ 0 w 116"/>
                <a:gd name="T5" fmla="*/ 118 h 935"/>
                <a:gd name="T6" fmla="*/ 116 w 116"/>
                <a:gd name="T7" fmla="*/ 0 h 935"/>
                <a:gd name="T8" fmla="*/ 116 w 116"/>
                <a:gd name="T9" fmla="*/ 818 h 9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" h="935">
                  <a:moveTo>
                    <a:pt x="116" y="818"/>
                  </a:moveTo>
                  <a:lnTo>
                    <a:pt x="0" y="935"/>
                  </a:lnTo>
                  <a:lnTo>
                    <a:pt x="0" y="118"/>
                  </a:lnTo>
                  <a:lnTo>
                    <a:pt x="116" y="0"/>
                  </a:lnTo>
                  <a:lnTo>
                    <a:pt x="116" y="81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118"/>
            <p:cNvSpPr>
              <a:spLocks/>
            </p:cNvSpPr>
            <p:nvPr/>
          </p:nvSpPr>
          <p:spPr bwMode="auto">
            <a:xfrm>
              <a:off x="3790" y="2411"/>
              <a:ext cx="116" cy="311"/>
            </a:xfrm>
            <a:custGeom>
              <a:avLst/>
              <a:gdLst>
                <a:gd name="T0" fmla="*/ 116 w 116"/>
                <a:gd name="T1" fmla="*/ 193 h 311"/>
                <a:gd name="T2" fmla="*/ 0 w 116"/>
                <a:gd name="T3" fmla="*/ 311 h 311"/>
                <a:gd name="T4" fmla="*/ 0 w 116"/>
                <a:gd name="T5" fmla="*/ 118 h 311"/>
                <a:gd name="T6" fmla="*/ 116 w 116"/>
                <a:gd name="T7" fmla="*/ 0 h 311"/>
                <a:gd name="T8" fmla="*/ 116 w 116"/>
                <a:gd name="T9" fmla="*/ 193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" h="311">
                  <a:moveTo>
                    <a:pt x="116" y="193"/>
                  </a:moveTo>
                  <a:lnTo>
                    <a:pt x="0" y="311"/>
                  </a:lnTo>
                  <a:lnTo>
                    <a:pt x="0" y="118"/>
                  </a:lnTo>
                  <a:lnTo>
                    <a:pt x="116" y="0"/>
                  </a:lnTo>
                  <a:lnTo>
                    <a:pt x="116" y="193"/>
                  </a:lnTo>
                  <a:close/>
                </a:path>
              </a:pathLst>
            </a:custGeom>
            <a:solidFill>
              <a:srgbClr val="BA14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119"/>
            <p:cNvSpPr>
              <a:spLocks/>
            </p:cNvSpPr>
            <p:nvPr/>
          </p:nvSpPr>
          <p:spPr bwMode="auto">
            <a:xfrm>
              <a:off x="3790" y="2411"/>
              <a:ext cx="116" cy="311"/>
            </a:xfrm>
            <a:custGeom>
              <a:avLst/>
              <a:gdLst>
                <a:gd name="T0" fmla="*/ 116 w 116"/>
                <a:gd name="T1" fmla="*/ 193 h 311"/>
                <a:gd name="T2" fmla="*/ 0 w 116"/>
                <a:gd name="T3" fmla="*/ 311 h 311"/>
                <a:gd name="T4" fmla="*/ 0 w 116"/>
                <a:gd name="T5" fmla="*/ 118 h 311"/>
                <a:gd name="T6" fmla="*/ 116 w 116"/>
                <a:gd name="T7" fmla="*/ 0 h 311"/>
                <a:gd name="T8" fmla="*/ 116 w 116"/>
                <a:gd name="T9" fmla="*/ 193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" h="311">
                  <a:moveTo>
                    <a:pt x="116" y="193"/>
                  </a:moveTo>
                  <a:lnTo>
                    <a:pt x="0" y="311"/>
                  </a:lnTo>
                  <a:lnTo>
                    <a:pt x="0" y="118"/>
                  </a:lnTo>
                  <a:lnTo>
                    <a:pt x="116" y="0"/>
                  </a:lnTo>
                  <a:lnTo>
                    <a:pt x="116" y="19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Rectangle 120"/>
            <p:cNvSpPr>
              <a:spLocks noChangeArrowheads="1"/>
            </p:cNvSpPr>
            <p:nvPr/>
          </p:nvSpPr>
          <p:spPr bwMode="auto">
            <a:xfrm>
              <a:off x="3906" y="2411"/>
              <a:ext cx="782" cy="818"/>
            </a:xfrm>
            <a:prstGeom prst="rect">
              <a:avLst/>
            </a:pr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Rectangle 121"/>
            <p:cNvSpPr>
              <a:spLocks noChangeArrowheads="1"/>
            </p:cNvSpPr>
            <p:nvPr/>
          </p:nvSpPr>
          <p:spPr bwMode="auto">
            <a:xfrm>
              <a:off x="3906" y="2411"/>
              <a:ext cx="782" cy="8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Rectangle 122"/>
            <p:cNvSpPr>
              <a:spLocks noChangeArrowheads="1"/>
            </p:cNvSpPr>
            <p:nvPr/>
          </p:nvSpPr>
          <p:spPr bwMode="auto">
            <a:xfrm>
              <a:off x="3906" y="2411"/>
              <a:ext cx="782" cy="193"/>
            </a:xfrm>
            <a:prstGeom prst="rect">
              <a:avLst/>
            </a:prstGeom>
            <a:solidFill>
              <a:srgbClr val="EB3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Rectangle 123"/>
            <p:cNvSpPr>
              <a:spLocks noChangeArrowheads="1"/>
            </p:cNvSpPr>
            <p:nvPr/>
          </p:nvSpPr>
          <p:spPr bwMode="auto">
            <a:xfrm>
              <a:off x="3906" y="2411"/>
              <a:ext cx="782" cy="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124"/>
            <p:cNvSpPr>
              <a:spLocks/>
            </p:cNvSpPr>
            <p:nvPr/>
          </p:nvSpPr>
          <p:spPr bwMode="auto">
            <a:xfrm>
              <a:off x="3889" y="3229"/>
              <a:ext cx="786" cy="99"/>
            </a:xfrm>
            <a:custGeom>
              <a:avLst/>
              <a:gdLst>
                <a:gd name="T0" fmla="*/ 786 w 786"/>
                <a:gd name="T1" fmla="*/ 0 h 99"/>
                <a:gd name="T2" fmla="*/ 17 w 786"/>
                <a:gd name="T3" fmla="*/ 0 h 99"/>
                <a:gd name="T4" fmla="*/ 0 w 786"/>
                <a:gd name="T5" fmla="*/ 17 h 99"/>
                <a:gd name="T6" fmla="*/ 10 w 786"/>
                <a:gd name="T7" fmla="*/ 99 h 99"/>
                <a:gd name="T8" fmla="*/ 786 w 786"/>
                <a:gd name="T9" fmla="*/ 10 h 99"/>
                <a:gd name="T10" fmla="*/ 786 w 786"/>
                <a:gd name="T11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86" h="99">
                  <a:moveTo>
                    <a:pt x="786" y="0"/>
                  </a:moveTo>
                  <a:lnTo>
                    <a:pt x="17" y="0"/>
                  </a:lnTo>
                  <a:lnTo>
                    <a:pt x="0" y="17"/>
                  </a:lnTo>
                  <a:lnTo>
                    <a:pt x="10" y="99"/>
                  </a:lnTo>
                  <a:lnTo>
                    <a:pt x="786" y="10"/>
                  </a:lnTo>
                  <a:lnTo>
                    <a:pt x="786" y="0"/>
                  </a:lnTo>
                  <a:close/>
                </a:path>
              </a:pathLst>
            </a:custGeom>
            <a:solidFill>
              <a:srgbClr val="8787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125"/>
            <p:cNvSpPr>
              <a:spLocks/>
            </p:cNvSpPr>
            <p:nvPr/>
          </p:nvSpPr>
          <p:spPr bwMode="auto">
            <a:xfrm>
              <a:off x="3889" y="3229"/>
              <a:ext cx="786" cy="99"/>
            </a:xfrm>
            <a:custGeom>
              <a:avLst/>
              <a:gdLst>
                <a:gd name="T0" fmla="*/ 786 w 786"/>
                <a:gd name="T1" fmla="*/ 0 h 99"/>
                <a:gd name="T2" fmla="*/ 17 w 786"/>
                <a:gd name="T3" fmla="*/ 0 h 99"/>
                <a:gd name="T4" fmla="*/ 0 w 786"/>
                <a:gd name="T5" fmla="*/ 17 h 99"/>
                <a:gd name="T6" fmla="*/ 10 w 786"/>
                <a:gd name="T7" fmla="*/ 99 h 99"/>
                <a:gd name="T8" fmla="*/ 786 w 786"/>
                <a:gd name="T9" fmla="*/ 10 h 99"/>
                <a:gd name="T10" fmla="*/ 786 w 786"/>
                <a:gd name="T11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86" h="99">
                  <a:moveTo>
                    <a:pt x="786" y="0"/>
                  </a:moveTo>
                  <a:lnTo>
                    <a:pt x="17" y="0"/>
                  </a:lnTo>
                  <a:lnTo>
                    <a:pt x="0" y="17"/>
                  </a:lnTo>
                  <a:lnTo>
                    <a:pt x="10" y="99"/>
                  </a:lnTo>
                  <a:lnTo>
                    <a:pt x="786" y="10"/>
                  </a:lnTo>
                  <a:lnTo>
                    <a:pt x="78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126"/>
            <p:cNvSpPr>
              <a:spLocks/>
            </p:cNvSpPr>
            <p:nvPr/>
          </p:nvSpPr>
          <p:spPr bwMode="auto">
            <a:xfrm>
              <a:off x="3825" y="2604"/>
              <a:ext cx="81" cy="642"/>
            </a:xfrm>
            <a:custGeom>
              <a:avLst/>
              <a:gdLst>
                <a:gd name="T0" fmla="*/ 81 w 81"/>
                <a:gd name="T1" fmla="*/ 0 h 642"/>
                <a:gd name="T2" fmla="*/ 0 w 81"/>
                <a:gd name="T3" fmla="*/ 83 h 642"/>
                <a:gd name="T4" fmla="*/ 2 w 81"/>
                <a:gd name="T5" fmla="*/ 104 h 642"/>
                <a:gd name="T6" fmla="*/ 64 w 81"/>
                <a:gd name="T7" fmla="*/ 642 h 642"/>
                <a:gd name="T8" fmla="*/ 81 w 81"/>
                <a:gd name="T9" fmla="*/ 625 h 642"/>
                <a:gd name="T10" fmla="*/ 81 w 81"/>
                <a:gd name="T11" fmla="*/ 0 h 6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" h="642">
                  <a:moveTo>
                    <a:pt x="81" y="0"/>
                  </a:moveTo>
                  <a:lnTo>
                    <a:pt x="0" y="83"/>
                  </a:lnTo>
                  <a:lnTo>
                    <a:pt x="2" y="104"/>
                  </a:lnTo>
                  <a:lnTo>
                    <a:pt x="64" y="642"/>
                  </a:lnTo>
                  <a:lnTo>
                    <a:pt x="81" y="625"/>
                  </a:lnTo>
                  <a:lnTo>
                    <a:pt x="81" y="0"/>
                  </a:lnTo>
                  <a:close/>
                </a:path>
              </a:pathLst>
            </a:custGeom>
            <a:solidFill>
              <a:srgbClr val="BDBD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127"/>
            <p:cNvSpPr>
              <a:spLocks/>
            </p:cNvSpPr>
            <p:nvPr/>
          </p:nvSpPr>
          <p:spPr bwMode="auto">
            <a:xfrm>
              <a:off x="3825" y="2604"/>
              <a:ext cx="81" cy="642"/>
            </a:xfrm>
            <a:custGeom>
              <a:avLst/>
              <a:gdLst>
                <a:gd name="T0" fmla="*/ 81 w 81"/>
                <a:gd name="T1" fmla="*/ 0 h 642"/>
                <a:gd name="T2" fmla="*/ 0 w 81"/>
                <a:gd name="T3" fmla="*/ 83 h 642"/>
                <a:gd name="T4" fmla="*/ 2 w 81"/>
                <a:gd name="T5" fmla="*/ 104 h 642"/>
                <a:gd name="T6" fmla="*/ 64 w 81"/>
                <a:gd name="T7" fmla="*/ 642 h 642"/>
                <a:gd name="T8" fmla="*/ 81 w 81"/>
                <a:gd name="T9" fmla="*/ 625 h 642"/>
                <a:gd name="T10" fmla="*/ 81 w 81"/>
                <a:gd name="T11" fmla="*/ 0 h 6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" h="642">
                  <a:moveTo>
                    <a:pt x="81" y="0"/>
                  </a:moveTo>
                  <a:lnTo>
                    <a:pt x="0" y="83"/>
                  </a:lnTo>
                  <a:lnTo>
                    <a:pt x="2" y="104"/>
                  </a:lnTo>
                  <a:lnTo>
                    <a:pt x="64" y="642"/>
                  </a:lnTo>
                  <a:lnTo>
                    <a:pt x="81" y="625"/>
                  </a:lnTo>
                  <a:lnTo>
                    <a:pt x="8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128"/>
            <p:cNvSpPr>
              <a:spLocks/>
            </p:cNvSpPr>
            <p:nvPr/>
          </p:nvSpPr>
          <p:spPr bwMode="auto">
            <a:xfrm>
              <a:off x="3805" y="2503"/>
              <a:ext cx="101" cy="184"/>
            </a:xfrm>
            <a:custGeom>
              <a:avLst/>
              <a:gdLst>
                <a:gd name="T0" fmla="*/ 101 w 101"/>
                <a:gd name="T1" fmla="*/ 0 h 184"/>
                <a:gd name="T2" fmla="*/ 0 w 101"/>
                <a:gd name="T3" fmla="*/ 13 h 184"/>
                <a:gd name="T4" fmla="*/ 20 w 101"/>
                <a:gd name="T5" fmla="*/ 184 h 184"/>
                <a:gd name="T6" fmla="*/ 101 w 101"/>
                <a:gd name="T7" fmla="*/ 101 h 184"/>
                <a:gd name="T8" fmla="*/ 101 w 101"/>
                <a:gd name="T9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84">
                  <a:moveTo>
                    <a:pt x="101" y="0"/>
                  </a:moveTo>
                  <a:lnTo>
                    <a:pt x="0" y="13"/>
                  </a:lnTo>
                  <a:lnTo>
                    <a:pt x="20" y="184"/>
                  </a:lnTo>
                  <a:lnTo>
                    <a:pt x="101" y="101"/>
                  </a:lnTo>
                  <a:lnTo>
                    <a:pt x="101" y="0"/>
                  </a:lnTo>
                  <a:close/>
                </a:path>
              </a:pathLst>
            </a:custGeom>
            <a:solidFill>
              <a:srgbClr val="A712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129"/>
            <p:cNvSpPr>
              <a:spLocks/>
            </p:cNvSpPr>
            <p:nvPr/>
          </p:nvSpPr>
          <p:spPr bwMode="auto">
            <a:xfrm>
              <a:off x="3805" y="2503"/>
              <a:ext cx="101" cy="184"/>
            </a:xfrm>
            <a:custGeom>
              <a:avLst/>
              <a:gdLst>
                <a:gd name="T0" fmla="*/ 101 w 101"/>
                <a:gd name="T1" fmla="*/ 0 h 184"/>
                <a:gd name="T2" fmla="*/ 0 w 101"/>
                <a:gd name="T3" fmla="*/ 13 h 184"/>
                <a:gd name="T4" fmla="*/ 20 w 101"/>
                <a:gd name="T5" fmla="*/ 184 h 184"/>
                <a:gd name="T6" fmla="*/ 101 w 101"/>
                <a:gd name="T7" fmla="*/ 101 h 184"/>
                <a:gd name="T8" fmla="*/ 101 w 101"/>
                <a:gd name="T9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84">
                  <a:moveTo>
                    <a:pt x="101" y="0"/>
                  </a:moveTo>
                  <a:lnTo>
                    <a:pt x="0" y="13"/>
                  </a:lnTo>
                  <a:lnTo>
                    <a:pt x="20" y="184"/>
                  </a:lnTo>
                  <a:lnTo>
                    <a:pt x="101" y="101"/>
                  </a:lnTo>
                  <a:lnTo>
                    <a:pt x="10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130"/>
            <p:cNvSpPr>
              <a:spLocks/>
            </p:cNvSpPr>
            <p:nvPr/>
          </p:nvSpPr>
          <p:spPr bwMode="auto">
            <a:xfrm>
              <a:off x="3906" y="2503"/>
              <a:ext cx="769" cy="726"/>
            </a:xfrm>
            <a:custGeom>
              <a:avLst/>
              <a:gdLst>
                <a:gd name="T0" fmla="*/ 0 w 769"/>
                <a:gd name="T1" fmla="*/ 0 h 726"/>
                <a:gd name="T2" fmla="*/ 0 w 769"/>
                <a:gd name="T3" fmla="*/ 0 h 726"/>
                <a:gd name="T4" fmla="*/ 0 w 769"/>
                <a:gd name="T5" fmla="*/ 726 h 726"/>
                <a:gd name="T6" fmla="*/ 769 w 769"/>
                <a:gd name="T7" fmla="*/ 726 h 726"/>
                <a:gd name="T8" fmla="*/ 699 w 769"/>
                <a:gd name="T9" fmla="*/ 115 h 726"/>
                <a:gd name="T10" fmla="*/ 699 w 769"/>
                <a:gd name="T11" fmla="*/ 115 h 726"/>
                <a:gd name="T12" fmla="*/ 697 w 769"/>
                <a:gd name="T13" fmla="*/ 101 h 726"/>
                <a:gd name="T14" fmla="*/ 0 w 769"/>
                <a:gd name="T15" fmla="*/ 101 h 726"/>
                <a:gd name="T16" fmla="*/ 0 w 769"/>
                <a:gd name="T17" fmla="*/ 0 h 7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9" h="726">
                  <a:moveTo>
                    <a:pt x="0" y="0"/>
                  </a:moveTo>
                  <a:lnTo>
                    <a:pt x="0" y="0"/>
                  </a:lnTo>
                  <a:lnTo>
                    <a:pt x="0" y="726"/>
                  </a:lnTo>
                  <a:lnTo>
                    <a:pt x="769" y="726"/>
                  </a:lnTo>
                  <a:lnTo>
                    <a:pt x="699" y="115"/>
                  </a:lnTo>
                  <a:lnTo>
                    <a:pt x="699" y="115"/>
                  </a:lnTo>
                  <a:lnTo>
                    <a:pt x="697" y="101"/>
                  </a:lnTo>
                  <a:lnTo>
                    <a:pt x="0" y="10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FCF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131"/>
            <p:cNvSpPr>
              <a:spLocks/>
            </p:cNvSpPr>
            <p:nvPr/>
          </p:nvSpPr>
          <p:spPr bwMode="auto">
            <a:xfrm>
              <a:off x="3906" y="2503"/>
              <a:ext cx="769" cy="726"/>
            </a:xfrm>
            <a:custGeom>
              <a:avLst/>
              <a:gdLst>
                <a:gd name="T0" fmla="*/ 0 w 769"/>
                <a:gd name="T1" fmla="*/ 0 h 726"/>
                <a:gd name="T2" fmla="*/ 0 w 769"/>
                <a:gd name="T3" fmla="*/ 0 h 726"/>
                <a:gd name="T4" fmla="*/ 0 w 769"/>
                <a:gd name="T5" fmla="*/ 726 h 726"/>
                <a:gd name="T6" fmla="*/ 769 w 769"/>
                <a:gd name="T7" fmla="*/ 726 h 726"/>
                <a:gd name="T8" fmla="*/ 699 w 769"/>
                <a:gd name="T9" fmla="*/ 115 h 726"/>
                <a:gd name="T10" fmla="*/ 699 w 769"/>
                <a:gd name="T11" fmla="*/ 115 h 726"/>
                <a:gd name="T12" fmla="*/ 697 w 769"/>
                <a:gd name="T13" fmla="*/ 101 h 726"/>
                <a:gd name="T14" fmla="*/ 0 w 769"/>
                <a:gd name="T15" fmla="*/ 101 h 726"/>
                <a:gd name="T16" fmla="*/ 0 w 769"/>
                <a:gd name="T17" fmla="*/ 0 h 7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9" h="726">
                  <a:moveTo>
                    <a:pt x="0" y="0"/>
                  </a:moveTo>
                  <a:lnTo>
                    <a:pt x="0" y="0"/>
                  </a:lnTo>
                  <a:lnTo>
                    <a:pt x="0" y="726"/>
                  </a:lnTo>
                  <a:lnTo>
                    <a:pt x="769" y="726"/>
                  </a:lnTo>
                  <a:lnTo>
                    <a:pt x="699" y="115"/>
                  </a:lnTo>
                  <a:lnTo>
                    <a:pt x="699" y="115"/>
                  </a:lnTo>
                  <a:lnTo>
                    <a:pt x="697" y="101"/>
                  </a:lnTo>
                  <a:lnTo>
                    <a:pt x="0" y="10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132"/>
            <p:cNvSpPr>
              <a:spLocks/>
            </p:cNvSpPr>
            <p:nvPr/>
          </p:nvSpPr>
          <p:spPr bwMode="auto">
            <a:xfrm>
              <a:off x="3906" y="2426"/>
              <a:ext cx="697" cy="178"/>
            </a:xfrm>
            <a:custGeom>
              <a:avLst/>
              <a:gdLst>
                <a:gd name="T0" fmla="*/ 677 w 697"/>
                <a:gd name="T1" fmla="*/ 0 h 178"/>
                <a:gd name="T2" fmla="*/ 0 w 697"/>
                <a:gd name="T3" fmla="*/ 77 h 178"/>
                <a:gd name="T4" fmla="*/ 0 w 697"/>
                <a:gd name="T5" fmla="*/ 178 h 178"/>
                <a:gd name="T6" fmla="*/ 697 w 697"/>
                <a:gd name="T7" fmla="*/ 178 h 178"/>
                <a:gd name="T8" fmla="*/ 677 w 697"/>
                <a:gd name="T9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7" h="178">
                  <a:moveTo>
                    <a:pt x="677" y="0"/>
                  </a:moveTo>
                  <a:lnTo>
                    <a:pt x="0" y="77"/>
                  </a:lnTo>
                  <a:lnTo>
                    <a:pt x="0" y="178"/>
                  </a:lnTo>
                  <a:lnTo>
                    <a:pt x="697" y="178"/>
                  </a:lnTo>
                  <a:lnTo>
                    <a:pt x="677" y="0"/>
                  </a:lnTo>
                  <a:close/>
                </a:path>
              </a:pathLst>
            </a:custGeom>
            <a:solidFill>
              <a:srgbClr val="D33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133"/>
            <p:cNvSpPr>
              <a:spLocks/>
            </p:cNvSpPr>
            <p:nvPr/>
          </p:nvSpPr>
          <p:spPr bwMode="auto">
            <a:xfrm>
              <a:off x="3906" y="2426"/>
              <a:ext cx="697" cy="178"/>
            </a:xfrm>
            <a:custGeom>
              <a:avLst/>
              <a:gdLst>
                <a:gd name="T0" fmla="*/ 677 w 697"/>
                <a:gd name="T1" fmla="*/ 0 h 178"/>
                <a:gd name="T2" fmla="*/ 0 w 697"/>
                <a:gd name="T3" fmla="*/ 77 h 178"/>
                <a:gd name="T4" fmla="*/ 0 w 697"/>
                <a:gd name="T5" fmla="*/ 178 h 178"/>
                <a:gd name="T6" fmla="*/ 697 w 697"/>
                <a:gd name="T7" fmla="*/ 178 h 178"/>
                <a:gd name="T8" fmla="*/ 677 w 697"/>
                <a:gd name="T9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7" h="178">
                  <a:moveTo>
                    <a:pt x="677" y="0"/>
                  </a:moveTo>
                  <a:lnTo>
                    <a:pt x="0" y="77"/>
                  </a:lnTo>
                  <a:lnTo>
                    <a:pt x="0" y="178"/>
                  </a:lnTo>
                  <a:lnTo>
                    <a:pt x="697" y="178"/>
                  </a:lnTo>
                  <a:lnTo>
                    <a:pt x="67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134"/>
            <p:cNvSpPr>
              <a:spLocks/>
            </p:cNvSpPr>
            <p:nvPr/>
          </p:nvSpPr>
          <p:spPr bwMode="auto">
            <a:xfrm>
              <a:off x="3904" y="2692"/>
              <a:ext cx="848" cy="710"/>
            </a:xfrm>
            <a:custGeom>
              <a:avLst/>
              <a:gdLst>
                <a:gd name="T0" fmla="*/ 848 w 848"/>
                <a:gd name="T1" fmla="*/ 621 h 710"/>
                <a:gd name="T2" fmla="*/ 70 w 848"/>
                <a:gd name="T3" fmla="*/ 710 h 710"/>
                <a:gd name="T4" fmla="*/ 0 w 848"/>
                <a:gd name="T5" fmla="*/ 90 h 710"/>
                <a:gd name="T6" fmla="*/ 777 w 848"/>
                <a:gd name="T7" fmla="*/ 0 h 710"/>
                <a:gd name="T8" fmla="*/ 848 w 848"/>
                <a:gd name="T9" fmla="*/ 621 h 7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8" h="710">
                  <a:moveTo>
                    <a:pt x="848" y="621"/>
                  </a:moveTo>
                  <a:lnTo>
                    <a:pt x="70" y="710"/>
                  </a:lnTo>
                  <a:lnTo>
                    <a:pt x="0" y="90"/>
                  </a:lnTo>
                  <a:lnTo>
                    <a:pt x="777" y="0"/>
                  </a:lnTo>
                  <a:lnTo>
                    <a:pt x="848" y="621"/>
                  </a:lnTo>
                  <a:close/>
                </a:path>
              </a:pathLst>
            </a:cu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135"/>
            <p:cNvSpPr>
              <a:spLocks/>
            </p:cNvSpPr>
            <p:nvPr/>
          </p:nvSpPr>
          <p:spPr bwMode="auto">
            <a:xfrm>
              <a:off x="3882" y="2501"/>
              <a:ext cx="799" cy="281"/>
            </a:xfrm>
            <a:custGeom>
              <a:avLst/>
              <a:gdLst>
                <a:gd name="T0" fmla="*/ 799 w 799"/>
                <a:gd name="T1" fmla="*/ 191 h 281"/>
                <a:gd name="T2" fmla="*/ 22 w 799"/>
                <a:gd name="T3" fmla="*/ 281 h 281"/>
                <a:gd name="T4" fmla="*/ 0 w 799"/>
                <a:gd name="T5" fmla="*/ 89 h 281"/>
                <a:gd name="T6" fmla="*/ 778 w 799"/>
                <a:gd name="T7" fmla="*/ 0 h 281"/>
                <a:gd name="T8" fmla="*/ 799 w 799"/>
                <a:gd name="T9" fmla="*/ 191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9" h="281">
                  <a:moveTo>
                    <a:pt x="799" y="191"/>
                  </a:moveTo>
                  <a:lnTo>
                    <a:pt x="22" y="281"/>
                  </a:lnTo>
                  <a:lnTo>
                    <a:pt x="0" y="89"/>
                  </a:lnTo>
                  <a:lnTo>
                    <a:pt x="778" y="0"/>
                  </a:lnTo>
                  <a:lnTo>
                    <a:pt x="799" y="191"/>
                  </a:lnTo>
                  <a:close/>
                </a:path>
              </a:pathLst>
            </a:custGeom>
            <a:solidFill>
              <a:srgbClr val="EB3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136"/>
            <p:cNvSpPr>
              <a:spLocks/>
            </p:cNvSpPr>
            <p:nvPr/>
          </p:nvSpPr>
          <p:spPr bwMode="auto">
            <a:xfrm>
              <a:off x="4001" y="2854"/>
              <a:ext cx="148" cy="133"/>
            </a:xfrm>
            <a:custGeom>
              <a:avLst/>
              <a:gdLst>
                <a:gd name="T0" fmla="*/ 106 w 106"/>
                <a:gd name="T1" fmla="*/ 84 h 95"/>
                <a:gd name="T2" fmla="*/ 87 w 106"/>
                <a:gd name="T3" fmla="*/ 86 h 95"/>
                <a:gd name="T4" fmla="*/ 81 w 106"/>
                <a:gd name="T5" fmla="*/ 36 h 95"/>
                <a:gd name="T6" fmla="*/ 80 w 106"/>
                <a:gd name="T7" fmla="*/ 17 h 95"/>
                <a:gd name="T8" fmla="*/ 80 w 106"/>
                <a:gd name="T9" fmla="*/ 18 h 95"/>
                <a:gd name="T10" fmla="*/ 78 w 106"/>
                <a:gd name="T11" fmla="*/ 29 h 95"/>
                <a:gd name="T12" fmla="*/ 65 w 106"/>
                <a:gd name="T13" fmla="*/ 89 h 95"/>
                <a:gd name="T14" fmla="*/ 49 w 106"/>
                <a:gd name="T15" fmla="*/ 90 h 95"/>
                <a:gd name="T16" fmla="*/ 23 w 106"/>
                <a:gd name="T17" fmla="*/ 36 h 95"/>
                <a:gd name="T18" fmla="*/ 19 w 106"/>
                <a:gd name="T19" fmla="*/ 24 h 95"/>
                <a:gd name="T20" fmla="*/ 18 w 106"/>
                <a:gd name="T21" fmla="*/ 25 h 95"/>
                <a:gd name="T22" fmla="*/ 22 w 106"/>
                <a:gd name="T23" fmla="*/ 46 h 95"/>
                <a:gd name="T24" fmla="*/ 27 w 106"/>
                <a:gd name="T25" fmla="*/ 93 h 95"/>
                <a:gd name="T26" fmla="*/ 10 w 106"/>
                <a:gd name="T27" fmla="*/ 95 h 95"/>
                <a:gd name="T28" fmla="*/ 0 w 106"/>
                <a:gd name="T29" fmla="*/ 11 h 95"/>
                <a:gd name="T30" fmla="*/ 28 w 106"/>
                <a:gd name="T31" fmla="*/ 7 h 95"/>
                <a:gd name="T32" fmla="*/ 51 w 106"/>
                <a:gd name="T33" fmla="*/ 55 h 95"/>
                <a:gd name="T34" fmla="*/ 55 w 106"/>
                <a:gd name="T35" fmla="*/ 67 h 95"/>
                <a:gd name="T36" fmla="*/ 56 w 106"/>
                <a:gd name="T37" fmla="*/ 67 h 95"/>
                <a:gd name="T38" fmla="*/ 58 w 106"/>
                <a:gd name="T39" fmla="*/ 55 h 95"/>
                <a:gd name="T40" fmla="*/ 69 w 106"/>
                <a:gd name="T41" fmla="*/ 3 h 95"/>
                <a:gd name="T42" fmla="*/ 96 w 106"/>
                <a:gd name="T43" fmla="*/ 0 h 95"/>
                <a:gd name="T44" fmla="*/ 106 w 106"/>
                <a:gd name="T45" fmla="*/ 84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6" h="95">
                  <a:moveTo>
                    <a:pt x="106" y="84"/>
                  </a:moveTo>
                  <a:cubicBezTo>
                    <a:pt x="87" y="86"/>
                    <a:pt x="87" y="86"/>
                    <a:pt x="87" y="86"/>
                  </a:cubicBezTo>
                  <a:cubicBezTo>
                    <a:pt x="81" y="36"/>
                    <a:pt x="81" y="36"/>
                    <a:pt x="81" y="36"/>
                  </a:cubicBezTo>
                  <a:cubicBezTo>
                    <a:pt x="81" y="30"/>
                    <a:pt x="80" y="24"/>
                    <a:pt x="80" y="17"/>
                  </a:cubicBezTo>
                  <a:cubicBezTo>
                    <a:pt x="80" y="18"/>
                    <a:pt x="80" y="18"/>
                    <a:pt x="80" y="18"/>
                  </a:cubicBezTo>
                  <a:cubicBezTo>
                    <a:pt x="79" y="23"/>
                    <a:pt x="79" y="27"/>
                    <a:pt x="78" y="29"/>
                  </a:cubicBezTo>
                  <a:cubicBezTo>
                    <a:pt x="65" y="89"/>
                    <a:pt x="65" y="89"/>
                    <a:pt x="65" y="89"/>
                  </a:cubicBezTo>
                  <a:cubicBezTo>
                    <a:pt x="49" y="90"/>
                    <a:pt x="49" y="90"/>
                    <a:pt x="49" y="90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2" y="34"/>
                    <a:pt x="21" y="31"/>
                    <a:pt x="19" y="24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0" y="33"/>
                    <a:pt x="21" y="40"/>
                    <a:pt x="22" y="46"/>
                  </a:cubicBezTo>
                  <a:cubicBezTo>
                    <a:pt x="27" y="93"/>
                    <a:pt x="27" y="93"/>
                    <a:pt x="27" y="93"/>
                  </a:cubicBezTo>
                  <a:cubicBezTo>
                    <a:pt x="10" y="95"/>
                    <a:pt x="10" y="95"/>
                    <a:pt x="10" y="95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51" y="55"/>
                    <a:pt x="51" y="55"/>
                    <a:pt x="51" y="55"/>
                  </a:cubicBezTo>
                  <a:cubicBezTo>
                    <a:pt x="53" y="59"/>
                    <a:pt x="54" y="63"/>
                    <a:pt x="55" y="67"/>
                  </a:cubicBezTo>
                  <a:cubicBezTo>
                    <a:pt x="56" y="67"/>
                    <a:pt x="56" y="67"/>
                    <a:pt x="56" y="67"/>
                  </a:cubicBezTo>
                  <a:cubicBezTo>
                    <a:pt x="56" y="62"/>
                    <a:pt x="57" y="58"/>
                    <a:pt x="58" y="55"/>
                  </a:cubicBezTo>
                  <a:cubicBezTo>
                    <a:pt x="69" y="3"/>
                    <a:pt x="69" y="3"/>
                    <a:pt x="69" y="3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106" y="84"/>
                  </a:lnTo>
                  <a:close/>
                </a:path>
              </a:pathLst>
            </a:cu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137"/>
            <p:cNvSpPr>
              <a:spLocks noEditPoints="1"/>
            </p:cNvSpPr>
            <p:nvPr/>
          </p:nvSpPr>
          <p:spPr bwMode="auto">
            <a:xfrm>
              <a:off x="4162" y="2876"/>
              <a:ext cx="95" cy="91"/>
            </a:xfrm>
            <a:custGeom>
              <a:avLst/>
              <a:gdLst>
                <a:gd name="T0" fmla="*/ 37 w 68"/>
                <a:gd name="T1" fmla="*/ 64 h 65"/>
                <a:gd name="T2" fmla="*/ 13 w 68"/>
                <a:gd name="T3" fmla="*/ 58 h 65"/>
                <a:gd name="T4" fmla="*/ 1 w 68"/>
                <a:gd name="T5" fmla="*/ 36 h 65"/>
                <a:gd name="T6" fmla="*/ 8 w 68"/>
                <a:gd name="T7" fmla="*/ 12 h 65"/>
                <a:gd name="T8" fmla="*/ 31 w 68"/>
                <a:gd name="T9" fmla="*/ 1 h 65"/>
                <a:gd name="T10" fmla="*/ 55 w 68"/>
                <a:gd name="T11" fmla="*/ 7 h 65"/>
                <a:gd name="T12" fmla="*/ 66 w 68"/>
                <a:gd name="T13" fmla="*/ 28 h 65"/>
                <a:gd name="T14" fmla="*/ 60 w 68"/>
                <a:gd name="T15" fmla="*/ 53 h 65"/>
                <a:gd name="T16" fmla="*/ 37 w 68"/>
                <a:gd name="T17" fmla="*/ 64 h 65"/>
                <a:gd name="T18" fmla="*/ 32 w 68"/>
                <a:gd name="T19" fmla="*/ 15 h 65"/>
                <a:gd name="T20" fmla="*/ 22 w 68"/>
                <a:gd name="T21" fmla="*/ 21 h 65"/>
                <a:gd name="T22" fmla="*/ 20 w 68"/>
                <a:gd name="T23" fmla="*/ 34 h 65"/>
                <a:gd name="T24" fmla="*/ 36 w 68"/>
                <a:gd name="T25" fmla="*/ 50 h 65"/>
                <a:gd name="T26" fmla="*/ 47 w 68"/>
                <a:gd name="T27" fmla="*/ 30 h 65"/>
                <a:gd name="T28" fmla="*/ 32 w 68"/>
                <a:gd name="T29" fmla="*/ 1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8" h="65">
                  <a:moveTo>
                    <a:pt x="37" y="64"/>
                  </a:moveTo>
                  <a:cubicBezTo>
                    <a:pt x="27" y="65"/>
                    <a:pt x="19" y="63"/>
                    <a:pt x="13" y="58"/>
                  </a:cubicBezTo>
                  <a:cubicBezTo>
                    <a:pt x="6" y="53"/>
                    <a:pt x="2" y="46"/>
                    <a:pt x="1" y="36"/>
                  </a:cubicBezTo>
                  <a:cubicBezTo>
                    <a:pt x="0" y="27"/>
                    <a:pt x="2" y="18"/>
                    <a:pt x="8" y="12"/>
                  </a:cubicBezTo>
                  <a:cubicBezTo>
                    <a:pt x="13" y="6"/>
                    <a:pt x="21" y="2"/>
                    <a:pt x="31" y="1"/>
                  </a:cubicBezTo>
                  <a:cubicBezTo>
                    <a:pt x="41" y="0"/>
                    <a:pt x="49" y="2"/>
                    <a:pt x="55" y="7"/>
                  </a:cubicBezTo>
                  <a:cubicBezTo>
                    <a:pt x="62" y="12"/>
                    <a:pt x="65" y="19"/>
                    <a:pt x="66" y="28"/>
                  </a:cubicBezTo>
                  <a:cubicBezTo>
                    <a:pt x="68" y="38"/>
                    <a:pt x="66" y="46"/>
                    <a:pt x="60" y="53"/>
                  </a:cubicBezTo>
                  <a:cubicBezTo>
                    <a:pt x="55" y="59"/>
                    <a:pt x="47" y="63"/>
                    <a:pt x="37" y="64"/>
                  </a:cubicBezTo>
                  <a:close/>
                  <a:moveTo>
                    <a:pt x="32" y="15"/>
                  </a:moveTo>
                  <a:cubicBezTo>
                    <a:pt x="28" y="16"/>
                    <a:pt x="24" y="18"/>
                    <a:pt x="22" y="21"/>
                  </a:cubicBezTo>
                  <a:cubicBezTo>
                    <a:pt x="20" y="24"/>
                    <a:pt x="20" y="29"/>
                    <a:pt x="20" y="34"/>
                  </a:cubicBezTo>
                  <a:cubicBezTo>
                    <a:pt x="21" y="46"/>
                    <a:pt x="27" y="51"/>
                    <a:pt x="36" y="50"/>
                  </a:cubicBezTo>
                  <a:cubicBezTo>
                    <a:pt x="45" y="49"/>
                    <a:pt x="49" y="42"/>
                    <a:pt x="47" y="30"/>
                  </a:cubicBezTo>
                  <a:cubicBezTo>
                    <a:pt x="46" y="19"/>
                    <a:pt x="41" y="14"/>
                    <a:pt x="32" y="15"/>
                  </a:cubicBezTo>
                  <a:close/>
                </a:path>
              </a:pathLst>
            </a:cu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138"/>
            <p:cNvSpPr>
              <a:spLocks/>
            </p:cNvSpPr>
            <p:nvPr/>
          </p:nvSpPr>
          <p:spPr bwMode="auto">
            <a:xfrm>
              <a:off x="4267" y="2862"/>
              <a:ext cx="91" cy="95"/>
            </a:xfrm>
            <a:custGeom>
              <a:avLst/>
              <a:gdLst>
                <a:gd name="T0" fmla="*/ 65 w 65"/>
                <a:gd name="T1" fmla="*/ 61 h 68"/>
                <a:gd name="T2" fmla="*/ 47 w 65"/>
                <a:gd name="T3" fmla="*/ 63 h 68"/>
                <a:gd name="T4" fmla="*/ 43 w 65"/>
                <a:gd name="T5" fmla="*/ 29 h 68"/>
                <a:gd name="T6" fmla="*/ 31 w 65"/>
                <a:gd name="T7" fmla="*/ 17 h 68"/>
                <a:gd name="T8" fmla="*/ 24 w 65"/>
                <a:gd name="T9" fmla="*/ 21 h 68"/>
                <a:gd name="T10" fmla="*/ 22 w 65"/>
                <a:gd name="T11" fmla="*/ 31 h 68"/>
                <a:gd name="T12" fmla="*/ 26 w 65"/>
                <a:gd name="T13" fmla="*/ 65 h 68"/>
                <a:gd name="T14" fmla="*/ 7 w 65"/>
                <a:gd name="T15" fmla="*/ 68 h 68"/>
                <a:gd name="T16" fmla="*/ 0 w 65"/>
                <a:gd name="T17" fmla="*/ 7 h 68"/>
                <a:gd name="T18" fmla="*/ 19 w 65"/>
                <a:gd name="T19" fmla="*/ 5 h 68"/>
                <a:gd name="T20" fmla="*/ 20 w 65"/>
                <a:gd name="T21" fmla="*/ 15 h 68"/>
                <a:gd name="T22" fmla="*/ 20 w 65"/>
                <a:gd name="T23" fmla="*/ 15 h 68"/>
                <a:gd name="T24" fmla="*/ 38 w 65"/>
                <a:gd name="T25" fmla="*/ 1 h 68"/>
                <a:gd name="T26" fmla="*/ 61 w 65"/>
                <a:gd name="T27" fmla="*/ 24 h 68"/>
                <a:gd name="T28" fmla="*/ 65 w 65"/>
                <a:gd name="T29" fmla="*/ 61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" h="68">
                  <a:moveTo>
                    <a:pt x="65" y="61"/>
                  </a:moveTo>
                  <a:cubicBezTo>
                    <a:pt x="47" y="63"/>
                    <a:pt x="47" y="63"/>
                    <a:pt x="47" y="63"/>
                  </a:cubicBezTo>
                  <a:cubicBezTo>
                    <a:pt x="43" y="29"/>
                    <a:pt x="43" y="29"/>
                    <a:pt x="43" y="29"/>
                  </a:cubicBezTo>
                  <a:cubicBezTo>
                    <a:pt x="42" y="20"/>
                    <a:pt x="38" y="16"/>
                    <a:pt x="31" y="17"/>
                  </a:cubicBezTo>
                  <a:cubicBezTo>
                    <a:pt x="28" y="17"/>
                    <a:pt x="26" y="19"/>
                    <a:pt x="24" y="21"/>
                  </a:cubicBezTo>
                  <a:cubicBezTo>
                    <a:pt x="22" y="24"/>
                    <a:pt x="21" y="27"/>
                    <a:pt x="22" y="31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7" y="68"/>
                    <a:pt x="7" y="68"/>
                    <a:pt x="7" y="68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4" y="7"/>
                    <a:pt x="30" y="2"/>
                    <a:pt x="38" y="1"/>
                  </a:cubicBezTo>
                  <a:cubicBezTo>
                    <a:pt x="51" y="0"/>
                    <a:pt x="59" y="7"/>
                    <a:pt x="61" y="24"/>
                  </a:cubicBezTo>
                  <a:lnTo>
                    <a:pt x="65" y="61"/>
                  </a:lnTo>
                  <a:close/>
                </a:path>
              </a:pathLst>
            </a:cu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139"/>
            <p:cNvSpPr>
              <a:spLocks noEditPoints="1"/>
            </p:cNvSpPr>
            <p:nvPr/>
          </p:nvSpPr>
          <p:spPr bwMode="auto">
            <a:xfrm>
              <a:off x="4368" y="2810"/>
              <a:ext cx="93" cy="135"/>
            </a:xfrm>
            <a:custGeom>
              <a:avLst/>
              <a:gdLst>
                <a:gd name="T0" fmla="*/ 67 w 67"/>
                <a:gd name="T1" fmla="*/ 89 h 96"/>
                <a:gd name="T2" fmla="*/ 48 w 67"/>
                <a:gd name="T3" fmla="*/ 92 h 96"/>
                <a:gd name="T4" fmla="*/ 47 w 67"/>
                <a:gd name="T5" fmla="*/ 83 h 96"/>
                <a:gd name="T6" fmla="*/ 47 w 67"/>
                <a:gd name="T7" fmla="*/ 83 h 96"/>
                <a:gd name="T8" fmla="*/ 30 w 67"/>
                <a:gd name="T9" fmla="*/ 95 h 96"/>
                <a:gd name="T10" fmla="*/ 11 w 67"/>
                <a:gd name="T11" fmla="*/ 89 h 96"/>
                <a:gd name="T12" fmla="*/ 1 w 67"/>
                <a:gd name="T13" fmla="*/ 68 h 96"/>
                <a:gd name="T14" fmla="*/ 6 w 67"/>
                <a:gd name="T15" fmla="*/ 43 h 96"/>
                <a:gd name="T16" fmla="*/ 25 w 67"/>
                <a:gd name="T17" fmla="*/ 32 h 96"/>
                <a:gd name="T18" fmla="*/ 42 w 67"/>
                <a:gd name="T19" fmla="*/ 38 h 96"/>
                <a:gd name="T20" fmla="*/ 42 w 67"/>
                <a:gd name="T21" fmla="*/ 38 h 96"/>
                <a:gd name="T22" fmla="*/ 38 w 67"/>
                <a:gd name="T23" fmla="*/ 2 h 96"/>
                <a:gd name="T24" fmla="*/ 57 w 67"/>
                <a:gd name="T25" fmla="*/ 0 h 96"/>
                <a:gd name="T26" fmla="*/ 67 w 67"/>
                <a:gd name="T27" fmla="*/ 89 h 96"/>
                <a:gd name="T28" fmla="*/ 45 w 67"/>
                <a:gd name="T29" fmla="*/ 62 h 96"/>
                <a:gd name="T30" fmla="*/ 45 w 67"/>
                <a:gd name="T31" fmla="*/ 58 h 96"/>
                <a:gd name="T32" fmla="*/ 40 w 67"/>
                <a:gd name="T33" fmla="*/ 48 h 96"/>
                <a:gd name="T34" fmla="*/ 31 w 67"/>
                <a:gd name="T35" fmla="*/ 45 h 96"/>
                <a:gd name="T36" fmla="*/ 22 w 67"/>
                <a:gd name="T37" fmla="*/ 51 h 96"/>
                <a:gd name="T38" fmla="*/ 20 w 67"/>
                <a:gd name="T39" fmla="*/ 65 h 96"/>
                <a:gd name="T40" fmla="*/ 25 w 67"/>
                <a:gd name="T41" fmla="*/ 77 h 96"/>
                <a:gd name="T42" fmla="*/ 34 w 67"/>
                <a:gd name="T43" fmla="*/ 80 h 96"/>
                <a:gd name="T44" fmla="*/ 43 w 67"/>
                <a:gd name="T45" fmla="*/ 75 h 96"/>
                <a:gd name="T46" fmla="*/ 45 w 67"/>
                <a:gd name="T47" fmla="*/ 6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7" h="96">
                  <a:moveTo>
                    <a:pt x="67" y="89"/>
                  </a:moveTo>
                  <a:cubicBezTo>
                    <a:pt x="48" y="92"/>
                    <a:pt x="48" y="92"/>
                    <a:pt x="48" y="92"/>
                  </a:cubicBezTo>
                  <a:cubicBezTo>
                    <a:pt x="47" y="83"/>
                    <a:pt x="47" y="83"/>
                    <a:pt x="47" y="83"/>
                  </a:cubicBezTo>
                  <a:cubicBezTo>
                    <a:pt x="47" y="83"/>
                    <a:pt x="47" y="83"/>
                    <a:pt x="47" y="83"/>
                  </a:cubicBezTo>
                  <a:cubicBezTo>
                    <a:pt x="44" y="90"/>
                    <a:pt x="38" y="94"/>
                    <a:pt x="30" y="95"/>
                  </a:cubicBezTo>
                  <a:cubicBezTo>
                    <a:pt x="22" y="96"/>
                    <a:pt x="16" y="94"/>
                    <a:pt x="11" y="89"/>
                  </a:cubicBezTo>
                  <a:cubicBezTo>
                    <a:pt x="5" y="84"/>
                    <a:pt x="2" y="77"/>
                    <a:pt x="1" y="68"/>
                  </a:cubicBezTo>
                  <a:cubicBezTo>
                    <a:pt x="0" y="58"/>
                    <a:pt x="2" y="50"/>
                    <a:pt x="6" y="43"/>
                  </a:cubicBezTo>
                  <a:cubicBezTo>
                    <a:pt x="10" y="36"/>
                    <a:pt x="17" y="33"/>
                    <a:pt x="25" y="32"/>
                  </a:cubicBezTo>
                  <a:cubicBezTo>
                    <a:pt x="33" y="31"/>
                    <a:pt x="38" y="33"/>
                    <a:pt x="42" y="38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38" y="2"/>
                    <a:pt x="38" y="2"/>
                    <a:pt x="38" y="2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67" y="89"/>
                  </a:lnTo>
                  <a:close/>
                  <a:moveTo>
                    <a:pt x="45" y="62"/>
                  </a:moveTo>
                  <a:cubicBezTo>
                    <a:pt x="45" y="58"/>
                    <a:pt x="45" y="58"/>
                    <a:pt x="45" y="58"/>
                  </a:cubicBezTo>
                  <a:cubicBezTo>
                    <a:pt x="44" y="54"/>
                    <a:pt x="43" y="51"/>
                    <a:pt x="40" y="48"/>
                  </a:cubicBezTo>
                  <a:cubicBezTo>
                    <a:pt x="38" y="46"/>
                    <a:pt x="35" y="45"/>
                    <a:pt x="31" y="45"/>
                  </a:cubicBezTo>
                  <a:cubicBezTo>
                    <a:pt x="27" y="46"/>
                    <a:pt x="24" y="48"/>
                    <a:pt x="22" y="51"/>
                  </a:cubicBezTo>
                  <a:cubicBezTo>
                    <a:pt x="20" y="55"/>
                    <a:pt x="19" y="59"/>
                    <a:pt x="20" y="65"/>
                  </a:cubicBezTo>
                  <a:cubicBezTo>
                    <a:pt x="21" y="70"/>
                    <a:pt x="22" y="74"/>
                    <a:pt x="25" y="77"/>
                  </a:cubicBezTo>
                  <a:cubicBezTo>
                    <a:pt x="27" y="80"/>
                    <a:pt x="30" y="81"/>
                    <a:pt x="34" y="80"/>
                  </a:cubicBezTo>
                  <a:cubicBezTo>
                    <a:pt x="38" y="80"/>
                    <a:pt x="41" y="78"/>
                    <a:pt x="43" y="75"/>
                  </a:cubicBezTo>
                  <a:cubicBezTo>
                    <a:pt x="45" y="71"/>
                    <a:pt x="46" y="67"/>
                    <a:pt x="45" y="62"/>
                  </a:cubicBezTo>
                  <a:close/>
                </a:path>
              </a:pathLst>
            </a:cu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140"/>
            <p:cNvSpPr>
              <a:spLocks noEditPoints="1"/>
            </p:cNvSpPr>
            <p:nvPr/>
          </p:nvSpPr>
          <p:spPr bwMode="auto">
            <a:xfrm>
              <a:off x="4472" y="2840"/>
              <a:ext cx="82" cy="93"/>
            </a:xfrm>
            <a:custGeom>
              <a:avLst/>
              <a:gdLst>
                <a:gd name="T0" fmla="*/ 58 w 58"/>
                <a:gd name="T1" fmla="*/ 61 h 67"/>
                <a:gd name="T2" fmla="*/ 40 w 58"/>
                <a:gd name="T3" fmla="*/ 63 h 67"/>
                <a:gd name="T4" fmla="*/ 39 w 58"/>
                <a:gd name="T5" fmla="*/ 54 h 67"/>
                <a:gd name="T6" fmla="*/ 39 w 58"/>
                <a:gd name="T7" fmla="*/ 54 h 67"/>
                <a:gd name="T8" fmla="*/ 22 w 58"/>
                <a:gd name="T9" fmla="*/ 66 h 67"/>
                <a:gd name="T10" fmla="*/ 8 w 58"/>
                <a:gd name="T11" fmla="*/ 63 h 67"/>
                <a:gd name="T12" fmla="*/ 1 w 58"/>
                <a:gd name="T13" fmla="*/ 50 h 67"/>
                <a:gd name="T14" fmla="*/ 20 w 58"/>
                <a:gd name="T15" fmla="*/ 28 h 67"/>
                <a:gd name="T16" fmla="*/ 36 w 58"/>
                <a:gd name="T17" fmla="*/ 24 h 67"/>
                <a:gd name="T18" fmla="*/ 24 w 58"/>
                <a:gd name="T19" fmla="*/ 15 h 67"/>
                <a:gd name="T20" fmla="*/ 4 w 58"/>
                <a:gd name="T21" fmla="*/ 24 h 67"/>
                <a:gd name="T22" fmla="*/ 3 w 58"/>
                <a:gd name="T23" fmla="*/ 10 h 67"/>
                <a:gd name="T24" fmla="*/ 13 w 58"/>
                <a:gd name="T25" fmla="*/ 5 h 67"/>
                <a:gd name="T26" fmla="*/ 25 w 58"/>
                <a:gd name="T27" fmla="*/ 2 h 67"/>
                <a:gd name="T28" fmla="*/ 54 w 58"/>
                <a:gd name="T29" fmla="*/ 25 h 67"/>
                <a:gd name="T30" fmla="*/ 58 w 58"/>
                <a:gd name="T31" fmla="*/ 61 h 67"/>
                <a:gd name="T32" fmla="*/ 37 w 58"/>
                <a:gd name="T33" fmla="*/ 38 h 67"/>
                <a:gd name="T34" fmla="*/ 37 w 58"/>
                <a:gd name="T35" fmla="*/ 34 h 67"/>
                <a:gd name="T36" fmla="*/ 26 w 58"/>
                <a:gd name="T37" fmla="*/ 37 h 67"/>
                <a:gd name="T38" fmla="*/ 18 w 58"/>
                <a:gd name="T39" fmla="*/ 46 h 67"/>
                <a:gd name="T40" fmla="*/ 21 w 58"/>
                <a:gd name="T41" fmla="*/ 51 h 67"/>
                <a:gd name="T42" fmla="*/ 27 w 58"/>
                <a:gd name="T43" fmla="*/ 52 h 67"/>
                <a:gd name="T44" fmla="*/ 35 w 58"/>
                <a:gd name="T45" fmla="*/ 48 h 67"/>
                <a:gd name="T46" fmla="*/ 37 w 58"/>
                <a:gd name="T47" fmla="*/ 38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8" h="67">
                  <a:moveTo>
                    <a:pt x="58" y="61"/>
                  </a:moveTo>
                  <a:cubicBezTo>
                    <a:pt x="40" y="63"/>
                    <a:pt x="40" y="63"/>
                    <a:pt x="40" y="63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6" y="61"/>
                    <a:pt x="30" y="65"/>
                    <a:pt x="22" y="66"/>
                  </a:cubicBezTo>
                  <a:cubicBezTo>
                    <a:pt x="16" y="67"/>
                    <a:pt x="12" y="66"/>
                    <a:pt x="8" y="63"/>
                  </a:cubicBezTo>
                  <a:cubicBezTo>
                    <a:pt x="4" y="60"/>
                    <a:pt x="2" y="56"/>
                    <a:pt x="1" y="50"/>
                  </a:cubicBezTo>
                  <a:cubicBezTo>
                    <a:pt x="0" y="39"/>
                    <a:pt x="6" y="31"/>
                    <a:pt x="20" y="28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5" y="17"/>
                    <a:pt x="31" y="14"/>
                    <a:pt x="24" y="15"/>
                  </a:cubicBezTo>
                  <a:cubicBezTo>
                    <a:pt x="17" y="16"/>
                    <a:pt x="10" y="19"/>
                    <a:pt x="4" y="24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5" y="8"/>
                    <a:pt x="8" y="6"/>
                    <a:pt x="13" y="5"/>
                  </a:cubicBezTo>
                  <a:cubicBezTo>
                    <a:pt x="17" y="3"/>
                    <a:pt x="21" y="2"/>
                    <a:pt x="25" y="2"/>
                  </a:cubicBezTo>
                  <a:cubicBezTo>
                    <a:pt x="42" y="0"/>
                    <a:pt x="52" y="8"/>
                    <a:pt x="54" y="25"/>
                  </a:cubicBezTo>
                  <a:lnTo>
                    <a:pt x="58" y="61"/>
                  </a:lnTo>
                  <a:close/>
                  <a:moveTo>
                    <a:pt x="37" y="38"/>
                  </a:moveTo>
                  <a:cubicBezTo>
                    <a:pt x="37" y="34"/>
                    <a:pt x="37" y="34"/>
                    <a:pt x="37" y="34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0" y="38"/>
                    <a:pt x="18" y="41"/>
                    <a:pt x="18" y="46"/>
                  </a:cubicBezTo>
                  <a:cubicBezTo>
                    <a:pt x="18" y="48"/>
                    <a:pt x="19" y="50"/>
                    <a:pt x="21" y="51"/>
                  </a:cubicBezTo>
                  <a:cubicBezTo>
                    <a:pt x="23" y="52"/>
                    <a:pt x="25" y="53"/>
                    <a:pt x="27" y="52"/>
                  </a:cubicBezTo>
                  <a:cubicBezTo>
                    <a:pt x="31" y="52"/>
                    <a:pt x="33" y="51"/>
                    <a:pt x="35" y="48"/>
                  </a:cubicBezTo>
                  <a:cubicBezTo>
                    <a:pt x="37" y="45"/>
                    <a:pt x="38" y="42"/>
                    <a:pt x="37" y="38"/>
                  </a:cubicBezTo>
                  <a:close/>
                </a:path>
              </a:pathLst>
            </a:cu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141"/>
            <p:cNvSpPr>
              <a:spLocks/>
            </p:cNvSpPr>
            <p:nvPr/>
          </p:nvSpPr>
          <p:spPr bwMode="auto">
            <a:xfrm>
              <a:off x="4554" y="2828"/>
              <a:ext cx="91" cy="133"/>
            </a:xfrm>
            <a:custGeom>
              <a:avLst/>
              <a:gdLst>
                <a:gd name="T0" fmla="*/ 65 w 65"/>
                <a:gd name="T1" fmla="*/ 0 h 95"/>
                <a:gd name="T2" fmla="*/ 48 w 65"/>
                <a:gd name="T3" fmla="*/ 68 h 95"/>
                <a:gd name="T4" fmla="*/ 24 w 65"/>
                <a:gd name="T5" fmla="*/ 95 h 95"/>
                <a:gd name="T6" fmla="*/ 13 w 65"/>
                <a:gd name="T7" fmla="*/ 94 h 95"/>
                <a:gd name="T8" fmla="*/ 11 w 65"/>
                <a:gd name="T9" fmla="*/ 80 h 95"/>
                <a:gd name="T10" fmla="*/ 19 w 65"/>
                <a:gd name="T11" fmla="*/ 81 h 95"/>
                <a:gd name="T12" fmla="*/ 29 w 65"/>
                <a:gd name="T13" fmla="*/ 73 h 95"/>
                <a:gd name="T14" fmla="*/ 31 w 65"/>
                <a:gd name="T15" fmla="*/ 65 h 95"/>
                <a:gd name="T16" fmla="*/ 0 w 65"/>
                <a:gd name="T17" fmla="*/ 8 h 95"/>
                <a:gd name="T18" fmla="*/ 20 w 65"/>
                <a:gd name="T19" fmla="*/ 5 h 95"/>
                <a:gd name="T20" fmla="*/ 36 w 65"/>
                <a:gd name="T21" fmla="*/ 41 h 95"/>
                <a:gd name="T22" fmla="*/ 38 w 65"/>
                <a:gd name="T23" fmla="*/ 49 h 95"/>
                <a:gd name="T24" fmla="*/ 38 w 65"/>
                <a:gd name="T25" fmla="*/ 49 h 95"/>
                <a:gd name="T26" fmla="*/ 39 w 65"/>
                <a:gd name="T27" fmla="*/ 40 h 95"/>
                <a:gd name="T28" fmla="*/ 47 w 65"/>
                <a:gd name="T29" fmla="*/ 2 h 95"/>
                <a:gd name="T30" fmla="*/ 65 w 65"/>
                <a:gd name="T31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5" h="95">
                  <a:moveTo>
                    <a:pt x="65" y="0"/>
                  </a:moveTo>
                  <a:cubicBezTo>
                    <a:pt x="48" y="68"/>
                    <a:pt x="48" y="68"/>
                    <a:pt x="48" y="68"/>
                  </a:cubicBezTo>
                  <a:cubicBezTo>
                    <a:pt x="44" y="85"/>
                    <a:pt x="36" y="93"/>
                    <a:pt x="24" y="95"/>
                  </a:cubicBezTo>
                  <a:cubicBezTo>
                    <a:pt x="20" y="95"/>
                    <a:pt x="16" y="95"/>
                    <a:pt x="13" y="94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14" y="81"/>
                    <a:pt x="16" y="81"/>
                    <a:pt x="19" y="81"/>
                  </a:cubicBezTo>
                  <a:cubicBezTo>
                    <a:pt x="24" y="80"/>
                    <a:pt x="27" y="78"/>
                    <a:pt x="29" y="73"/>
                  </a:cubicBezTo>
                  <a:cubicBezTo>
                    <a:pt x="31" y="65"/>
                    <a:pt x="31" y="65"/>
                    <a:pt x="31" y="6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36" y="41"/>
                    <a:pt x="36" y="41"/>
                    <a:pt x="36" y="41"/>
                  </a:cubicBezTo>
                  <a:cubicBezTo>
                    <a:pt x="37" y="43"/>
                    <a:pt x="37" y="46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6"/>
                    <a:pt x="39" y="44"/>
                    <a:pt x="39" y="40"/>
                  </a:cubicBezTo>
                  <a:cubicBezTo>
                    <a:pt x="47" y="2"/>
                    <a:pt x="47" y="2"/>
                    <a:pt x="47" y="2"/>
                  </a:cubicBezTo>
                  <a:lnTo>
                    <a:pt x="65" y="0"/>
                  </a:lnTo>
                  <a:close/>
                </a:path>
              </a:pathLst>
            </a:cu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142"/>
            <p:cNvSpPr>
              <a:spLocks/>
            </p:cNvSpPr>
            <p:nvPr/>
          </p:nvSpPr>
          <p:spPr bwMode="auto">
            <a:xfrm>
              <a:off x="4019" y="3093"/>
              <a:ext cx="90" cy="188"/>
            </a:xfrm>
            <a:custGeom>
              <a:avLst/>
              <a:gdLst>
                <a:gd name="T0" fmla="*/ 62 w 64"/>
                <a:gd name="T1" fmla="*/ 76 h 134"/>
                <a:gd name="T2" fmla="*/ 54 w 64"/>
                <a:gd name="T3" fmla="*/ 116 h 134"/>
                <a:gd name="T4" fmla="*/ 22 w 64"/>
                <a:gd name="T5" fmla="*/ 134 h 134"/>
                <a:gd name="T6" fmla="*/ 3 w 64"/>
                <a:gd name="T7" fmla="*/ 132 h 134"/>
                <a:gd name="T8" fmla="*/ 0 w 64"/>
                <a:gd name="T9" fmla="*/ 106 h 134"/>
                <a:gd name="T10" fmla="*/ 17 w 64"/>
                <a:gd name="T11" fmla="*/ 109 h 134"/>
                <a:gd name="T12" fmla="*/ 33 w 64"/>
                <a:gd name="T13" fmla="*/ 78 h 134"/>
                <a:gd name="T14" fmla="*/ 25 w 64"/>
                <a:gd name="T15" fmla="*/ 4 h 134"/>
                <a:gd name="T16" fmla="*/ 53 w 64"/>
                <a:gd name="T17" fmla="*/ 0 h 134"/>
                <a:gd name="T18" fmla="*/ 62 w 64"/>
                <a:gd name="T19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134">
                  <a:moveTo>
                    <a:pt x="62" y="76"/>
                  </a:moveTo>
                  <a:cubicBezTo>
                    <a:pt x="64" y="93"/>
                    <a:pt x="61" y="107"/>
                    <a:pt x="54" y="116"/>
                  </a:cubicBezTo>
                  <a:cubicBezTo>
                    <a:pt x="48" y="126"/>
                    <a:pt x="37" y="132"/>
                    <a:pt x="22" y="134"/>
                  </a:cubicBezTo>
                  <a:cubicBezTo>
                    <a:pt x="15" y="134"/>
                    <a:pt x="9" y="134"/>
                    <a:pt x="3" y="132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5" y="109"/>
                    <a:pt x="11" y="110"/>
                    <a:pt x="17" y="109"/>
                  </a:cubicBezTo>
                  <a:cubicBezTo>
                    <a:pt x="30" y="108"/>
                    <a:pt x="35" y="98"/>
                    <a:pt x="33" y="78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53" y="0"/>
                    <a:pt x="53" y="0"/>
                    <a:pt x="53" y="0"/>
                  </a:cubicBezTo>
                  <a:lnTo>
                    <a:pt x="62" y="76"/>
                  </a:lnTo>
                  <a:close/>
                </a:path>
              </a:pathLst>
            </a:cu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143"/>
            <p:cNvSpPr>
              <a:spLocks/>
            </p:cNvSpPr>
            <p:nvPr/>
          </p:nvSpPr>
          <p:spPr bwMode="auto">
            <a:xfrm>
              <a:off x="4124" y="3073"/>
              <a:ext cx="162" cy="194"/>
            </a:xfrm>
            <a:custGeom>
              <a:avLst/>
              <a:gdLst>
                <a:gd name="T0" fmla="*/ 112 w 116"/>
                <a:gd name="T1" fmla="*/ 71 h 138"/>
                <a:gd name="T2" fmla="*/ 66 w 116"/>
                <a:gd name="T3" fmla="*/ 134 h 138"/>
                <a:gd name="T4" fmla="*/ 8 w 116"/>
                <a:gd name="T5" fmla="*/ 85 h 138"/>
                <a:gd name="T6" fmla="*/ 0 w 116"/>
                <a:gd name="T7" fmla="*/ 12 h 138"/>
                <a:gd name="T8" fmla="*/ 28 w 116"/>
                <a:gd name="T9" fmla="*/ 9 h 138"/>
                <a:gd name="T10" fmla="*/ 36 w 116"/>
                <a:gd name="T11" fmla="*/ 82 h 138"/>
                <a:gd name="T12" fmla="*/ 64 w 116"/>
                <a:gd name="T13" fmla="*/ 109 h 138"/>
                <a:gd name="T14" fmla="*/ 84 w 116"/>
                <a:gd name="T15" fmla="*/ 77 h 138"/>
                <a:gd name="T16" fmla="*/ 75 w 116"/>
                <a:gd name="T17" fmla="*/ 3 h 138"/>
                <a:gd name="T18" fmla="*/ 104 w 116"/>
                <a:gd name="T19" fmla="*/ 0 h 138"/>
                <a:gd name="T20" fmla="*/ 112 w 116"/>
                <a:gd name="T21" fmla="*/ 71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6" h="138">
                  <a:moveTo>
                    <a:pt x="112" y="71"/>
                  </a:moveTo>
                  <a:cubicBezTo>
                    <a:pt x="116" y="109"/>
                    <a:pt x="101" y="130"/>
                    <a:pt x="66" y="134"/>
                  </a:cubicBezTo>
                  <a:cubicBezTo>
                    <a:pt x="31" y="138"/>
                    <a:pt x="12" y="122"/>
                    <a:pt x="8" y="85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9" y="102"/>
                    <a:pt x="48" y="111"/>
                    <a:pt x="64" y="109"/>
                  </a:cubicBezTo>
                  <a:cubicBezTo>
                    <a:pt x="79" y="108"/>
                    <a:pt x="86" y="97"/>
                    <a:pt x="84" y="77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104" y="0"/>
                    <a:pt x="104" y="0"/>
                    <a:pt x="104" y="0"/>
                  </a:cubicBezTo>
                  <a:lnTo>
                    <a:pt x="112" y="71"/>
                  </a:lnTo>
                  <a:close/>
                </a:path>
              </a:pathLst>
            </a:cu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144"/>
            <p:cNvSpPr>
              <a:spLocks/>
            </p:cNvSpPr>
            <p:nvPr/>
          </p:nvSpPr>
          <p:spPr bwMode="auto">
            <a:xfrm>
              <a:off x="4302" y="3051"/>
              <a:ext cx="179" cy="195"/>
            </a:xfrm>
            <a:custGeom>
              <a:avLst/>
              <a:gdLst>
                <a:gd name="T0" fmla="*/ 128 w 128"/>
                <a:gd name="T1" fmla="*/ 126 h 139"/>
                <a:gd name="T2" fmla="*/ 99 w 128"/>
                <a:gd name="T3" fmla="*/ 129 h 139"/>
                <a:gd name="T4" fmla="*/ 38 w 128"/>
                <a:gd name="T5" fmla="*/ 56 h 139"/>
                <a:gd name="T6" fmla="*/ 30 w 128"/>
                <a:gd name="T7" fmla="*/ 47 h 139"/>
                <a:gd name="T8" fmla="*/ 30 w 128"/>
                <a:gd name="T9" fmla="*/ 47 h 139"/>
                <a:gd name="T10" fmla="*/ 33 w 128"/>
                <a:gd name="T11" fmla="*/ 67 h 139"/>
                <a:gd name="T12" fmla="*/ 41 w 128"/>
                <a:gd name="T13" fmla="*/ 136 h 139"/>
                <a:gd name="T14" fmla="*/ 14 w 128"/>
                <a:gd name="T15" fmla="*/ 139 h 139"/>
                <a:gd name="T16" fmla="*/ 0 w 128"/>
                <a:gd name="T17" fmla="*/ 13 h 139"/>
                <a:gd name="T18" fmla="*/ 30 w 128"/>
                <a:gd name="T19" fmla="*/ 10 h 139"/>
                <a:gd name="T20" fmla="*/ 89 w 128"/>
                <a:gd name="T21" fmla="*/ 81 h 139"/>
                <a:gd name="T22" fmla="*/ 97 w 128"/>
                <a:gd name="T23" fmla="*/ 90 h 139"/>
                <a:gd name="T24" fmla="*/ 97 w 128"/>
                <a:gd name="T25" fmla="*/ 90 h 139"/>
                <a:gd name="T26" fmla="*/ 94 w 128"/>
                <a:gd name="T27" fmla="*/ 73 h 139"/>
                <a:gd name="T28" fmla="*/ 86 w 128"/>
                <a:gd name="T29" fmla="*/ 3 h 139"/>
                <a:gd name="T30" fmla="*/ 113 w 128"/>
                <a:gd name="T31" fmla="*/ 0 h 139"/>
                <a:gd name="T32" fmla="*/ 128 w 128"/>
                <a:gd name="T33" fmla="*/ 126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8" h="139">
                  <a:moveTo>
                    <a:pt x="128" y="126"/>
                  </a:moveTo>
                  <a:cubicBezTo>
                    <a:pt x="99" y="129"/>
                    <a:pt x="99" y="129"/>
                    <a:pt x="99" y="129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4" y="52"/>
                    <a:pt x="32" y="49"/>
                    <a:pt x="30" y="47"/>
                  </a:cubicBezTo>
                  <a:cubicBezTo>
                    <a:pt x="30" y="47"/>
                    <a:pt x="30" y="47"/>
                    <a:pt x="30" y="47"/>
                  </a:cubicBezTo>
                  <a:cubicBezTo>
                    <a:pt x="31" y="51"/>
                    <a:pt x="32" y="58"/>
                    <a:pt x="33" y="67"/>
                  </a:cubicBezTo>
                  <a:cubicBezTo>
                    <a:pt x="41" y="136"/>
                    <a:pt x="41" y="136"/>
                    <a:pt x="41" y="136"/>
                  </a:cubicBezTo>
                  <a:cubicBezTo>
                    <a:pt x="14" y="139"/>
                    <a:pt x="14" y="139"/>
                    <a:pt x="14" y="139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89" y="81"/>
                    <a:pt x="89" y="81"/>
                    <a:pt x="89" y="81"/>
                  </a:cubicBezTo>
                  <a:cubicBezTo>
                    <a:pt x="92" y="84"/>
                    <a:pt x="94" y="87"/>
                    <a:pt x="97" y="90"/>
                  </a:cubicBezTo>
                  <a:cubicBezTo>
                    <a:pt x="97" y="90"/>
                    <a:pt x="97" y="90"/>
                    <a:pt x="97" y="90"/>
                  </a:cubicBezTo>
                  <a:cubicBezTo>
                    <a:pt x="96" y="87"/>
                    <a:pt x="95" y="82"/>
                    <a:pt x="94" y="73"/>
                  </a:cubicBezTo>
                  <a:cubicBezTo>
                    <a:pt x="86" y="3"/>
                    <a:pt x="86" y="3"/>
                    <a:pt x="86" y="3"/>
                  </a:cubicBezTo>
                  <a:cubicBezTo>
                    <a:pt x="113" y="0"/>
                    <a:pt x="113" y="0"/>
                    <a:pt x="113" y="0"/>
                  </a:cubicBezTo>
                  <a:lnTo>
                    <a:pt x="128" y="126"/>
                  </a:lnTo>
                  <a:close/>
                </a:path>
              </a:pathLst>
            </a:cu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145"/>
            <p:cNvSpPr>
              <a:spLocks/>
            </p:cNvSpPr>
            <p:nvPr/>
          </p:nvSpPr>
          <p:spPr bwMode="auto">
            <a:xfrm>
              <a:off x="4566" y="3027"/>
              <a:ext cx="94" cy="185"/>
            </a:xfrm>
            <a:custGeom>
              <a:avLst/>
              <a:gdLst>
                <a:gd name="T0" fmla="*/ 52 w 67"/>
                <a:gd name="T1" fmla="*/ 0 h 132"/>
                <a:gd name="T2" fmla="*/ 67 w 67"/>
                <a:gd name="T3" fmla="*/ 128 h 132"/>
                <a:gd name="T4" fmla="*/ 39 w 67"/>
                <a:gd name="T5" fmla="*/ 132 h 132"/>
                <a:gd name="T6" fmla="*/ 28 w 67"/>
                <a:gd name="T7" fmla="*/ 34 h 132"/>
                <a:gd name="T8" fmla="*/ 23 w 67"/>
                <a:gd name="T9" fmla="*/ 39 h 132"/>
                <a:gd name="T10" fmla="*/ 17 w 67"/>
                <a:gd name="T11" fmla="*/ 43 h 132"/>
                <a:gd name="T12" fmla="*/ 10 w 67"/>
                <a:gd name="T13" fmla="*/ 46 h 132"/>
                <a:gd name="T14" fmla="*/ 2 w 67"/>
                <a:gd name="T15" fmla="*/ 48 h 132"/>
                <a:gd name="T16" fmla="*/ 0 w 67"/>
                <a:gd name="T17" fmla="*/ 25 h 132"/>
                <a:gd name="T18" fmla="*/ 19 w 67"/>
                <a:gd name="T19" fmla="*/ 14 h 132"/>
                <a:gd name="T20" fmla="*/ 35 w 67"/>
                <a:gd name="T21" fmla="*/ 2 h 132"/>
                <a:gd name="T22" fmla="*/ 52 w 67"/>
                <a:gd name="T23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7" h="132">
                  <a:moveTo>
                    <a:pt x="52" y="0"/>
                  </a:moveTo>
                  <a:cubicBezTo>
                    <a:pt x="67" y="128"/>
                    <a:pt x="67" y="128"/>
                    <a:pt x="67" y="128"/>
                  </a:cubicBezTo>
                  <a:cubicBezTo>
                    <a:pt x="39" y="132"/>
                    <a:pt x="39" y="132"/>
                    <a:pt x="39" y="132"/>
                  </a:cubicBezTo>
                  <a:cubicBezTo>
                    <a:pt x="28" y="34"/>
                    <a:pt x="28" y="34"/>
                    <a:pt x="28" y="34"/>
                  </a:cubicBezTo>
                  <a:cubicBezTo>
                    <a:pt x="26" y="36"/>
                    <a:pt x="25" y="37"/>
                    <a:pt x="23" y="39"/>
                  </a:cubicBezTo>
                  <a:cubicBezTo>
                    <a:pt x="21" y="40"/>
                    <a:pt x="19" y="41"/>
                    <a:pt x="17" y="43"/>
                  </a:cubicBezTo>
                  <a:cubicBezTo>
                    <a:pt x="14" y="44"/>
                    <a:pt x="12" y="45"/>
                    <a:pt x="10" y="46"/>
                  </a:cubicBezTo>
                  <a:cubicBezTo>
                    <a:pt x="7" y="47"/>
                    <a:pt x="5" y="48"/>
                    <a:pt x="2" y="48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7" y="22"/>
                    <a:pt x="13" y="18"/>
                    <a:pt x="19" y="14"/>
                  </a:cubicBezTo>
                  <a:cubicBezTo>
                    <a:pt x="25" y="10"/>
                    <a:pt x="30" y="6"/>
                    <a:pt x="35" y="2"/>
                  </a:cubicBezTo>
                  <a:lnTo>
                    <a:pt x="52" y="0"/>
                  </a:lnTo>
                  <a:close/>
                </a:path>
              </a:pathLst>
            </a:cu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80009620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7" name="Picture 11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09523" y="5782083"/>
            <a:ext cx="1038225" cy="571500"/>
          </a:xfrm>
          <a:prstGeom prst="rect">
            <a:avLst/>
          </a:prstGeom>
        </p:spPr>
      </p:pic>
      <p:pic>
        <p:nvPicPr>
          <p:cNvPr id="118" name="Picture 11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59355" y="5963625"/>
            <a:ext cx="847725" cy="552450"/>
          </a:xfrm>
          <a:prstGeom prst="rect">
            <a:avLst/>
          </a:prstGeom>
        </p:spPr>
      </p:pic>
      <p:pic>
        <p:nvPicPr>
          <p:cNvPr id="119" name="Picture 11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83217" y="5439183"/>
            <a:ext cx="866775" cy="342900"/>
          </a:xfrm>
          <a:prstGeom prst="rect">
            <a:avLst/>
          </a:prstGeom>
        </p:spPr>
      </p:pic>
      <p:pic>
        <p:nvPicPr>
          <p:cNvPr id="120" name="Picture 11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4708" y="5458233"/>
            <a:ext cx="771525" cy="895350"/>
          </a:xfrm>
          <a:prstGeom prst="rect">
            <a:avLst/>
          </a:prstGeom>
        </p:spPr>
      </p:pic>
      <p:pic>
        <p:nvPicPr>
          <p:cNvPr id="314" name="Picture 31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94221" y="4388182"/>
            <a:ext cx="2014620" cy="2102001"/>
          </a:xfrm>
          <a:prstGeom prst="rect">
            <a:avLst/>
          </a:prstGeom>
        </p:spPr>
      </p:pic>
      <p:pic>
        <p:nvPicPr>
          <p:cNvPr id="320" name="Picture 31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04527" y="4289908"/>
            <a:ext cx="3943350" cy="2200275"/>
          </a:xfrm>
          <a:prstGeom prst="rect">
            <a:avLst/>
          </a:prstGeom>
        </p:spPr>
      </p:pic>
      <p:pic>
        <p:nvPicPr>
          <p:cNvPr id="360" name="Picture 35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258425" y="4042257"/>
            <a:ext cx="1562100" cy="2695575"/>
          </a:xfrm>
          <a:prstGeom prst="rect">
            <a:avLst/>
          </a:prstGeom>
        </p:spPr>
      </p:pic>
      <p:grpSp>
        <p:nvGrpSpPr>
          <p:cNvPr id="366" name="Group 365"/>
          <p:cNvGrpSpPr/>
          <p:nvPr/>
        </p:nvGrpSpPr>
        <p:grpSpPr>
          <a:xfrm>
            <a:off x="1396233" y="438272"/>
            <a:ext cx="9351644" cy="3143250"/>
            <a:chOff x="1396233" y="438272"/>
            <a:chExt cx="9351644" cy="3143250"/>
          </a:xfrm>
        </p:grpSpPr>
        <p:sp>
          <p:nvSpPr>
            <p:cNvPr id="310" name="Rectangle 309"/>
            <p:cNvSpPr/>
            <p:nvPr/>
          </p:nvSpPr>
          <p:spPr>
            <a:xfrm>
              <a:off x="1396233" y="438272"/>
              <a:ext cx="9334503" cy="3143250"/>
            </a:xfrm>
            <a:prstGeom prst="rect">
              <a:avLst/>
            </a:prstGeom>
            <a:solidFill>
              <a:srgbClr val="FFA3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2" name="Rectangle 311"/>
            <p:cNvSpPr/>
            <p:nvPr/>
          </p:nvSpPr>
          <p:spPr>
            <a:xfrm>
              <a:off x="5196461" y="438272"/>
              <a:ext cx="5551416" cy="314325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9" name="TextBox 318"/>
            <p:cNvSpPr txBox="1"/>
            <p:nvPr/>
          </p:nvSpPr>
          <p:spPr>
            <a:xfrm>
              <a:off x="5508535" y="641126"/>
              <a:ext cx="4545429" cy="27392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600" dirty="0" smtClean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Map your way to success with Marketing SureStep</a:t>
              </a:r>
            </a:p>
            <a:p>
              <a:endParaRPr lang="en-US" sz="1600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endParaRPr 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r>
                <a:rPr lang="en-US" sz="1400" dirty="0" smtClean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Get our step-by-step guidance to help drive your marketing in the right direction.  </a:t>
              </a:r>
              <a:endPara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364" name="Group 363"/>
            <p:cNvGrpSpPr/>
            <p:nvPr/>
          </p:nvGrpSpPr>
          <p:grpSpPr>
            <a:xfrm>
              <a:off x="1558618" y="565335"/>
              <a:ext cx="3565192" cy="2889124"/>
              <a:chOff x="1552261" y="558253"/>
              <a:chExt cx="3565192" cy="2889124"/>
            </a:xfrm>
          </p:grpSpPr>
          <p:sp>
            <p:nvSpPr>
              <p:cNvPr id="317" name="Freeform 279"/>
              <p:cNvSpPr>
                <a:spLocks/>
              </p:cNvSpPr>
              <p:nvPr/>
            </p:nvSpPr>
            <p:spPr bwMode="auto">
              <a:xfrm>
                <a:off x="4283740" y="1042553"/>
                <a:ext cx="833713" cy="502877"/>
              </a:xfrm>
              <a:custGeom>
                <a:avLst/>
                <a:gdLst>
                  <a:gd name="T0" fmla="*/ 39 w 401"/>
                  <a:gd name="T1" fmla="*/ 120 h 241"/>
                  <a:gd name="T2" fmla="*/ 105 w 401"/>
                  <a:gd name="T3" fmla="*/ 68 h 241"/>
                  <a:gd name="T4" fmla="*/ 106 w 401"/>
                  <a:gd name="T5" fmla="*/ 68 h 241"/>
                  <a:gd name="T6" fmla="*/ 106 w 401"/>
                  <a:gd name="T7" fmla="*/ 68 h 241"/>
                  <a:gd name="T8" fmla="*/ 174 w 401"/>
                  <a:gd name="T9" fmla="*/ 0 h 241"/>
                  <a:gd name="T10" fmla="*/ 234 w 401"/>
                  <a:gd name="T11" fmla="*/ 36 h 241"/>
                  <a:gd name="T12" fmla="*/ 256 w 401"/>
                  <a:gd name="T13" fmla="*/ 32 h 241"/>
                  <a:gd name="T14" fmla="*/ 319 w 401"/>
                  <a:gd name="T15" fmla="*/ 96 h 241"/>
                  <a:gd name="T16" fmla="*/ 319 w 401"/>
                  <a:gd name="T17" fmla="*/ 96 h 241"/>
                  <a:gd name="T18" fmla="*/ 328 w 401"/>
                  <a:gd name="T19" fmla="*/ 96 h 241"/>
                  <a:gd name="T20" fmla="*/ 401 w 401"/>
                  <a:gd name="T21" fmla="*/ 168 h 241"/>
                  <a:gd name="T22" fmla="*/ 328 w 401"/>
                  <a:gd name="T23" fmla="*/ 241 h 241"/>
                  <a:gd name="T24" fmla="*/ 62 w 401"/>
                  <a:gd name="T25" fmla="*/ 241 h 241"/>
                  <a:gd name="T26" fmla="*/ 0 w 401"/>
                  <a:gd name="T27" fmla="*/ 178 h 241"/>
                  <a:gd name="T28" fmla="*/ 39 w 401"/>
                  <a:gd name="T29" fmla="*/ 12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01" h="241">
                    <a:moveTo>
                      <a:pt x="39" y="120"/>
                    </a:moveTo>
                    <a:cubicBezTo>
                      <a:pt x="47" y="90"/>
                      <a:pt x="73" y="68"/>
                      <a:pt x="105" y="68"/>
                    </a:cubicBezTo>
                    <a:cubicBezTo>
                      <a:pt x="106" y="68"/>
                      <a:pt x="106" y="68"/>
                      <a:pt x="106" y="68"/>
                    </a:cubicBezTo>
                    <a:cubicBezTo>
                      <a:pt x="106" y="68"/>
                      <a:pt x="106" y="68"/>
                      <a:pt x="106" y="68"/>
                    </a:cubicBezTo>
                    <a:cubicBezTo>
                      <a:pt x="106" y="30"/>
                      <a:pt x="136" y="0"/>
                      <a:pt x="174" y="0"/>
                    </a:cubicBezTo>
                    <a:cubicBezTo>
                      <a:pt x="200" y="0"/>
                      <a:pt x="223" y="14"/>
                      <a:pt x="234" y="36"/>
                    </a:cubicBezTo>
                    <a:cubicBezTo>
                      <a:pt x="241" y="33"/>
                      <a:pt x="248" y="32"/>
                      <a:pt x="256" y="32"/>
                    </a:cubicBezTo>
                    <a:cubicBezTo>
                      <a:pt x="291" y="32"/>
                      <a:pt x="319" y="61"/>
                      <a:pt x="319" y="96"/>
                    </a:cubicBezTo>
                    <a:cubicBezTo>
                      <a:pt x="319" y="96"/>
                      <a:pt x="319" y="96"/>
                      <a:pt x="319" y="96"/>
                    </a:cubicBezTo>
                    <a:cubicBezTo>
                      <a:pt x="322" y="96"/>
                      <a:pt x="325" y="96"/>
                      <a:pt x="328" y="96"/>
                    </a:cubicBezTo>
                    <a:cubicBezTo>
                      <a:pt x="368" y="96"/>
                      <a:pt x="401" y="128"/>
                      <a:pt x="401" y="168"/>
                    </a:cubicBezTo>
                    <a:cubicBezTo>
                      <a:pt x="401" y="208"/>
                      <a:pt x="368" y="241"/>
                      <a:pt x="328" y="241"/>
                    </a:cubicBezTo>
                    <a:cubicBezTo>
                      <a:pt x="62" y="241"/>
                      <a:pt x="62" y="241"/>
                      <a:pt x="62" y="241"/>
                    </a:cubicBezTo>
                    <a:cubicBezTo>
                      <a:pt x="28" y="241"/>
                      <a:pt x="0" y="213"/>
                      <a:pt x="0" y="178"/>
                    </a:cubicBezTo>
                    <a:cubicBezTo>
                      <a:pt x="0" y="152"/>
                      <a:pt x="16" y="129"/>
                      <a:pt x="39" y="120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5" name="Freeform 269"/>
              <p:cNvSpPr>
                <a:spLocks/>
              </p:cNvSpPr>
              <p:nvPr/>
            </p:nvSpPr>
            <p:spPr bwMode="auto">
              <a:xfrm>
                <a:off x="2483288" y="558253"/>
                <a:ext cx="2317957" cy="1255794"/>
              </a:xfrm>
              <a:custGeom>
                <a:avLst/>
                <a:gdLst>
                  <a:gd name="T0" fmla="*/ 523 w 580"/>
                  <a:gd name="T1" fmla="*/ 173 h 349"/>
                  <a:gd name="T2" fmla="*/ 427 w 580"/>
                  <a:gd name="T3" fmla="*/ 98 h 349"/>
                  <a:gd name="T4" fmla="*/ 426 w 580"/>
                  <a:gd name="T5" fmla="*/ 98 h 349"/>
                  <a:gd name="T6" fmla="*/ 426 w 580"/>
                  <a:gd name="T7" fmla="*/ 98 h 349"/>
                  <a:gd name="T8" fmla="*/ 328 w 580"/>
                  <a:gd name="T9" fmla="*/ 0 h 349"/>
                  <a:gd name="T10" fmla="*/ 241 w 580"/>
                  <a:gd name="T11" fmla="*/ 52 h 349"/>
                  <a:gd name="T12" fmla="*/ 210 w 580"/>
                  <a:gd name="T13" fmla="*/ 46 h 349"/>
                  <a:gd name="T14" fmla="*/ 117 w 580"/>
                  <a:gd name="T15" fmla="*/ 139 h 349"/>
                  <a:gd name="T16" fmla="*/ 117 w 580"/>
                  <a:gd name="T17" fmla="*/ 140 h 349"/>
                  <a:gd name="T18" fmla="*/ 105 w 580"/>
                  <a:gd name="T19" fmla="*/ 139 h 349"/>
                  <a:gd name="T20" fmla="*/ 0 w 580"/>
                  <a:gd name="T21" fmla="*/ 244 h 349"/>
                  <a:gd name="T22" fmla="*/ 105 w 580"/>
                  <a:gd name="T23" fmla="*/ 349 h 349"/>
                  <a:gd name="T24" fmla="*/ 489 w 580"/>
                  <a:gd name="T25" fmla="*/ 349 h 349"/>
                  <a:gd name="T26" fmla="*/ 580 w 580"/>
                  <a:gd name="T27" fmla="*/ 258 h 349"/>
                  <a:gd name="T28" fmla="*/ 523 w 580"/>
                  <a:gd name="T29" fmla="*/ 173 h 3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80" h="349">
                    <a:moveTo>
                      <a:pt x="523" y="173"/>
                    </a:moveTo>
                    <a:cubicBezTo>
                      <a:pt x="512" y="130"/>
                      <a:pt x="473" y="98"/>
                      <a:pt x="427" y="98"/>
                    </a:cubicBezTo>
                    <a:cubicBezTo>
                      <a:pt x="426" y="98"/>
                      <a:pt x="426" y="98"/>
                      <a:pt x="426" y="98"/>
                    </a:cubicBezTo>
                    <a:cubicBezTo>
                      <a:pt x="426" y="98"/>
                      <a:pt x="426" y="98"/>
                      <a:pt x="426" y="98"/>
                    </a:cubicBezTo>
                    <a:cubicBezTo>
                      <a:pt x="426" y="44"/>
                      <a:pt x="382" y="0"/>
                      <a:pt x="328" y="0"/>
                    </a:cubicBezTo>
                    <a:cubicBezTo>
                      <a:pt x="290" y="0"/>
                      <a:pt x="258" y="21"/>
                      <a:pt x="241" y="52"/>
                    </a:cubicBezTo>
                    <a:cubicBezTo>
                      <a:pt x="231" y="48"/>
                      <a:pt x="221" y="46"/>
                      <a:pt x="210" y="46"/>
                    </a:cubicBezTo>
                    <a:cubicBezTo>
                      <a:pt x="159" y="46"/>
                      <a:pt x="117" y="88"/>
                      <a:pt x="117" y="139"/>
                    </a:cubicBezTo>
                    <a:cubicBezTo>
                      <a:pt x="117" y="140"/>
                      <a:pt x="117" y="140"/>
                      <a:pt x="117" y="140"/>
                    </a:cubicBezTo>
                    <a:cubicBezTo>
                      <a:pt x="113" y="139"/>
                      <a:pt x="109" y="139"/>
                      <a:pt x="105" y="139"/>
                    </a:cubicBezTo>
                    <a:cubicBezTo>
                      <a:pt x="47" y="139"/>
                      <a:pt x="0" y="186"/>
                      <a:pt x="0" y="244"/>
                    </a:cubicBezTo>
                    <a:cubicBezTo>
                      <a:pt x="0" y="302"/>
                      <a:pt x="47" y="349"/>
                      <a:pt x="105" y="349"/>
                    </a:cubicBezTo>
                    <a:cubicBezTo>
                      <a:pt x="489" y="349"/>
                      <a:pt x="489" y="349"/>
                      <a:pt x="489" y="349"/>
                    </a:cubicBezTo>
                    <a:cubicBezTo>
                      <a:pt x="540" y="349"/>
                      <a:pt x="580" y="308"/>
                      <a:pt x="580" y="258"/>
                    </a:cubicBezTo>
                    <a:cubicBezTo>
                      <a:pt x="580" y="219"/>
                      <a:pt x="557" y="187"/>
                      <a:pt x="523" y="173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306" name="Group 305"/>
              <p:cNvGrpSpPr/>
              <p:nvPr/>
            </p:nvGrpSpPr>
            <p:grpSpPr>
              <a:xfrm>
                <a:off x="1552261" y="1303462"/>
                <a:ext cx="3114523" cy="2143915"/>
                <a:chOff x="2577801" y="862925"/>
                <a:chExt cx="4707404" cy="3240392"/>
              </a:xfrm>
            </p:grpSpPr>
            <p:grpSp>
              <p:nvGrpSpPr>
                <p:cNvPr id="51" name="Group 50"/>
                <p:cNvGrpSpPr/>
                <p:nvPr/>
              </p:nvGrpSpPr>
              <p:grpSpPr>
                <a:xfrm>
                  <a:off x="3247177" y="862925"/>
                  <a:ext cx="4038028" cy="3240392"/>
                  <a:chOff x="7279828" y="2020379"/>
                  <a:chExt cx="2621979" cy="2104057"/>
                </a:xfrm>
              </p:grpSpPr>
              <p:sp>
                <p:nvSpPr>
                  <p:cNvPr id="8" name="Freeform 7"/>
                  <p:cNvSpPr>
                    <a:spLocks/>
                  </p:cNvSpPr>
                  <p:nvPr/>
                </p:nvSpPr>
                <p:spPr bwMode="auto">
                  <a:xfrm>
                    <a:off x="7279828" y="2020379"/>
                    <a:ext cx="653876" cy="2104057"/>
                  </a:xfrm>
                  <a:custGeom>
                    <a:avLst/>
                    <a:gdLst>
                      <a:gd name="T0" fmla="*/ 0 w 202"/>
                      <a:gd name="T1" fmla="*/ 0 h 650"/>
                      <a:gd name="T2" fmla="*/ 0 w 202"/>
                      <a:gd name="T3" fmla="*/ 576 h 650"/>
                      <a:gd name="T4" fmla="*/ 202 w 202"/>
                      <a:gd name="T5" fmla="*/ 650 h 650"/>
                      <a:gd name="T6" fmla="*/ 202 w 202"/>
                      <a:gd name="T7" fmla="*/ 74 h 650"/>
                      <a:gd name="T8" fmla="*/ 0 w 202"/>
                      <a:gd name="T9" fmla="*/ 0 h 65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02" h="650">
                        <a:moveTo>
                          <a:pt x="0" y="0"/>
                        </a:moveTo>
                        <a:lnTo>
                          <a:pt x="0" y="576"/>
                        </a:lnTo>
                        <a:lnTo>
                          <a:pt x="202" y="650"/>
                        </a:lnTo>
                        <a:lnTo>
                          <a:pt x="202" y="74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chemeClr val="tx1">
                      <a:lumMod val="75000"/>
                      <a:lumOff val="2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9" name="Freeform 8"/>
                  <p:cNvSpPr>
                    <a:spLocks/>
                  </p:cNvSpPr>
                  <p:nvPr/>
                </p:nvSpPr>
                <p:spPr bwMode="auto">
                  <a:xfrm>
                    <a:off x="8590818" y="2020379"/>
                    <a:ext cx="653876" cy="2104057"/>
                  </a:xfrm>
                  <a:custGeom>
                    <a:avLst/>
                    <a:gdLst>
                      <a:gd name="T0" fmla="*/ 0 w 202"/>
                      <a:gd name="T1" fmla="*/ 0 h 650"/>
                      <a:gd name="T2" fmla="*/ 0 w 202"/>
                      <a:gd name="T3" fmla="*/ 576 h 650"/>
                      <a:gd name="T4" fmla="*/ 202 w 202"/>
                      <a:gd name="T5" fmla="*/ 650 h 650"/>
                      <a:gd name="T6" fmla="*/ 202 w 202"/>
                      <a:gd name="T7" fmla="*/ 74 h 650"/>
                      <a:gd name="T8" fmla="*/ 0 w 202"/>
                      <a:gd name="T9" fmla="*/ 0 h 65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02" h="650">
                        <a:moveTo>
                          <a:pt x="0" y="0"/>
                        </a:moveTo>
                        <a:lnTo>
                          <a:pt x="0" y="576"/>
                        </a:lnTo>
                        <a:lnTo>
                          <a:pt x="202" y="650"/>
                        </a:lnTo>
                        <a:lnTo>
                          <a:pt x="202" y="74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chemeClr val="tx1">
                      <a:lumMod val="75000"/>
                      <a:lumOff val="2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0" name="Freeform 9"/>
                  <p:cNvSpPr>
                    <a:spLocks/>
                  </p:cNvSpPr>
                  <p:nvPr/>
                </p:nvSpPr>
                <p:spPr bwMode="auto">
                  <a:xfrm>
                    <a:off x="7933704" y="2020379"/>
                    <a:ext cx="657113" cy="2104057"/>
                  </a:xfrm>
                  <a:custGeom>
                    <a:avLst/>
                    <a:gdLst>
                      <a:gd name="T0" fmla="*/ 203 w 203"/>
                      <a:gd name="T1" fmla="*/ 0 h 650"/>
                      <a:gd name="T2" fmla="*/ 203 w 203"/>
                      <a:gd name="T3" fmla="*/ 576 h 650"/>
                      <a:gd name="T4" fmla="*/ 0 w 203"/>
                      <a:gd name="T5" fmla="*/ 650 h 650"/>
                      <a:gd name="T6" fmla="*/ 0 w 203"/>
                      <a:gd name="T7" fmla="*/ 74 h 650"/>
                      <a:gd name="T8" fmla="*/ 203 w 203"/>
                      <a:gd name="T9" fmla="*/ 0 h 65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03" h="650">
                        <a:moveTo>
                          <a:pt x="203" y="0"/>
                        </a:moveTo>
                        <a:lnTo>
                          <a:pt x="203" y="576"/>
                        </a:lnTo>
                        <a:lnTo>
                          <a:pt x="0" y="650"/>
                        </a:lnTo>
                        <a:lnTo>
                          <a:pt x="0" y="74"/>
                        </a:lnTo>
                        <a:lnTo>
                          <a:pt x="203" y="0"/>
                        </a:lnTo>
                        <a:close/>
                      </a:path>
                    </a:pathLst>
                  </a:custGeom>
                  <a:solidFill>
                    <a:schemeClr val="tx1">
                      <a:lumMod val="75000"/>
                      <a:lumOff val="2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" name="Freeform 10"/>
                  <p:cNvSpPr>
                    <a:spLocks/>
                  </p:cNvSpPr>
                  <p:nvPr/>
                </p:nvSpPr>
                <p:spPr bwMode="auto">
                  <a:xfrm>
                    <a:off x="9244694" y="2020379"/>
                    <a:ext cx="657113" cy="2104057"/>
                  </a:xfrm>
                  <a:custGeom>
                    <a:avLst/>
                    <a:gdLst>
                      <a:gd name="T0" fmla="*/ 203 w 203"/>
                      <a:gd name="T1" fmla="*/ 0 h 650"/>
                      <a:gd name="T2" fmla="*/ 203 w 203"/>
                      <a:gd name="T3" fmla="*/ 576 h 650"/>
                      <a:gd name="T4" fmla="*/ 0 w 203"/>
                      <a:gd name="T5" fmla="*/ 650 h 650"/>
                      <a:gd name="T6" fmla="*/ 0 w 203"/>
                      <a:gd name="T7" fmla="*/ 74 h 650"/>
                      <a:gd name="T8" fmla="*/ 203 w 203"/>
                      <a:gd name="T9" fmla="*/ 0 h 65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03" h="650">
                        <a:moveTo>
                          <a:pt x="203" y="0"/>
                        </a:moveTo>
                        <a:lnTo>
                          <a:pt x="203" y="576"/>
                        </a:lnTo>
                        <a:lnTo>
                          <a:pt x="0" y="650"/>
                        </a:lnTo>
                        <a:lnTo>
                          <a:pt x="0" y="74"/>
                        </a:lnTo>
                        <a:lnTo>
                          <a:pt x="203" y="0"/>
                        </a:lnTo>
                        <a:close/>
                      </a:path>
                    </a:pathLst>
                  </a:custGeom>
                  <a:solidFill>
                    <a:schemeClr val="tx1">
                      <a:lumMod val="75000"/>
                      <a:lumOff val="2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2" name="Freeform 11"/>
                  <p:cNvSpPr>
                    <a:spLocks/>
                  </p:cNvSpPr>
                  <p:nvPr/>
                </p:nvSpPr>
                <p:spPr bwMode="auto">
                  <a:xfrm>
                    <a:off x="7351042" y="2127200"/>
                    <a:ext cx="582662" cy="1922785"/>
                  </a:xfrm>
                  <a:custGeom>
                    <a:avLst/>
                    <a:gdLst>
                      <a:gd name="T0" fmla="*/ 180 w 180"/>
                      <a:gd name="T1" fmla="*/ 594 h 594"/>
                      <a:gd name="T2" fmla="*/ 180 w 180"/>
                      <a:gd name="T3" fmla="*/ 66 h 594"/>
                      <a:gd name="T4" fmla="*/ 0 w 180"/>
                      <a:gd name="T5" fmla="*/ 0 h 594"/>
                      <a:gd name="T6" fmla="*/ 0 w 180"/>
                      <a:gd name="T7" fmla="*/ 528 h 594"/>
                      <a:gd name="T8" fmla="*/ 180 w 180"/>
                      <a:gd name="T9" fmla="*/ 594 h 59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80" h="594">
                        <a:moveTo>
                          <a:pt x="180" y="594"/>
                        </a:moveTo>
                        <a:lnTo>
                          <a:pt x="180" y="66"/>
                        </a:lnTo>
                        <a:lnTo>
                          <a:pt x="0" y="0"/>
                        </a:lnTo>
                        <a:lnTo>
                          <a:pt x="0" y="528"/>
                        </a:lnTo>
                        <a:lnTo>
                          <a:pt x="180" y="594"/>
                        </a:lnTo>
                        <a:close/>
                      </a:path>
                    </a:pathLst>
                  </a:custGeom>
                  <a:solidFill>
                    <a:srgbClr val="FF8C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3" name="Freeform 12"/>
                  <p:cNvSpPr>
                    <a:spLocks/>
                  </p:cNvSpPr>
                  <p:nvPr/>
                </p:nvSpPr>
                <p:spPr bwMode="auto">
                  <a:xfrm>
                    <a:off x="9247931" y="2127200"/>
                    <a:ext cx="582662" cy="1922785"/>
                  </a:xfrm>
                  <a:custGeom>
                    <a:avLst/>
                    <a:gdLst>
                      <a:gd name="T0" fmla="*/ 0 w 180"/>
                      <a:gd name="T1" fmla="*/ 594 h 594"/>
                      <a:gd name="T2" fmla="*/ 0 w 180"/>
                      <a:gd name="T3" fmla="*/ 66 h 594"/>
                      <a:gd name="T4" fmla="*/ 180 w 180"/>
                      <a:gd name="T5" fmla="*/ 0 h 594"/>
                      <a:gd name="T6" fmla="*/ 180 w 180"/>
                      <a:gd name="T7" fmla="*/ 528 h 594"/>
                      <a:gd name="T8" fmla="*/ 0 w 180"/>
                      <a:gd name="T9" fmla="*/ 594 h 59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80" h="594">
                        <a:moveTo>
                          <a:pt x="0" y="594"/>
                        </a:moveTo>
                        <a:lnTo>
                          <a:pt x="0" y="66"/>
                        </a:lnTo>
                        <a:lnTo>
                          <a:pt x="180" y="0"/>
                        </a:lnTo>
                        <a:lnTo>
                          <a:pt x="180" y="528"/>
                        </a:lnTo>
                        <a:lnTo>
                          <a:pt x="0" y="594"/>
                        </a:lnTo>
                        <a:close/>
                      </a:path>
                    </a:pathLst>
                  </a:custGeom>
                  <a:solidFill>
                    <a:srgbClr val="AC2F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4" name="Freeform 13"/>
                  <p:cNvSpPr>
                    <a:spLocks/>
                  </p:cNvSpPr>
                  <p:nvPr/>
                </p:nvSpPr>
                <p:spPr bwMode="auto">
                  <a:xfrm>
                    <a:off x="7933704" y="2101304"/>
                    <a:ext cx="657113" cy="1948681"/>
                  </a:xfrm>
                  <a:custGeom>
                    <a:avLst/>
                    <a:gdLst>
                      <a:gd name="T0" fmla="*/ 0 w 203"/>
                      <a:gd name="T1" fmla="*/ 602 h 602"/>
                      <a:gd name="T2" fmla="*/ 0 w 203"/>
                      <a:gd name="T3" fmla="*/ 74 h 602"/>
                      <a:gd name="T4" fmla="*/ 203 w 203"/>
                      <a:gd name="T5" fmla="*/ 0 h 602"/>
                      <a:gd name="T6" fmla="*/ 203 w 203"/>
                      <a:gd name="T7" fmla="*/ 529 h 602"/>
                      <a:gd name="T8" fmla="*/ 0 w 203"/>
                      <a:gd name="T9" fmla="*/ 602 h 60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03" h="602">
                        <a:moveTo>
                          <a:pt x="0" y="602"/>
                        </a:moveTo>
                        <a:lnTo>
                          <a:pt x="0" y="74"/>
                        </a:lnTo>
                        <a:lnTo>
                          <a:pt x="203" y="0"/>
                        </a:lnTo>
                        <a:lnTo>
                          <a:pt x="203" y="529"/>
                        </a:lnTo>
                        <a:lnTo>
                          <a:pt x="0" y="602"/>
                        </a:lnTo>
                        <a:close/>
                      </a:path>
                    </a:pathLst>
                  </a:custGeom>
                  <a:solidFill>
                    <a:srgbClr val="AC2F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5" name="Freeform 14"/>
                  <p:cNvSpPr>
                    <a:spLocks/>
                  </p:cNvSpPr>
                  <p:nvPr/>
                </p:nvSpPr>
                <p:spPr bwMode="auto">
                  <a:xfrm>
                    <a:off x="8590818" y="2101304"/>
                    <a:ext cx="657113" cy="1948681"/>
                  </a:xfrm>
                  <a:custGeom>
                    <a:avLst/>
                    <a:gdLst>
                      <a:gd name="T0" fmla="*/ 203 w 203"/>
                      <a:gd name="T1" fmla="*/ 602 h 602"/>
                      <a:gd name="T2" fmla="*/ 203 w 203"/>
                      <a:gd name="T3" fmla="*/ 74 h 602"/>
                      <a:gd name="T4" fmla="*/ 0 w 203"/>
                      <a:gd name="T5" fmla="*/ 0 h 602"/>
                      <a:gd name="T6" fmla="*/ 0 w 203"/>
                      <a:gd name="T7" fmla="*/ 529 h 602"/>
                      <a:gd name="T8" fmla="*/ 203 w 203"/>
                      <a:gd name="T9" fmla="*/ 602 h 60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03" h="602">
                        <a:moveTo>
                          <a:pt x="203" y="602"/>
                        </a:moveTo>
                        <a:lnTo>
                          <a:pt x="203" y="74"/>
                        </a:lnTo>
                        <a:lnTo>
                          <a:pt x="0" y="0"/>
                        </a:lnTo>
                        <a:lnTo>
                          <a:pt x="0" y="529"/>
                        </a:lnTo>
                        <a:lnTo>
                          <a:pt x="203" y="602"/>
                        </a:lnTo>
                        <a:close/>
                      </a:path>
                    </a:pathLst>
                  </a:custGeom>
                  <a:solidFill>
                    <a:srgbClr val="FF8C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6" name="Freeform 15"/>
                  <p:cNvSpPr>
                    <a:spLocks/>
                  </p:cNvSpPr>
                  <p:nvPr/>
                </p:nvSpPr>
                <p:spPr bwMode="auto">
                  <a:xfrm>
                    <a:off x="8590818" y="2101304"/>
                    <a:ext cx="262198" cy="398152"/>
                  </a:xfrm>
                  <a:custGeom>
                    <a:avLst/>
                    <a:gdLst>
                      <a:gd name="T0" fmla="*/ 81 w 81"/>
                      <a:gd name="T1" fmla="*/ 30 h 123"/>
                      <a:gd name="T2" fmla="*/ 0 w 81"/>
                      <a:gd name="T3" fmla="*/ 0 h 123"/>
                      <a:gd name="T4" fmla="*/ 0 w 81"/>
                      <a:gd name="T5" fmla="*/ 123 h 123"/>
                      <a:gd name="T6" fmla="*/ 81 w 81"/>
                      <a:gd name="T7" fmla="*/ 30 h 12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81" h="123">
                        <a:moveTo>
                          <a:pt x="81" y="30"/>
                        </a:moveTo>
                        <a:lnTo>
                          <a:pt x="0" y="0"/>
                        </a:lnTo>
                        <a:lnTo>
                          <a:pt x="0" y="123"/>
                        </a:lnTo>
                        <a:lnTo>
                          <a:pt x="81" y="30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7" name="Freeform 16"/>
                  <p:cNvSpPr>
                    <a:spLocks/>
                  </p:cNvSpPr>
                  <p:nvPr/>
                </p:nvSpPr>
                <p:spPr bwMode="auto">
                  <a:xfrm>
                    <a:off x="7933704" y="2101304"/>
                    <a:ext cx="657113" cy="1103821"/>
                  </a:xfrm>
                  <a:custGeom>
                    <a:avLst/>
                    <a:gdLst>
                      <a:gd name="T0" fmla="*/ 0 w 203"/>
                      <a:gd name="T1" fmla="*/ 74 h 341"/>
                      <a:gd name="T2" fmla="*/ 0 w 203"/>
                      <a:gd name="T3" fmla="*/ 341 h 341"/>
                      <a:gd name="T4" fmla="*/ 64 w 203"/>
                      <a:gd name="T5" fmla="*/ 334 h 341"/>
                      <a:gd name="T6" fmla="*/ 102 w 203"/>
                      <a:gd name="T7" fmla="*/ 334 h 341"/>
                      <a:gd name="T8" fmla="*/ 177 w 203"/>
                      <a:gd name="T9" fmla="*/ 271 h 341"/>
                      <a:gd name="T10" fmla="*/ 198 w 203"/>
                      <a:gd name="T11" fmla="*/ 129 h 341"/>
                      <a:gd name="T12" fmla="*/ 203 w 203"/>
                      <a:gd name="T13" fmla="*/ 123 h 341"/>
                      <a:gd name="T14" fmla="*/ 203 w 203"/>
                      <a:gd name="T15" fmla="*/ 0 h 341"/>
                      <a:gd name="T16" fmla="*/ 0 w 203"/>
                      <a:gd name="T17" fmla="*/ 74 h 34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3" h="341">
                        <a:moveTo>
                          <a:pt x="0" y="74"/>
                        </a:moveTo>
                        <a:lnTo>
                          <a:pt x="0" y="341"/>
                        </a:lnTo>
                        <a:lnTo>
                          <a:pt x="64" y="334"/>
                        </a:lnTo>
                        <a:lnTo>
                          <a:pt x="102" y="334"/>
                        </a:lnTo>
                        <a:lnTo>
                          <a:pt x="177" y="271"/>
                        </a:lnTo>
                        <a:lnTo>
                          <a:pt x="198" y="129"/>
                        </a:lnTo>
                        <a:lnTo>
                          <a:pt x="203" y="123"/>
                        </a:lnTo>
                        <a:lnTo>
                          <a:pt x="203" y="0"/>
                        </a:lnTo>
                        <a:lnTo>
                          <a:pt x="0" y="74"/>
                        </a:lnTo>
                        <a:close/>
                      </a:path>
                    </a:pathLst>
                  </a:custGeom>
                  <a:solidFill>
                    <a:schemeClr val="bg1">
                      <a:lumMod val="8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8" name="Freeform 17"/>
                  <p:cNvSpPr>
                    <a:spLocks/>
                  </p:cNvSpPr>
                  <p:nvPr/>
                </p:nvSpPr>
                <p:spPr bwMode="auto">
                  <a:xfrm>
                    <a:off x="7351042" y="2127200"/>
                    <a:ext cx="582662" cy="1207405"/>
                  </a:xfrm>
                  <a:custGeom>
                    <a:avLst/>
                    <a:gdLst>
                      <a:gd name="T0" fmla="*/ 180 w 180"/>
                      <a:gd name="T1" fmla="*/ 66 h 373"/>
                      <a:gd name="T2" fmla="*/ 0 w 180"/>
                      <a:gd name="T3" fmla="*/ 0 h 373"/>
                      <a:gd name="T4" fmla="*/ 0 w 180"/>
                      <a:gd name="T5" fmla="*/ 246 h 373"/>
                      <a:gd name="T6" fmla="*/ 41 w 180"/>
                      <a:gd name="T7" fmla="*/ 228 h 373"/>
                      <a:gd name="T8" fmla="*/ 72 w 180"/>
                      <a:gd name="T9" fmla="*/ 256 h 373"/>
                      <a:gd name="T10" fmla="*/ 52 w 180"/>
                      <a:gd name="T11" fmla="*/ 297 h 373"/>
                      <a:gd name="T12" fmla="*/ 90 w 180"/>
                      <a:gd name="T13" fmla="*/ 321 h 373"/>
                      <a:gd name="T14" fmla="*/ 152 w 180"/>
                      <a:gd name="T15" fmla="*/ 373 h 373"/>
                      <a:gd name="T16" fmla="*/ 180 w 180"/>
                      <a:gd name="T17" fmla="*/ 333 h 373"/>
                      <a:gd name="T18" fmla="*/ 180 w 180"/>
                      <a:gd name="T19" fmla="*/ 66 h 37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180" h="373">
                        <a:moveTo>
                          <a:pt x="180" y="66"/>
                        </a:moveTo>
                        <a:lnTo>
                          <a:pt x="0" y="0"/>
                        </a:lnTo>
                        <a:lnTo>
                          <a:pt x="0" y="246"/>
                        </a:lnTo>
                        <a:lnTo>
                          <a:pt x="41" y="228"/>
                        </a:lnTo>
                        <a:lnTo>
                          <a:pt x="72" y="256"/>
                        </a:lnTo>
                        <a:lnTo>
                          <a:pt x="52" y="297"/>
                        </a:lnTo>
                        <a:lnTo>
                          <a:pt x="90" y="321"/>
                        </a:lnTo>
                        <a:lnTo>
                          <a:pt x="152" y="373"/>
                        </a:lnTo>
                        <a:lnTo>
                          <a:pt x="180" y="333"/>
                        </a:lnTo>
                        <a:lnTo>
                          <a:pt x="180" y="66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9" name="Freeform 18"/>
                  <p:cNvSpPr>
                    <a:spLocks/>
                  </p:cNvSpPr>
                  <p:nvPr/>
                </p:nvSpPr>
                <p:spPr bwMode="auto">
                  <a:xfrm>
                    <a:off x="9247931" y="2567434"/>
                    <a:ext cx="582662" cy="1482551"/>
                  </a:xfrm>
                  <a:custGeom>
                    <a:avLst/>
                    <a:gdLst>
                      <a:gd name="T0" fmla="*/ 180 w 180"/>
                      <a:gd name="T1" fmla="*/ 392 h 458"/>
                      <a:gd name="T2" fmla="*/ 180 w 180"/>
                      <a:gd name="T3" fmla="*/ 64 h 458"/>
                      <a:gd name="T4" fmla="*/ 140 w 180"/>
                      <a:gd name="T5" fmla="*/ 50 h 458"/>
                      <a:gd name="T6" fmla="*/ 73 w 180"/>
                      <a:gd name="T7" fmla="*/ 50 h 458"/>
                      <a:gd name="T8" fmla="*/ 0 w 180"/>
                      <a:gd name="T9" fmla="*/ 0 h 458"/>
                      <a:gd name="T10" fmla="*/ 0 w 180"/>
                      <a:gd name="T11" fmla="*/ 458 h 458"/>
                      <a:gd name="T12" fmla="*/ 180 w 180"/>
                      <a:gd name="T13" fmla="*/ 392 h 45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80" h="458">
                        <a:moveTo>
                          <a:pt x="180" y="392"/>
                        </a:moveTo>
                        <a:lnTo>
                          <a:pt x="180" y="64"/>
                        </a:lnTo>
                        <a:lnTo>
                          <a:pt x="140" y="50"/>
                        </a:lnTo>
                        <a:lnTo>
                          <a:pt x="73" y="50"/>
                        </a:lnTo>
                        <a:lnTo>
                          <a:pt x="0" y="0"/>
                        </a:lnTo>
                        <a:lnTo>
                          <a:pt x="0" y="458"/>
                        </a:lnTo>
                        <a:lnTo>
                          <a:pt x="180" y="392"/>
                        </a:lnTo>
                        <a:close/>
                      </a:path>
                    </a:pathLst>
                  </a:custGeom>
                  <a:solidFill>
                    <a:schemeClr val="bg1">
                      <a:lumMod val="8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0" name="Freeform 19"/>
                  <p:cNvSpPr>
                    <a:spLocks/>
                  </p:cNvSpPr>
                  <p:nvPr/>
                </p:nvSpPr>
                <p:spPr bwMode="auto">
                  <a:xfrm>
                    <a:off x="8788275" y="2567434"/>
                    <a:ext cx="459656" cy="1482551"/>
                  </a:xfrm>
                  <a:custGeom>
                    <a:avLst/>
                    <a:gdLst>
                      <a:gd name="T0" fmla="*/ 53 w 142"/>
                      <a:gd name="T1" fmla="*/ 426 h 458"/>
                      <a:gd name="T2" fmla="*/ 142 w 142"/>
                      <a:gd name="T3" fmla="*/ 458 h 458"/>
                      <a:gd name="T4" fmla="*/ 142 w 142"/>
                      <a:gd name="T5" fmla="*/ 0 h 458"/>
                      <a:gd name="T6" fmla="*/ 56 w 142"/>
                      <a:gd name="T7" fmla="*/ 10 h 458"/>
                      <a:gd name="T8" fmla="*/ 56 w 142"/>
                      <a:gd name="T9" fmla="*/ 50 h 458"/>
                      <a:gd name="T10" fmla="*/ 56 w 142"/>
                      <a:gd name="T11" fmla="*/ 204 h 458"/>
                      <a:gd name="T12" fmla="*/ 0 w 142"/>
                      <a:gd name="T13" fmla="*/ 274 h 458"/>
                      <a:gd name="T14" fmla="*/ 51 w 142"/>
                      <a:gd name="T15" fmla="*/ 327 h 458"/>
                      <a:gd name="T16" fmla="*/ 53 w 142"/>
                      <a:gd name="T17" fmla="*/ 426 h 45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42" h="458">
                        <a:moveTo>
                          <a:pt x="53" y="426"/>
                        </a:moveTo>
                        <a:lnTo>
                          <a:pt x="142" y="458"/>
                        </a:lnTo>
                        <a:lnTo>
                          <a:pt x="142" y="0"/>
                        </a:lnTo>
                        <a:lnTo>
                          <a:pt x="56" y="10"/>
                        </a:lnTo>
                        <a:lnTo>
                          <a:pt x="56" y="50"/>
                        </a:lnTo>
                        <a:lnTo>
                          <a:pt x="56" y="204"/>
                        </a:lnTo>
                        <a:lnTo>
                          <a:pt x="0" y="274"/>
                        </a:lnTo>
                        <a:lnTo>
                          <a:pt x="51" y="327"/>
                        </a:lnTo>
                        <a:lnTo>
                          <a:pt x="53" y="426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1" name="Freeform 20"/>
                  <p:cNvSpPr>
                    <a:spLocks/>
                  </p:cNvSpPr>
                  <p:nvPr/>
                </p:nvSpPr>
                <p:spPr bwMode="auto">
                  <a:xfrm>
                    <a:off x="7551737" y="2347317"/>
                    <a:ext cx="223354" cy="381967"/>
                  </a:xfrm>
                  <a:custGeom>
                    <a:avLst/>
                    <a:gdLst>
                      <a:gd name="T0" fmla="*/ 69 w 69"/>
                      <a:gd name="T1" fmla="*/ 118 h 118"/>
                      <a:gd name="T2" fmla="*/ 69 w 69"/>
                      <a:gd name="T3" fmla="*/ 25 h 118"/>
                      <a:gd name="T4" fmla="*/ 0 w 69"/>
                      <a:gd name="T5" fmla="*/ 0 h 118"/>
                      <a:gd name="T6" fmla="*/ 0 w 69"/>
                      <a:gd name="T7" fmla="*/ 93 h 118"/>
                      <a:gd name="T8" fmla="*/ 69 w 69"/>
                      <a:gd name="T9" fmla="*/ 118 h 11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69" h="118">
                        <a:moveTo>
                          <a:pt x="69" y="118"/>
                        </a:moveTo>
                        <a:lnTo>
                          <a:pt x="69" y="25"/>
                        </a:lnTo>
                        <a:lnTo>
                          <a:pt x="0" y="0"/>
                        </a:lnTo>
                        <a:lnTo>
                          <a:pt x="0" y="93"/>
                        </a:lnTo>
                        <a:lnTo>
                          <a:pt x="69" y="118"/>
                        </a:lnTo>
                        <a:close/>
                      </a:path>
                    </a:pathLst>
                  </a:custGeom>
                  <a:solidFill>
                    <a:srgbClr val="002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2" name="Freeform 21"/>
                  <p:cNvSpPr>
                    <a:spLocks/>
                  </p:cNvSpPr>
                  <p:nvPr/>
                </p:nvSpPr>
                <p:spPr bwMode="auto">
                  <a:xfrm>
                    <a:off x="7775091" y="2431479"/>
                    <a:ext cx="32370" cy="388441"/>
                  </a:xfrm>
                  <a:custGeom>
                    <a:avLst/>
                    <a:gdLst>
                      <a:gd name="T0" fmla="*/ 0 w 10"/>
                      <a:gd name="T1" fmla="*/ 0 h 120"/>
                      <a:gd name="T2" fmla="*/ 0 w 10"/>
                      <a:gd name="T3" fmla="*/ 1 h 120"/>
                      <a:gd name="T4" fmla="*/ 0 w 10"/>
                      <a:gd name="T5" fmla="*/ 92 h 120"/>
                      <a:gd name="T6" fmla="*/ 10 w 10"/>
                      <a:gd name="T7" fmla="*/ 120 h 120"/>
                      <a:gd name="T8" fmla="*/ 0 w 10"/>
                      <a:gd name="T9" fmla="*/ 0 h 12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0" h="120">
                        <a:moveTo>
                          <a:pt x="0" y="0"/>
                        </a:moveTo>
                        <a:lnTo>
                          <a:pt x="0" y="1"/>
                        </a:lnTo>
                        <a:lnTo>
                          <a:pt x="0" y="92"/>
                        </a:lnTo>
                        <a:lnTo>
                          <a:pt x="10" y="12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AC2F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3" name="Freeform 22"/>
                  <p:cNvSpPr>
                    <a:spLocks/>
                  </p:cNvSpPr>
                  <p:nvPr/>
                </p:nvSpPr>
                <p:spPr bwMode="auto">
                  <a:xfrm>
                    <a:off x="7775091" y="2431479"/>
                    <a:ext cx="32370" cy="388441"/>
                  </a:xfrm>
                  <a:custGeom>
                    <a:avLst/>
                    <a:gdLst>
                      <a:gd name="T0" fmla="*/ 0 w 10"/>
                      <a:gd name="T1" fmla="*/ 0 h 120"/>
                      <a:gd name="T2" fmla="*/ 0 w 10"/>
                      <a:gd name="T3" fmla="*/ 1 h 120"/>
                      <a:gd name="T4" fmla="*/ 0 w 10"/>
                      <a:gd name="T5" fmla="*/ 92 h 120"/>
                      <a:gd name="T6" fmla="*/ 10 w 10"/>
                      <a:gd name="T7" fmla="*/ 120 h 12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0" h="120">
                        <a:moveTo>
                          <a:pt x="0" y="0"/>
                        </a:moveTo>
                        <a:lnTo>
                          <a:pt x="0" y="1"/>
                        </a:lnTo>
                        <a:lnTo>
                          <a:pt x="0" y="92"/>
                        </a:lnTo>
                        <a:lnTo>
                          <a:pt x="10" y="120"/>
                        </a:lnTo>
                      </a:path>
                    </a:pathLst>
                  </a:cu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4" name="Oval 23"/>
                  <p:cNvSpPr>
                    <a:spLocks noChangeArrowheads="1"/>
                  </p:cNvSpPr>
                  <p:nvPr/>
                </p:nvSpPr>
                <p:spPr bwMode="auto">
                  <a:xfrm>
                    <a:off x="7794513" y="2829632"/>
                    <a:ext cx="35607" cy="32370"/>
                  </a:xfrm>
                  <a:prstGeom prst="ellipse">
                    <a:avLst/>
                  </a:prstGeom>
                  <a:solidFill>
                    <a:srgbClr val="3333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5" name="Freeform 24"/>
                  <p:cNvSpPr>
                    <a:spLocks/>
                  </p:cNvSpPr>
                  <p:nvPr/>
                </p:nvSpPr>
                <p:spPr bwMode="auto">
                  <a:xfrm>
                    <a:off x="7564685" y="2373213"/>
                    <a:ext cx="194221" cy="330175"/>
                  </a:xfrm>
                  <a:custGeom>
                    <a:avLst/>
                    <a:gdLst>
                      <a:gd name="T0" fmla="*/ 60 w 60"/>
                      <a:gd name="T1" fmla="*/ 102 h 102"/>
                      <a:gd name="T2" fmla="*/ 60 w 60"/>
                      <a:gd name="T3" fmla="*/ 22 h 102"/>
                      <a:gd name="T4" fmla="*/ 0 w 60"/>
                      <a:gd name="T5" fmla="*/ 0 h 102"/>
                      <a:gd name="T6" fmla="*/ 0 w 60"/>
                      <a:gd name="T7" fmla="*/ 81 h 102"/>
                      <a:gd name="T8" fmla="*/ 60 w 60"/>
                      <a:gd name="T9" fmla="*/ 102 h 10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60" h="102">
                        <a:moveTo>
                          <a:pt x="60" y="102"/>
                        </a:moveTo>
                        <a:lnTo>
                          <a:pt x="60" y="22"/>
                        </a:lnTo>
                        <a:lnTo>
                          <a:pt x="0" y="0"/>
                        </a:lnTo>
                        <a:lnTo>
                          <a:pt x="0" y="81"/>
                        </a:lnTo>
                        <a:lnTo>
                          <a:pt x="60" y="102"/>
                        </a:lnTo>
                        <a:close/>
                      </a:path>
                    </a:pathLst>
                  </a:custGeom>
                  <a:solidFill>
                    <a:srgbClr val="AC2F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6" name="Freeform 25"/>
                  <p:cNvSpPr>
                    <a:spLocks/>
                  </p:cNvSpPr>
                  <p:nvPr/>
                </p:nvSpPr>
                <p:spPr bwMode="auto">
                  <a:xfrm>
                    <a:off x="9367700" y="2939690"/>
                    <a:ext cx="223354" cy="381967"/>
                  </a:xfrm>
                  <a:custGeom>
                    <a:avLst/>
                    <a:gdLst>
                      <a:gd name="T0" fmla="*/ 69 w 69"/>
                      <a:gd name="T1" fmla="*/ 0 h 118"/>
                      <a:gd name="T2" fmla="*/ 69 w 69"/>
                      <a:gd name="T3" fmla="*/ 93 h 118"/>
                      <a:gd name="T4" fmla="*/ 0 w 69"/>
                      <a:gd name="T5" fmla="*/ 118 h 118"/>
                      <a:gd name="T6" fmla="*/ 0 w 69"/>
                      <a:gd name="T7" fmla="*/ 25 h 118"/>
                      <a:gd name="T8" fmla="*/ 69 w 69"/>
                      <a:gd name="T9" fmla="*/ 0 h 11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69" h="118">
                        <a:moveTo>
                          <a:pt x="69" y="0"/>
                        </a:moveTo>
                        <a:lnTo>
                          <a:pt x="69" y="93"/>
                        </a:lnTo>
                        <a:lnTo>
                          <a:pt x="0" y="118"/>
                        </a:lnTo>
                        <a:lnTo>
                          <a:pt x="0" y="25"/>
                        </a:lnTo>
                        <a:lnTo>
                          <a:pt x="69" y="0"/>
                        </a:lnTo>
                        <a:close/>
                      </a:path>
                    </a:pathLst>
                  </a:custGeom>
                  <a:solidFill>
                    <a:srgbClr val="002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7" name="Freeform 26"/>
                  <p:cNvSpPr>
                    <a:spLocks/>
                  </p:cNvSpPr>
                  <p:nvPr/>
                </p:nvSpPr>
                <p:spPr bwMode="auto">
                  <a:xfrm>
                    <a:off x="9380648" y="2965586"/>
                    <a:ext cx="194221" cy="330175"/>
                  </a:xfrm>
                  <a:custGeom>
                    <a:avLst/>
                    <a:gdLst>
                      <a:gd name="T0" fmla="*/ 60 w 60"/>
                      <a:gd name="T1" fmla="*/ 0 h 102"/>
                      <a:gd name="T2" fmla="*/ 60 w 60"/>
                      <a:gd name="T3" fmla="*/ 80 h 102"/>
                      <a:gd name="T4" fmla="*/ 0 w 60"/>
                      <a:gd name="T5" fmla="*/ 102 h 102"/>
                      <a:gd name="T6" fmla="*/ 0 w 60"/>
                      <a:gd name="T7" fmla="*/ 22 h 102"/>
                      <a:gd name="T8" fmla="*/ 60 w 60"/>
                      <a:gd name="T9" fmla="*/ 0 h 10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60" h="102">
                        <a:moveTo>
                          <a:pt x="60" y="0"/>
                        </a:moveTo>
                        <a:lnTo>
                          <a:pt x="60" y="80"/>
                        </a:lnTo>
                        <a:lnTo>
                          <a:pt x="0" y="102"/>
                        </a:lnTo>
                        <a:lnTo>
                          <a:pt x="0" y="22"/>
                        </a:lnTo>
                        <a:lnTo>
                          <a:pt x="60" y="0"/>
                        </a:lnTo>
                        <a:close/>
                      </a:path>
                    </a:pathLst>
                  </a:custGeom>
                  <a:solidFill>
                    <a:srgbClr val="FAA33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8" name="Freeform 27"/>
                  <p:cNvSpPr>
                    <a:spLocks/>
                  </p:cNvSpPr>
                  <p:nvPr/>
                </p:nvSpPr>
                <p:spPr bwMode="auto">
                  <a:xfrm>
                    <a:off x="9591054" y="2939690"/>
                    <a:ext cx="32370" cy="391678"/>
                  </a:xfrm>
                  <a:custGeom>
                    <a:avLst/>
                    <a:gdLst>
                      <a:gd name="T0" fmla="*/ 0 w 10"/>
                      <a:gd name="T1" fmla="*/ 0 h 121"/>
                      <a:gd name="T2" fmla="*/ 0 w 10"/>
                      <a:gd name="T3" fmla="*/ 2 h 121"/>
                      <a:gd name="T4" fmla="*/ 0 w 10"/>
                      <a:gd name="T5" fmla="*/ 93 h 121"/>
                      <a:gd name="T6" fmla="*/ 10 w 10"/>
                      <a:gd name="T7" fmla="*/ 121 h 121"/>
                      <a:gd name="T8" fmla="*/ 0 w 10"/>
                      <a:gd name="T9" fmla="*/ 0 h 12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0" h="121">
                        <a:moveTo>
                          <a:pt x="0" y="0"/>
                        </a:moveTo>
                        <a:lnTo>
                          <a:pt x="0" y="2"/>
                        </a:lnTo>
                        <a:lnTo>
                          <a:pt x="0" y="93"/>
                        </a:lnTo>
                        <a:lnTo>
                          <a:pt x="10" y="121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AA33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9" name="Freeform 28"/>
                  <p:cNvSpPr>
                    <a:spLocks/>
                  </p:cNvSpPr>
                  <p:nvPr/>
                </p:nvSpPr>
                <p:spPr bwMode="auto">
                  <a:xfrm>
                    <a:off x="9591054" y="2939690"/>
                    <a:ext cx="32370" cy="391678"/>
                  </a:xfrm>
                  <a:custGeom>
                    <a:avLst/>
                    <a:gdLst>
                      <a:gd name="T0" fmla="*/ 0 w 10"/>
                      <a:gd name="T1" fmla="*/ 0 h 121"/>
                      <a:gd name="T2" fmla="*/ 0 w 10"/>
                      <a:gd name="T3" fmla="*/ 2 h 121"/>
                      <a:gd name="T4" fmla="*/ 0 w 10"/>
                      <a:gd name="T5" fmla="*/ 93 h 121"/>
                      <a:gd name="T6" fmla="*/ 10 w 10"/>
                      <a:gd name="T7" fmla="*/ 121 h 12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0" h="121">
                        <a:moveTo>
                          <a:pt x="0" y="0"/>
                        </a:moveTo>
                        <a:lnTo>
                          <a:pt x="0" y="2"/>
                        </a:lnTo>
                        <a:lnTo>
                          <a:pt x="0" y="93"/>
                        </a:lnTo>
                        <a:lnTo>
                          <a:pt x="10" y="121"/>
                        </a:lnTo>
                      </a:path>
                    </a:pathLst>
                  </a:cu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0" name="Oval 29"/>
                  <p:cNvSpPr>
                    <a:spLocks noChangeArrowheads="1"/>
                  </p:cNvSpPr>
                  <p:nvPr/>
                </p:nvSpPr>
                <p:spPr bwMode="auto">
                  <a:xfrm>
                    <a:off x="9610476" y="3337843"/>
                    <a:ext cx="35607" cy="32370"/>
                  </a:xfrm>
                  <a:prstGeom prst="ellipse">
                    <a:avLst/>
                  </a:prstGeom>
                  <a:solidFill>
                    <a:srgbClr val="3333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1" name="Freeform 30"/>
                  <p:cNvSpPr>
                    <a:spLocks/>
                  </p:cNvSpPr>
                  <p:nvPr/>
                </p:nvSpPr>
                <p:spPr bwMode="auto">
                  <a:xfrm>
                    <a:off x="7457864" y="3574144"/>
                    <a:ext cx="123006" cy="178036"/>
                  </a:xfrm>
                  <a:custGeom>
                    <a:avLst/>
                    <a:gdLst>
                      <a:gd name="T0" fmla="*/ 10 w 38"/>
                      <a:gd name="T1" fmla="*/ 6 h 55"/>
                      <a:gd name="T2" fmla="*/ 0 w 38"/>
                      <a:gd name="T3" fmla="*/ 21 h 55"/>
                      <a:gd name="T4" fmla="*/ 6 w 38"/>
                      <a:gd name="T5" fmla="*/ 24 h 55"/>
                      <a:gd name="T6" fmla="*/ 12 w 38"/>
                      <a:gd name="T7" fmla="*/ 13 h 55"/>
                      <a:gd name="T8" fmla="*/ 12 w 38"/>
                      <a:gd name="T9" fmla="*/ 54 h 55"/>
                      <a:gd name="T10" fmla="*/ 18 w 38"/>
                      <a:gd name="T11" fmla="*/ 55 h 55"/>
                      <a:gd name="T12" fmla="*/ 18 w 38"/>
                      <a:gd name="T13" fmla="*/ 14 h 55"/>
                      <a:gd name="T14" fmla="*/ 30 w 38"/>
                      <a:gd name="T15" fmla="*/ 32 h 55"/>
                      <a:gd name="T16" fmla="*/ 38 w 38"/>
                      <a:gd name="T17" fmla="*/ 35 h 55"/>
                      <a:gd name="T18" fmla="*/ 22 w 38"/>
                      <a:gd name="T19" fmla="*/ 10 h 55"/>
                      <a:gd name="T20" fmla="*/ 15 w 38"/>
                      <a:gd name="T21" fmla="*/ 0 h 55"/>
                      <a:gd name="T22" fmla="*/ 10 w 38"/>
                      <a:gd name="T23" fmla="*/ 6 h 5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38" h="55">
                        <a:moveTo>
                          <a:pt x="10" y="6"/>
                        </a:moveTo>
                        <a:lnTo>
                          <a:pt x="0" y="21"/>
                        </a:lnTo>
                        <a:lnTo>
                          <a:pt x="6" y="24"/>
                        </a:lnTo>
                        <a:lnTo>
                          <a:pt x="12" y="13"/>
                        </a:lnTo>
                        <a:lnTo>
                          <a:pt x="12" y="54"/>
                        </a:lnTo>
                        <a:lnTo>
                          <a:pt x="18" y="55"/>
                        </a:lnTo>
                        <a:lnTo>
                          <a:pt x="18" y="14"/>
                        </a:lnTo>
                        <a:lnTo>
                          <a:pt x="30" y="32"/>
                        </a:lnTo>
                        <a:lnTo>
                          <a:pt x="38" y="35"/>
                        </a:lnTo>
                        <a:lnTo>
                          <a:pt x="22" y="10"/>
                        </a:lnTo>
                        <a:lnTo>
                          <a:pt x="15" y="0"/>
                        </a:lnTo>
                        <a:lnTo>
                          <a:pt x="10" y="6"/>
                        </a:lnTo>
                        <a:close/>
                      </a:path>
                    </a:pathLst>
                  </a:custGeom>
                  <a:solidFill>
                    <a:srgbClr val="3333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50" name="Freeform 49"/>
                  <p:cNvSpPr>
                    <a:spLocks/>
                  </p:cNvSpPr>
                  <p:nvPr/>
                </p:nvSpPr>
                <p:spPr bwMode="auto">
                  <a:xfrm>
                    <a:off x="7805140" y="2854827"/>
                    <a:ext cx="1837622" cy="665829"/>
                  </a:xfrm>
                  <a:custGeom>
                    <a:avLst/>
                    <a:gdLst>
                      <a:gd name="T0" fmla="*/ 1211 w 1211"/>
                      <a:gd name="T1" fmla="*/ 364 h 1702"/>
                      <a:gd name="T2" fmla="*/ 1189 w 1211"/>
                      <a:gd name="T3" fmla="*/ 337 h 1702"/>
                      <a:gd name="T4" fmla="*/ 968 w 1211"/>
                      <a:gd name="T5" fmla="*/ 420 h 1702"/>
                      <a:gd name="T6" fmla="*/ 922 w 1211"/>
                      <a:gd name="T7" fmla="*/ 387 h 1702"/>
                      <a:gd name="T8" fmla="*/ 871 w 1211"/>
                      <a:gd name="T9" fmla="*/ 296 h 1702"/>
                      <a:gd name="T10" fmla="*/ 790 w 1211"/>
                      <a:gd name="T11" fmla="*/ 339 h 1702"/>
                      <a:gd name="T12" fmla="*/ 427 w 1211"/>
                      <a:gd name="T13" fmla="*/ 51 h 1702"/>
                      <a:gd name="T14" fmla="*/ 326 w 1211"/>
                      <a:gd name="T15" fmla="*/ 70 h 1702"/>
                      <a:gd name="T16" fmla="*/ 297 w 1211"/>
                      <a:gd name="T17" fmla="*/ 0 h 1702"/>
                      <a:gd name="T18" fmla="*/ 237 w 1211"/>
                      <a:gd name="T19" fmla="*/ 43 h 1702"/>
                      <a:gd name="T20" fmla="*/ 104 w 1211"/>
                      <a:gd name="T21" fmla="*/ 3 h 1702"/>
                      <a:gd name="T22" fmla="*/ 23 w 1211"/>
                      <a:gd name="T23" fmla="*/ 28 h 1702"/>
                      <a:gd name="T24" fmla="*/ 14 w 1211"/>
                      <a:gd name="T25" fmla="*/ 8 h 1702"/>
                      <a:gd name="T26" fmla="*/ 0 w 1211"/>
                      <a:gd name="T27" fmla="*/ 15 h 1702"/>
                      <a:gd name="T28" fmla="*/ 15 w 1211"/>
                      <a:gd name="T29" fmla="*/ 47 h 1702"/>
                      <a:gd name="T30" fmla="*/ 104 w 1211"/>
                      <a:gd name="T31" fmla="*/ 20 h 1702"/>
                      <a:gd name="T32" fmla="*/ 240 w 1211"/>
                      <a:gd name="T33" fmla="*/ 60 h 1702"/>
                      <a:gd name="T34" fmla="*/ 290 w 1211"/>
                      <a:gd name="T35" fmla="*/ 23 h 1702"/>
                      <a:gd name="T36" fmla="*/ 317 w 1211"/>
                      <a:gd name="T37" fmla="*/ 88 h 1702"/>
                      <a:gd name="T38" fmla="*/ 423 w 1211"/>
                      <a:gd name="T39" fmla="*/ 67 h 1702"/>
                      <a:gd name="T40" fmla="*/ 788 w 1211"/>
                      <a:gd name="T41" fmla="*/ 357 h 1702"/>
                      <a:gd name="T42" fmla="*/ 865 w 1211"/>
                      <a:gd name="T43" fmla="*/ 317 h 1702"/>
                      <a:gd name="T44" fmla="*/ 910 w 1211"/>
                      <a:gd name="T45" fmla="*/ 397 h 1702"/>
                      <a:gd name="T46" fmla="*/ 966 w 1211"/>
                      <a:gd name="T47" fmla="*/ 437 h 1702"/>
                      <a:gd name="T48" fmla="*/ 1184 w 1211"/>
                      <a:gd name="T49" fmla="*/ 355 h 1702"/>
                      <a:gd name="T50" fmla="*/ 1191 w 1211"/>
                      <a:gd name="T51" fmla="*/ 364 h 1702"/>
                      <a:gd name="T52" fmla="*/ 1158 w 1211"/>
                      <a:gd name="T53" fmla="*/ 401 h 1702"/>
                      <a:gd name="T54" fmla="*/ 1158 w 1211"/>
                      <a:gd name="T55" fmla="*/ 472 h 1702"/>
                      <a:gd name="T56" fmla="*/ 1102 w 1211"/>
                      <a:gd name="T57" fmla="*/ 493 h 1702"/>
                      <a:gd name="T58" fmla="*/ 1102 w 1211"/>
                      <a:gd name="T59" fmla="*/ 554 h 1702"/>
                      <a:gd name="T60" fmla="*/ 942 w 1211"/>
                      <a:gd name="T61" fmla="*/ 650 h 1702"/>
                      <a:gd name="T62" fmla="*/ 499 w 1211"/>
                      <a:gd name="T63" fmla="*/ 532 h 1702"/>
                      <a:gd name="T64" fmla="*/ 499 w 1211"/>
                      <a:gd name="T65" fmla="*/ 1702 h 1702"/>
                      <a:gd name="T66" fmla="*/ 506 w 1211"/>
                      <a:gd name="T67" fmla="*/ 1702 h 1702"/>
                      <a:gd name="T68" fmla="*/ 514 w 1211"/>
                      <a:gd name="T69" fmla="*/ 1702 h 1702"/>
                      <a:gd name="T70" fmla="*/ 514 w 1211"/>
                      <a:gd name="T71" fmla="*/ 552 h 1702"/>
                      <a:gd name="T72" fmla="*/ 942 w 1211"/>
                      <a:gd name="T73" fmla="*/ 666 h 1702"/>
                      <a:gd name="T74" fmla="*/ 945 w 1211"/>
                      <a:gd name="T75" fmla="*/ 667 h 1702"/>
                      <a:gd name="T76" fmla="*/ 1118 w 1211"/>
                      <a:gd name="T77" fmla="*/ 563 h 1702"/>
                      <a:gd name="T78" fmla="*/ 1118 w 1211"/>
                      <a:gd name="T79" fmla="*/ 504 h 1702"/>
                      <a:gd name="T80" fmla="*/ 1173 w 1211"/>
                      <a:gd name="T81" fmla="*/ 483 h 1702"/>
                      <a:gd name="T82" fmla="*/ 1173 w 1211"/>
                      <a:gd name="T83" fmla="*/ 407 h 1702"/>
                      <a:gd name="T84" fmla="*/ 1211 w 1211"/>
                      <a:gd name="T85" fmla="*/ 364 h 1702"/>
                      <a:gd name="connsiteX0" fmla="*/ 10000 w 10000"/>
                      <a:gd name="connsiteY0" fmla="*/ 2139 h 10000"/>
                      <a:gd name="connsiteX1" fmla="*/ 9818 w 10000"/>
                      <a:gd name="connsiteY1" fmla="*/ 1980 h 10000"/>
                      <a:gd name="connsiteX2" fmla="*/ 7993 w 10000"/>
                      <a:gd name="connsiteY2" fmla="*/ 2468 h 10000"/>
                      <a:gd name="connsiteX3" fmla="*/ 7614 w 10000"/>
                      <a:gd name="connsiteY3" fmla="*/ 2274 h 10000"/>
                      <a:gd name="connsiteX4" fmla="*/ 7192 w 10000"/>
                      <a:gd name="connsiteY4" fmla="*/ 1739 h 10000"/>
                      <a:gd name="connsiteX5" fmla="*/ 6524 w 10000"/>
                      <a:gd name="connsiteY5" fmla="*/ 1992 h 10000"/>
                      <a:gd name="connsiteX6" fmla="*/ 3526 w 10000"/>
                      <a:gd name="connsiteY6" fmla="*/ 300 h 10000"/>
                      <a:gd name="connsiteX7" fmla="*/ 2692 w 10000"/>
                      <a:gd name="connsiteY7" fmla="*/ 411 h 10000"/>
                      <a:gd name="connsiteX8" fmla="*/ 2453 w 10000"/>
                      <a:gd name="connsiteY8" fmla="*/ 0 h 10000"/>
                      <a:gd name="connsiteX9" fmla="*/ 1957 w 10000"/>
                      <a:gd name="connsiteY9" fmla="*/ 253 h 10000"/>
                      <a:gd name="connsiteX10" fmla="*/ 859 w 10000"/>
                      <a:gd name="connsiteY10" fmla="*/ 18 h 10000"/>
                      <a:gd name="connsiteX11" fmla="*/ 190 w 10000"/>
                      <a:gd name="connsiteY11" fmla="*/ 165 h 10000"/>
                      <a:gd name="connsiteX12" fmla="*/ 116 w 10000"/>
                      <a:gd name="connsiteY12" fmla="*/ 47 h 10000"/>
                      <a:gd name="connsiteX13" fmla="*/ 0 w 10000"/>
                      <a:gd name="connsiteY13" fmla="*/ 88 h 10000"/>
                      <a:gd name="connsiteX14" fmla="*/ 124 w 10000"/>
                      <a:gd name="connsiteY14" fmla="*/ 276 h 10000"/>
                      <a:gd name="connsiteX15" fmla="*/ 859 w 10000"/>
                      <a:gd name="connsiteY15" fmla="*/ 118 h 10000"/>
                      <a:gd name="connsiteX16" fmla="*/ 1982 w 10000"/>
                      <a:gd name="connsiteY16" fmla="*/ 353 h 10000"/>
                      <a:gd name="connsiteX17" fmla="*/ 2395 w 10000"/>
                      <a:gd name="connsiteY17" fmla="*/ 135 h 10000"/>
                      <a:gd name="connsiteX18" fmla="*/ 2618 w 10000"/>
                      <a:gd name="connsiteY18" fmla="*/ 517 h 10000"/>
                      <a:gd name="connsiteX19" fmla="*/ 3493 w 10000"/>
                      <a:gd name="connsiteY19" fmla="*/ 394 h 10000"/>
                      <a:gd name="connsiteX20" fmla="*/ 6507 w 10000"/>
                      <a:gd name="connsiteY20" fmla="*/ 2098 h 10000"/>
                      <a:gd name="connsiteX21" fmla="*/ 7143 w 10000"/>
                      <a:gd name="connsiteY21" fmla="*/ 1863 h 10000"/>
                      <a:gd name="connsiteX22" fmla="*/ 7514 w 10000"/>
                      <a:gd name="connsiteY22" fmla="*/ 2333 h 10000"/>
                      <a:gd name="connsiteX23" fmla="*/ 7977 w 10000"/>
                      <a:gd name="connsiteY23" fmla="*/ 2568 h 10000"/>
                      <a:gd name="connsiteX24" fmla="*/ 9777 w 10000"/>
                      <a:gd name="connsiteY24" fmla="*/ 2086 h 10000"/>
                      <a:gd name="connsiteX25" fmla="*/ 9835 w 10000"/>
                      <a:gd name="connsiteY25" fmla="*/ 2139 h 10000"/>
                      <a:gd name="connsiteX26" fmla="*/ 9562 w 10000"/>
                      <a:gd name="connsiteY26" fmla="*/ 2356 h 10000"/>
                      <a:gd name="connsiteX27" fmla="*/ 9562 w 10000"/>
                      <a:gd name="connsiteY27" fmla="*/ 2773 h 10000"/>
                      <a:gd name="connsiteX28" fmla="*/ 9100 w 10000"/>
                      <a:gd name="connsiteY28" fmla="*/ 2897 h 10000"/>
                      <a:gd name="connsiteX29" fmla="*/ 9100 w 10000"/>
                      <a:gd name="connsiteY29" fmla="*/ 3255 h 10000"/>
                      <a:gd name="connsiteX30" fmla="*/ 7779 w 10000"/>
                      <a:gd name="connsiteY30" fmla="*/ 3819 h 10000"/>
                      <a:gd name="connsiteX31" fmla="*/ 4121 w 10000"/>
                      <a:gd name="connsiteY31" fmla="*/ 3126 h 10000"/>
                      <a:gd name="connsiteX32" fmla="*/ 4121 w 10000"/>
                      <a:gd name="connsiteY32" fmla="*/ 10000 h 10000"/>
                      <a:gd name="connsiteX33" fmla="*/ 4178 w 10000"/>
                      <a:gd name="connsiteY33" fmla="*/ 10000 h 10000"/>
                      <a:gd name="connsiteX34" fmla="*/ 4244 w 10000"/>
                      <a:gd name="connsiteY34" fmla="*/ 3243 h 10000"/>
                      <a:gd name="connsiteX35" fmla="*/ 7779 w 10000"/>
                      <a:gd name="connsiteY35" fmla="*/ 3913 h 10000"/>
                      <a:gd name="connsiteX36" fmla="*/ 7803 w 10000"/>
                      <a:gd name="connsiteY36" fmla="*/ 3919 h 10000"/>
                      <a:gd name="connsiteX37" fmla="*/ 9232 w 10000"/>
                      <a:gd name="connsiteY37" fmla="*/ 3308 h 10000"/>
                      <a:gd name="connsiteX38" fmla="*/ 9232 w 10000"/>
                      <a:gd name="connsiteY38" fmla="*/ 2961 h 10000"/>
                      <a:gd name="connsiteX39" fmla="*/ 9686 w 10000"/>
                      <a:gd name="connsiteY39" fmla="*/ 2838 h 10000"/>
                      <a:gd name="connsiteX40" fmla="*/ 9686 w 10000"/>
                      <a:gd name="connsiteY40" fmla="*/ 2391 h 10000"/>
                      <a:gd name="connsiteX41" fmla="*/ 10000 w 10000"/>
                      <a:gd name="connsiteY41" fmla="*/ 2139 h 10000"/>
                      <a:gd name="connsiteX0" fmla="*/ 10000 w 10000"/>
                      <a:gd name="connsiteY0" fmla="*/ 2139 h 10000"/>
                      <a:gd name="connsiteX1" fmla="*/ 9818 w 10000"/>
                      <a:gd name="connsiteY1" fmla="*/ 1980 h 10000"/>
                      <a:gd name="connsiteX2" fmla="*/ 7993 w 10000"/>
                      <a:gd name="connsiteY2" fmla="*/ 2468 h 10000"/>
                      <a:gd name="connsiteX3" fmla="*/ 7614 w 10000"/>
                      <a:gd name="connsiteY3" fmla="*/ 2274 h 10000"/>
                      <a:gd name="connsiteX4" fmla="*/ 7192 w 10000"/>
                      <a:gd name="connsiteY4" fmla="*/ 1739 h 10000"/>
                      <a:gd name="connsiteX5" fmla="*/ 6524 w 10000"/>
                      <a:gd name="connsiteY5" fmla="*/ 1992 h 10000"/>
                      <a:gd name="connsiteX6" fmla="*/ 3526 w 10000"/>
                      <a:gd name="connsiteY6" fmla="*/ 300 h 10000"/>
                      <a:gd name="connsiteX7" fmla="*/ 2692 w 10000"/>
                      <a:gd name="connsiteY7" fmla="*/ 411 h 10000"/>
                      <a:gd name="connsiteX8" fmla="*/ 2453 w 10000"/>
                      <a:gd name="connsiteY8" fmla="*/ 0 h 10000"/>
                      <a:gd name="connsiteX9" fmla="*/ 1957 w 10000"/>
                      <a:gd name="connsiteY9" fmla="*/ 253 h 10000"/>
                      <a:gd name="connsiteX10" fmla="*/ 859 w 10000"/>
                      <a:gd name="connsiteY10" fmla="*/ 18 h 10000"/>
                      <a:gd name="connsiteX11" fmla="*/ 190 w 10000"/>
                      <a:gd name="connsiteY11" fmla="*/ 165 h 10000"/>
                      <a:gd name="connsiteX12" fmla="*/ 116 w 10000"/>
                      <a:gd name="connsiteY12" fmla="*/ 47 h 10000"/>
                      <a:gd name="connsiteX13" fmla="*/ 0 w 10000"/>
                      <a:gd name="connsiteY13" fmla="*/ 88 h 10000"/>
                      <a:gd name="connsiteX14" fmla="*/ 124 w 10000"/>
                      <a:gd name="connsiteY14" fmla="*/ 276 h 10000"/>
                      <a:gd name="connsiteX15" fmla="*/ 859 w 10000"/>
                      <a:gd name="connsiteY15" fmla="*/ 118 h 10000"/>
                      <a:gd name="connsiteX16" fmla="*/ 1982 w 10000"/>
                      <a:gd name="connsiteY16" fmla="*/ 353 h 10000"/>
                      <a:gd name="connsiteX17" fmla="*/ 2395 w 10000"/>
                      <a:gd name="connsiteY17" fmla="*/ 135 h 10000"/>
                      <a:gd name="connsiteX18" fmla="*/ 2618 w 10000"/>
                      <a:gd name="connsiteY18" fmla="*/ 517 h 10000"/>
                      <a:gd name="connsiteX19" fmla="*/ 3493 w 10000"/>
                      <a:gd name="connsiteY19" fmla="*/ 394 h 10000"/>
                      <a:gd name="connsiteX20" fmla="*/ 6507 w 10000"/>
                      <a:gd name="connsiteY20" fmla="*/ 2098 h 10000"/>
                      <a:gd name="connsiteX21" fmla="*/ 7143 w 10000"/>
                      <a:gd name="connsiteY21" fmla="*/ 1863 h 10000"/>
                      <a:gd name="connsiteX22" fmla="*/ 7514 w 10000"/>
                      <a:gd name="connsiteY22" fmla="*/ 2333 h 10000"/>
                      <a:gd name="connsiteX23" fmla="*/ 7977 w 10000"/>
                      <a:gd name="connsiteY23" fmla="*/ 2568 h 10000"/>
                      <a:gd name="connsiteX24" fmla="*/ 9777 w 10000"/>
                      <a:gd name="connsiteY24" fmla="*/ 2086 h 10000"/>
                      <a:gd name="connsiteX25" fmla="*/ 9835 w 10000"/>
                      <a:gd name="connsiteY25" fmla="*/ 2139 h 10000"/>
                      <a:gd name="connsiteX26" fmla="*/ 9562 w 10000"/>
                      <a:gd name="connsiteY26" fmla="*/ 2356 h 10000"/>
                      <a:gd name="connsiteX27" fmla="*/ 9562 w 10000"/>
                      <a:gd name="connsiteY27" fmla="*/ 2773 h 10000"/>
                      <a:gd name="connsiteX28" fmla="*/ 9100 w 10000"/>
                      <a:gd name="connsiteY28" fmla="*/ 2897 h 10000"/>
                      <a:gd name="connsiteX29" fmla="*/ 9100 w 10000"/>
                      <a:gd name="connsiteY29" fmla="*/ 3255 h 10000"/>
                      <a:gd name="connsiteX30" fmla="*/ 7779 w 10000"/>
                      <a:gd name="connsiteY30" fmla="*/ 3819 h 10000"/>
                      <a:gd name="connsiteX31" fmla="*/ 4121 w 10000"/>
                      <a:gd name="connsiteY31" fmla="*/ 3126 h 10000"/>
                      <a:gd name="connsiteX32" fmla="*/ 4121 w 10000"/>
                      <a:gd name="connsiteY32" fmla="*/ 10000 h 10000"/>
                      <a:gd name="connsiteX33" fmla="*/ 4178 w 10000"/>
                      <a:gd name="connsiteY33" fmla="*/ 10000 h 10000"/>
                      <a:gd name="connsiteX34" fmla="*/ 7779 w 10000"/>
                      <a:gd name="connsiteY34" fmla="*/ 3913 h 10000"/>
                      <a:gd name="connsiteX35" fmla="*/ 7803 w 10000"/>
                      <a:gd name="connsiteY35" fmla="*/ 3919 h 10000"/>
                      <a:gd name="connsiteX36" fmla="*/ 9232 w 10000"/>
                      <a:gd name="connsiteY36" fmla="*/ 3308 h 10000"/>
                      <a:gd name="connsiteX37" fmla="*/ 9232 w 10000"/>
                      <a:gd name="connsiteY37" fmla="*/ 2961 h 10000"/>
                      <a:gd name="connsiteX38" fmla="*/ 9686 w 10000"/>
                      <a:gd name="connsiteY38" fmla="*/ 2838 h 10000"/>
                      <a:gd name="connsiteX39" fmla="*/ 9686 w 10000"/>
                      <a:gd name="connsiteY39" fmla="*/ 2391 h 10000"/>
                      <a:gd name="connsiteX40" fmla="*/ 10000 w 10000"/>
                      <a:gd name="connsiteY40" fmla="*/ 2139 h 10000"/>
                      <a:gd name="connsiteX0" fmla="*/ 10000 w 10000"/>
                      <a:gd name="connsiteY0" fmla="*/ 2139 h 10000"/>
                      <a:gd name="connsiteX1" fmla="*/ 9818 w 10000"/>
                      <a:gd name="connsiteY1" fmla="*/ 1980 h 10000"/>
                      <a:gd name="connsiteX2" fmla="*/ 7993 w 10000"/>
                      <a:gd name="connsiteY2" fmla="*/ 2468 h 10000"/>
                      <a:gd name="connsiteX3" fmla="*/ 7614 w 10000"/>
                      <a:gd name="connsiteY3" fmla="*/ 2274 h 10000"/>
                      <a:gd name="connsiteX4" fmla="*/ 7192 w 10000"/>
                      <a:gd name="connsiteY4" fmla="*/ 1739 h 10000"/>
                      <a:gd name="connsiteX5" fmla="*/ 6524 w 10000"/>
                      <a:gd name="connsiteY5" fmla="*/ 1992 h 10000"/>
                      <a:gd name="connsiteX6" fmla="*/ 3526 w 10000"/>
                      <a:gd name="connsiteY6" fmla="*/ 300 h 10000"/>
                      <a:gd name="connsiteX7" fmla="*/ 2692 w 10000"/>
                      <a:gd name="connsiteY7" fmla="*/ 411 h 10000"/>
                      <a:gd name="connsiteX8" fmla="*/ 2453 w 10000"/>
                      <a:gd name="connsiteY8" fmla="*/ 0 h 10000"/>
                      <a:gd name="connsiteX9" fmla="*/ 1957 w 10000"/>
                      <a:gd name="connsiteY9" fmla="*/ 253 h 10000"/>
                      <a:gd name="connsiteX10" fmla="*/ 859 w 10000"/>
                      <a:gd name="connsiteY10" fmla="*/ 18 h 10000"/>
                      <a:gd name="connsiteX11" fmla="*/ 190 w 10000"/>
                      <a:gd name="connsiteY11" fmla="*/ 165 h 10000"/>
                      <a:gd name="connsiteX12" fmla="*/ 116 w 10000"/>
                      <a:gd name="connsiteY12" fmla="*/ 47 h 10000"/>
                      <a:gd name="connsiteX13" fmla="*/ 0 w 10000"/>
                      <a:gd name="connsiteY13" fmla="*/ 88 h 10000"/>
                      <a:gd name="connsiteX14" fmla="*/ 124 w 10000"/>
                      <a:gd name="connsiteY14" fmla="*/ 276 h 10000"/>
                      <a:gd name="connsiteX15" fmla="*/ 859 w 10000"/>
                      <a:gd name="connsiteY15" fmla="*/ 118 h 10000"/>
                      <a:gd name="connsiteX16" fmla="*/ 1982 w 10000"/>
                      <a:gd name="connsiteY16" fmla="*/ 353 h 10000"/>
                      <a:gd name="connsiteX17" fmla="*/ 2395 w 10000"/>
                      <a:gd name="connsiteY17" fmla="*/ 135 h 10000"/>
                      <a:gd name="connsiteX18" fmla="*/ 2618 w 10000"/>
                      <a:gd name="connsiteY18" fmla="*/ 517 h 10000"/>
                      <a:gd name="connsiteX19" fmla="*/ 3493 w 10000"/>
                      <a:gd name="connsiteY19" fmla="*/ 394 h 10000"/>
                      <a:gd name="connsiteX20" fmla="*/ 6507 w 10000"/>
                      <a:gd name="connsiteY20" fmla="*/ 2098 h 10000"/>
                      <a:gd name="connsiteX21" fmla="*/ 7143 w 10000"/>
                      <a:gd name="connsiteY21" fmla="*/ 1863 h 10000"/>
                      <a:gd name="connsiteX22" fmla="*/ 7514 w 10000"/>
                      <a:gd name="connsiteY22" fmla="*/ 2333 h 10000"/>
                      <a:gd name="connsiteX23" fmla="*/ 7977 w 10000"/>
                      <a:gd name="connsiteY23" fmla="*/ 2568 h 10000"/>
                      <a:gd name="connsiteX24" fmla="*/ 9777 w 10000"/>
                      <a:gd name="connsiteY24" fmla="*/ 2086 h 10000"/>
                      <a:gd name="connsiteX25" fmla="*/ 9835 w 10000"/>
                      <a:gd name="connsiteY25" fmla="*/ 2139 h 10000"/>
                      <a:gd name="connsiteX26" fmla="*/ 9562 w 10000"/>
                      <a:gd name="connsiteY26" fmla="*/ 2356 h 10000"/>
                      <a:gd name="connsiteX27" fmla="*/ 9562 w 10000"/>
                      <a:gd name="connsiteY27" fmla="*/ 2773 h 10000"/>
                      <a:gd name="connsiteX28" fmla="*/ 9100 w 10000"/>
                      <a:gd name="connsiteY28" fmla="*/ 2897 h 10000"/>
                      <a:gd name="connsiteX29" fmla="*/ 9100 w 10000"/>
                      <a:gd name="connsiteY29" fmla="*/ 3255 h 10000"/>
                      <a:gd name="connsiteX30" fmla="*/ 7779 w 10000"/>
                      <a:gd name="connsiteY30" fmla="*/ 3819 h 10000"/>
                      <a:gd name="connsiteX31" fmla="*/ 4121 w 10000"/>
                      <a:gd name="connsiteY31" fmla="*/ 3126 h 10000"/>
                      <a:gd name="connsiteX32" fmla="*/ 4121 w 10000"/>
                      <a:gd name="connsiteY32" fmla="*/ 10000 h 10000"/>
                      <a:gd name="connsiteX33" fmla="*/ 7779 w 10000"/>
                      <a:gd name="connsiteY33" fmla="*/ 3913 h 10000"/>
                      <a:gd name="connsiteX34" fmla="*/ 7803 w 10000"/>
                      <a:gd name="connsiteY34" fmla="*/ 3919 h 10000"/>
                      <a:gd name="connsiteX35" fmla="*/ 9232 w 10000"/>
                      <a:gd name="connsiteY35" fmla="*/ 3308 h 10000"/>
                      <a:gd name="connsiteX36" fmla="*/ 9232 w 10000"/>
                      <a:gd name="connsiteY36" fmla="*/ 2961 h 10000"/>
                      <a:gd name="connsiteX37" fmla="*/ 9686 w 10000"/>
                      <a:gd name="connsiteY37" fmla="*/ 2838 h 10000"/>
                      <a:gd name="connsiteX38" fmla="*/ 9686 w 10000"/>
                      <a:gd name="connsiteY38" fmla="*/ 2391 h 10000"/>
                      <a:gd name="connsiteX39" fmla="*/ 10000 w 10000"/>
                      <a:gd name="connsiteY39" fmla="*/ 2139 h 10000"/>
                      <a:gd name="connsiteX0" fmla="*/ 10000 w 10000"/>
                      <a:gd name="connsiteY0" fmla="*/ 2139 h 3919"/>
                      <a:gd name="connsiteX1" fmla="*/ 9818 w 10000"/>
                      <a:gd name="connsiteY1" fmla="*/ 1980 h 3919"/>
                      <a:gd name="connsiteX2" fmla="*/ 7993 w 10000"/>
                      <a:gd name="connsiteY2" fmla="*/ 2468 h 3919"/>
                      <a:gd name="connsiteX3" fmla="*/ 7614 w 10000"/>
                      <a:gd name="connsiteY3" fmla="*/ 2274 h 3919"/>
                      <a:gd name="connsiteX4" fmla="*/ 7192 w 10000"/>
                      <a:gd name="connsiteY4" fmla="*/ 1739 h 3919"/>
                      <a:gd name="connsiteX5" fmla="*/ 6524 w 10000"/>
                      <a:gd name="connsiteY5" fmla="*/ 1992 h 3919"/>
                      <a:gd name="connsiteX6" fmla="*/ 3526 w 10000"/>
                      <a:gd name="connsiteY6" fmla="*/ 300 h 3919"/>
                      <a:gd name="connsiteX7" fmla="*/ 2692 w 10000"/>
                      <a:gd name="connsiteY7" fmla="*/ 411 h 3919"/>
                      <a:gd name="connsiteX8" fmla="*/ 2453 w 10000"/>
                      <a:gd name="connsiteY8" fmla="*/ 0 h 3919"/>
                      <a:gd name="connsiteX9" fmla="*/ 1957 w 10000"/>
                      <a:gd name="connsiteY9" fmla="*/ 253 h 3919"/>
                      <a:gd name="connsiteX10" fmla="*/ 859 w 10000"/>
                      <a:gd name="connsiteY10" fmla="*/ 18 h 3919"/>
                      <a:gd name="connsiteX11" fmla="*/ 190 w 10000"/>
                      <a:gd name="connsiteY11" fmla="*/ 165 h 3919"/>
                      <a:gd name="connsiteX12" fmla="*/ 116 w 10000"/>
                      <a:gd name="connsiteY12" fmla="*/ 47 h 3919"/>
                      <a:gd name="connsiteX13" fmla="*/ 0 w 10000"/>
                      <a:gd name="connsiteY13" fmla="*/ 88 h 3919"/>
                      <a:gd name="connsiteX14" fmla="*/ 124 w 10000"/>
                      <a:gd name="connsiteY14" fmla="*/ 276 h 3919"/>
                      <a:gd name="connsiteX15" fmla="*/ 859 w 10000"/>
                      <a:gd name="connsiteY15" fmla="*/ 118 h 3919"/>
                      <a:gd name="connsiteX16" fmla="*/ 1982 w 10000"/>
                      <a:gd name="connsiteY16" fmla="*/ 353 h 3919"/>
                      <a:gd name="connsiteX17" fmla="*/ 2395 w 10000"/>
                      <a:gd name="connsiteY17" fmla="*/ 135 h 3919"/>
                      <a:gd name="connsiteX18" fmla="*/ 2618 w 10000"/>
                      <a:gd name="connsiteY18" fmla="*/ 517 h 3919"/>
                      <a:gd name="connsiteX19" fmla="*/ 3493 w 10000"/>
                      <a:gd name="connsiteY19" fmla="*/ 394 h 3919"/>
                      <a:gd name="connsiteX20" fmla="*/ 6507 w 10000"/>
                      <a:gd name="connsiteY20" fmla="*/ 2098 h 3919"/>
                      <a:gd name="connsiteX21" fmla="*/ 7143 w 10000"/>
                      <a:gd name="connsiteY21" fmla="*/ 1863 h 3919"/>
                      <a:gd name="connsiteX22" fmla="*/ 7514 w 10000"/>
                      <a:gd name="connsiteY22" fmla="*/ 2333 h 3919"/>
                      <a:gd name="connsiteX23" fmla="*/ 7977 w 10000"/>
                      <a:gd name="connsiteY23" fmla="*/ 2568 h 3919"/>
                      <a:gd name="connsiteX24" fmla="*/ 9777 w 10000"/>
                      <a:gd name="connsiteY24" fmla="*/ 2086 h 3919"/>
                      <a:gd name="connsiteX25" fmla="*/ 9835 w 10000"/>
                      <a:gd name="connsiteY25" fmla="*/ 2139 h 3919"/>
                      <a:gd name="connsiteX26" fmla="*/ 9562 w 10000"/>
                      <a:gd name="connsiteY26" fmla="*/ 2356 h 3919"/>
                      <a:gd name="connsiteX27" fmla="*/ 9562 w 10000"/>
                      <a:gd name="connsiteY27" fmla="*/ 2773 h 3919"/>
                      <a:gd name="connsiteX28" fmla="*/ 9100 w 10000"/>
                      <a:gd name="connsiteY28" fmla="*/ 2897 h 3919"/>
                      <a:gd name="connsiteX29" fmla="*/ 9100 w 10000"/>
                      <a:gd name="connsiteY29" fmla="*/ 3255 h 3919"/>
                      <a:gd name="connsiteX30" fmla="*/ 7779 w 10000"/>
                      <a:gd name="connsiteY30" fmla="*/ 3819 h 3919"/>
                      <a:gd name="connsiteX31" fmla="*/ 4121 w 10000"/>
                      <a:gd name="connsiteY31" fmla="*/ 3126 h 3919"/>
                      <a:gd name="connsiteX32" fmla="*/ 7779 w 10000"/>
                      <a:gd name="connsiteY32" fmla="*/ 3913 h 3919"/>
                      <a:gd name="connsiteX33" fmla="*/ 7803 w 10000"/>
                      <a:gd name="connsiteY33" fmla="*/ 3919 h 3919"/>
                      <a:gd name="connsiteX34" fmla="*/ 9232 w 10000"/>
                      <a:gd name="connsiteY34" fmla="*/ 3308 h 3919"/>
                      <a:gd name="connsiteX35" fmla="*/ 9232 w 10000"/>
                      <a:gd name="connsiteY35" fmla="*/ 2961 h 3919"/>
                      <a:gd name="connsiteX36" fmla="*/ 9686 w 10000"/>
                      <a:gd name="connsiteY36" fmla="*/ 2838 h 3919"/>
                      <a:gd name="connsiteX37" fmla="*/ 9686 w 10000"/>
                      <a:gd name="connsiteY37" fmla="*/ 2391 h 3919"/>
                      <a:gd name="connsiteX38" fmla="*/ 10000 w 10000"/>
                      <a:gd name="connsiteY38" fmla="*/ 2139 h 3919"/>
                      <a:gd name="connsiteX0" fmla="*/ 10000 w 10000"/>
                      <a:gd name="connsiteY0" fmla="*/ 5458 h 10000"/>
                      <a:gd name="connsiteX1" fmla="*/ 9818 w 10000"/>
                      <a:gd name="connsiteY1" fmla="*/ 5052 h 10000"/>
                      <a:gd name="connsiteX2" fmla="*/ 7993 w 10000"/>
                      <a:gd name="connsiteY2" fmla="*/ 6298 h 10000"/>
                      <a:gd name="connsiteX3" fmla="*/ 7614 w 10000"/>
                      <a:gd name="connsiteY3" fmla="*/ 5803 h 10000"/>
                      <a:gd name="connsiteX4" fmla="*/ 7192 w 10000"/>
                      <a:gd name="connsiteY4" fmla="*/ 4437 h 10000"/>
                      <a:gd name="connsiteX5" fmla="*/ 6524 w 10000"/>
                      <a:gd name="connsiteY5" fmla="*/ 5083 h 10000"/>
                      <a:gd name="connsiteX6" fmla="*/ 3526 w 10000"/>
                      <a:gd name="connsiteY6" fmla="*/ 766 h 10000"/>
                      <a:gd name="connsiteX7" fmla="*/ 2692 w 10000"/>
                      <a:gd name="connsiteY7" fmla="*/ 1049 h 10000"/>
                      <a:gd name="connsiteX8" fmla="*/ 2453 w 10000"/>
                      <a:gd name="connsiteY8" fmla="*/ 0 h 10000"/>
                      <a:gd name="connsiteX9" fmla="*/ 1957 w 10000"/>
                      <a:gd name="connsiteY9" fmla="*/ 646 h 10000"/>
                      <a:gd name="connsiteX10" fmla="*/ 859 w 10000"/>
                      <a:gd name="connsiteY10" fmla="*/ 46 h 10000"/>
                      <a:gd name="connsiteX11" fmla="*/ 190 w 10000"/>
                      <a:gd name="connsiteY11" fmla="*/ 421 h 10000"/>
                      <a:gd name="connsiteX12" fmla="*/ 116 w 10000"/>
                      <a:gd name="connsiteY12" fmla="*/ 120 h 10000"/>
                      <a:gd name="connsiteX13" fmla="*/ 0 w 10000"/>
                      <a:gd name="connsiteY13" fmla="*/ 225 h 10000"/>
                      <a:gd name="connsiteX14" fmla="*/ 124 w 10000"/>
                      <a:gd name="connsiteY14" fmla="*/ 704 h 10000"/>
                      <a:gd name="connsiteX15" fmla="*/ 859 w 10000"/>
                      <a:gd name="connsiteY15" fmla="*/ 301 h 10000"/>
                      <a:gd name="connsiteX16" fmla="*/ 1982 w 10000"/>
                      <a:gd name="connsiteY16" fmla="*/ 901 h 10000"/>
                      <a:gd name="connsiteX17" fmla="*/ 2395 w 10000"/>
                      <a:gd name="connsiteY17" fmla="*/ 344 h 10000"/>
                      <a:gd name="connsiteX18" fmla="*/ 2618 w 10000"/>
                      <a:gd name="connsiteY18" fmla="*/ 1319 h 10000"/>
                      <a:gd name="connsiteX19" fmla="*/ 3493 w 10000"/>
                      <a:gd name="connsiteY19" fmla="*/ 1005 h 10000"/>
                      <a:gd name="connsiteX20" fmla="*/ 6507 w 10000"/>
                      <a:gd name="connsiteY20" fmla="*/ 5353 h 10000"/>
                      <a:gd name="connsiteX21" fmla="*/ 7143 w 10000"/>
                      <a:gd name="connsiteY21" fmla="*/ 4754 h 10000"/>
                      <a:gd name="connsiteX22" fmla="*/ 7514 w 10000"/>
                      <a:gd name="connsiteY22" fmla="*/ 5953 h 10000"/>
                      <a:gd name="connsiteX23" fmla="*/ 7977 w 10000"/>
                      <a:gd name="connsiteY23" fmla="*/ 6553 h 10000"/>
                      <a:gd name="connsiteX24" fmla="*/ 9777 w 10000"/>
                      <a:gd name="connsiteY24" fmla="*/ 5323 h 10000"/>
                      <a:gd name="connsiteX25" fmla="*/ 9835 w 10000"/>
                      <a:gd name="connsiteY25" fmla="*/ 5458 h 10000"/>
                      <a:gd name="connsiteX26" fmla="*/ 9562 w 10000"/>
                      <a:gd name="connsiteY26" fmla="*/ 6012 h 10000"/>
                      <a:gd name="connsiteX27" fmla="*/ 9562 w 10000"/>
                      <a:gd name="connsiteY27" fmla="*/ 7076 h 10000"/>
                      <a:gd name="connsiteX28" fmla="*/ 9100 w 10000"/>
                      <a:gd name="connsiteY28" fmla="*/ 7392 h 10000"/>
                      <a:gd name="connsiteX29" fmla="*/ 9100 w 10000"/>
                      <a:gd name="connsiteY29" fmla="*/ 8306 h 10000"/>
                      <a:gd name="connsiteX30" fmla="*/ 7779 w 10000"/>
                      <a:gd name="connsiteY30" fmla="*/ 9745 h 10000"/>
                      <a:gd name="connsiteX31" fmla="*/ 7779 w 10000"/>
                      <a:gd name="connsiteY31" fmla="*/ 9985 h 10000"/>
                      <a:gd name="connsiteX32" fmla="*/ 7803 w 10000"/>
                      <a:gd name="connsiteY32" fmla="*/ 10000 h 10000"/>
                      <a:gd name="connsiteX33" fmla="*/ 9232 w 10000"/>
                      <a:gd name="connsiteY33" fmla="*/ 8441 h 10000"/>
                      <a:gd name="connsiteX34" fmla="*/ 9232 w 10000"/>
                      <a:gd name="connsiteY34" fmla="*/ 7555 h 10000"/>
                      <a:gd name="connsiteX35" fmla="*/ 9686 w 10000"/>
                      <a:gd name="connsiteY35" fmla="*/ 7242 h 10000"/>
                      <a:gd name="connsiteX36" fmla="*/ 9686 w 10000"/>
                      <a:gd name="connsiteY36" fmla="*/ 6101 h 10000"/>
                      <a:gd name="connsiteX37" fmla="*/ 10000 w 10000"/>
                      <a:gd name="connsiteY37" fmla="*/ 5458 h 10000"/>
                      <a:gd name="connsiteX0" fmla="*/ 10000 w 10000"/>
                      <a:gd name="connsiteY0" fmla="*/ 5458 h 9985"/>
                      <a:gd name="connsiteX1" fmla="*/ 9818 w 10000"/>
                      <a:gd name="connsiteY1" fmla="*/ 5052 h 9985"/>
                      <a:gd name="connsiteX2" fmla="*/ 7993 w 10000"/>
                      <a:gd name="connsiteY2" fmla="*/ 6298 h 9985"/>
                      <a:gd name="connsiteX3" fmla="*/ 7614 w 10000"/>
                      <a:gd name="connsiteY3" fmla="*/ 5803 h 9985"/>
                      <a:gd name="connsiteX4" fmla="*/ 7192 w 10000"/>
                      <a:gd name="connsiteY4" fmla="*/ 4437 h 9985"/>
                      <a:gd name="connsiteX5" fmla="*/ 6524 w 10000"/>
                      <a:gd name="connsiteY5" fmla="*/ 5083 h 9985"/>
                      <a:gd name="connsiteX6" fmla="*/ 3526 w 10000"/>
                      <a:gd name="connsiteY6" fmla="*/ 766 h 9985"/>
                      <a:gd name="connsiteX7" fmla="*/ 2692 w 10000"/>
                      <a:gd name="connsiteY7" fmla="*/ 1049 h 9985"/>
                      <a:gd name="connsiteX8" fmla="*/ 2453 w 10000"/>
                      <a:gd name="connsiteY8" fmla="*/ 0 h 9985"/>
                      <a:gd name="connsiteX9" fmla="*/ 1957 w 10000"/>
                      <a:gd name="connsiteY9" fmla="*/ 646 h 9985"/>
                      <a:gd name="connsiteX10" fmla="*/ 859 w 10000"/>
                      <a:gd name="connsiteY10" fmla="*/ 46 h 9985"/>
                      <a:gd name="connsiteX11" fmla="*/ 190 w 10000"/>
                      <a:gd name="connsiteY11" fmla="*/ 421 h 9985"/>
                      <a:gd name="connsiteX12" fmla="*/ 116 w 10000"/>
                      <a:gd name="connsiteY12" fmla="*/ 120 h 9985"/>
                      <a:gd name="connsiteX13" fmla="*/ 0 w 10000"/>
                      <a:gd name="connsiteY13" fmla="*/ 225 h 9985"/>
                      <a:gd name="connsiteX14" fmla="*/ 124 w 10000"/>
                      <a:gd name="connsiteY14" fmla="*/ 704 h 9985"/>
                      <a:gd name="connsiteX15" fmla="*/ 859 w 10000"/>
                      <a:gd name="connsiteY15" fmla="*/ 301 h 9985"/>
                      <a:gd name="connsiteX16" fmla="*/ 1982 w 10000"/>
                      <a:gd name="connsiteY16" fmla="*/ 901 h 9985"/>
                      <a:gd name="connsiteX17" fmla="*/ 2395 w 10000"/>
                      <a:gd name="connsiteY17" fmla="*/ 344 h 9985"/>
                      <a:gd name="connsiteX18" fmla="*/ 2618 w 10000"/>
                      <a:gd name="connsiteY18" fmla="*/ 1319 h 9985"/>
                      <a:gd name="connsiteX19" fmla="*/ 3493 w 10000"/>
                      <a:gd name="connsiteY19" fmla="*/ 1005 h 9985"/>
                      <a:gd name="connsiteX20" fmla="*/ 6507 w 10000"/>
                      <a:gd name="connsiteY20" fmla="*/ 5353 h 9985"/>
                      <a:gd name="connsiteX21" fmla="*/ 7143 w 10000"/>
                      <a:gd name="connsiteY21" fmla="*/ 4754 h 9985"/>
                      <a:gd name="connsiteX22" fmla="*/ 7514 w 10000"/>
                      <a:gd name="connsiteY22" fmla="*/ 5953 h 9985"/>
                      <a:gd name="connsiteX23" fmla="*/ 7977 w 10000"/>
                      <a:gd name="connsiteY23" fmla="*/ 6553 h 9985"/>
                      <a:gd name="connsiteX24" fmla="*/ 9777 w 10000"/>
                      <a:gd name="connsiteY24" fmla="*/ 5323 h 9985"/>
                      <a:gd name="connsiteX25" fmla="*/ 9835 w 10000"/>
                      <a:gd name="connsiteY25" fmla="*/ 5458 h 9985"/>
                      <a:gd name="connsiteX26" fmla="*/ 9562 w 10000"/>
                      <a:gd name="connsiteY26" fmla="*/ 6012 h 9985"/>
                      <a:gd name="connsiteX27" fmla="*/ 9562 w 10000"/>
                      <a:gd name="connsiteY27" fmla="*/ 7076 h 9985"/>
                      <a:gd name="connsiteX28" fmla="*/ 9100 w 10000"/>
                      <a:gd name="connsiteY28" fmla="*/ 7392 h 9985"/>
                      <a:gd name="connsiteX29" fmla="*/ 9100 w 10000"/>
                      <a:gd name="connsiteY29" fmla="*/ 8306 h 9985"/>
                      <a:gd name="connsiteX30" fmla="*/ 7779 w 10000"/>
                      <a:gd name="connsiteY30" fmla="*/ 9745 h 9985"/>
                      <a:gd name="connsiteX31" fmla="*/ 7779 w 10000"/>
                      <a:gd name="connsiteY31" fmla="*/ 9985 h 9985"/>
                      <a:gd name="connsiteX32" fmla="*/ 9232 w 10000"/>
                      <a:gd name="connsiteY32" fmla="*/ 8441 h 9985"/>
                      <a:gd name="connsiteX33" fmla="*/ 9232 w 10000"/>
                      <a:gd name="connsiteY33" fmla="*/ 7555 h 9985"/>
                      <a:gd name="connsiteX34" fmla="*/ 9686 w 10000"/>
                      <a:gd name="connsiteY34" fmla="*/ 7242 h 9985"/>
                      <a:gd name="connsiteX35" fmla="*/ 9686 w 10000"/>
                      <a:gd name="connsiteY35" fmla="*/ 6101 h 9985"/>
                      <a:gd name="connsiteX36" fmla="*/ 10000 w 10000"/>
                      <a:gd name="connsiteY36" fmla="*/ 5458 h 9985"/>
                      <a:gd name="connsiteX0" fmla="*/ 10000 w 10000"/>
                      <a:gd name="connsiteY0" fmla="*/ 5466 h 9760"/>
                      <a:gd name="connsiteX1" fmla="*/ 9818 w 10000"/>
                      <a:gd name="connsiteY1" fmla="*/ 5060 h 9760"/>
                      <a:gd name="connsiteX2" fmla="*/ 7993 w 10000"/>
                      <a:gd name="connsiteY2" fmla="*/ 6307 h 9760"/>
                      <a:gd name="connsiteX3" fmla="*/ 7614 w 10000"/>
                      <a:gd name="connsiteY3" fmla="*/ 5812 h 9760"/>
                      <a:gd name="connsiteX4" fmla="*/ 7192 w 10000"/>
                      <a:gd name="connsiteY4" fmla="*/ 4444 h 9760"/>
                      <a:gd name="connsiteX5" fmla="*/ 6524 w 10000"/>
                      <a:gd name="connsiteY5" fmla="*/ 5091 h 9760"/>
                      <a:gd name="connsiteX6" fmla="*/ 3526 w 10000"/>
                      <a:gd name="connsiteY6" fmla="*/ 767 h 9760"/>
                      <a:gd name="connsiteX7" fmla="*/ 2692 w 10000"/>
                      <a:gd name="connsiteY7" fmla="*/ 1051 h 9760"/>
                      <a:gd name="connsiteX8" fmla="*/ 2453 w 10000"/>
                      <a:gd name="connsiteY8" fmla="*/ 0 h 9760"/>
                      <a:gd name="connsiteX9" fmla="*/ 1957 w 10000"/>
                      <a:gd name="connsiteY9" fmla="*/ 647 h 9760"/>
                      <a:gd name="connsiteX10" fmla="*/ 859 w 10000"/>
                      <a:gd name="connsiteY10" fmla="*/ 46 h 9760"/>
                      <a:gd name="connsiteX11" fmla="*/ 190 w 10000"/>
                      <a:gd name="connsiteY11" fmla="*/ 422 h 9760"/>
                      <a:gd name="connsiteX12" fmla="*/ 116 w 10000"/>
                      <a:gd name="connsiteY12" fmla="*/ 120 h 9760"/>
                      <a:gd name="connsiteX13" fmla="*/ 0 w 10000"/>
                      <a:gd name="connsiteY13" fmla="*/ 225 h 9760"/>
                      <a:gd name="connsiteX14" fmla="*/ 124 w 10000"/>
                      <a:gd name="connsiteY14" fmla="*/ 705 h 9760"/>
                      <a:gd name="connsiteX15" fmla="*/ 859 w 10000"/>
                      <a:gd name="connsiteY15" fmla="*/ 301 h 9760"/>
                      <a:gd name="connsiteX16" fmla="*/ 1982 w 10000"/>
                      <a:gd name="connsiteY16" fmla="*/ 902 h 9760"/>
                      <a:gd name="connsiteX17" fmla="*/ 2395 w 10000"/>
                      <a:gd name="connsiteY17" fmla="*/ 345 h 9760"/>
                      <a:gd name="connsiteX18" fmla="*/ 2618 w 10000"/>
                      <a:gd name="connsiteY18" fmla="*/ 1321 h 9760"/>
                      <a:gd name="connsiteX19" fmla="*/ 3493 w 10000"/>
                      <a:gd name="connsiteY19" fmla="*/ 1007 h 9760"/>
                      <a:gd name="connsiteX20" fmla="*/ 6507 w 10000"/>
                      <a:gd name="connsiteY20" fmla="*/ 5361 h 9760"/>
                      <a:gd name="connsiteX21" fmla="*/ 7143 w 10000"/>
                      <a:gd name="connsiteY21" fmla="*/ 4761 h 9760"/>
                      <a:gd name="connsiteX22" fmla="*/ 7514 w 10000"/>
                      <a:gd name="connsiteY22" fmla="*/ 5962 h 9760"/>
                      <a:gd name="connsiteX23" fmla="*/ 7977 w 10000"/>
                      <a:gd name="connsiteY23" fmla="*/ 6563 h 9760"/>
                      <a:gd name="connsiteX24" fmla="*/ 9777 w 10000"/>
                      <a:gd name="connsiteY24" fmla="*/ 5331 h 9760"/>
                      <a:gd name="connsiteX25" fmla="*/ 9835 w 10000"/>
                      <a:gd name="connsiteY25" fmla="*/ 5466 h 9760"/>
                      <a:gd name="connsiteX26" fmla="*/ 9562 w 10000"/>
                      <a:gd name="connsiteY26" fmla="*/ 6021 h 9760"/>
                      <a:gd name="connsiteX27" fmla="*/ 9562 w 10000"/>
                      <a:gd name="connsiteY27" fmla="*/ 7087 h 9760"/>
                      <a:gd name="connsiteX28" fmla="*/ 9100 w 10000"/>
                      <a:gd name="connsiteY28" fmla="*/ 7403 h 9760"/>
                      <a:gd name="connsiteX29" fmla="*/ 9100 w 10000"/>
                      <a:gd name="connsiteY29" fmla="*/ 8318 h 9760"/>
                      <a:gd name="connsiteX30" fmla="*/ 7779 w 10000"/>
                      <a:gd name="connsiteY30" fmla="*/ 9760 h 9760"/>
                      <a:gd name="connsiteX31" fmla="*/ 9232 w 10000"/>
                      <a:gd name="connsiteY31" fmla="*/ 8454 h 9760"/>
                      <a:gd name="connsiteX32" fmla="*/ 9232 w 10000"/>
                      <a:gd name="connsiteY32" fmla="*/ 7566 h 9760"/>
                      <a:gd name="connsiteX33" fmla="*/ 9686 w 10000"/>
                      <a:gd name="connsiteY33" fmla="*/ 7253 h 9760"/>
                      <a:gd name="connsiteX34" fmla="*/ 9686 w 10000"/>
                      <a:gd name="connsiteY34" fmla="*/ 6110 h 9760"/>
                      <a:gd name="connsiteX35" fmla="*/ 10000 w 10000"/>
                      <a:gd name="connsiteY35" fmla="*/ 5466 h 9760"/>
                      <a:gd name="connsiteX0" fmla="*/ 10000 w 10000"/>
                      <a:gd name="connsiteY0" fmla="*/ 5600 h 8662"/>
                      <a:gd name="connsiteX1" fmla="*/ 9818 w 10000"/>
                      <a:gd name="connsiteY1" fmla="*/ 5184 h 8662"/>
                      <a:gd name="connsiteX2" fmla="*/ 7993 w 10000"/>
                      <a:gd name="connsiteY2" fmla="*/ 6462 h 8662"/>
                      <a:gd name="connsiteX3" fmla="*/ 7614 w 10000"/>
                      <a:gd name="connsiteY3" fmla="*/ 5955 h 8662"/>
                      <a:gd name="connsiteX4" fmla="*/ 7192 w 10000"/>
                      <a:gd name="connsiteY4" fmla="*/ 4553 h 8662"/>
                      <a:gd name="connsiteX5" fmla="*/ 6524 w 10000"/>
                      <a:gd name="connsiteY5" fmla="*/ 5216 h 8662"/>
                      <a:gd name="connsiteX6" fmla="*/ 3526 w 10000"/>
                      <a:gd name="connsiteY6" fmla="*/ 786 h 8662"/>
                      <a:gd name="connsiteX7" fmla="*/ 2692 w 10000"/>
                      <a:gd name="connsiteY7" fmla="*/ 1077 h 8662"/>
                      <a:gd name="connsiteX8" fmla="*/ 2453 w 10000"/>
                      <a:gd name="connsiteY8" fmla="*/ 0 h 8662"/>
                      <a:gd name="connsiteX9" fmla="*/ 1957 w 10000"/>
                      <a:gd name="connsiteY9" fmla="*/ 663 h 8662"/>
                      <a:gd name="connsiteX10" fmla="*/ 859 w 10000"/>
                      <a:gd name="connsiteY10" fmla="*/ 47 h 8662"/>
                      <a:gd name="connsiteX11" fmla="*/ 190 w 10000"/>
                      <a:gd name="connsiteY11" fmla="*/ 432 h 8662"/>
                      <a:gd name="connsiteX12" fmla="*/ 116 w 10000"/>
                      <a:gd name="connsiteY12" fmla="*/ 123 h 8662"/>
                      <a:gd name="connsiteX13" fmla="*/ 0 w 10000"/>
                      <a:gd name="connsiteY13" fmla="*/ 231 h 8662"/>
                      <a:gd name="connsiteX14" fmla="*/ 124 w 10000"/>
                      <a:gd name="connsiteY14" fmla="*/ 722 h 8662"/>
                      <a:gd name="connsiteX15" fmla="*/ 859 w 10000"/>
                      <a:gd name="connsiteY15" fmla="*/ 308 h 8662"/>
                      <a:gd name="connsiteX16" fmla="*/ 1982 w 10000"/>
                      <a:gd name="connsiteY16" fmla="*/ 924 h 8662"/>
                      <a:gd name="connsiteX17" fmla="*/ 2395 w 10000"/>
                      <a:gd name="connsiteY17" fmla="*/ 353 h 8662"/>
                      <a:gd name="connsiteX18" fmla="*/ 2618 w 10000"/>
                      <a:gd name="connsiteY18" fmla="*/ 1353 h 8662"/>
                      <a:gd name="connsiteX19" fmla="*/ 3493 w 10000"/>
                      <a:gd name="connsiteY19" fmla="*/ 1032 h 8662"/>
                      <a:gd name="connsiteX20" fmla="*/ 6507 w 10000"/>
                      <a:gd name="connsiteY20" fmla="*/ 5493 h 8662"/>
                      <a:gd name="connsiteX21" fmla="*/ 7143 w 10000"/>
                      <a:gd name="connsiteY21" fmla="*/ 4878 h 8662"/>
                      <a:gd name="connsiteX22" fmla="*/ 7514 w 10000"/>
                      <a:gd name="connsiteY22" fmla="*/ 6109 h 8662"/>
                      <a:gd name="connsiteX23" fmla="*/ 7977 w 10000"/>
                      <a:gd name="connsiteY23" fmla="*/ 6724 h 8662"/>
                      <a:gd name="connsiteX24" fmla="*/ 9777 w 10000"/>
                      <a:gd name="connsiteY24" fmla="*/ 5462 h 8662"/>
                      <a:gd name="connsiteX25" fmla="*/ 9835 w 10000"/>
                      <a:gd name="connsiteY25" fmla="*/ 5600 h 8662"/>
                      <a:gd name="connsiteX26" fmla="*/ 9562 w 10000"/>
                      <a:gd name="connsiteY26" fmla="*/ 6169 h 8662"/>
                      <a:gd name="connsiteX27" fmla="*/ 9562 w 10000"/>
                      <a:gd name="connsiteY27" fmla="*/ 7261 h 8662"/>
                      <a:gd name="connsiteX28" fmla="*/ 9100 w 10000"/>
                      <a:gd name="connsiteY28" fmla="*/ 7585 h 8662"/>
                      <a:gd name="connsiteX29" fmla="*/ 9100 w 10000"/>
                      <a:gd name="connsiteY29" fmla="*/ 8523 h 8662"/>
                      <a:gd name="connsiteX30" fmla="*/ 9232 w 10000"/>
                      <a:gd name="connsiteY30" fmla="*/ 8662 h 8662"/>
                      <a:gd name="connsiteX31" fmla="*/ 9232 w 10000"/>
                      <a:gd name="connsiteY31" fmla="*/ 7752 h 8662"/>
                      <a:gd name="connsiteX32" fmla="*/ 9686 w 10000"/>
                      <a:gd name="connsiteY32" fmla="*/ 7431 h 8662"/>
                      <a:gd name="connsiteX33" fmla="*/ 9686 w 10000"/>
                      <a:gd name="connsiteY33" fmla="*/ 6260 h 8662"/>
                      <a:gd name="connsiteX34" fmla="*/ 10000 w 10000"/>
                      <a:gd name="connsiteY34" fmla="*/ 5600 h 8662"/>
                      <a:gd name="connsiteX0" fmla="*/ 10000 w 10000"/>
                      <a:gd name="connsiteY0" fmla="*/ 6465 h 9840"/>
                      <a:gd name="connsiteX1" fmla="*/ 9818 w 10000"/>
                      <a:gd name="connsiteY1" fmla="*/ 5985 h 9840"/>
                      <a:gd name="connsiteX2" fmla="*/ 7993 w 10000"/>
                      <a:gd name="connsiteY2" fmla="*/ 7460 h 9840"/>
                      <a:gd name="connsiteX3" fmla="*/ 7614 w 10000"/>
                      <a:gd name="connsiteY3" fmla="*/ 6875 h 9840"/>
                      <a:gd name="connsiteX4" fmla="*/ 7192 w 10000"/>
                      <a:gd name="connsiteY4" fmla="*/ 5256 h 9840"/>
                      <a:gd name="connsiteX5" fmla="*/ 6524 w 10000"/>
                      <a:gd name="connsiteY5" fmla="*/ 6022 h 9840"/>
                      <a:gd name="connsiteX6" fmla="*/ 3526 w 10000"/>
                      <a:gd name="connsiteY6" fmla="*/ 907 h 9840"/>
                      <a:gd name="connsiteX7" fmla="*/ 2692 w 10000"/>
                      <a:gd name="connsiteY7" fmla="*/ 1243 h 9840"/>
                      <a:gd name="connsiteX8" fmla="*/ 2453 w 10000"/>
                      <a:gd name="connsiteY8" fmla="*/ 0 h 9840"/>
                      <a:gd name="connsiteX9" fmla="*/ 1957 w 10000"/>
                      <a:gd name="connsiteY9" fmla="*/ 765 h 9840"/>
                      <a:gd name="connsiteX10" fmla="*/ 859 w 10000"/>
                      <a:gd name="connsiteY10" fmla="*/ 54 h 9840"/>
                      <a:gd name="connsiteX11" fmla="*/ 190 w 10000"/>
                      <a:gd name="connsiteY11" fmla="*/ 499 h 9840"/>
                      <a:gd name="connsiteX12" fmla="*/ 116 w 10000"/>
                      <a:gd name="connsiteY12" fmla="*/ 142 h 9840"/>
                      <a:gd name="connsiteX13" fmla="*/ 0 w 10000"/>
                      <a:gd name="connsiteY13" fmla="*/ 267 h 9840"/>
                      <a:gd name="connsiteX14" fmla="*/ 124 w 10000"/>
                      <a:gd name="connsiteY14" fmla="*/ 834 h 9840"/>
                      <a:gd name="connsiteX15" fmla="*/ 859 w 10000"/>
                      <a:gd name="connsiteY15" fmla="*/ 356 h 9840"/>
                      <a:gd name="connsiteX16" fmla="*/ 1982 w 10000"/>
                      <a:gd name="connsiteY16" fmla="*/ 1067 h 9840"/>
                      <a:gd name="connsiteX17" fmla="*/ 2395 w 10000"/>
                      <a:gd name="connsiteY17" fmla="*/ 408 h 9840"/>
                      <a:gd name="connsiteX18" fmla="*/ 2618 w 10000"/>
                      <a:gd name="connsiteY18" fmla="*/ 1562 h 9840"/>
                      <a:gd name="connsiteX19" fmla="*/ 3493 w 10000"/>
                      <a:gd name="connsiteY19" fmla="*/ 1191 h 9840"/>
                      <a:gd name="connsiteX20" fmla="*/ 6507 w 10000"/>
                      <a:gd name="connsiteY20" fmla="*/ 6341 h 9840"/>
                      <a:gd name="connsiteX21" fmla="*/ 7143 w 10000"/>
                      <a:gd name="connsiteY21" fmla="*/ 5631 h 9840"/>
                      <a:gd name="connsiteX22" fmla="*/ 7514 w 10000"/>
                      <a:gd name="connsiteY22" fmla="*/ 7053 h 9840"/>
                      <a:gd name="connsiteX23" fmla="*/ 7977 w 10000"/>
                      <a:gd name="connsiteY23" fmla="*/ 7763 h 9840"/>
                      <a:gd name="connsiteX24" fmla="*/ 9777 w 10000"/>
                      <a:gd name="connsiteY24" fmla="*/ 6306 h 9840"/>
                      <a:gd name="connsiteX25" fmla="*/ 9835 w 10000"/>
                      <a:gd name="connsiteY25" fmla="*/ 6465 h 9840"/>
                      <a:gd name="connsiteX26" fmla="*/ 9562 w 10000"/>
                      <a:gd name="connsiteY26" fmla="*/ 7122 h 9840"/>
                      <a:gd name="connsiteX27" fmla="*/ 9562 w 10000"/>
                      <a:gd name="connsiteY27" fmla="*/ 8383 h 9840"/>
                      <a:gd name="connsiteX28" fmla="*/ 9100 w 10000"/>
                      <a:gd name="connsiteY28" fmla="*/ 8757 h 9840"/>
                      <a:gd name="connsiteX29" fmla="*/ 9100 w 10000"/>
                      <a:gd name="connsiteY29" fmla="*/ 9840 h 9840"/>
                      <a:gd name="connsiteX30" fmla="*/ 9232 w 10000"/>
                      <a:gd name="connsiteY30" fmla="*/ 8949 h 9840"/>
                      <a:gd name="connsiteX31" fmla="*/ 9686 w 10000"/>
                      <a:gd name="connsiteY31" fmla="*/ 8579 h 9840"/>
                      <a:gd name="connsiteX32" fmla="*/ 9686 w 10000"/>
                      <a:gd name="connsiteY32" fmla="*/ 7227 h 9840"/>
                      <a:gd name="connsiteX33" fmla="*/ 10000 w 10000"/>
                      <a:gd name="connsiteY33" fmla="*/ 6465 h 9840"/>
                      <a:gd name="connsiteX0" fmla="*/ 10000 w 10000"/>
                      <a:gd name="connsiteY0" fmla="*/ 6570 h 10000"/>
                      <a:gd name="connsiteX1" fmla="*/ 9818 w 10000"/>
                      <a:gd name="connsiteY1" fmla="*/ 6082 h 10000"/>
                      <a:gd name="connsiteX2" fmla="*/ 7993 w 10000"/>
                      <a:gd name="connsiteY2" fmla="*/ 7581 h 10000"/>
                      <a:gd name="connsiteX3" fmla="*/ 7614 w 10000"/>
                      <a:gd name="connsiteY3" fmla="*/ 6987 h 10000"/>
                      <a:gd name="connsiteX4" fmla="*/ 7192 w 10000"/>
                      <a:gd name="connsiteY4" fmla="*/ 5341 h 10000"/>
                      <a:gd name="connsiteX5" fmla="*/ 6524 w 10000"/>
                      <a:gd name="connsiteY5" fmla="*/ 6120 h 10000"/>
                      <a:gd name="connsiteX6" fmla="*/ 3526 w 10000"/>
                      <a:gd name="connsiteY6" fmla="*/ 922 h 10000"/>
                      <a:gd name="connsiteX7" fmla="*/ 2692 w 10000"/>
                      <a:gd name="connsiteY7" fmla="*/ 1263 h 10000"/>
                      <a:gd name="connsiteX8" fmla="*/ 2453 w 10000"/>
                      <a:gd name="connsiteY8" fmla="*/ 0 h 10000"/>
                      <a:gd name="connsiteX9" fmla="*/ 1957 w 10000"/>
                      <a:gd name="connsiteY9" fmla="*/ 777 h 10000"/>
                      <a:gd name="connsiteX10" fmla="*/ 859 w 10000"/>
                      <a:gd name="connsiteY10" fmla="*/ 55 h 10000"/>
                      <a:gd name="connsiteX11" fmla="*/ 190 w 10000"/>
                      <a:gd name="connsiteY11" fmla="*/ 507 h 10000"/>
                      <a:gd name="connsiteX12" fmla="*/ 116 w 10000"/>
                      <a:gd name="connsiteY12" fmla="*/ 144 h 10000"/>
                      <a:gd name="connsiteX13" fmla="*/ 0 w 10000"/>
                      <a:gd name="connsiteY13" fmla="*/ 271 h 10000"/>
                      <a:gd name="connsiteX14" fmla="*/ 124 w 10000"/>
                      <a:gd name="connsiteY14" fmla="*/ 848 h 10000"/>
                      <a:gd name="connsiteX15" fmla="*/ 859 w 10000"/>
                      <a:gd name="connsiteY15" fmla="*/ 362 h 10000"/>
                      <a:gd name="connsiteX16" fmla="*/ 1982 w 10000"/>
                      <a:gd name="connsiteY16" fmla="*/ 1084 h 10000"/>
                      <a:gd name="connsiteX17" fmla="*/ 2395 w 10000"/>
                      <a:gd name="connsiteY17" fmla="*/ 415 h 10000"/>
                      <a:gd name="connsiteX18" fmla="*/ 2618 w 10000"/>
                      <a:gd name="connsiteY18" fmla="*/ 1587 h 10000"/>
                      <a:gd name="connsiteX19" fmla="*/ 3493 w 10000"/>
                      <a:gd name="connsiteY19" fmla="*/ 1210 h 10000"/>
                      <a:gd name="connsiteX20" fmla="*/ 6507 w 10000"/>
                      <a:gd name="connsiteY20" fmla="*/ 6444 h 10000"/>
                      <a:gd name="connsiteX21" fmla="*/ 7143 w 10000"/>
                      <a:gd name="connsiteY21" fmla="*/ 5723 h 10000"/>
                      <a:gd name="connsiteX22" fmla="*/ 7514 w 10000"/>
                      <a:gd name="connsiteY22" fmla="*/ 7168 h 10000"/>
                      <a:gd name="connsiteX23" fmla="*/ 7977 w 10000"/>
                      <a:gd name="connsiteY23" fmla="*/ 7889 h 10000"/>
                      <a:gd name="connsiteX24" fmla="*/ 9777 w 10000"/>
                      <a:gd name="connsiteY24" fmla="*/ 6409 h 10000"/>
                      <a:gd name="connsiteX25" fmla="*/ 9835 w 10000"/>
                      <a:gd name="connsiteY25" fmla="*/ 6570 h 10000"/>
                      <a:gd name="connsiteX26" fmla="*/ 9562 w 10000"/>
                      <a:gd name="connsiteY26" fmla="*/ 7238 h 10000"/>
                      <a:gd name="connsiteX27" fmla="*/ 9562 w 10000"/>
                      <a:gd name="connsiteY27" fmla="*/ 8519 h 10000"/>
                      <a:gd name="connsiteX28" fmla="*/ 9100 w 10000"/>
                      <a:gd name="connsiteY28" fmla="*/ 8899 h 10000"/>
                      <a:gd name="connsiteX29" fmla="*/ 9100 w 10000"/>
                      <a:gd name="connsiteY29" fmla="*/ 10000 h 10000"/>
                      <a:gd name="connsiteX30" fmla="*/ 9686 w 10000"/>
                      <a:gd name="connsiteY30" fmla="*/ 8718 h 10000"/>
                      <a:gd name="connsiteX31" fmla="*/ 9686 w 10000"/>
                      <a:gd name="connsiteY31" fmla="*/ 7345 h 10000"/>
                      <a:gd name="connsiteX32" fmla="*/ 10000 w 10000"/>
                      <a:gd name="connsiteY32" fmla="*/ 6570 h 10000"/>
                      <a:gd name="connsiteX0" fmla="*/ 10000 w 10000"/>
                      <a:gd name="connsiteY0" fmla="*/ 6570 h 10000"/>
                      <a:gd name="connsiteX1" fmla="*/ 9818 w 10000"/>
                      <a:gd name="connsiteY1" fmla="*/ 6082 h 10000"/>
                      <a:gd name="connsiteX2" fmla="*/ 7993 w 10000"/>
                      <a:gd name="connsiteY2" fmla="*/ 7581 h 10000"/>
                      <a:gd name="connsiteX3" fmla="*/ 7614 w 10000"/>
                      <a:gd name="connsiteY3" fmla="*/ 6987 h 10000"/>
                      <a:gd name="connsiteX4" fmla="*/ 7192 w 10000"/>
                      <a:gd name="connsiteY4" fmla="*/ 5341 h 10000"/>
                      <a:gd name="connsiteX5" fmla="*/ 6524 w 10000"/>
                      <a:gd name="connsiteY5" fmla="*/ 6120 h 10000"/>
                      <a:gd name="connsiteX6" fmla="*/ 3526 w 10000"/>
                      <a:gd name="connsiteY6" fmla="*/ 922 h 10000"/>
                      <a:gd name="connsiteX7" fmla="*/ 2692 w 10000"/>
                      <a:gd name="connsiteY7" fmla="*/ 1263 h 10000"/>
                      <a:gd name="connsiteX8" fmla="*/ 2453 w 10000"/>
                      <a:gd name="connsiteY8" fmla="*/ 0 h 10000"/>
                      <a:gd name="connsiteX9" fmla="*/ 1957 w 10000"/>
                      <a:gd name="connsiteY9" fmla="*/ 777 h 10000"/>
                      <a:gd name="connsiteX10" fmla="*/ 859 w 10000"/>
                      <a:gd name="connsiteY10" fmla="*/ 55 h 10000"/>
                      <a:gd name="connsiteX11" fmla="*/ 190 w 10000"/>
                      <a:gd name="connsiteY11" fmla="*/ 507 h 10000"/>
                      <a:gd name="connsiteX12" fmla="*/ 116 w 10000"/>
                      <a:gd name="connsiteY12" fmla="*/ 144 h 10000"/>
                      <a:gd name="connsiteX13" fmla="*/ 0 w 10000"/>
                      <a:gd name="connsiteY13" fmla="*/ 271 h 10000"/>
                      <a:gd name="connsiteX14" fmla="*/ 124 w 10000"/>
                      <a:gd name="connsiteY14" fmla="*/ 848 h 10000"/>
                      <a:gd name="connsiteX15" fmla="*/ 859 w 10000"/>
                      <a:gd name="connsiteY15" fmla="*/ 362 h 10000"/>
                      <a:gd name="connsiteX16" fmla="*/ 1982 w 10000"/>
                      <a:gd name="connsiteY16" fmla="*/ 1084 h 10000"/>
                      <a:gd name="connsiteX17" fmla="*/ 2395 w 10000"/>
                      <a:gd name="connsiteY17" fmla="*/ 415 h 10000"/>
                      <a:gd name="connsiteX18" fmla="*/ 2618 w 10000"/>
                      <a:gd name="connsiteY18" fmla="*/ 1587 h 10000"/>
                      <a:gd name="connsiteX19" fmla="*/ 3493 w 10000"/>
                      <a:gd name="connsiteY19" fmla="*/ 1210 h 10000"/>
                      <a:gd name="connsiteX20" fmla="*/ 6507 w 10000"/>
                      <a:gd name="connsiteY20" fmla="*/ 6444 h 10000"/>
                      <a:gd name="connsiteX21" fmla="*/ 7143 w 10000"/>
                      <a:gd name="connsiteY21" fmla="*/ 5723 h 10000"/>
                      <a:gd name="connsiteX22" fmla="*/ 7514 w 10000"/>
                      <a:gd name="connsiteY22" fmla="*/ 7168 h 10000"/>
                      <a:gd name="connsiteX23" fmla="*/ 7977 w 10000"/>
                      <a:gd name="connsiteY23" fmla="*/ 7889 h 10000"/>
                      <a:gd name="connsiteX24" fmla="*/ 9777 w 10000"/>
                      <a:gd name="connsiteY24" fmla="*/ 6409 h 10000"/>
                      <a:gd name="connsiteX25" fmla="*/ 9835 w 10000"/>
                      <a:gd name="connsiteY25" fmla="*/ 6570 h 10000"/>
                      <a:gd name="connsiteX26" fmla="*/ 9562 w 10000"/>
                      <a:gd name="connsiteY26" fmla="*/ 7238 h 10000"/>
                      <a:gd name="connsiteX27" fmla="*/ 9562 w 10000"/>
                      <a:gd name="connsiteY27" fmla="*/ 8519 h 10000"/>
                      <a:gd name="connsiteX28" fmla="*/ 9100 w 10000"/>
                      <a:gd name="connsiteY28" fmla="*/ 8899 h 10000"/>
                      <a:gd name="connsiteX29" fmla="*/ 9100 w 10000"/>
                      <a:gd name="connsiteY29" fmla="*/ 10000 h 10000"/>
                      <a:gd name="connsiteX30" fmla="*/ 9686 w 10000"/>
                      <a:gd name="connsiteY30" fmla="*/ 7345 h 10000"/>
                      <a:gd name="connsiteX31" fmla="*/ 10000 w 10000"/>
                      <a:gd name="connsiteY31" fmla="*/ 6570 h 10000"/>
                      <a:gd name="connsiteX0" fmla="*/ 10000 w 10000"/>
                      <a:gd name="connsiteY0" fmla="*/ 6570 h 10000"/>
                      <a:gd name="connsiteX1" fmla="*/ 9818 w 10000"/>
                      <a:gd name="connsiteY1" fmla="*/ 6082 h 10000"/>
                      <a:gd name="connsiteX2" fmla="*/ 7993 w 10000"/>
                      <a:gd name="connsiteY2" fmla="*/ 7581 h 10000"/>
                      <a:gd name="connsiteX3" fmla="*/ 7614 w 10000"/>
                      <a:gd name="connsiteY3" fmla="*/ 6987 h 10000"/>
                      <a:gd name="connsiteX4" fmla="*/ 7192 w 10000"/>
                      <a:gd name="connsiteY4" fmla="*/ 5341 h 10000"/>
                      <a:gd name="connsiteX5" fmla="*/ 6524 w 10000"/>
                      <a:gd name="connsiteY5" fmla="*/ 6120 h 10000"/>
                      <a:gd name="connsiteX6" fmla="*/ 3526 w 10000"/>
                      <a:gd name="connsiteY6" fmla="*/ 922 h 10000"/>
                      <a:gd name="connsiteX7" fmla="*/ 2692 w 10000"/>
                      <a:gd name="connsiteY7" fmla="*/ 1263 h 10000"/>
                      <a:gd name="connsiteX8" fmla="*/ 2453 w 10000"/>
                      <a:gd name="connsiteY8" fmla="*/ 0 h 10000"/>
                      <a:gd name="connsiteX9" fmla="*/ 1957 w 10000"/>
                      <a:gd name="connsiteY9" fmla="*/ 777 h 10000"/>
                      <a:gd name="connsiteX10" fmla="*/ 859 w 10000"/>
                      <a:gd name="connsiteY10" fmla="*/ 55 h 10000"/>
                      <a:gd name="connsiteX11" fmla="*/ 190 w 10000"/>
                      <a:gd name="connsiteY11" fmla="*/ 507 h 10000"/>
                      <a:gd name="connsiteX12" fmla="*/ 116 w 10000"/>
                      <a:gd name="connsiteY12" fmla="*/ 144 h 10000"/>
                      <a:gd name="connsiteX13" fmla="*/ 0 w 10000"/>
                      <a:gd name="connsiteY13" fmla="*/ 271 h 10000"/>
                      <a:gd name="connsiteX14" fmla="*/ 124 w 10000"/>
                      <a:gd name="connsiteY14" fmla="*/ 848 h 10000"/>
                      <a:gd name="connsiteX15" fmla="*/ 859 w 10000"/>
                      <a:gd name="connsiteY15" fmla="*/ 362 h 10000"/>
                      <a:gd name="connsiteX16" fmla="*/ 1982 w 10000"/>
                      <a:gd name="connsiteY16" fmla="*/ 1084 h 10000"/>
                      <a:gd name="connsiteX17" fmla="*/ 2395 w 10000"/>
                      <a:gd name="connsiteY17" fmla="*/ 415 h 10000"/>
                      <a:gd name="connsiteX18" fmla="*/ 2618 w 10000"/>
                      <a:gd name="connsiteY18" fmla="*/ 1587 h 10000"/>
                      <a:gd name="connsiteX19" fmla="*/ 3493 w 10000"/>
                      <a:gd name="connsiteY19" fmla="*/ 1210 h 10000"/>
                      <a:gd name="connsiteX20" fmla="*/ 6507 w 10000"/>
                      <a:gd name="connsiteY20" fmla="*/ 6444 h 10000"/>
                      <a:gd name="connsiteX21" fmla="*/ 7143 w 10000"/>
                      <a:gd name="connsiteY21" fmla="*/ 5723 h 10000"/>
                      <a:gd name="connsiteX22" fmla="*/ 7514 w 10000"/>
                      <a:gd name="connsiteY22" fmla="*/ 7168 h 10000"/>
                      <a:gd name="connsiteX23" fmla="*/ 7977 w 10000"/>
                      <a:gd name="connsiteY23" fmla="*/ 7889 h 10000"/>
                      <a:gd name="connsiteX24" fmla="*/ 9777 w 10000"/>
                      <a:gd name="connsiteY24" fmla="*/ 6409 h 10000"/>
                      <a:gd name="connsiteX25" fmla="*/ 9835 w 10000"/>
                      <a:gd name="connsiteY25" fmla="*/ 6570 h 10000"/>
                      <a:gd name="connsiteX26" fmla="*/ 9562 w 10000"/>
                      <a:gd name="connsiteY26" fmla="*/ 7238 h 10000"/>
                      <a:gd name="connsiteX27" fmla="*/ 9562 w 10000"/>
                      <a:gd name="connsiteY27" fmla="*/ 8519 h 10000"/>
                      <a:gd name="connsiteX28" fmla="*/ 9100 w 10000"/>
                      <a:gd name="connsiteY28" fmla="*/ 10000 h 10000"/>
                      <a:gd name="connsiteX29" fmla="*/ 9686 w 10000"/>
                      <a:gd name="connsiteY29" fmla="*/ 7345 h 10000"/>
                      <a:gd name="connsiteX30" fmla="*/ 10000 w 10000"/>
                      <a:gd name="connsiteY30" fmla="*/ 6570 h 10000"/>
                      <a:gd name="connsiteX0" fmla="*/ 10000 w 10000"/>
                      <a:gd name="connsiteY0" fmla="*/ 6570 h 8519"/>
                      <a:gd name="connsiteX1" fmla="*/ 9818 w 10000"/>
                      <a:gd name="connsiteY1" fmla="*/ 6082 h 8519"/>
                      <a:gd name="connsiteX2" fmla="*/ 7993 w 10000"/>
                      <a:gd name="connsiteY2" fmla="*/ 7581 h 8519"/>
                      <a:gd name="connsiteX3" fmla="*/ 7614 w 10000"/>
                      <a:gd name="connsiteY3" fmla="*/ 6987 h 8519"/>
                      <a:gd name="connsiteX4" fmla="*/ 7192 w 10000"/>
                      <a:gd name="connsiteY4" fmla="*/ 5341 h 8519"/>
                      <a:gd name="connsiteX5" fmla="*/ 6524 w 10000"/>
                      <a:gd name="connsiteY5" fmla="*/ 6120 h 8519"/>
                      <a:gd name="connsiteX6" fmla="*/ 3526 w 10000"/>
                      <a:gd name="connsiteY6" fmla="*/ 922 h 8519"/>
                      <a:gd name="connsiteX7" fmla="*/ 2692 w 10000"/>
                      <a:gd name="connsiteY7" fmla="*/ 1263 h 8519"/>
                      <a:gd name="connsiteX8" fmla="*/ 2453 w 10000"/>
                      <a:gd name="connsiteY8" fmla="*/ 0 h 8519"/>
                      <a:gd name="connsiteX9" fmla="*/ 1957 w 10000"/>
                      <a:gd name="connsiteY9" fmla="*/ 777 h 8519"/>
                      <a:gd name="connsiteX10" fmla="*/ 859 w 10000"/>
                      <a:gd name="connsiteY10" fmla="*/ 55 h 8519"/>
                      <a:gd name="connsiteX11" fmla="*/ 190 w 10000"/>
                      <a:gd name="connsiteY11" fmla="*/ 507 h 8519"/>
                      <a:gd name="connsiteX12" fmla="*/ 116 w 10000"/>
                      <a:gd name="connsiteY12" fmla="*/ 144 h 8519"/>
                      <a:gd name="connsiteX13" fmla="*/ 0 w 10000"/>
                      <a:gd name="connsiteY13" fmla="*/ 271 h 8519"/>
                      <a:gd name="connsiteX14" fmla="*/ 124 w 10000"/>
                      <a:gd name="connsiteY14" fmla="*/ 848 h 8519"/>
                      <a:gd name="connsiteX15" fmla="*/ 859 w 10000"/>
                      <a:gd name="connsiteY15" fmla="*/ 362 h 8519"/>
                      <a:gd name="connsiteX16" fmla="*/ 1982 w 10000"/>
                      <a:gd name="connsiteY16" fmla="*/ 1084 h 8519"/>
                      <a:gd name="connsiteX17" fmla="*/ 2395 w 10000"/>
                      <a:gd name="connsiteY17" fmla="*/ 415 h 8519"/>
                      <a:gd name="connsiteX18" fmla="*/ 2618 w 10000"/>
                      <a:gd name="connsiteY18" fmla="*/ 1587 h 8519"/>
                      <a:gd name="connsiteX19" fmla="*/ 3493 w 10000"/>
                      <a:gd name="connsiteY19" fmla="*/ 1210 h 8519"/>
                      <a:gd name="connsiteX20" fmla="*/ 6507 w 10000"/>
                      <a:gd name="connsiteY20" fmla="*/ 6444 h 8519"/>
                      <a:gd name="connsiteX21" fmla="*/ 7143 w 10000"/>
                      <a:gd name="connsiteY21" fmla="*/ 5723 h 8519"/>
                      <a:gd name="connsiteX22" fmla="*/ 7514 w 10000"/>
                      <a:gd name="connsiteY22" fmla="*/ 7168 h 8519"/>
                      <a:gd name="connsiteX23" fmla="*/ 7977 w 10000"/>
                      <a:gd name="connsiteY23" fmla="*/ 7889 h 8519"/>
                      <a:gd name="connsiteX24" fmla="*/ 9777 w 10000"/>
                      <a:gd name="connsiteY24" fmla="*/ 6409 h 8519"/>
                      <a:gd name="connsiteX25" fmla="*/ 9835 w 10000"/>
                      <a:gd name="connsiteY25" fmla="*/ 6570 h 8519"/>
                      <a:gd name="connsiteX26" fmla="*/ 9562 w 10000"/>
                      <a:gd name="connsiteY26" fmla="*/ 7238 h 8519"/>
                      <a:gd name="connsiteX27" fmla="*/ 9562 w 10000"/>
                      <a:gd name="connsiteY27" fmla="*/ 8519 h 8519"/>
                      <a:gd name="connsiteX28" fmla="*/ 9686 w 10000"/>
                      <a:gd name="connsiteY28" fmla="*/ 7345 h 8519"/>
                      <a:gd name="connsiteX29" fmla="*/ 10000 w 10000"/>
                      <a:gd name="connsiteY29" fmla="*/ 6570 h 8519"/>
                      <a:gd name="connsiteX0" fmla="*/ 10000 w 10000"/>
                      <a:gd name="connsiteY0" fmla="*/ 7712 h 9260"/>
                      <a:gd name="connsiteX1" fmla="*/ 9818 w 10000"/>
                      <a:gd name="connsiteY1" fmla="*/ 7139 h 9260"/>
                      <a:gd name="connsiteX2" fmla="*/ 7993 w 10000"/>
                      <a:gd name="connsiteY2" fmla="*/ 8899 h 9260"/>
                      <a:gd name="connsiteX3" fmla="*/ 7614 w 10000"/>
                      <a:gd name="connsiteY3" fmla="*/ 8202 h 9260"/>
                      <a:gd name="connsiteX4" fmla="*/ 7192 w 10000"/>
                      <a:gd name="connsiteY4" fmla="*/ 6270 h 9260"/>
                      <a:gd name="connsiteX5" fmla="*/ 6524 w 10000"/>
                      <a:gd name="connsiteY5" fmla="*/ 7184 h 9260"/>
                      <a:gd name="connsiteX6" fmla="*/ 3526 w 10000"/>
                      <a:gd name="connsiteY6" fmla="*/ 1082 h 9260"/>
                      <a:gd name="connsiteX7" fmla="*/ 2692 w 10000"/>
                      <a:gd name="connsiteY7" fmla="*/ 1483 h 9260"/>
                      <a:gd name="connsiteX8" fmla="*/ 2453 w 10000"/>
                      <a:gd name="connsiteY8" fmla="*/ 0 h 9260"/>
                      <a:gd name="connsiteX9" fmla="*/ 1957 w 10000"/>
                      <a:gd name="connsiteY9" fmla="*/ 912 h 9260"/>
                      <a:gd name="connsiteX10" fmla="*/ 859 w 10000"/>
                      <a:gd name="connsiteY10" fmla="*/ 65 h 9260"/>
                      <a:gd name="connsiteX11" fmla="*/ 190 w 10000"/>
                      <a:gd name="connsiteY11" fmla="*/ 595 h 9260"/>
                      <a:gd name="connsiteX12" fmla="*/ 116 w 10000"/>
                      <a:gd name="connsiteY12" fmla="*/ 169 h 9260"/>
                      <a:gd name="connsiteX13" fmla="*/ 0 w 10000"/>
                      <a:gd name="connsiteY13" fmla="*/ 318 h 9260"/>
                      <a:gd name="connsiteX14" fmla="*/ 124 w 10000"/>
                      <a:gd name="connsiteY14" fmla="*/ 995 h 9260"/>
                      <a:gd name="connsiteX15" fmla="*/ 859 w 10000"/>
                      <a:gd name="connsiteY15" fmla="*/ 425 h 9260"/>
                      <a:gd name="connsiteX16" fmla="*/ 1982 w 10000"/>
                      <a:gd name="connsiteY16" fmla="*/ 1272 h 9260"/>
                      <a:gd name="connsiteX17" fmla="*/ 2395 w 10000"/>
                      <a:gd name="connsiteY17" fmla="*/ 487 h 9260"/>
                      <a:gd name="connsiteX18" fmla="*/ 2618 w 10000"/>
                      <a:gd name="connsiteY18" fmla="*/ 1863 h 9260"/>
                      <a:gd name="connsiteX19" fmla="*/ 3493 w 10000"/>
                      <a:gd name="connsiteY19" fmla="*/ 1420 h 9260"/>
                      <a:gd name="connsiteX20" fmla="*/ 6507 w 10000"/>
                      <a:gd name="connsiteY20" fmla="*/ 7564 h 9260"/>
                      <a:gd name="connsiteX21" fmla="*/ 7143 w 10000"/>
                      <a:gd name="connsiteY21" fmla="*/ 6718 h 9260"/>
                      <a:gd name="connsiteX22" fmla="*/ 7514 w 10000"/>
                      <a:gd name="connsiteY22" fmla="*/ 8414 h 9260"/>
                      <a:gd name="connsiteX23" fmla="*/ 7977 w 10000"/>
                      <a:gd name="connsiteY23" fmla="*/ 9260 h 9260"/>
                      <a:gd name="connsiteX24" fmla="*/ 9777 w 10000"/>
                      <a:gd name="connsiteY24" fmla="*/ 7523 h 9260"/>
                      <a:gd name="connsiteX25" fmla="*/ 9835 w 10000"/>
                      <a:gd name="connsiteY25" fmla="*/ 7712 h 9260"/>
                      <a:gd name="connsiteX26" fmla="*/ 9562 w 10000"/>
                      <a:gd name="connsiteY26" fmla="*/ 8496 h 9260"/>
                      <a:gd name="connsiteX27" fmla="*/ 9686 w 10000"/>
                      <a:gd name="connsiteY27" fmla="*/ 8622 h 9260"/>
                      <a:gd name="connsiteX28" fmla="*/ 10000 w 10000"/>
                      <a:gd name="connsiteY28" fmla="*/ 7712 h 9260"/>
                      <a:gd name="connsiteX0" fmla="*/ 9686 w 9922"/>
                      <a:gd name="connsiteY0" fmla="*/ 9311 h 10000"/>
                      <a:gd name="connsiteX1" fmla="*/ 9818 w 9922"/>
                      <a:gd name="connsiteY1" fmla="*/ 7710 h 10000"/>
                      <a:gd name="connsiteX2" fmla="*/ 7993 w 9922"/>
                      <a:gd name="connsiteY2" fmla="*/ 9610 h 10000"/>
                      <a:gd name="connsiteX3" fmla="*/ 7614 w 9922"/>
                      <a:gd name="connsiteY3" fmla="*/ 8857 h 10000"/>
                      <a:gd name="connsiteX4" fmla="*/ 7192 w 9922"/>
                      <a:gd name="connsiteY4" fmla="*/ 6771 h 10000"/>
                      <a:gd name="connsiteX5" fmla="*/ 6524 w 9922"/>
                      <a:gd name="connsiteY5" fmla="*/ 7758 h 10000"/>
                      <a:gd name="connsiteX6" fmla="*/ 3526 w 9922"/>
                      <a:gd name="connsiteY6" fmla="*/ 1168 h 10000"/>
                      <a:gd name="connsiteX7" fmla="*/ 2692 w 9922"/>
                      <a:gd name="connsiteY7" fmla="*/ 1602 h 10000"/>
                      <a:gd name="connsiteX8" fmla="*/ 2453 w 9922"/>
                      <a:gd name="connsiteY8" fmla="*/ 0 h 10000"/>
                      <a:gd name="connsiteX9" fmla="*/ 1957 w 9922"/>
                      <a:gd name="connsiteY9" fmla="*/ 985 h 10000"/>
                      <a:gd name="connsiteX10" fmla="*/ 859 w 9922"/>
                      <a:gd name="connsiteY10" fmla="*/ 70 h 10000"/>
                      <a:gd name="connsiteX11" fmla="*/ 190 w 9922"/>
                      <a:gd name="connsiteY11" fmla="*/ 643 h 10000"/>
                      <a:gd name="connsiteX12" fmla="*/ 116 w 9922"/>
                      <a:gd name="connsiteY12" fmla="*/ 183 h 10000"/>
                      <a:gd name="connsiteX13" fmla="*/ 0 w 9922"/>
                      <a:gd name="connsiteY13" fmla="*/ 343 h 10000"/>
                      <a:gd name="connsiteX14" fmla="*/ 124 w 9922"/>
                      <a:gd name="connsiteY14" fmla="*/ 1075 h 10000"/>
                      <a:gd name="connsiteX15" fmla="*/ 859 w 9922"/>
                      <a:gd name="connsiteY15" fmla="*/ 459 h 10000"/>
                      <a:gd name="connsiteX16" fmla="*/ 1982 w 9922"/>
                      <a:gd name="connsiteY16" fmla="*/ 1374 h 10000"/>
                      <a:gd name="connsiteX17" fmla="*/ 2395 w 9922"/>
                      <a:gd name="connsiteY17" fmla="*/ 526 h 10000"/>
                      <a:gd name="connsiteX18" fmla="*/ 2618 w 9922"/>
                      <a:gd name="connsiteY18" fmla="*/ 2012 h 10000"/>
                      <a:gd name="connsiteX19" fmla="*/ 3493 w 9922"/>
                      <a:gd name="connsiteY19" fmla="*/ 1533 h 10000"/>
                      <a:gd name="connsiteX20" fmla="*/ 6507 w 9922"/>
                      <a:gd name="connsiteY20" fmla="*/ 8168 h 10000"/>
                      <a:gd name="connsiteX21" fmla="*/ 7143 w 9922"/>
                      <a:gd name="connsiteY21" fmla="*/ 7255 h 10000"/>
                      <a:gd name="connsiteX22" fmla="*/ 7514 w 9922"/>
                      <a:gd name="connsiteY22" fmla="*/ 9086 h 10000"/>
                      <a:gd name="connsiteX23" fmla="*/ 7977 w 9922"/>
                      <a:gd name="connsiteY23" fmla="*/ 10000 h 10000"/>
                      <a:gd name="connsiteX24" fmla="*/ 9777 w 9922"/>
                      <a:gd name="connsiteY24" fmla="*/ 8124 h 10000"/>
                      <a:gd name="connsiteX25" fmla="*/ 9835 w 9922"/>
                      <a:gd name="connsiteY25" fmla="*/ 8328 h 10000"/>
                      <a:gd name="connsiteX26" fmla="*/ 9562 w 9922"/>
                      <a:gd name="connsiteY26" fmla="*/ 9175 h 10000"/>
                      <a:gd name="connsiteX27" fmla="*/ 9686 w 9922"/>
                      <a:gd name="connsiteY27" fmla="*/ 9311 h 10000"/>
                      <a:gd name="connsiteX0" fmla="*/ 9637 w 9969"/>
                      <a:gd name="connsiteY0" fmla="*/ 9175 h 10000"/>
                      <a:gd name="connsiteX1" fmla="*/ 9895 w 9969"/>
                      <a:gd name="connsiteY1" fmla="*/ 7710 h 10000"/>
                      <a:gd name="connsiteX2" fmla="*/ 8056 w 9969"/>
                      <a:gd name="connsiteY2" fmla="*/ 9610 h 10000"/>
                      <a:gd name="connsiteX3" fmla="*/ 7674 w 9969"/>
                      <a:gd name="connsiteY3" fmla="*/ 8857 h 10000"/>
                      <a:gd name="connsiteX4" fmla="*/ 7249 w 9969"/>
                      <a:gd name="connsiteY4" fmla="*/ 6771 h 10000"/>
                      <a:gd name="connsiteX5" fmla="*/ 6575 w 9969"/>
                      <a:gd name="connsiteY5" fmla="*/ 7758 h 10000"/>
                      <a:gd name="connsiteX6" fmla="*/ 3554 w 9969"/>
                      <a:gd name="connsiteY6" fmla="*/ 1168 h 10000"/>
                      <a:gd name="connsiteX7" fmla="*/ 2713 w 9969"/>
                      <a:gd name="connsiteY7" fmla="*/ 1602 h 10000"/>
                      <a:gd name="connsiteX8" fmla="*/ 2472 w 9969"/>
                      <a:gd name="connsiteY8" fmla="*/ 0 h 10000"/>
                      <a:gd name="connsiteX9" fmla="*/ 1972 w 9969"/>
                      <a:gd name="connsiteY9" fmla="*/ 985 h 10000"/>
                      <a:gd name="connsiteX10" fmla="*/ 866 w 9969"/>
                      <a:gd name="connsiteY10" fmla="*/ 70 h 10000"/>
                      <a:gd name="connsiteX11" fmla="*/ 191 w 9969"/>
                      <a:gd name="connsiteY11" fmla="*/ 643 h 10000"/>
                      <a:gd name="connsiteX12" fmla="*/ 117 w 9969"/>
                      <a:gd name="connsiteY12" fmla="*/ 183 h 10000"/>
                      <a:gd name="connsiteX13" fmla="*/ 0 w 9969"/>
                      <a:gd name="connsiteY13" fmla="*/ 343 h 10000"/>
                      <a:gd name="connsiteX14" fmla="*/ 125 w 9969"/>
                      <a:gd name="connsiteY14" fmla="*/ 1075 h 10000"/>
                      <a:gd name="connsiteX15" fmla="*/ 866 w 9969"/>
                      <a:gd name="connsiteY15" fmla="*/ 459 h 10000"/>
                      <a:gd name="connsiteX16" fmla="*/ 1998 w 9969"/>
                      <a:gd name="connsiteY16" fmla="*/ 1374 h 10000"/>
                      <a:gd name="connsiteX17" fmla="*/ 2414 w 9969"/>
                      <a:gd name="connsiteY17" fmla="*/ 526 h 10000"/>
                      <a:gd name="connsiteX18" fmla="*/ 2639 w 9969"/>
                      <a:gd name="connsiteY18" fmla="*/ 2012 h 10000"/>
                      <a:gd name="connsiteX19" fmla="*/ 3520 w 9969"/>
                      <a:gd name="connsiteY19" fmla="*/ 1533 h 10000"/>
                      <a:gd name="connsiteX20" fmla="*/ 6558 w 9969"/>
                      <a:gd name="connsiteY20" fmla="*/ 8168 h 10000"/>
                      <a:gd name="connsiteX21" fmla="*/ 7199 w 9969"/>
                      <a:gd name="connsiteY21" fmla="*/ 7255 h 10000"/>
                      <a:gd name="connsiteX22" fmla="*/ 7573 w 9969"/>
                      <a:gd name="connsiteY22" fmla="*/ 9086 h 10000"/>
                      <a:gd name="connsiteX23" fmla="*/ 8040 w 9969"/>
                      <a:gd name="connsiteY23" fmla="*/ 10000 h 10000"/>
                      <a:gd name="connsiteX24" fmla="*/ 9854 w 9969"/>
                      <a:gd name="connsiteY24" fmla="*/ 8124 h 10000"/>
                      <a:gd name="connsiteX25" fmla="*/ 9912 w 9969"/>
                      <a:gd name="connsiteY25" fmla="*/ 8328 h 10000"/>
                      <a:gd name="connsiteX26" fmla="*/ 9637 w 9969"/>
                      <a:gd name="connsiteY26" fmla="*/ 9175 h 10000"/>
                      <a:gd name="connsiteX0" fmla="*/ 9943 w 10069"/>
                      <a:gd name="connsiteY0" fmla="*/ 8328 h 10000"/>
                      <a:gd name="connsiteX1" fmla="*/ 9926 w 10069"/>
                      <a:gd name="connsiteY1" fmla="*/ 7710 h 10000"/>
                      <a:gd name="connsiteX2" fmla="*/ 8081 w 10069"/>
                      <a:gd name="connsiteY2" fmla="*/ 9610 h 10000"/>
                      <a:gd name="connsiteX3" fmla="*/ 7698 w 10069"/>
                      <a:gd name="connsiteY3" fmla="*/ 8857 h 10000"/>
                      <a:gd name="connsiteX4" fmla="*/ 7272 w 10069"/>
                      <a:gd name="connsiteY4" fmla="*/ 6771 h 10000"/>
                      <a:gd name="connsiteX5" fmla="*/ 6595 w 10069"/>
                      <a:gd name="connsiteY5" fmla="*/ 7758 h 10000"/>
                      <a:gd name="connsiteX6" fmla="*/ 3565 w 10069"/>
                      <a:gd name="connsiteY6" fmla="*/ 1168 h 10000"/>
                      <a:gd name="connsiteX7" fmla="*/ 2721 w 10069"/>
                      <a:gd name="connsiteY7" fmla="*/ 1602 h 10000"/>
                      <a:gd name="connsiteX8" fmla="*/ 2480 w 10069"/>
                      <a:gd name="connsiteY8" fmla="*/ 0 h 10000"/>
                      <a:gd name="connsiteX9" fmla="*/ 1978 w 10069"/>
                      <a:gd name="connsiteY9" fmla="*/ 985 h 10000"/>
                      <a:gd name="connsiteX10" fmla="*/ 869 w 10069"/>
                      <a:gd name="connsiteY10" fmla="*/ 70 h 10000"/>
                      <a:gd name="connsiteX11" fmla="*/ 192 w 10069"/>
                      <a:gd name="connsiteY11" fmla="*/ 643 h 10000"/>
                      <a:gd name="connsiteX12" fmla="*/ 117 w 10069"/>
                      <a:gd name="connsiteY12" fmla="*/ 183 h 10000"/>
                      <a:gd name="connsiteX13" fmla="*/ 0 w 10069"/>
                      <a:gd name="connsiteY13" fmla="*/ 343 h 10000"/>
                      <a:gd name="connsiteX14" fmla="*/ 125 w 10069"/>
                      <a:gd name="connsiteY14" fmla="*/ 1075 h 10000"/>
                      <a:gd name="connsiteX15" fmla="*/ 869 w 10069"/>
                      <a:gd name="connsiteY15" fmla="*/ 459 h 10000"/>
                      <a:gd name="connsiteX16" fmla="*/ 2004 w 10069"/>
                      <a:gd name="connsiteY16" fmla="*/ 1374 h 10000"/>
                      <a:gd name="connsiteX17" fmla="*/ 2422 w 10069"/>
                      <a:gd name="connsiteY17" fmla="*/ 526 h 10000"/>
                      <a:gd name="connsiteX18" fmla="*/ 2647 w 10069"/>
                      <a:gd name="connsiteY18" fmla="*/ 2012 h 10000"/>
                      <a:gd name="connsiteX19" fmla="*/ 3531 w 10069"/>
                      <a:gd name="connsiteY19" fmla="*/ 1533 h 10000"/>
                      <a:gd name="connsiteX20" fmla="*/ 6578 w 10069"/>
                      <a:gd name="connsiteY20" fmla="*/ 8168 h 10000"/>
                      <a:gd name="connsiteX21" fmla="*/ 7221 w 10069"/>
                      <a:gd name="connsiteY21" fmla="*/ 7255 h 10000"/>
                      <a:gd name="connsiteX22" fmla="*/ 7597 w 10069"/>
                      <a:gd name="connsiteY22" fmla="*/ 9086 h 10000"/>
                      <a:gd name="connsiteX23" fmla="*/ 8065 w 10069"/>
                      <a:gd name="connsiteY23" fmla="*/ 10000 h 10000"/>
                      <a:gd name="connsiteX24" fmla="*/ 9885 w 10069"/>
                      <a:gd name="connsiteY24" fmla="*/ 8124 h 10000"/>
                      <a:gd name="connsiteX25" fmla="*/ 9943 w 10069"/>
                      <a:gd name="connsiteY25" fmla="*/ 8328 h 100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</a:cxnLst>
                    <a:rect l="l" t="t" r="r" b="b"/>
                    <a:pathLst>
                      <a:path w="10069" h="10000">
                        <a:moveTo>
                          <a:pt x="9943" y="8328"/>
                        </a:moveTo>
                        <a:cubicBezTo>
                          <a:pt x="9950" y="8259"/>
                          <a:pt x="10236" y="7496"/>
                          <a:pt x="9926" y="7710"/>
                        </a:cubicBezTo>
                        <a:cubicBezTo>
                          <a:pt x="9616" y="7924"/>
                          <a:pt x="8696" y="8977"/>
                          <a:pt x="8081" y="9610"/>
                        </a:cubicBezTo>
                        <a:lnTo>
                          <a:pt x="7698" y="8857"/>
                        </a:lnTo>
                        <a:cubicBezTo>
                          <a:pt x="7555" y="8162"/>
                          <a:pt x="7414" y="7465"/>
                          <a:pt x="7272" y="6771"/>
                        </a:cubicBezTo>
                        <a:lnTo>
                          <a:pt x="6595" y="7758"/>
                        </a:lnTo>
                        <a:lnTo>
                          <a:pt x="3565" y="1168"/>
                        </a:lnTo>
                        <a:lnTo>
                          <a:pt x="2721" y="1602"/>
                        </a:lnTo>
                        <a:cubicBezTo>
                          <a:pt x="2641" y="1067"/>
                          <a:pt x="2561" y="533"/>
                          <a:pt x="2480" y="0"/>
                        </a:cubicBezTo>
                        <a:lnTo>
                          <a:pt x="1978" y="985"/>
                        </a:lnTo>
                        <a:lnTo>
                          <a:pt x="869" y="70"/>
                        </a:lnTo>
                        <a:lnTo>
                          <a:pt x="192" y="643"/>
                        </a:lnTo>
                        <a:cubicBezTo>
                          <a:pt x="167" y="490"/>
                          <a:pt x="142" y="334"/>
                          <a:pt x="117" y="183"/>
                        </a:cubicBezTo>
                        <a:cubicBezTo>
                          <a:pt x="78" y="235"/>
                          <a:pt x="39" y="290"/>
                          <a:pt x="0" y="343"/>
                        </a:cubicBezTo>
                        <a:cubicBezTo>
                          <a:pt x="41" y="586"/>
                          <a:pt x="84" y="829"/>
                          <a:pt x="125" y="1075"/>
                        </a:cubicBezTo>
                        <a:lnTo>
                          <a:pt x="869" y="459"/>
                        </a:lnTo>
                        <a:lnTo>
                          <a:pt x="2004" y="1374"/>
                        </a:lnTo>
                        <a:lnTo>
                          <a:pt x="2422" y="526"/>
                        </a:lnTo>
                        <a:cubicBezTo>
                          <a:pt x="2496" y="1021"/>
                          <a:pt x="2572" y="1515"/>
                          <a:pt x="2647" y="2012"/>
                        </a:cubicBezTo>
                        <a:lnTo>
                          <a:pt x="3531" y="1533"/>
                        </a:lnTo>
                        <a:lnTo>
                          <a:pt x="6578" y="8168"/>
                        </a:lnTo>
                        <a:lnTo>
                          <a:pt x="7221" y="7255"/>
                        </a:lnTo>
                        <a:cubicBezTo>
                          <a:pt x="7347" y="7865"/>
                          <a:pt x="7471" y="8475"/>
                          <a:pt x="7597" y="9086"/>
                        </a:cubicBezTo>
                        <a:lnTo>
                          <a:pt x="8065" y="10000"/>
                        </a:lnTo>
                        <a:lnTo>
                          <a:pt x="9885" y="8124"/>
                        </a:lnTo>
                        <a:cubicBezTo>
                          <a:pt x="9904" y="8193"/>
                          <a:pt x="9936" y="8397"/>
                          <a:pt x="9943" y="8328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</p:grpSp>
            <p:sp>
              <p:nvSpPr>
                <p:cNvPr id="126" name="Freeform 119"/>
                <p:cNvSpPr>
                  <a:spLocks/>
                </p:cNvSpPr>
                <p:nvPr/>
              </p:nvSpPr>
              <p:spPr bwMode="auto">
                <a:xfrm>
                  <a:off x="2600026" y="3876576"/>
                  <a:ext cx="938197" cy="125415"/>
                </a:xfrm>
                <a:custGeom>
                  <a:avLst/>
                  <a:gdLst>
                    <a:gd name="T0" fmla="*/ 460 w 648"/>
                    <a:gd name="T1" fmla="*/ 0 h 87"/>
                    <a:gd name="T2" fmla="*/ 306 w 648"/>
                    <a:gd name="T3" fmla="*/ 0 h 87"/>
                    <a:gd name="T4" fmla="*/ 334 w 648"/>
                    <a:gd name="T5" fmla="*/ 29 h 87"/>
                    <a:gd name="T6" fmla="*/ 334 w 648"/>
                    <a:gd name="T7" fmla="*/ 45 h 87"/>
                    <a:gd name="T8" fmla="*/ 211 w 648"/>
                    <a:gd name="T9" fmla="*/ 45 h 87"/>
                    <a:gd name="T10" fmla="*/ 211 w 648"/>
                    <a:gd name="T11" fmla="*/ 0 h 87"/>
                    <a:gd name="T12" fmla="*/ 43 w 648"/>
                    <a:gd name="T13" fmla="*/ 0 h 87"/>
                    <a:gd name="T14" fmla="*/ 0 w 648"/>
                    <a:gd name="T15" fmla="*/ 43 h 87"/>
                    <a:gd name="T16" fmla="*/ 43 w 648"/>
                    <a:gd name="T17" fmla="*/ 87 h 87"/>
                    <a:gd name="T18" fmla="*/ 604 w 648"/>
                    <a:gd name="T19" fmla="*/ 87 h 87"/>
                    <a:gd name="T20" fmla="*/ 648 w 648"/>
                    <a:gd name="T21" fmla="*/ 43 h 87"/>
                    <a:gd name="T22" fmla="*/ 647 w 648"/>
                    <a:gd name="T23" fmla="*/ 39 h 87"/>
                    <a:gd name="T24" fmla="*/ 460 w 648"/>
                    <a:gd name="T25" fmla="*/ 39 h 87"/>
                    <a:gd name="T26" fmla="*/ 460 w 648"/>
                    <a:gd name="T27" fmla="*/ 0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648" h="87">
                      <a:moveTo>
                        <a:pt x="460" y="0"/>
                      </a:moveTo>
                      <a:cubicBezTo>
                        <a:pt x="306" y="0"/>
                        <a:pt x="306" y="0"/>
                        <a:pt x="306" y="0"/>
                      </a:cubicBezTo>
                      <a:cubicBezTo>
                        <a:pt x="334" y="29"/>
                        <a:pt x="334" y="29"/>
                        <a:pt x="334" y="29"/>
                      </a:cubicBezTo>
                      <a:cubicBezTo>
                        <a:pt x="334" y="45"/>
                        <a:pt x="334" y="45"/>
                        <a:pt x="334" y="45"/>
                      </a:cubicBezTo>
                      <a:cubicBezTo>
                        <a:pt x="211" y="45"/>
                        <a:pt x="211" y="45"/>
                        <a:pt x="211" y="45"/>
                      </a:cubicBezTo>
                      <a:cubicBezTo>
                        <a:pt x="211" y="0"/>
                        <a:pt x="211" y="0"/>
                        <a:pt x="211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19" y="0"/>
                        <a:pt x="0" y="20"/>
                        <a:pt x="0" y="43"/>
                      </a:cubicBezTo>
                      <a:cubicBezTo>
                        <a:pt x="0" y="67"/>
                        <a:pt x="19" y="87"/>
                        <a:pt x="43" y="87"/>
                      </a:cubicBezTo>
                      <a:cubicBezTo>
                        <a:pt x="604" y="87"/>
                        <a:pt x="604" y="87"/>
                        <a:pt x="604" y="87"/>
                      </a:cubicBezTo>
                      <a:cubicBezTo>
                        <a:pt x="628" y="87"/>
                        <a:pt x="648" y="67"/>
                        <a:pt x="648" y="43"/>
                      </a:cubicBezTo>
                      <a:cubicBezTo>
                        <a:pt x="648" y="42"/>
                        <a:pt x="648" y="41"/>
                        <a:pt x="647" y="39"/>
                      </a:cubicBezTo>
                      <a:cubicBezTo>
                        <a:pt x="460" y="39"/>
                        <a:pt x="460" y="39"/>
                        <a:pt x="460" y="39"/>
                      </a:cubicBezTo>
                      <a:cubicBezTo>
                        <a:pt x="460" y="0"/>
                        <a:pt x="460" y="0"/>
                        <a:pt x="460" y="0"/>
                      </a:cubicBez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7" name="Rectangle 120"/>
                <p:cNvSpPr>
                  <a:spLocks noChangeArrowheads="1"/>
                </p:cNvSpPr>
                <p:nvPr/>
              </p:nvSpPr>
              <p:spPr bwMode="auto">
                <a:xfrm>
                  <a:off x="2904821" y="3186000"/>
                  <a:ext cx="100011" cy="655651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8" name="Rectangle 121"/>
                <p:cNvSpPr>
                  <a:spLocks noChangeArrowheads="1"/>
                </p:cNvSpPr>
                <p:nvPr/>
              </p:nvSpPr>
              <p:spPr bwMode="auto">
                <a:xfrm>
                  <a:off x="2904821" y="3186000"/>
                  <a:ext cx="100011" cy="6556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9" name="Freeform 122"/>
                <p:cNvSpPr>
                  <a:spLocks/>
                </p:cNvSpPr>
                <p:nvPr/>
              </p:nvSpPr>
              <p:spPr bwMode="auto">
                <a:xfrm>
                  <a:off x="2904821" y="3841651"/>
                  <a:ext cx="179385" cy="100015"/>
                </a:xfrm>
                <a:custGeom>
                  <a:avLst/>
                  <a:gdLst>
                    <a:gd name="T0" fmla="*/ 113 w 113"/>
                    <a:gd name="T1" fmla="*/ 48 h 63"/>
                    <a:gd name="T2" fmla="*/ 64 w 113"/>
                    <a:gd name="T3" fmla="*/ 0 h 63"/>
                    <a:gd name="T4" fmla="*/ 0 w 113"/>
                    <a:gd name="T5" fmla="*/ 0 h 63"/>
                    <a:gd name="T6" fmla="*/ 0 w 113"/>
                    <a:gd name="T7" fmla="*/ 63 h 63"/>
                    <a:gd name="T8" fmla="*/ 113 w 113"/>
                    <a:gd name="T9" fmla="*/ 63 h 63"/>
                    <a:gd name="T10" fmla="*/ 113 w 113"/>
                    <a:gd name="T11" fmla="*/ 48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13" h="63">
                      <a:moveTo>
                        <a:pt x="113" y="48"/>
                      </a:moveTo>
                      <a:lnTo>
                        <a:pt x="64" y="0"/>
                      </a:lnTo>
                      <a:lnTo>
                        <a:pt x="0" y="0"/>
                      </a:lnTo>
                      <a:lnTo>
                        <a:pt x="0" y="63"/>
                      </a:lnTo>
                      <a:lnTo>
                        <a:pt x="113" y="63"/>
                      </a:lnTo>
                      <a:lnTo>
                        <a:pt x="113" y="48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0" name="Freeform 123"/>
                <p:cNvSpPr>
                  <a:spLocks/>
                </p:cNvSpPr>
                <p:nvPr/>
              </p:nvSpPr>
              <p:spPr bwMode="auto">
                <a:xfrm>
                  <a:off x="2904821" y="3841651"/>
                  <a:ext cx="179385" cy="100015"/>
                </a:xfrm>
                <a:custGeom>
                  <a:avLst/>
                  <a:gdLst>
                    <a:gd name="T0" fmla="*/ 113 w 113"/>
                    <a:gd name="T1" fmla="*/ 48 h 63"/>
                    <a:gd name="T2" fmla="*/ 64 w 113"/>
                    <a:gd name="T3" fmla="*/ 0 h 63"/>
                    <a:gd name="T4" fmla="*/ 0 w 113"/>
                    <a:gd name="T5" fmla="*/ 0 h 63"/>
                    <a:gd name="T6" fmla="*/ 0 w 113"/>
                    <a:gd name="T7" fmla="*/ 63 h 63"/>
                    <a:gd name="T8" fmla="*/ 113 w 113"/>
                    <a:gd name="T9" fmla="*/ 63 h 63"/>
                    <a:gd name="T10" fmla="*/ 113 w 113"/>
                    <a:gd name="T11" fmla="*/ 48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13" h="63">
                      <a:moveTo>
                        <a:pt x="113" y="48"/>
                      </a:moveTo>
                      <a:lnTo>
                        <a:pt x="64" y="0"/>
                      </a:lnTo>
                      <a:lnTo>
                        <a:pt x="0" y="0"/>
                      </a:lnTo>
                      <a:lnTo>
                        <a:pt x="0" y="63"/>
                      </a:lnTo>
                      <a:lnTo>
                        <a:pt x="113" y="63"/>
                      </a:lnTo>
                      <a:lnTo>
                        <a:pt x="113" y="48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1" name="Rectangle 124"/>
                <p:cNvSpPr>
                  <a:spLocks noChangeArrowheads="1"/>
                </p:cNvSpPr>
                <p:nvPr/>
              </p:nvSpPr>
              <p:spPr bwMode="auto">
                <a:xfrm>
                  <a:off x="2904821" y="3216163"/>
                  <a:ext cx="49212" cy="625488"/>
                </a:xfrm>
                <a:prstGeom prst="rect">
                  <a:avLst/>
                </a:prstGeom>
                <a:solidFill>
                  <a:schemeClr val="tx1">
                    <a:lumMod val="65000"/>
                    <a:lumOff val="3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2" name="Rectangle 125"/>
                <p:cNvSpPr>
                  <a:spLocks noChangeArrowheads="1"/>
                </p:cNvSpPr>
                <p:nvPr/>
              </p:nvSpPr>
              <p:spPr bwMode="auto">
                <a:xfrm>
                  <a:off x="2904821" y="3216163"/>
                  <a:ext cx="49212" cy="6254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3" name="Rectangle 126"/>
                <p:cNvSpPr>
                  <a:spLocks noChangeArrowheads="1"/>
                </p:cNvSpPr>
                <p:nvPr/>
              </p:nvSpPr>
              <p:spPr bwMode="auto">
                <a:xfrm>
                  <a:off x="2904821" y="3841651"/>
                  <a:ext cx="49212" cy="100015"/>
                </a:xfrm>
                <a:prstGeom prst="rect">
                  <a:avLst/>
                </a:prstGeom>
                <a:solidFill>
                  <a:srgbClr val="001B4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4" name="Rectangle 127"/>
                <p:cNvSpPr>
                  <a:spLocks noChangeArrowheads="1"/>
                </p:cNvSpPr>
                <p:nvPr/>
              </p:nvSpPr>
              <p:spPr bwMode="auto">
                <a:xfrm>
                  <a:off x="2904821" y="3841651"/>
                  <a:ext cx="49212" cy="10001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5" name="Freeform 128"/>
                <p:cNvSpPr>
                  <a:spLocks noEditPoints="1"/>
                </p:cNvSpPr>
                <p:nvPr/>
              </p:nvSpPr>
              <p:spPr bwMode="auto">
                <a:xfrm>
                  <a:off x="3071505" y="3133611"/>
                  <a:ext cx="387344" cy="490548"/>
                </a:xfrm>
                <a:custGeom>
                  <a:avLst/>
                  <a:gdLst>
                    <a:gd name="T0" fmla="*/ 138 w 267"/>
                    <a:gd name="T1" fmla="*/ 318 h 340"/>
                    <a:gd name="T2" fmla="*/ 192 w 267"/>
                    <a:gd name="T3" fmla="*/ 176 h 340"/>
                    <a:gd name="T4" fmla="*/ 0 w 267"/>
                    <a:gd name="T5" fmla="*/ 54 h 340"/>
                    <a:gd name="T6" fmla="*/ 34 w 267"/>
                    <a:gd name="T7" fmla="*/ 0 h 340"/>
                    <a:gd name="T8" fmla="*/ 248 w 267"/>
                    <a:gd name="T9" fmla="*/ 136 h 340"/>
                    <a:gd name="T10" fmla="*/ 261 w 267"/>
                    <a:gd name="T11" fmla="*/ 174 h 340"/>
                    <a:gd name="T12" fmla="*/ 198 w 267"/>
                    <a:gd name="T13" fmla="*/ 340 h 340"/>
                    <a:gd name="T14" fmla="*/ 138 w 267"/>
                    <a:gd name="T15" fmla="*/ 318 h 340"/>
                    <a:gd name="T16" fmla="*/ 0 w 267"/>
                    <a:gd name="T17" fmla="*/ 54 h 340"/>
                    <a:gd name="T18" fmla="*/ 0 w 267"/>
                    <a:gd name="T19" fmla="*/ 54 h 340"/>
                    <a:gd name="T20" fmla="*/ 0 w 267"/>
                    <a:gd name="T21" fmla="*/ 54 h 340"/>
                    <a:gd name="T22" fmla="*/ 0 w 267"/>
                    <a:gd name="T23" fmla="*/ 54 h 3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67" h="340">
                      <a:moveTo>
                        <a:pt x="138" y="318"/>
                      </a:moveTo>
                      <a:cubicBezTo>
                        <a:pt x="192" y="176"/>
                        <a:pt x="192" y="176"/>
                        <a:pt x="192" y="176"/>
                      </a:cubicBezTo>
                      <a:cubicBezTo>
                        <a:pt x="0" y="54"/>
                        <a:pt x="0" y="54"/>
                        <a:pt x="0" y="54"/>
                      </a:cubicBezTo>
                      <a:cubicBezTo>
                        <a:pt x="34" y="0"/>
                        <a:pt x="34" y="0"/>
                        <a:pt x="34" y="0"/>
                      </a:cubicBezTo>
                      <a:cubicBezTo>
                        <a:pt x="248" y="136"/>
                        <a:pt x="248" y="136"/>
                        <a:pt x="248" y="136"/>
                      </a:cubicBezTo>
                      <a:cubicBezTo>
                        <a:pt x="261" y="144"/>
                        <a:pt x="267" y="160"/>
                        <a:pt x="261" y="174"/>
                      </a:cubicBezTo>
                      <a:cubicBezTo>
                        <a:pt x="198" y="340"/>
                        <a:pt x="198" y="340"/>
                        <a:pt x="198" y="340"/>
                      </a:cubicBezTo>
                      <a:cubicBezTo>
                        <a:pt x="138" y="318"/>
                        <a:pt x="138" y="318"/>
                        <a:pt x="138" y="318"/>
                      </a:cubicBezTo>
                      <a:moveTo>
                        <a:pt x="0" y="54"/>
                      </a:moveTo>
                      <a:cubicBezTo>
                        <a:pt x="0" y="54"/>
                        <a:pt x="0" y="54"/>
                        <a:pt x="0" y="54"/>
                      </a:cubicBezTo>
                      <a:cubicBezTo>
                        <a:pt x="0" y="54"/>
                        <a:pt x="0" y="54"/>
                        <a:pt x="0" y="54"/>
                      </a:cubicBezTo>
                      <a:cubicBezTo>
                        <a:pt x="0" y="54"/>
                        <a:pt x="0" y="54"/>
                        <a:pt x="0" y="54"/>
                      </a:cubicBezTo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129"/>
                <p:cNvSpPr>
                  <a:spLocks/>
                </p:cNvSpPr>
                <p:nvPr/>
              </p:nvSpPr>
              <p:spPr bwMode="auto">
                <a:xfrm>
                  <a:off x="3271527" y="3589233"/>
                  <a:ext cx="179385" cy="100015"/>
                </a:xfrm>
                <a:custGeom>
                  <a:avLst/>
                  <a:gdLst>
                    <a:gd name="T0" fmla="*/ 113 w 113"/>
                    <a:gd name="T1" fmla="*/ 48 h 63"/>
                    <a:gd name="T2" fmla="*/ 65 w 113"/>
                    <a:gd name="T3" fmla="*/ 0 h 63"/>
                    <a:gd name="T4" fmla="*/ 0 w 113"/>
                    <a:gd name="T5" fmla="*/ 0 h 63"/>
                    <a:gd name="T6" fmla="*/ 0 w 113"/>
                    <a:gd name="T7" fmla="*/ 63 h 63"/>
                    <a:gd name="T8" fmla="*/ 113 w 113"/>
                    <a:gd name="T9" fmla="*/ 63 h 63"/>
                    <a:gd name="T10" fmla="*/ 113 w 113"/>
                    <a:gd name="T11" fmla="*/ 48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13" h="63">
                      <a:moveTo>
                        <a:pt x="113" y="48"/>
                      </a:moveTo>
                      <a:lnTo>
                        <a:pt x="65" y="0"/>
                      </a:lnTo>
                      <a:lnTo>
                        <a:pt x="0" y="0"/>
                      </a:lnTo>
                      <a:lnTo>
                        <a:pt x="0" y="63"/>
                      </a:lnTo>
                      <a:lnTo>
                        <a:pt x="113" y="63"/>
                      </a:lnTo>
                      <a:lnTo>
                        <a:pt x="113" y="48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130"/>
                <p:cNvSpPr>
                  <a:spLocks/>
                </p:cNvSpPr>
                <p:nvPr/>
              </p:nvSpPr>
              <p:spPr bwMode="auto">
                <a:xfrm>
                  <a:off x="3271527" y="3589233"/>
                  <a:ext cx="179385" cy="100015"/>
                </a:xfrm>
                <a:custGeom>
                  <a:avLst/>
                  <a:gdLst>
                    <a:gd name="T0" fmla="*/ 113 w 113"/>
                    <a:gd name="T1" fmla="*/ 48 h 63"/>
                    <a:gd name="T2" fmla="*/ 65 w 113"/>
                    <a:gd name="T3" fmla="*/ 0 h 63"/>
                    <a:gd name="T4" fmla="*/ 0 w 113"/>
                    <a:gd name="T5" fmla="*/ 0 h 63"/>
                    <a:gd name="T6" fmla="*/ 0 w 113"/>
                    <a:gd name="T7" fmla="*/ 63 h 63"/>
                    <a:gd name="T8" fmla="*/ 113 w 113"/>
                    <a:gd name="T9" fmla="*/ 63 h 63"/>
                    <a:gd name="T10" fmla="*/ 113 w 113"/>
                    <a:gd name="T11" fmla="*/ 48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13" h="63">
                      <a:moveTo>
                        <a:pt x="113" y="48"/>
                      </a:moveTo>
                      <a:lnTo>
                        <a:pt x="65" y="0"/>
                      </a:lnTo>
                      <a:lnTo>
                        <a:pt x="0" y="0"/>
                      </a:lnTo>
                      <a:lnTo>
                        <a:pt x="0" y="63"/>
                      </a:lnTo>
                      <a:lnTo>
                        <a:pt x="113" y="63"/>
                      </a:lnTo>
                      <a:lnTo>
                        <a:pt x="113" y="48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131"/>
                <p:cNvSpPr>
                  <a:spLocks/>
                </p:cNvSpPr>
                <p:nvPr/>
              </p:nvSpPr>
              <p:spPr bwMode="auto">
                <a:xfrm>
                  <a:off x="3081030" y="3216163"/>
                  <a:ext cx="315907" cy="373070"/>
                </a:xfrm>
                <a:custGeom>
                  <a:avLst/>
                  <a:gdLst>
                    <a:gd name="T0" fmla="*/ 46 w 199"/>
                    <a:gd name="T1" fmla="*/ 0 h 235"/>
                    <a:gd name="T2" fmla="*/ 0 w 199"/>
                    <a:gd name="T3" fmla="*/ 0 h 235"/>
                    <a:gd name="T4" fmla="*/ 169 w 199"/>
                    <a:gd name="T5" fmla="*/ 108 h 235"/>
                    <a:gd name="T6" fmla="*/ 121 w 199"/>
                    <a:gd name="T7" fmla="*/ 235 h 235"/>
                    <a:gd name="T8" fmla="*/ 121 w 199"/>
                    <a:gd name="T9" fmla="*/ 235 h 235"/>
                    <a:gd name="T10" fmla="*/ 150 w 199"/>
                    <a:gd name="T11" fmla="*/ 235 h 235"/>
                    <a:gd name="T12" fmla="*/ 150 w 199"/>
                    <a:gd name="T13" fmla="*/ 233 h 235"/>
                    <a:gd name="T14" fmla="*/ 199 w 199"/>
                    <a:gd name="T15" fmla="*/ 96 h 235"/>
                    <a:gd name="T16" fmla="*/ 46 w 199"/>
                    <a:gd name="T17" fmla="*/ 0 h 2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99" h="235">
                      <a:moveTo>
                        <a:pt x="46" y="0"/>
                      </a:moveTo>
                      <a:lnTo>
                        <a:pt x="0" y="0"/>
                      </a:lnTo>
                      <a:lnTo>
                        <a:pt x="169" y="108"/>
                      </a:lnTo>
                      <a:lnTo>
                        <a:pt x="121" y="235"/>
                      </a:lnTo>
                      <a:lnTo>
                        <a:pt x="121" y="235"/>
                      </a:lnTo>
                      <a:lnTo>
                        <a:pt x="150" y="235"/>
                      </a:lnTo>
                      <a:lnTo>
                        <a:pt x="150" y="233"/>
                      </a:lnTo>
                      <a:lnTo>
                        <a:pt x="199" y="96"/>
                      </a:lnTo>
                      <a:lnTo>
                        <a:pt x="46" y="0"/>
                      </a:lnTo>
                      <a:close/>
                    </a:path>
                  </a:pathLst>
                </a:custGeom>
                <a:solidFill>
                  <a:schemeClr val="tx1">
                    <a:lumMod val="65000"/>
                    <a:lumOff val="3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132"/>
                <p:cNvSpPr>
                  <a:spLocks/>
                </p:cNvSpPr>
                <p:nvPr/>
              </p:nvSpPr>
              <p:spPr bwMode="auto">
                <a:xfrm>
                  <a:off x="3081030" y="3216163"/>
                  <a:ext cx="315907" cy="373070"/>
                </a:xfrm>
                <a:custGeom>
                  <a:avLst/>
                  <a:gdLst>
                    <a:gd name="T0" fmla="*/ 46 w 199"/>
                    <a:gd name="T1" fmla="*/ 0 h 235"/>
                    <a:gd name="T2" fmla="*/ 0 w 199"/>
                    <a:gd name="T3" fmla="*/ 0 h 235"/>
                    <a:gd name="T4" fmla="*/ 169 w 199"/>
                    <a:gd name="T5" fmla="*/ 108 h 235"/>
                    <a:gd name="T6" fmla="*/ 121 w 199"/>
                    <a:gd name="T7" fmla="*/ 235 h 235"/>
                    <a:gd name="T8" fmla="*/ 121 w 199"/>
                    <a:gd name="T9" fmla="*/ 235 h 235"/>
                    <a:gd name="T10" fmla="*/ 150 w 199"/>
                    <a:gd name="T11" fmla="*/ 235 h 235"/>
                    <a:gd name="T12" fmla="*/ 150 w 199"/>
                    <a:gd name="T13" fmla="*/ 233 h 235"/>
                    <a:gd name="T14" fmla="*/ 199 w 199"/>
                    <a:gd name="T15" fmla="*/ 96 h 235"/>
                    <a:gd name="T16" fmla="*/ 46 w 199"/>
                    <a:gd name="T17" fmla="*/ 0 h 2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99" h="235">
                      <a:moveTo>
                        <a:pt x="46" y="0"/>
                      </a:moveTo>
                      <a:lnTo>
                        <a:pt x="0" y="0"/>
                      </a:lnTo>
                      <a:lnTo>
                        <a:pt x="169" y="108"/>
                      </a:lnTo>
                      <a:lnTo>
                        <a:pt x="121" y="235"/>
                      </a:lnTo>
                      <a:lnTo>
                        <a:pt x="121" y="235"/>
                      </a:lnTo>
                      <a:lnTo>
                        <a:pt x="150" y="235"/>
                      </a:lnTo>
                      <a:lnTo>
                        <a:pt x="150" y="233"/>
                      </a:lnTo>
                      <a:lnTo>
                        <a:pt x="199" y="96"/>
                      </a:lnTo>
                      <a:lnTo>
                        <a:pt x="46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33"/>
                <p:cNvSpPr>
                  <a:spLocks/>
                </p:cNvSpPr>
                <p:nvPr/>
              </p:nvSpPr>
              <p:spPr bwMode="auto">
                <a:xfrm>
                  <a:off x="3271527" y="3589233"/>
                  <a:ext cx="47624" cy="76202"/>
                </a:xfrm>
                <a:custGeom>
                  <a:avLst/>
                  <a:gdLst>
                    <a:gd name="T0" fmla="*/ 30 w 30"/>
                    <a:gd name="T1" fmla="*/ 0 h 48"/>
                    <a:gd name="T2" fmla="*/ 1 w 30"/>
                    <a:gd name="T3" fmla="*/ 0 h 48"/>
                    <a:gd name="T4" fmla="*/ 0 w 30"/>
                    <a:gd name="T5" fmla="*/ 0 h 48"/>
                    <a:gd name="T6" fmla="*/ 0 w 30"/>
                    <a:gd name="T7" fmla="*/ 48 h 48"/>
                    <a:gd name="T8" fmla="*/ 30 w 30"/>
                    <a:gd name="T9" fmla="*/ 48 h 48"/>
                    <a:gd name="T10" fmla="*/ 30 w 30"/>
                    <a:gd name="T11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0" h="48">
                      <a:moveTo>
                        <a:pt x="30" y="0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48"/>
                      </a:lnTo>
                      <a:lnTo>
                        <a:pt x="30" y="48"/>
                      </a:lnTo>
                      <a:lnTo>
                        <a:pt x="30" y="0"/>
                      </a:lnTo>
                      <a:close/>
                    </a:path>
                  </a:pathLst>
                </a:custGeom>
                <a:solidFill>
                  <a:srgbClr val="001B4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34"/>
                <p:cNvSpPr>
                  <a:spLocks/>
                </p:cNvSpPr>
                <p:nvPr/>
              </p:nvSpPr>
              <p:spPr bwMode="auto">
                <a:xfrm>
                  <a:off x="3271527" y="3589233"/>
                  <a:ext cx="47624" cy="76202"/>
                </a:xfrm>
                <a:custGeom>
                  <a:avLst/>
                  <a:gdLst>
                    <a:gd name="T0" fmla="*/ 30 w 30"/>
                    <a:gd name="T1" fmla="*/ 0 h 48"/>
                    <a:gd name="T2" fmla="*/ 1 w 30"/>
                    <a:gd name="T3" fmla="*/ 0 h 48"/>
                    <a:gd name="T4" fmla="*/ 0 w 30"/>
                    <a:gd name="T5" fmla="*/ 0 h 48"/>
                    <a:gd name="T6" fmla="*/ 0 w 30"/>
                    <a:gd name="T7" fmla="*/ 48 h 48"/>
                    <a:gd name="T8" fmla="*/ 30 w 30"/>
                    <a:gd name="T9" fmla="*/ 48 h 48"/>
                    <a:gd name="T10" fmla="*/ 30 w 30"/>
                    <a:gd name="T11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0" h="48">
                      <a:moveTo>
                        <a:pt x="30" y="0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48"/>
                      </a:lnTo>
                      <a:lnTo>
                        <a:pt x="30" y="48"/>
                      </a:lnTo>
                      <a:lnTo>
                        <a:pt x="30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Rectangle 135"/>
                <p:cNvSpPr>
                  <a:spLocks noChangeArrowheads="1"/>
                </p:cNvSpPr>
                <p:nvPr/>
              </p:nvSpPr>
              <p:spPr bwMode="auto">
                <a:xfrm>
                  <a:off x="2738136" y="2382708"/>
                  <a:ext cx="471480" cy="638188"/>
                </a:xfrm>
                <a:prstGeom prst="rect">
                  <a:avLst/>
                </a:pr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Rectangle 136"/>
                <p:cNvSpPr>
                  <a:spLocks noChangeArrowheads="1"/>
                </p:cNvSpPr>
                <p:nvPr/>
              </p:nvSpPr>
              <p:spPr bwMode="auto">
                <a:xfrm>
                  <a:off x="2738136" y="2382708"/>
                  <a:ext cx="471480" cy="6381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Rectangle 137"/>
                <p:cNvSpPr>
                  <a:spLocks noChangeArrowheads="1"/>
                </p:cNvSpPr>
                <p:nvPr/>
              </p:nvSpPr>
              <p:spPr bwMode="auto">
                <a:xfrm>
                  <a:off x="2738136" y="3044709"/>
                  <a:ext cx="471480" cy="147641"/>
                </a:xfrm>
                <a:prstGeom prst="rect">
                  <a:avLst/>
                </a:pr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Rectangle 138"/>
                <p:cNvSpPr>
                  <a:spLocks noChangeArrowheads="1"/>
                </p:cNvSpPr>
                <p:nvPr/>
              </p:nvSpPr>
              <p:spPr bwMode="auto">
                <a:xfrm>
                  <a:off x="2738136" y="3044709"/>
                  <a:ext cx="471480" cy="14764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39"/>
                <p:cNvSpPr>
                  <a:spLocks/>
                </p:cNvSpPr>
                <p:nvPr/>
              </p:nvSpPr>
              <p:spPr bwMode="auto">
                <a:xfrm>
                  <a:off x="2792110" y="2382708"/>
                  <a:ext cx="417506" cy="638188"/>
                </a:xfrm>
                <a:custGeom>
                  <a:avLst/>
                  <a:gdLst>
                    <a:gd name="T0" fmla="*/ 288 w 288"/>
                    <a:gd name="T1" fmla="*/ 0 h 442"/>
                    <a:gd name="T2" fmla="*/ 247 w 288"/>
                    <a:gd name="T3" fmla="*/ 0 h 442"/>
                    <a:gd name="T4" fmla="*/ 180 w 288"/>
                    <a:gd name="T5" fmla="*/ 28 h 442"/>
                    <a:gd name="T6" fmla="*/ 149 w 288"/>
                    <a:gd name="T7" fmla="*/ 20 h 442"/>
                    <a:gd name="T8" fmla="*/ 148 w 288"/>
                    <a:gd name="T9" fmla="*/ 21 h 442"/>
                    <a:gd name="T10" fmla="*/ 139 w 288"/>
                    <a:gd name="T11" fmla="*/ 21 h 442"/>
                    <a:gd name="T12" fmla="*/ 83 w 288"/>
                    <a:gd name="T13" fmla="*/ 0 h 442"/>
                    <a:gd name="T14" fmla="*/ 0 w 288"/>
                    <a:gd name="T15" fmla="*/ 0 h 442"/>
                    <a:gd name="T16" fmla="*/ 0 w 288"/>
                    <a:gd name="T17" fmla="*/ 442 h 442"/>
                    <a:gd name="T18" fmla="*/ 31 w 288"/>
                    <a:gd name="T19" fmla="*/ 442 h 442"/>
                    <a:gd name="T20" fmla="*/ 31 w 288"/>
                    <a:gd name="T21" fmla="*/ 60 h 442"/>
                    <a:gd name="T22" fmla="*/ 288 w 288"/>
                    <a:gd name="T23" fmla="*/ 60 h 442"/>
                    <a:gd name="T24" fmla="*/ 288 w 288"/>
                    <a:gd name="T25" fmla="*/ 0 h 4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88" h="442">
                      <a:moveTo>
                        <a:pt x="288" y="0"/>
                      </a:moveTo>
                      <a:cubicBezTo>
                        <a:pt x="247" y="0"/>
                        <a:pt x="247" y="0"/>
                        <a:pt x="247" y="0"/>
                      </a:cubicBezTo>
                      <a:cubicBezTo>
                        <a:pt x="226" y="17"/>
                        <a:pt x="203" y="28"/>
                        <a:pt x="180" y="28"/>
                      </a:cubicBezTo>
                      <a:cubicBezTo>
                        <a:pt x="170" y="28"/>
                        <a:pt x="159" y="26"/>
                        <a:pt x="149" y="20"/>
                      </a:cubicBezTo>
                      <a:cubicBezTo>
                        <a:pt x="148" y="21"/>
                        <a:pt x="148" y="21"/>
                        <a:pt x="148" y="21"/>
                      </a:cubicBezTo>
                      <a:cubicBezTo>
                        <a:pt x="148" y="21"/>
                        <a:pt x="145" y="21"/>
                        <a:pt x="139" y="21"/>
                      </a:cubicBezTo>
                      <a:cubicBezTo>
                        <a:pt x="126" y="21"/>
                        <a:pt x="100" y="19"/>
                        <a:pt x="8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442"/>
                        <a:pt x="0" y="442"/>
                        <a:pt x="0" y="442"/>
                      </a:cubicBezTo>
                      <a:cubicBezTo>
                        <a:pt x="31" y="442"/>
                        <a:pt x="31" y="442"/>
                        <a:pt x="31" y="442"/>
                      </a:cubicBezTo>
                      <a:cubicBezTo>
                        <a:pt x="31" y="60"/>
                        <a:pt x="31" y="60"/>
                        <a:pt x="31" y="60"/>
                      </a:cubicBezTo>
                      <a:cubicBezTo>
                        <a:pt x="288" y="60"/>
                        <a:pt x="288" y="60"/>
                        <a:pt x="288" y="60"/>
                      </a:cubicBezTo>
                      <a:cubicBezTo>
                        <a:pt x="288" y="0"/>
                        <a:pt x="288" y="0"/>
                        <a:pt x="288" y="0"/>
                      </a:cubicBezTo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Rectangle 140"/>
                <p:cNvSpPr>
                  <a:spLocks noChangeArrowheads="1"/>
                </p:cNvSpPr>
                <p:nvPr/>
              </p:nvSpPr>
              <p:spPr bwMode="auto">
                <a:xfrm>
                  <a:off x="2792110" y="3044709"/>
                  <a:ext cx="46037" cy="147641"/>
                </a:xfrm>
                <a:prstGeom prst="rect">
                  <a:avLst/>
                </a:pr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Rectangle 141"/>
                <p:cNvSpPr>
                  <a:spLocks noChangeArrowheads="1"/>
                </p:cNvSpPr>
                <p:nvPr/>
              </p:nvSpPr>
              <p:spPr bwMode="auto">
                <a:xfrm>
                  <a:off x="2792110" y="3044709"/>
                  <a:ext cx="46037" cy="14764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42"/>
                <p:cNvSpPr>
                  <a:spLocks/>
                </p:cNvSpPr>
                <p:nvPr/>
              </p:nvSpPr>
              <p:spPr bwMode="auto">
                <a:xfrm>
                  <a:off x="2838147" y="2468435"/>
                  <a:ext cx="411156" cy="747728"/>
                </a:xfrm>
                <a:custGeom>
                  <a:avLst/>
                  <a:gdLst>
                    <a:gd name="T0" fmla="*/ 285 w 285"/>
                    <a:gd name="T1" fmla="*/ 230 h 517"/>
                    <a:gd name="T2" fmla="*/ 285 w 285"/>
                    <a:gd name="T3" fmla="*/ 0 h 517"/>
                    <a:gd name="T4" fmla="*/ 0 w 285"/>
                    <a:gd name="T5" fmla="*/ 0 h 517"/>
                    <a:gd name="T6" fmla="*/ 0 w 285"/>
                    <a:gd name="T7" fmla="*/ 517 h 517"/>
                    <a:gd name="T8" fmla="*/ 285 w 285"/>
                    <a:gd name="T9" fmla="*/ 517 h 517"/>
                    <a:gd name="T10" fmla="*/ 257 w 285"/>
                    <a:gd name="T11" fmla="*/ 230 h 517"/>
                    <a:gd name="T12" fmla="*/ 285 w 285"/>
                    <a:gd name="T13" fmla="*/ 230 h 5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85" h="517">
                      <a:moveTo>
                        <a:pt x="285" y="230"/>
                      </a:moveTo>
                      <a:cubicBezTo>
                        <a:pt x="285" y="0"/>
                        <a:pt x="285" y="0"/>
                        <a:pt x="285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517"/>
                        <a:pt x="0" y="517"/>
                        <a:pt x="0" y="517"/>
                      </a:cubicBezTo>
                      <a:cubicBezTo>
                        <a:pt x="285" y="517"/>
                        <a:pt x="285" y="517"/>
                        <a:pt x="285" y="517"/>
                      </a:cubicBezTo>
                      <a:cubicBezTo>
                        <a:pt x="285" y="517"/>
                        <a:pt x="278" y="276"/>
                        <a:pt x="257" y="230"/>
                      </a:cubicBezTo>
                      <a:cubicBezTo>
                        <a:pt x="285" y="230"/>
                        <a:pt x="285" y="230"/>
                        <a:pt x="285" y="230"/>
                      </a:cubicBezTo>
                    </a:path>
                  </a:pathLst>
                </a:custGeom>
                <a:solidFill>
                  <a:srgbClr val="E1623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143"/>
                <p:cNvSpPr>
                  <a:spLocks noEditPoints="1"/>
                </p:cNvSpPr>
                <p:nvPr/>
              </p:nvSpPr>
              <p:spPr bwMode="auto">
                <a:xfrm>
                  <a:off x="3249302" y="3216163"/>
                  <a:ext cx="0" cy="0"/>
                </a:xfrm>
                <a:custGeom>
                  <a:avLst/>
                  <a:gdLst>
                    <a:gd name="T0" fmla="*/ 1 h 1"/>
                    <a:gd name="T1" fmla="*/ 1 h 1"/>
                    <a:gd name="T2" fmla="*/ 1 h 1"/>
                    <a:gd name="T3" fmla="*/ 0 h 1"/>
                    <a:gd name="T4" fmla="*/ 1 h 1"/>
                    <a:gd name="T5" fmla="*/ 0 h 1"/>
                    <a:gd name="T6" fmla="*/ 0 h 1"/>
                    <a:gd name="T7" fmla="*/ 0 h 1"/>
                    <a:gd name="T8" fmla="*/ 0 h 1"/>
                    <a:gd name="T9" fmla="*/ 0 h 1"/>
                    <a:gd name="T10" fmla="*/ 0 h 1"/>
                    <a:gd name="T11" fmla="*/ 0 h 1"/>
                    <a:gd name="T12" fmla="*/ 0 h 1"/>
                    <a:gd name="T13" fmla="*/ 0 h 1"/>
                    <a:gd name="T14" fmla="*/ 0 h 1"/>
                    <a:gd name="T15" fmla="*/ 0 h 1"/>
                    <a:gd name="T16" fmla="*/ 0 h 1"/>
                    <a:gd name="T17" fmla="*/ 0 h 1"/>
                    <a:gd name="T18" fmla="*/ 0 h 1"/>
                    <a:gd name="T19" fmla="*/ 0 h 1"/>
                    <a:gd name="T20" fmla="*/ 0 h 1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  <a:cxn ang="0">
                      <a:pos x="0" y="T5"/>
                    </a:cxn>
                    <a:cxn ang="0">
                      <a:pos x="0" y="T6"/>
                    </a:cxn>
                    <a:cxn ang="0">
                      <a:pos x="0" y="T7"/>
                    </a:cxn>
                    <a:cxn ang="0">
                      <a:pos x="0" y="T8"/>
                    </a:cxn>
                    <a:cxn ang="0">
                      <a:pos x="0" y="T9"/>
                    </a:cxn>
                    <a:cxn ang="0">
                      <a:pos x="0" y="T10"/>
                    </a:cxn>
                    <a:cxn ang="0">
                      <a:pos x="0" y="T11"/>
                    </a:cxn>
                    <a:cxn ang="0">
                      <a:pos x="0" y="T12"/>
                    </a:cxn>
                    <a:cxn ang="0">
                      <a:pos x="0" y="T13"/>
                    </a:cxn>
                    <a:cxn ang="0">
                      <a:pos x="0" y="T14"/>
                    </a:cxn>
                    <a:cxn ang="0">
                      <a:pos x="0" y="T15"/>
                    </a:cxn>
                    <a:cxn ang="0">
                      <a:pos x="0" y="T16"/>
                    </a:cxn>
                    <a:cxn ang="0">
                      <a:pos x="0" y="T17"/>
                    </a:cxn>
                    <a:cxn ang="0">
                      <a:pos x="0" y="T18"/>
                    </a:cxn>
                    <a:cxn ang="0">
                      <a:pos x="0" y="T19"/>
                    </a:cxn>
                    <a:cxn ang="0">
                      <a:pos x="0" y="T20"/>
                    </a:cxn>
                  </a:cxnLst>
                  <a:rect l="0" t="0" r="r" b="b"/>
                  <a:pathLst>
                    <a:path h="1">
                      <a:moveTo>
                        <a:pt x="0" y="1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moveTo>
                        <a:pt x="0" y="0"/>
                      </a:move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0" y="1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00A9D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144"/>
                <p:cNvSpPr>
                  <a:spLocks/>
                </p:cNvSpPr>
                <p:nvPr/>
              </p:nvSpPr>
              <p:spPr bwMode="auto">
                <a:xfrm>
                  <a:off x="2838147" y="2668464"/>
                  <a:ext cx="411156" cy="547699"/>
                </a:xfrm>
                <a:custGeom>
                  <a:avLst/>
                  <a:gdLst>
                    <a:gd name="T0" fmla="*/ 0 w 285"/>
                    <a:gd name="T1" fmla="*/ 0 h 379"/>
                    <a:gd name="T2" fmla="*/ 0 w 285"/>
                    <a:gd name="T3" fmla="*/ 379 h 379"/>
                    <a:gd name="T4" fmla="*/ 285 w 285"/>
                    <a:gd name="T5" fmla="*/ 379 h 379"/>
                    <a:gd name="T6" fmla="*/ 285 w 285"/>
                    <a:gd name="T7" fmla="*/ 379 h 379"/>
                    <a:gd name="T8" fmla="*/ 285 w 285"/>
                    <a:gd name="T9" fmla="*/ 379 h 379"/>
                    <a:gd name="T10" fmla="*/ 285 w 285"/>
                    <a:gd name="T11" fmla="*/ 379 h 379"/>
                    <a:gd name="T12" fmla="*/ 285 w 285"/>
                    <a:gd name="T13" fmla="*/ 379 h 379"/>
                    <a:gd name="T14" fmla="*/ 285 w 285"/>
                    <a:gd name="T15" fmla="*/ 378 h 379"/>
                    <a:gd name="T16" fmla="*/ 285 w 285"/>
                    <a:gd name="T17" fmla="*/ 378 h 379"/>
                    <a:gd name="T18" fmla="*/ 285 w 285"/>
                    <a:gd name="T19" fmla="*/ 378 h 379"/>
                    <a:gd name="T20" fmla="*/ 285 w 285"/>
                    <a:gd name="T21" fmla="*/ 378 h 379"/>
                    <a:gd name="T22" fmla="*/ 285 w 285"/>
                    <a:gd name="T23" fmla="*/ 378 h 379"/>
                    <a:gd name="T24" fmla="*/ 285 w 285"/>
                    <a:gd name="T25" fmla="*/ 378 h 379"/>
                    <a:gd name="T26" fmla="*/ 285 w 285"/>
                    <a:gd name="T27" fmla="*/ 378 h 379"/>
                    <a:gd name="T28" fmla="*/ 285 w 285"/>
                    <a:gd name="T29" fmla="*/ 378 h 379"/>
                    <a:gd name="T30" fmla="*/ 285 w 285"/>
                    <a:gd name="T31" fmla="*/ 378 h 379"/>
                    <a:gd name="T32" fmla="*/ 285 w 285"/>
                    <a:gd name="T33" fmla="*/ 378 h 379"/>
                    <a:gd name="T34" fmla="*/ 285 w 285"/>
                    <a:gd name="T35" fmla="*/ 378 h 379"/>
                    <a:gd name="T36" fmla="*/ 277 w 285"/>
                    <a:gd name="T37" fmla="*/ 220 h 379"/>
                    <a:gd name="T38" fmla="*/ 0 w 285"/>
                    <a:gd name="T39" fmla="*/ 0 h 3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285" h="379">
                      <a:moveTo>
                        <a:pt x="0" y="0"/>
                      </a:moveTo>
                      <a:cubicBezTo>
                        <a:pt x="0" y="379"/>
                        <a:pt x="0" y="379"/>
                        <a:pt x="0" y="379"/>
                      </a:cubicBezTo>
                      <a:cubicBezTo>
                        <a:pt x="285" y="379"/>
                        <a:pt x="285" y="379"/>
                        <a:pt x="285" y="379"/>
                      </a:cubicBezTo>
                      <a:cubicBezTo>
                        <a:pt x="285" y="379"/>
                        <a:pt x="285" y="379"/>
                        <a:pt x="285" y="379"/>
                      </a:cubicBezTo>
                      <a:cubicBezTo>
                        <a:pt x="285" y="379"/>
                        <a:pt x="285" y="379"/>
                        <a:pt x="285" y="379"/>
                      </a:cubicBezTo>
                      <a:cubicBezTo>
                        <a:pt x="285" y="379"/>
                        <a:pt x="285" y="379"/>
                        <a:pt x="285" y="379"/>
                      </a:cubicBezTo>
                      <a:cubicBezTo>
                        <a:pt x="285" y="379"/>
                        <a:pt x="285" y="379"/>
                        <a:pt x="285" y="379"/>
                      </a:cubicBezTo>
                      <a:cubicBezTo>
                        <a:pt x="285" y="379"/>
                        <a:pt x="285" y="378"/>
                        <a:pt x="285" y="378"/>
                      </a:cubicBezTo>
                      <a:cubicBezTo>
                        <a:pt x="285" y="378"/>
                        <a:pt x="285" y="378"/>
                        <a:pt x="285" y="378"/>
                      </a:cubicBezTo>
                      <a:cubicBezTo>
                        <a:pt x="285" y="378"/>
                        <a:pt x="285" y="378"/>
                        <a:pt x="285" y="378"/>
                      </a:cubicBezTo>
                      <a:cubicBezTo>
                        <a:pt x="285" y="378"/>
                        <a:pt x="285" y="378"/>
                        <a:pt x="285" y="378"/>
                      </a:cubicBezTo>
                      <a:cubicBezTo>
                        <a:pt x="285" y="378"/>
                        <a:pt x="285" y="378"/>
                        <a:pt x="285" y="378"/>
                      </a:cubicBezTo>
                      <a:cubicBezTo>
                        <a:pt x="285" y="378"/>
                        <a:pt x="285" y="378"/>
                        <a:pt x="285" y="378"/>
                      </a:cubicBezTo>
                      <a:cubicBezTo>
                        <a:pt x="285" y="378"/>
                        <a:pt x="285" y="378"/>
                        <a:pt x="285" y="378"/>
                      </a:cubicBezTo>
                      <a:cubicBezTo>
                        <a:pt x="285" y="378"/>
                        <a:pt x="285" y="378"/>
                        <a:pt x="285" y="378"/>
                      </a:cubicBezTo>
                      <a:cubicBezTo>
                        <a:pt x="285" y="378"/>
                        <a:pt x="285" y="378"/>
                        <a:pt x="285" y="378"/>
                      </a:cubicBezTo>
                      <a:cubicBezTo>
                        <a:pt x="285" y="378"/>
                        <a:pt x="285" y="378"/>
                        <a:pt x="285" y="378"/>
                      </a:cubicBezTo>
                      <a:cubicBezTo>
                        <a:pt x="285" y="378"/>
                        <a:pt x="285" y="378"/>
                        <a:pt x="285" y="378"/>
                      </a:cubicBezTo>
                      <a:cubicBezTo>
                        <a:pt x="285" y="368"/>
                        <a:pt x="282" y="292"/>
                        <a:pt x="277" y="22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AC2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grpSp>
              <p:nvGrpSpPr>
                <p:cNvPr id="304" name="Group 303"/>
                <p:cNvGrpSpPr/>
                <p:nvPr/>
              </p:nvGrpSpPr>
              <p:grpSpPr>
                <a:xfrm>
                  <a:off x="2817509" y="1485753"/>
                  <a:ext cx="346069" cy="531823"/>
                  <a:chOff x="4951075" y="1519091"/>
                  <a:chExt cx="346069" cy="531823"/>
                </a:xfrm>
              </p:grpSpPr>
              <p:sp>
                <p:nvSpPr>
                  <p:cNvPr id="152" name="Freeform 145"/>
                  <p:cNvSpPr>
                    <a:spLocks noEditPoints="1"/>
                  </p:cNvSpPr>
                  <p:nvPr/>
                </p:nvSpPr>
                <p:spPr bwMode="auto">
                  <a:xfrm>
                    <a:off x="4951075" y="1519091"/>
                    <a:ext cx="346069" cy="457209"/>
                  </a:xfrm>
                  <a:custGeom>
                    <a:avLst/>
                    <a:gdLst>
                      <a:gd name="T0" fmla="*/ 239 w 239"/>
                      <a:gd name="T1" fmla="*/ 120 h 316"/>
                      <a:gd name="T2" fmla="*/ 119 w 239"/>
                      <a:gd name="T3" fmla="*/ 0 h 316"/>
                      <a:gd name="T4" fmla="*/ 0 w 239"/>
                      <a:gd name="T5" fmla="*/ 119 h 316"/>
                      <a:gd name="T6" fmla="*/ 53 w 239"/>
                      <a:gd name="T7" fmla="*/ 218 h 316"/>
                      <a:gd name="T8" fmla="*/ 79 w 239"/>
                      <a:gd name="T9" fmla="*/ 299 h 316"/>
                      <a:gd name="T10" fmla="*/ 119 w 239"/>
                      <a:gd name="T11" fmla="*/ 316 h 316"/>
                      <a:gd name="T12" fmla="*/ 119 w 239"/>
                      <a:gd name="T13" fmla="*/ 316 h 316"/>
                      <a:gd name="T14" fmla="*/ 119 w 239"/>
                      <a:gd name="T15" fmla="*/ 316 h 316"/>
                      <a:gd name="T16" fmla="*/ 119 w 239"/>
                      <a:gd name="T17" fmla="*/ 316 h 316"/>
                      <a:gd name="T18" fmla="*/ 119 w 239"/>
                      <a:gd name="T19" fmla="*/ 316 h 316"/>
                      <a:gd name="T20" fmla="*/ 160 w 239"/>
                      <a:gd name="T21" fmla="*/ 299 h 316"/>
                      <a:gd name="T22" fmla="*/ 160 w 239"/>
                      <a:gd name="T23" fmla="*/ 299 h 316"/>
                      <a:gd name="T24" fmla="*/ 160 w 239"/>
                      <a:gd name="T25" fmla="*/ 293 h 316"/>
                      <a:gd name="T26" fmla="*/ 186 w 239"/>
                      <a:gd name="T27" fmla="*/ 219 h 316"/>
                      <a:gd name="T28" fmla="*/ 239 w 239"/>
                      <a:gd name="T29" fmla="*/ 120 h 316"/>
                      <a:gd name="T30" fmla="*/ 119 w 239"/>
                      <a:gd name="T31" fmla="*/ 314 h 316"/>
                      <a:gd name="T32" fmla="*/ 119 w 239"/>
                      <a:gd name="T33" fmla="*/ 299 h 316"/>
                      <a:gd name="T34" fmla="*/ 120 w 239"/>
                      <a:gd name="T35" fmla="*/ 299 h 316"/>
                      <a:gd name="T36" fmla="*/ 119 w 239"/>
                      <a:gd name="T37" fmla="*/ 314 h 3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239" h="316">
                        <a:moveTo>
                          <a:pt x="239" y="120"/>
                        </a:moveTo>
                        <a:cubicBezTo>
                          <a:pt x="239" y="54"/>
                          <a:pt x="185" y="0"/>
                          <a:pt x="119" y="0"/>
                        </a:cubicBezTo>
                        <a:cubicBezTo>
                          <a:pt x="54" y="0"/>
                          <a:pt x="0" y="54"/>
                          <a:pt x="0" y="119"/>
                        </a:cubicBezTo>
                        <a:cubicBezTo>
                          <a:pt x="0" y="161"/>
                          <a:pt x="21" y="197"/>
                          <a:pt x="53" y="218"/>
                        </a:cubicBezTo>
                        <a:cubicBezTo>
                          <a:pt x="53" y="218"/>
                          <a:pt x="79" y="239"/>
                          <a:pt x="79" y="299"/>
                        </a:cubicBezTo>
                        <a:cubicBezTo>
                          <a:pt x="119" y="316"/>
                          <a:pt x="119" y="316"/>
                          <a:pt x="119" y="316"/>
                        </a:cubicBezTo>
                        <a:cubicBezTo>
                          <a:pt x="119" y="316"/>
                          <a:pt x="119" y="316"/>
                          <a:pt x="119" y="316"/>
                        </a:cubicBezTo>
                        <a:cubicBezTo>
                          <a:pt x="119" y="316"/>
                          <a:pt x="119" y="316"/>
                          <a:pt x="119" y="316"/>
                        </a:cubicBezTo>
                        <a:cubicBezTo>
                          <a:pt x="119" y="316"/>
                          <a:pt x="119" y="316"/>
                          <a:pt x="119" y="316"/>
                        </a:cubicBezTo>
                        <a:cubicBezTo>
                          <a:pt x="119" y="316"/>
                          <a:pt x="119" y="316"/>
                          <a:pt x="119" y="316"/>
                        </a:cubicBezTo>
                        <a:cubicBezTo>
                          <a:pt x="160" y="299"/>
                          <a:pt x="160" y="299"/>
                          <a:pt x="160" y="299"/>
                        </a:cubicBezTo>
                        <a:cubicBezTo>
                          <a:pt x="160" y="299"/>
                          <a:pt x="160" y="299"/>
                          <a:pt x="160" y="299"/>
                        </a:cubicBezTo>
                        <a:cubicBezTo>
                          <a:pt x="160" y="293"/>
                          <a:pt x="160" y="293"/>
                          <a:pt x="160" y="293"/>
                        </a:cubicBezTo>
                        <a:cubicBezTo>
                          <a:pt x="162" y="241"/>
                          <a:pt x="183" y="221"/>
                          <a:pt x="186" y="219"/>
                        </a:cubicBezTo>
                        <a:cubicBezTo>
                          <a:pt x="218" y="197"/>
                          <a:pt x="239" y="161"/>
                          <a:pt x="239" y="120"/>
                        </a:cubicBezTo>
                        <a:moveTo>
                          <a:pt x="119" y="314"/>
                        </a:moveTo>
                        <a:cubicBezTo>
                          <a:pt x="119" y="299"/>
                          <a:pt x="119" y="299"/>
                          <a:pt x="119" y="299"/>
                        </a:cubicBezTo>
                        <a:cubicBezTo>
                          <a:pt x="120" y="299"/>
                          <a:pt x="120" y="299"/>
                          <a:pt x="120" y="299"/>
                        </a:cubicBezTo>
                        <a:cubicBezTo>
                          <a:pt x="119" y="314"/>
                          <a:pt x="119" y="314"/>
                          <a:pt x="119" y="314"/>
                        </a:cubicBezTo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53" name="Rectangle 146"/>
                  <p:cNvSpPr>
                    <a:spLocks noChangeArrowheads="1"/>
                  </p:cNvSpPr>
                  <p:nvPr/>
                </p:nvSpPr>
                <p:spPr bwMode="auto">
                  <a:xfrm>
                    <a:off x="5066960" y="1950899"/>
                    <a:ext cx="119061" cy="79377"/>
                  </a:xfrm>
                  <a:prstGeom prst="rect">
                    <a:avLst/>
                  </a:prstGeom>
                  <a:solidFill>
                    <a:srgbClr val="4668C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54" name="Rectangle 147"/>
                  <p:cNvSpPr>
                    <a:spLocks noChangeArrowheads="1"/>
                  </p:cNvSpPr>
                  <p:nvPr/>
                </p:nvSpPr>
                <p:spPr bwMode="auto">
                  <a:xfrm>
                    <a:off x="5066960" y="1950899"/>
                    <a:ext cx="119061" cy="7937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55" name="Freeform 148"/>
                  <p:cNvSpPr>
                    <a:spLocks/>
                  </p:cNvSpPr>
                  <p:nvPr/>
                </p:nvSpPr>
                <p:spPr bwMode="auto">
                  <a:xfrm>
                    <a:off x="5066960" y="1963600"/>
                    <a:ext cx="119061" cy="23813"/>
                  </a:xfrm>
                  <a:custGeom>
                    <a:avLst/>
                    <a:gdLst>
                      <a:gd name="T0" fmla="*/ 0 w 75"/>
                      <a:gd name="T1" fmla="*/ 15 h 15"/>
                      <a:gd name="T2" fmla="*/ 0 w 75"/>
                      <a:gd name="T3" fmla="*/ 11 h 15"/>
                      <a:gd name="T4" fmla="*/ 74 w 75"/>
                      <a:gd name="T5" fmla="*/ 0 h 15"/>
                      <a:gd name="T6" fmla="*/ 75 w 75"/>
                      <a:gd name="T7" fmla="*/ 3 h 15"/>
                      <a:gd name="T8" fmla="*/ 0 w 75"/>
                      <a:gd name="T9" fmla="*/ 15 h 1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5" h="15">
                        <a:moveTo>
                          <a:pt x="0" y="15"/>
                        </a:moveTo>
                        <a:lnTo>
                          <a:pt x="0" y="11"/>
                        </a:lnTo>
                        <a:lnTo>
                          <a:pt x="74" y="0"/>
                        </a:lnTo>
                        <a:lnTo>
                          <a:pt x="75" y="3"/>
                        </a:lnTo>
                        <a:lnTo>
                          <a:pt x="0" y="15"/>
                        </a:lnTo>
                        <a:close/>
                      </a:path>
                    </a:pathLst>
                  </a:custGeom>
                  <a:solidFill>
                    <a:srgbClr val="00188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56" name="Freeform 149"/>
                  <p:cNvSpPr>
                    <a:spLocks/>
                  </p:cNvSpPr>
                  <p:nvPr/>
                </p:nvSpPr>
                <p:spPr bwMode="auto">
                  <a:xfrm>
                    <a:off x="5066960" y="1963600"/>
                    <a:ext cx="119061" cy="23813"/>
                  </a:xfrm>
                  <a:custGeom>
                    <a:avLst/>
                    <a:gdLst>
                      <a:gd name="T0" fmla="*/ 0 w 75"/>
                      <a:gd name="T1" fmla="*/ 15 h 15"/>
                      <a:gd name="T2" fmla="*/ 0 w 75"/>
                      <a:gd name="T3" fmla="*/ 11 h 15"/>
                      <a:gd name="T4" fmla="*/ 74 w 75"/>
                      <a:gd name="T5" fmla="*/ 0 h 15"/>
                      <a:gd name="T6" fmla="*/ 75 w 75"/>
                      <a:gd name="T7" fmla="*/ 3 h 15"/>
                      <a:gd name="T8" fmla="*/ 0 w 75"/>
                      <a:gd name="T9" fmla="*/ 15 h 1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5" h="15">
                        <a:moveTo>
                          <a:pt x="0" y="15"/>
                        </a:moveTo>
                        <a:lnTo>
                          <a:pt x="0" y="11"/>
                        </a:lnTo>
                        <a:lnTo>
                          <a:pt x="74" y="0"/>
                        </a:lnTo>
                        <a:lnTo>
                          <a:pt x="75" y="3"/>
                        </a:lnTo>
                        <a:lnTo>
                          <a:pt x="0" y="15"/>
                        </a:lnTo>
                      </a:path>
                    </a:pathLst>
                  </a:cu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57" name="Freeform 150"/>
                  <p:cNvSpPr>
                    <a:spLocks/>
                  </p:cNvSpPr>
                  <p:nvPr/>
                </p:nvSpPr>
                <p:spPr bwMode="auto">
                  <a:xfrm>
                    <a:off x="5066960" y="1987413"/>
                    <a:ext cx="119061" cy="25401"/>
                  </a:xfrm>
                  <a:custGeom>
                    <a:avLst/>
                    <a:gdLst>
                      <a:gd name="T0" fmla="*/ 0 w 75"/>
                      <a:gd name="T1" fmla="*/ 16 h 16"/>
                      <a:gd name="T2" fmla="*/ 0 w 75"/>
                      <a:gd name="T3" fmla="*/ 12 h 16"/>
                      <a:gd name="T4" fmla="*/ 74 w 75"/>
                      <a:gd name="T5" fmla="*/ 0 h 16"/>
                      <a:gd name="T6" fmla="*/ 75 w 75"/>
                      <a:gd name="T7" fmla="*/ 4 h 16"/>
                      <a:gd name="T8" fmla="*/ 0 w 75"/>
                      <a:gd name="T9" fmla="*/ 16 h 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5" h="16">
                        <a:moveTo>
                          <a:pt x="0" y="16"/>
                        </a:moveTo>
                        <a:lnTo>
                          <a:pt x="0" y="12"/>
                        </a:lnTo>
                        <a:lnTo>
                          <a:pt x="74" y="0"/>
                        </a:lnTo>
                        <a:lnTo>
                          <a:pt x="75" y="4"/>
                        </a:lnTo>
                        <a:lnTo>
                          <a:pt x="0" y="16"/>
                        </a:lnTo>
                        <a:close/>
                      </a:path>
                    </a:pathLst>
                  </a:custGeom>
                  <a:solidFill>
                    <a:srgbClr val="00188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58" name="Freeform 151"/>
                  <p:cNvSpPr>
                    <a:spLocks/>
                  </p:cNvSpPr>
                  <p:nvPr/>
                </p:nvSpPr>
                <p:spPr bwMode="auto">
                  <a:xfrm>
                    <a:off x="5066960" y="1987413"/>
                    <a:ext cx="119061" cy="25401"/>
                  </a:xfrm>
                  <a:custGeom>
                    <a:avLst/>
                    <a:gdLst>
                      <a:gd name="T0" fmla="*/ 0 w 75"/>
                      <a:gd name="T1" fmla="*/ 16 h 16"/>
                      <a:gd name="T2" fmla="*/ 0 w 75"/>
                      <a:gd name="T3" fmla="*/ 12 h 16"/>
                      <a:gd name="T4" fmla="*/ 74 w 75"/>
                      <a:gd name="T5" fmla="*/ 0 h 16"/>
                      <a:gd name="T6" fmla="*/ 75 w 75"/>
                      <a:gd name="T7" fmla="*/ 4 h 16"/>
                      <a:gd name="T8" fmla="*/ 0 w 75"/>
                      <a:gd name="T9" fmla="*/ 16 h 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5" h="16">
                        <a:moveTo>
                          <a:pt x="0" y="16"/>
                        </a:moveTo>
                        <a:lnTo>
                          <a:pt x="0" y="12"/>
                        </a:lnTo>
                        <a:lnTo>
                          <a:pt x="74" y="0"/>
                        </a:lnTo>
                        <a:lnTo>
                          <a:pt x="75" y="4"/>
                        </a:lnTo>
                        <a:lnTo>
                          <a:pt x="0" y="16"/>
                        </a:lnTo>
                      </a:path>
                    </a:pathLst>
                  </a:cu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59" name="Freeform 152"/>
                  <p:cNvSpPr>
                    <a:spLocks/>
                  </p:cNvSpPr>
                  <p:nvPr/>
                </p:nvSpPr>
                <p:spPr bwMode="auto">
                  <a:xfrm>
                    <a:off x="5066960" y="2009638"/>
                    <a:ext cx="119061" cy="22225"/>
                  </a:xfrm>
                  <a:custGeom>
                    <a:avLst/>
                    <a:gdLst>
                      <a:gd name="T0" fmla="*/ 0 w 75"/>
                      <a:gd name="T1" fmla="*/ 14 h 14"/>
                      <a:gd name="T2" fmla="*/ 0 w 75"/>
                      <a:gd name="T3" fmla="*/ 11 h 14"/>
                      <a:gd name="T4" fmla="*/ 74 w 75"/>
                      <a:gd name="T5" fmla="*/ 0 h 14"/>
                      <a:gd name="T6" fmla="*/ 75 w 75"/>
                      <a:gd name="T7" fmla="*/ 3 h 14"/>
                      <a:gd name="T8" fmla="*/ 0 w 75"/>
                      <a:gd name="T9" fmla="*/ 14 h 1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5" h="14">
                        <a:moveTo>
                          <a:pt x="0" y="14"/>
                        </a:moveTo>
                        <a:lnTo>
                          <a:pt x="0" y="11"/>
                        </a:lnTo>
                        <a:lnTo>
                          <a:pt x="74" y="0"/>
                        </a:lnTo>
                        <a:lnTo>
                          <a:pt x="75" y="3"/>
                        </a:lnTo>
                        <a:lnTo>
                          <a:pt x="0" y="14"/>
                        </a:lnTo>
                        <a:close/>
                      </a:path>
                    </a:pathLst>
                  </a:custGeom>
                  <a:solidFill>
                    <a:srgbClr val="3333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60" name="Freeform 153"/>
                  <p:cNvSpPr>
                    <a:spLocks/>
                  </p:cNvSpPr>
                  <p:nvPr/>
                </p:nvSpPr>
                <p:spPr bwMode="auto">
                  <a:xfrm>
                    <a:off x="5066960" y="2009638"/>
                    <a:ext cx="119061" cy="22225"/>
                  </a:xfrm>
                  <a:custGeom>
                    <a:avLst/>
                    <a:gdLst>
                      <a:gd name="T0" fmla="*/ 0 w 75"/>
                      <a:gd name="T1" fmla="*/ 14 h 14"/>
                      <a:gd name="T2" fmla="*/ 0 w 75"/>
                      <a:gd name="T3" fmla="*/ 11 h 14"/>
                      <a:gd name="T4" fmla="*/ 74 w 75"/>
                      <a:gd name="T5" fmla="*/ 0 h 14"/>
                      <a:gd name="T6" fmla="*/ 75 w 75"/>
                      <a:gd name="T7" fmla="*/ 3 h 14"/>
                      <a:gd name="T8" fmla="*/ 0 w 75"/>
                      <a:gd name="T9" fmla="*/ 14 h 1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5" h="14">
                        <a:moveTo>
                          <a:pt x="0" y="14"/>
                        </a:moveTo>
                        <a:lnTo>
                          <a:pt x="0" y="11"/>
                        </a:lnTo>
                        <a:lnTo>
                          <a:pt x="74" y="0"/>
                        </a:lnTo>
                        <a:lnTo>
                          <a:pt x="75" y="3"/>
                        </a:lnTo>
                        <a:lnTo>
                          <a:pt x="0" y="14"/>
                        </a:lnTo>
                      </a:path>
                    </a:pathLst>
                  </a:cu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61" name="Freeform 154"/>
                  <p:cNvSpPr>
                    <a:spLocks/>
                  </p:cNvSpPr>
                  <p:nvPr/>
                </p:nvSpPr>
                <p:spPr bwMode="auto">
                  <a:xfrm>
                    <a:off x="5095535" y="2030276"/>
                    <a:ext cx="61911" cy="20638"/>
                  </a:xfrm>
                  <a:custGeom>
                    <a:avLst/>
                    <a:gdLst>
                      <a:gd name="T0" fmla="*/ 0 w 39"/>
                      <a:gd name="T1" fmla="*/ 0 h 13"/>
                      <a:gd name="T2" fmla="*/ 6 w 39"/>
                      <a:gd name="T3" fmla="*/ 13 h 13"/>
                      <a:gd name="T4" fmla="*/ 32 w 39"/>
                      <a:gd name="T5" fmla="*/ 13 h 13"/>
                      <a:gd name="T6" fmla="*/ 39 w 39"/>
                      <a:gd name="T7" fmla="*/ 0 h 13"/>
                      <a:gd name="T8" fmla="*/ 0 w 39"/>
                      <a:gd name="T9" fmla="*/ 0 h 1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9" h="13">
                        <a:moveTo>
                          <a:pt x="0" y="0"/>
                        </a:moveTo>
                        <a:lnTo>
                          <a:pt x="6" y="13"/>
                        </a:lnTo>
                        <a:lnTo>
                          <a:pt x="32" y="13"/>
                        </a:lnTo>
                        <a:lnTo>
                          <a:pt x="39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00188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62" name="Freeform 155"/>
                  <p:cNvSpPr>
                    <a:spLocks/>
                  </p:cNvSpPr>
                  <p:nvPr/>
                </p:nvSpPr>
                <p:spPr bwMode="auto">
                  <a:xfrm>
                    <a:off x="5095535" y="2030276"/>
                    <a:ext cx="61911" cy="20638"/>
                  </a:xfrm>
                  <a:custGeom>
                    <a:avLst/>
                    <a:gdLst>
                      <a:gd name="T0" fmla="*/ 0 w 39"/>
                      <a:gd name="T1" fmla="*/ 0 h 13"/>
                      <a:gd name="T2" fmla="*/ 6 w 39"/>
                      <a:gd name="T3" fmla="*/ 13 h 13"/>
                      <a:gd name="T4" fmla="*/ 32 w 39"/>
                      <a:gd name="T5" fmla="*/ 13 h 13"/>
                      <a:gd name="T6" fmla="*/ 39 w 39"/>
                      <a:gd name="T7" fmla="*/ 0 h 13"/>
                      <a:gd name="T8" fmla="*/ 0 w 39"/>
                      <a:gd name="T9" fmla="*/ 0 h 1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9" h="13">
                        <a:moveTo>
                          <a:pt x="0" y="0"/>
                        </a:moveTo>
                        <a:lnTo>
                          <a:pt x="6" y="13"/>
                        </a:lnTo>
                        <a:lnTo>
                          <a:pt x="32" y="13"/>
                        </a:lnTo>
                        <a:lnTo>
                          <a:pt x="39" y="0"/>
                        </a:lnTo>
                        <a:lnTo>
                          <a:pt x="0" y="0"/>
                        </a:lnTo>
                      </a:path>
                    </a:pathLst>
                  </a:cu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63" name="Freeform 156"/>
                  <p:cNvSpPr>
                    <a:spLocks noEditPoints="1"/>
                  </p:cNvSpPr>
                  <p:nvPr/>
                </p:nvSpPr>
                <p:spPr bwMode="auto">
                  <a:xfrm>
                    <a:off x="5059023" y="1690544"/>
                    <a:ext cx="238121" cy="274643"/>
                  </a:xfrm>
                  <a:custGeom>
                    <a:avLst/>
                    <a:gdLst>
                      <a:gd name="T0" fmla="*/ 5 w 165"/>
                      <a:gd name="T1" fmla="*/ 180 h 190"/>
                      <a:gd name="T2" fmla="*/ 6 w 165"/>
                      <a:gd name="T3" fmla="*/ 181 h 190"/>
                      <a:gd name="T4" fmla="*/ 6 w 165"/>
                      <a:gd name="T5" fmla="*/ 181 h 190"/>
                      <a:gd name="T6" fmla="*/ 5 w 165"/>
                      <a:gd name="T7" fmla="*/ 180 h 190"/>
                      <a:gd name="T8" fmla="*/ 5 w 165"/>
                      <a:gd name="T9" fmla="*/ 179 h 190"/>
                      <a:gd name="T10" fmla="*/ 5 w 165"/>
                      <a:gd name="T11" fmla="*/ 180 h 190"/>
                      <a:gd name="T12" fmla="*/ 5 w 165"/>
                      <a:gd name="T13" fmla="*/ 179 h 190"/>
                      <a:gd name="T14" fmla="*/ 5 w 165"/>
                      <a:gd name="T15" fmla="*/ 179 h 190"/>
                      <a:gd name="T16" fmla="*/ 5 w 165"/>
                      <a:gd name="T17" fmla="*/ 179 h 190"/>
                      <a:gd name="T18" fmla="*/ 5 w 165"/>
                      <a:gd name="T19" fmla="*/ 179 h 190"/>
                      <a:gd name="T20" fmla="*/ 86 w 165"/>
                      <a:gd name="T21" fmla="*/ 174 h 190"/>
                      <a:gd name="T22" fmla="*/ 86 w 165"/>
                      <a:gd name="T23" fmla="*/ 174 h 190"/>
                      <a:gd name="T24" fmla="*/ 86 w 165"/>
                      <a:gd name="T25" fmla="*/ 180 h 190"/>
                      <a:gd name="T26" fmla="*/ 86 w 165"/>
                      <a:gd name="T27" fmla="*/ 180 h 190"/>
                      <a:gd name="T28" fmla="*/ 88 w 165"/>
                      <a:gd name="T29" fmla="*/ 180 h 190"/>
                      <a:gd name="T30" fmla="*/ 88 w 165"/>
                      <a:gd name="T31" fmla="*/ 190 h 190"/>
                      <a:gd name="T32" fmla="*/ 88 w 165"/>
                      <a:gd name="T33" fmla="*/ 180 h 190"/>
                      <a:gd name="T34" fmla="*/ 86 w 165"/>
                      <a:gd name="T35" fmla="*/ 180 h 190"/>
                      <a:gd name="T36" fmla="*/ 86 w 165"/>
                      <a:gd name="T37" fmla="*/ 174 h 190"/>
                      <a:gd name="T38" fmla="*/ 3 w 165"/>
                      <a:gd name="T39" fmla="*/ 152 h 190"/>
                      <a:gd name="T40" fmla="*/ 3 w 165"/>
                      <a:gd name="T41" fmla="*/ 152 h 190"/>
                      <a:gd name="T42" fmla="*/ 3 w 165"/>
                      <a:gd name="T43" fmla="*/ 152 h 190"/>
                      <a:gd name="T44" fmla="*/ 2 w 165"/>
                      <a:gd name="T45" fmla="*/ 151 h 190"/>
                      <a:gd name="T46" fmla="*/ 2 w 165"/>
                      <a:gd name="T47" fmla="*/ 151 h 190"/>
                      <a:gd name="T48" fmla="*/ 2 w 165"/>
                      <a:gd name="T49" fmla="*/ 151 h 190"/>
                      <a:gd name="T50" fmla="*/ 0 w 165"/>
                      <a:gd name="T51" fmla="*/ 138 h 190"/>
                      <a:gd name="T52" fmla="*/ 0 w 165"/>
                      <a:gd name="T53" fmla="*/ 138 h 190"/>
                      <a:gd name="T54" fmla="*/ 2 w 165"/>
                      <a:gd name="T55" fmla="*/ 151 h 190"/>
                      <a:gd name="T56" fmla="*/ 0 w 165"/>
                      <a:gd name="T57" fmla="*/ 138 h 190"/>
                      <a:gd name="T58" fmla="*/ 165 w 165"/>
                      <a:gd name="T59" fmla="*/ 0 h 190"/>
                      <a:gd name="T60" fmla="*/ 165 w 165"/>
                      <a:gd name="T61" fmla="*/ 1 h 190"/>
                      <a:gd name="T62" fmla="*/ 165 w 165"/>
                      <a:gd name="T63" fmla="*/ 1 h 190"/>
                      <a:gd name="T64" fmla="*/ 165 w 165"/>
                      <a:gd name="T65" fmla="*/ 0 h 19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</a:cxnLst>
                    <a:rect l="0" t="0" r="r" b="b"/>
                    <a:pathLst>
                      <a:path w="165" h="190">
                        <a:moveTo>
                          <a:pt x="5" y="180"/>
                        </a:moveTo>
                        <a:cubicBezTo>
                          <a:pt x="6" y="181"/>
                          <a:pt x="6" y="181"/>
                          <a:pt x="6" y="181"/>
                        </a:cubicBezTo>
                        <a:cubicBezTo>
                          <a:pt x="6" y="181"/>
                          <a:pt x="6" y="181"/>
                          <a:pt x="6" y="181"/>
                        </a:cubicBezTo>
                        <a:cubicBezTo>
                          <a:pt x="5" y="180"/>
                          <a:pt x="5" y="180"/>
                          <a:pt x="5" y="180"/>
                        </a:cubicBezTo>
                        <a:moveTo>
                          <a:pt x="5" y="179"/>
                        </a:moveTo>
                        <a:cubicBezTo>
                          <a:pt x="5" y="180"/>
                          <a:pt x="5" y="180"/>
                          <a:pt x="5" y="180"/>
                        </a:cubicBezTo>
                        <a:cubicBezTo>
                          <a:pt x="5" y="180"/>
                          <a:pt x="5" y="180"/>
                          <a:pt x="5" y="179"/>
                        </a:cubicBezTo>
                        <a:moveTo>
                          <a:pt x="5" y="179"/>
                        </a:moveTo>
                        <a:cubicBezTo>
                          <a:pt x="5" y="179"/>
                          <a:pt x="5" y="179"/>
                          <a:pt x="5" y="179"/>
                        </a:cubicBezTo>
                        <a:cubicBezTo>
                          <a:pt x="5" y="179"/>
                          <a:pt x="5" y="179"/>
                          <a:pt x="5" y="179"/>
                        </a:cubicBezTo>
                        <a:moveTo>
                          <a:pt x="86" y="174"/>
                        </a:moveTo>
                        <a:cubicBezTo>
                          <a:pt x="86" y="174"/>
                          <a:pt x="86" y="174"/>
                          <a:pt x="86" y="174"/>
                        </a:cubicBezTo>
                        <a:cubicBezTo>
                          <a:pt x="86" y="180"/>
                          <a:pt x="86" y="180"/>
                          <a:pt x="86" y="180"/>
                        </a:cubicBezTo>
                        <a:cubicBezTo>
                          <a:pt x="86" y="180"/>
                          <a:pt x="86" y="180"/>
                          <a:pt x="86" y="180"/>
                        </a:cubicBezTo>
                        <a:cubicBezTo>
                          <a:pt x="88" y="180"/>
                          <a:pt x="88" y="180"/>
                          <a:pt x="88" y="180"/>
                        </a:cubicBezTo>
                        <a:cubicBezTo>
                          <a:pt x="88" y="190"/>
                          <a:pt x="88" y="190"/>
                          <a:pt x="88" y="190"/>
                        </a:cubicBezTo>
                        <a:cubicBezTo>
                          <a:pt x="88" y="180"/>
                          <a:pt x="88" y="180"/>
                          <a:pt x="88" y="180"/>
                        </a:cubicBezTo>
                        <a:cubicBezTo>
                          <a:pt x="86" y="180"/>
                          <a:pt x="86" y="180"/>
                          <a:pt x="86" y="180"/>
                        </a:cubicBezTo>
                        <a:cubicBezTo>
                          <a:pt x="86" y="174"/>
                          <a:pt x="86" y="174"/>
                          <a:pt x="86" y="174"/>
                        </a:cubicBezTo>
                        <a:moveTo>
                          <a:pt x="3" y="152"/>
                        </a:moveTo>
                        <a:cubicBezTo>
                          <a:pt x="3" y="152"/>
                          <a:pt x="3" y="152"/>
                          <a:pt x="3" y="152"/>
                        </a:cubicBezTo>
                        <a:cubicBezTo>
                          <a:pt x="3" y="152"/>
                          <a:pt x="3" y="152"/>
                          <a:pt x="3" y="152"/>
                        </a:cubicBezTo>
                        <a:moveTo>
                          <a:pt x="2" y="151"/>
                        </a:moveTo>
                        <a:cubicBezTo>
                          <a:pt x="2" y="151"/>
                          <a:pt x="2" y="151"/>
                          <a:pt x="2" y="151"/>
                        </a:cubicBezTo>
                        <a:cubicBezTo>
                          <a:pt x="2" y="151"/>
                          <a:pt x="2" y="151"/>
                          <a:pt x="2" y="151"/>
                        </a:cubicBezTo>
                        <a:moveTo>
                          <a:pt x="0" y="138"/>
                        </a:moveTo>
                        <a:cubicBezTo>
                          <a:pt x="0" y="138"/>
                          <a:pt x="0" y="138"/>
                          <a:pt x="0" y="138"/>
                        </a:cubicBezTo>
                        <a:cubicBezTo>
                          <a:pt x="1" y="142"/>
                          <a:pt x="2" y="146"/>
                          <a:pt x="2" y="151"/>
                        </a:cubicBezTo>
                        <a:cubicBezTo>
                          <a:pt x="2" y="146"/>
                          <a:pt x="1" y="142"/>
                          <a:pt x="0" y="138"/>
                        </a:cubicBezTo>
                        <a:moveTo>
                          <a:pt x="165" y="0"/>
                        </a:moveTo>
                        <a:cubicBezTo>
                          <a:pt x="165" y="0"/>
                          <a:pt x="165" y="0"/>
                          <a:pt x="165" y="1"/>
                        </a:cubicBezTo>
                        <a:cubicBezTo>
                          <a:pt x="165" y="1"/>
                          <a:pt x="165" y="1"/>
                          <a:pt x="165" y="1"/>
                        </a:cubicBezTo>
                        <a:cubicBezTo>
                          <a:pt x="165" y="0"/>
                          <a:pt x="165" y="0"/>
                          <a:pt x="165" y="0"/>
                        </a:cubicBezTo>
                      </a:path>
                    </a:pathLst>
                  </a:custGeom>
                  <a:solidFill>
                    <a:srgbClr val="E5D8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64" name="Freeform 157"/>
                  <p:cNvSpPr>
                    <a:spLocks/>
                  </p:cNvSpPr>
                  <p:nvPr/>
                </p:nvSpPr>
                <p:spPr bwMode="auto">
                  <a:xfrm>
                    <a:off x="5059023" y="1657206"/>
                    <a:ext cx="238121" cy="295281"/>
                  </a:xfrm>
                  <a:custGeom>
                    <a:avLst/>
                    <a:gdLst>
                      <a:gd name="T0" fmla="*/ 162 w 165"/>
                      <a:gd name="T1" fmla="*/ 0 h 204"/>
                      <a:gd name="T2" fmla="*/ 160 w 165"/>
                      <a:gd name="T3" fmla="*/ 0 h 204"/>
                      <a:gd name="T4" fmla="*/ 0 w 165"/>
                      <a:gd name="T5" fmla="*/ 161 h 204"/>
                      <a:gd name="T6" fmla="*/ 2 w 165"/>
                      <a:gd name="T7" fmla="*/ 174 h 204"/>
                      <a:gd name="T8" fmla="*/ 2 w 165"/>
                      <a:gd name="T9" fmla="*/ 174 h 204"/>
                      <a:gd name="T10" fmla="*/ 2 w 165"/>
                      <a:gd name="T11" fmla="*/ 174 h 204"/>
                      <a:gd name="T12" fmla="*/ 3 w 165"/>
                      <a:gd name="T13" fmla="*/ 175 h 204"/>
                      <a:gd name="T14" fmla="*/ 3 w 165"/>
                      <a:gd name="T15" fmla="*/ 175 h 204"/>
                      <a:gd name="T16" fmla="*/ 5 w 165"/>
                      <a:gd name="T17" fmla="*/ 202 h 204"/>
                      <a:gd name="T18" fmla="*/ 5 w 165"/>
                      <a:gd name="T19" fmla="*/ 202 h 204"/>
                      <a:gd name="T20" fmla="*/ 5 w 165"/>
                      <a:gd name="T21" fmla="*/ 202 h 204"/>
                      <a:gd name="T22" fmla="*/ 5 w 165"/>
                      <a:gd name="T23" fmla="*/ 203 h 204"/>
                      <a:gd name="T24" fmla="*/ 5 w 165"/>
                      <a:gd name="T25" fmla="*/ 203 h 204"/>
                      <a:gd name="T26" fmla="*/ 6 w 165"/>
                      <a:gd name="T27" fmla="*/ 204 h 204"/>
                      <a:gd name="T28" fmla="*/ 6 w 165"/>
                      <a:gd name="T29" fmla="*/ 203 h 204"/>
                      <a:gd name="T30" fmla="*/ 86 w 165"/>
                      <a:gd name="T31" fmla="*/ 203 h 204"/>
                      <a:gd name="T32" fmla="*/ 86 w 165"/>
                      <a:gd name="T33" fmla="*/ 203 h 204"/>
                      <a:gd name="T34" fmla="*/ 86 w 165"/>
                      <a:gd name="T35" fmla="*/ 203 h 204"/>
                      <a:gd name="T36" fmla="*/ 86 w 165"/>
                      <a:gd name="T37" fmla="*/ 197 h 204"/>
                      <a:gd name="T38" fmla="*/ 86 w 165"/>
                      <a:gd name="T39" fmla="*/ 197 h 204"/>
                      <a:gd name="T40" fmla="*/ 112 w 165"/>
                      <a:gd name="T41" fmla="*/ 123 h 204"/>
                      <a:gd name="T42" fmla="*/ 165 w 165"/>
                      <a:gd name="T43" fmla="*/ 24 h 204"/>
                      <a:gd name="T44" fmla="*/ 165 w 165"/>
                      <a:gd name="T45" fmla="*/ 23 h 204"/>
                      <a:gd name="T46" fmla="*/ 162 w 165"/>
                      <a:gd name="T47" fmla="*/ 0 h 20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165" h="204">
                        <a:moveTo>
                          <a:pt x="162" y="0"/>
                        </a:moveTo>
                        <a:cubicBezTo>
                          <a:pt x="160" y="0"/>
                          <a:pt x="160" y="0"/>
                          <a:pt x="160" y="0"/>
                        </a:cubicBezTo>
                        <a:cubicBezTo>
                          <a:pt x="0" y="161"/>
                          <a:pt x="0" y="161"/>
                          <a:pt x="0" y="161"/>
                        </a:cubicBezTo>
                        <a:cubicBezTo>
                          <a:pt x="1" y="165"/>
                          <a:pt x="2" y="169"/>
                          <a:pt x="2" y="174"/>
                        </a:cubicBezTo>
                        <a:cubicBezTo>
                          <a:pt x="2" y="174"/>
                          <a:pt x="2" y="174"/>
                          <a:pt x="2" y="174"/>
                        </a:cubicBezTo>
                        <a:cubicBezTo>
                          <a:pt x="2" y="174"/>
                          <a:pt x="2" y="174"/>
                          <a:pt x="2" y="174"/>
                        </a:cubicBezTo>
                        <a:cubicBezTo>
                          <a:pt x="2" y="175"/>
                          <a:pt x="2" y="175"/>
                          <a:pt x="3" y="175"/>
                        </a:cubicBezTo>
                        <a:cubicBezTo>
                          <a:pt x="3" y="175"/>
                          <a:pt x="3" y="175"/>
                          <a:pt x="3" y="175"/>
                        </a:cubicBezTo>
                        <a:cubicBezTo>
                          <a:pt x="4" y="183"/>
                          <a:pt x="5" y="192"/>
                          <a:pt x="5" y="202"/>
                        </a:cubicBezTo>
                        <a:cubicBezTo>
                          <a:pt x="5" y="202"/>
                          <a:pt x="5" y="202"/>
                          <a:pt x="5" y="202"/>
                        </a:cubicBezTo>
                        <a:cubicBezTo>
                          <a:pt x="5" y="202"/>
                          <a:pt x="5" y="202"/>
                          <a:pt x="5" y="202"/>
                        </a:cubicBezTo>
                        <a:cubicBezTo>
                          <a:pt x="5" y="203"/>
                          <a:pt x="5" y="203"/>
                          <a:pt x="5" y="203"/>
                        </a:cubicBezTo>
                        <a:cubicBezTo>
                          <a:pt x="5" y="203"/>
                          <a:pt x="5" y="203"/>
                          <a:pt x="5" y="203"/>
                        </a:cubicBezTo>
                        <a:cubicBezTo>
                          <a:pt x="6" y="204"/>
                          <a:pt x="6" y="204"/>
                          <a:pt x="6" y="204"/>
                        </a:cubicBezTo>
                        <a:cubicBezTo>
                          <a:pt x="6" y="203"/>
                          <a:pt x="6" y="203"/>
                          <a:pt x="6" y="203"/>
                        </a:cubicBezTo>
                        <a:cubicBezTo>
                          <a:pt x="86" y="203"/>
                          <a:pt x="86" y="203"/>
                          <a:pt x="86" y="203"/>
                        </a:cubicBezTo>
                        <a:cubicBezTo>
                          <a:pt x="86" y="203"/>
                          <a:pt x="86" y="203"/>
                          <a:pt x="86" y="203"/>
                        </a:cubicBezTo>
                        <a:cubicBezTo>
                          <a:pt x="86" y="203"/>
                          <a:pt x="86" y="203"/>
                          <a:pt x="86" y="203"/>
                        </a:cubicBezTo>
                        <a:cubicBezTo>
                          <a:pt x="86" y="197"/>
                          <a:pt x="86" y="197"/>
                          <a:pt x="86" y="197"/>
                        </a:cubicBezTo>
                        <a:cubicBezTo>
                          <a:pt x="86" y="197"/>
                          <a:pt x="86" y="197"/>
                          <a:pt x="86" y="197"/>
                        </a:cubicBezTo>
                        <a:cubicBezTo>
                          <a:pt x="88" y="145"/>
                          <a:pt x="109" y="125"/>
                          <a:pt x="112" y="123"/>
                        </a:cubicBezTo>
                        <a:cubicBezTo>
                          <a:pt x="144" y="101"/>
                          <a:pt x="165" y="65"/>
                          <a:pt x="165" y="24"/>
                        </a:cubicBezTo>
                        <a:cubicBezTo>
                          <a:pt x="165" y="23"/>
                          <a:pt x="165" y="23"/>
                          <a:pt x="165" y="23"/>
                        </a:cubicBezTo>
                        <a:cubicBezTo>
                          <a:pt x="165" y="15"/>
                          <a:pt x="164" y="7"/>
                          <a:pt x="162" y="0"/>
                        </a:cubicBezTo>
                      </a:path>
                    </a:pathLst>
                  </a:custGeom>
                  <a:solidFill>
                    <a:schemeClr val="bg1">
                      <a:lumMod val="8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65" name="Freeform 158"/>
                  <p:cNvSpPr>
                    <a:spLocks noEditPoints="1"/>
                  </p:cNvSpPr>
                  <p:nvPr/>
                </p:nvSpPr>
                <p:spPr bwMode="auto">
                  <a:xfrm>
                    <a:off x="5066960" y="1950899"/>
                    <a:ext cx="119061" cy="55564"/>
                  </a:xfrm>
                  <a:custGeom>
                    <a:avLst/>
                    <a:gdLst>
                      <a:gd name="T0" fmla="*/ 75 w 75"/>
                      <a:gd name="T1" fmla="*/ 11 h 35"/>
                      <a:gd name="T2" fmla="*/ 0 w 75"/>
                      <a:gd name="T3" fmla="*/ 23 h 35"/>
                      <a:gd name="T4" fmla="*/ 0 w 75"/>
                      <a:gd name="T5" fmla="*/ 21 h 35"/>
                      <a:gd name="T6" fmla="*/ 0 w 75"/>
                      <a:gd name="T7" fmla="*/ 35 h 35"/>
                      <a:gd name="T8" fmla="*/ 74 w 75"/>
                      <a:gd name="T9" fmla="*/ 23 h 35"/>
                      <a:gd name="T10" fmla="*/ 75 w 75"/>
                      <a:gd name="T11" fmla="*/ 25 h 35"/>
                      <a:gd name="T12" fmla="*/ 75 w 75"/>
                      <a:gd name="T13" fmla="*/ 11 h 35"/>
                      <a:gd name="T14" fmla="*/ 75 w 75"/>
                      <a:gd name="T15" fmla="*/ 0 h 35"/>
                      <a:gd name="T16" fmla="*/ 73 w 75"/>
                      <a:gd name="T17" fmla="*/ 0 h 35"/>
                      <a:gd name="T18" fmla="*/ 0 w 75"/>
                      <a:gd name="T19" fmla="*/ 0 h 35"/>
                      <a:gd name="T20" fmla="*/ 0 w 75"/>
                      <a:gd name="T21" fmla="*/ 1 h 35"/>
                      <a:gd name="T22" fmla="*/ 0 w 75"/>
                      <a:gd name="T23" fmla="*/ 1 h 35"/>
                      <a:gd name="T24" fmla="*/ 0 w 75"/>
                      <a:gd name="T25" fmla="*/ 19 h 35"/>
                      <a:gd name="T26" fmla="*/ 74 w 75"/>
                      <a:gd name="T27" fmla="*/ 8 h 35"/>
                      <a:gd name="T28" fmla="*/ 75 w 75"/>
                      <a:gd name="T29" fmla="*/ 9 h 35"/>
                      <a:gd name="T30" fmla="*/ 75 w 75"/>
                      <a:gd name="T31" fmla="*/ 0 h 3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</a:cxnLst>
                    <a:rect l="0" t="0" r="r" b="b"/>
                    <a:pathLst>
                      <a:path w="75" h="35">
                        <a:moveTo>
                          <a:pt x="75" y="11"/>
                        </a:moveTo>
                        <a:lnTo>
                          <a:pt x="0" y="23"/>
                        </a:lnTo>
                        <a:lnTo>
                          <a:pt x="0" y="21"/>
                        </a:lnTo>
                        <a:lnTo>
                          <a:pt x="0" y="35"/>
                        </a:lnTo>
                        <a:lnTo>
                          <a:pt x="74" y="23"/>
                        </a:lnTo>
                        <a:lnTo>
                          <a:pt x="75" y="25"/>
                        </a:lnTo>
                        <a:lnTo>
                          <a:pt x="75" y="11"/>
                        </a:lnTo>
                        <a:close/>
                        <a:moveTo>
                          <a:pt x="75" y="0"/>
                        </a:moveTo>
                        <a:lnTo>
                          <a:pt x="73" y="0"/>
                        </a:lnTo>
                        <a:lnTo>
                          <a:pt x="0" y="0"/>
                        </a:lnTo>
                        <a:lnTo>
                          <a:pt x="0" y="1"/>
                        </a:lnTo>
                        <a:lnTo>
                          <a:pt x="0" y="1"/>
                        </a:lnTo>
                        <a:lnTo>
                          <a:pt x="0" y="19"/>
                        </a:lnTo>
                        <a:lnTo>
                          <a:pt x="74" y="8"/>
                        </a:lnTo>
                        <a:lnTo>
                          <a:pt x="75" y="9"/>
                        </a:lnTo>
                        <a:lnTo>
                          <a:pt x="75" y="0"/>
                        </a:lnTo>
                        <a:close/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66" name="Freeform 159"/>
                  <p:cNvSpPr>
                    <a:spLocks noEditPoints="1"/>
                  </p:cNvSpPr>
                  <p:nvPr/>
                </p:nvSpPr>
                <p:spPr bwMode="auto">
                  <a:xfrm>
                    <a:off x="5066960" y="1950899"/>
                    <a:ext cx="119061" cy="55564"/>
                  </a:xfrm>
                  <a:custGeom>
                    <a:avLst/>
                    <a:gdLst>
                      <a:gd name="T0" fmla="*/ 75 w 75"/>
                      <a:gd name="T1" fmla="*/ 11 h 35"/>
                      <a:gd name="T2" fmla="*/ 0 w 75"/>
                      <a:gd name="T3" fmla="*/ 23 h 35"/>
                      <a:gd name="T4" fmla="*/ 0 w 75"/>
                      <a:gd name="T5" fmla="*/ 21 h 35"/>
                      <a:gd name="T6" fmla="*/ 0 w 75"/>
                      <a:gd name="T7" fmla="*/ 35 h 35"/>
                      <a:gd name="T8" fmla="*/ 74 w 75"/>
                      <a:gd name="T9" fmla="*/ 23 h 35"/>
                      <a:gd name="T10" fmla="*/ 75 w 75"/>
                      <a:gd name="T11" fmla="*/ 25 h 35"/>
                      <a:gd name="T12" fmla="*/ 75 w 75"/>
                      <a:gd name="T13" fmla="*/ 11 h 35"/>
                      <a:gd name="T14" fmla="*/ 75 w 75"/>
                      <a:gd name="T15" fmla="*/ 0 h 35"/>
                      <a:gd name="T16" fmla="*/ 73 w 75"/>
                      <a:gd name="T17" fmla="*/ 0 h 35"/>
                      <a:gd name="T18" fmla="*/ 0 w 75"/>
                      <a:gd name="T19" fmla="*/ 0 h 35"/>
                      <a:gd name="T20" fmla="*/ 0 w 75"/>
                      <a:gd name="T21" fmla="*/ 1 h 35"/>
                      <a:gd name="T22" fmla="*/ 0 w 75"/>
                      <a:gd name="T23" fmla="*/ 1 h 35"/>
                      <a:gd name="T24" fmla="*/ 0 w 75"/>
                      <a:gd name="T25" fmla="*/ 19 h 35"/>
                      <a:gd name="T26" fmla="*/ 74 w 75"/>
                      <a:gd name="T27" fmla="*/ 8 h 35"/>
                      <a:gd name="T28" fmla="*/ 75 w 75"/>
                      <a:gd name="T29" fmla="*/ 9 h 35"/>
                      <a:gd name="T30" fmla="*/ 75 w 75"/>
                      <a:gd name="T31" fmla="*/ 0 h 3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</a:cxnLst>
                    <a:rect l="0" t="0" r="r" b="b"/>
                    <a:pathLst>
                      <a:path w="75" h="35">
                        <a:moveTo>
                          <a:pt x="75" y="11"/>
                        </a:moveTo>
                        <a:lnTo>
                          <a:pt x="0" y="23"/>
                        </a:lnTo>
                        <a:lnTo>
                          <a:pt x="0" y="21"/>
                        </a:lnTo>
                        <a:lnTo>
                          <a:pt x="0" y="35"/>
                        </a:lnTo>
                        <a:lnTo>
                          <a:pt x="74" y="23"/>
                        </a:lnTo>
                        <a:lnTo>
                          <a:pt x="75" y="25"/>
                        </a:lnTo>
                        <a:lnTo>
                          <a:pt x="75" y="11"/>
                        </a:lnTo>
                        <a:moveTo>
                          <a:pt x="75" y="0"/>
                        </a:moveTo>
                        <a:lnTo>
                          <a:pt x="73" y="0"/>
                        </a:lnTo>
                        <a:lnTo>
                          <a:pt x="0" y="0"/>
                        </a:lnTo>
                        <a:lnTo>
                          <a:pt x="0" y="1"/>
                        </a:lnTo>
                        <a:lnTo>
                          <a:pt x="0" y="1"/>
                        </a:lnTo>
                        <a:lnTo>
                          <a:pt x="0" y="19"/>
                        </a:lnTo>
                        <a:lnTo>
                          <a:pt x="74" y="8"/>
                        </a:lnTo>
                        <a:lnTo>
                          <a:pt x="75" y="9"/>
                        </a:lnTo>
                        <a:lnTo>
                          <a:pt x="75" y="0"/>
                        </a:lnTo>
                      </a:path>
                    </a:pathLst>
                  </a:cu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67" name="Freeform 160"/>
                  <p:cNvSpPr>
                    <a:spLocks/>
                  </p:cNvSpPr>
                  <p:nvPr/>
                </p:nvSpPr>
                <p:spPr bwMode="auto">
                  <a:xfrm>
                    <a:off x="5066960" y="1963600"/>
                    <a:ext cx="119061" cy="23813"/>
                  </a:xfrm>
                  <a:custGeom>
                    <a:avLst/>
                    <a:gdLst>
                      <a:gd name="T0" fmla="*/ 74 w 75"/>
                      <a:gd name="T1" fmla="*/ 0 h 15"/>
                      <a:gd name="T2" fmla="*/ 0 w 75"/>
                      <a:gd name="T3" fmla="*/ 11 h 15"/>
                      <a:gd name="T4" fmla="*/ 0 w 75"/>
                      <a:gd name="T5" fmla="*/ 13 h 15"/>
                      <a:gd name="T6" fmla="*/ 0 w 75"/>
                      <a:gd name="T7" fmla="*/ 15 h 15"/>
                      <a:gd name="T8" fmla="*/ 75 w 75"/>
                      <a:gd name="T9" fmla="*/ 3 h 15"/>
                      <a:gd name="T10" fmla="*/ 75 w 75"/>
                      <a:gd name="T11" fmla="*/ 1 h 15"/>
                      <a:gd name="T12" fmla="*/ 74 w 75"/>
                      <a:gd name="T13" fmla="*/ 0 h 1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75" h="15">
                        <a:moveTo>
                          <a:pt x="74" y="0"/>
                        </a:moveTo>
                        <a:lnTo>
                          <a:pt x="0" y="11"/>
                        </a:lnTo>
                        <a:lnTo>
                          <a:pt x="0" y="13"/>
                        </a:lnTo>
                        <a:lnTo>
                          <a:pt x="0" y="15"/>
                        </a:lnTo>
                        <a:lnTo>
                          <a:pt x="75" y="3"/>
                        </a:lnTo>
                        <a:lnTo>
                          <a:pt x="75" y="1"/>
                        </a:lnTo>
                        <a:lnTo>
                          <a:pt x="74" y="0"/>
                        </a:lnTo>
                        <a:close/>
                      </a:path>
                    </a:pathLst>
                  </a:custGeom>
                  <a:solidFill>
                    <a:srgbClr val="3333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68" name="Freeform 161"/>
                  <p:cNvSpPr>
                    <a:spLocks/>
                  </p:cNvSpPr>
                  <p:nvPr/>
                </p:nvSpPr>
                <p:spPr bwMode="auto">
                  <a:xfrm>
                    <a:off x="5066960" y="1963600"/>
                    <a:ext cx="119061" cy="23813"/>
                  </a:xfrm>
                  <a:custGeom>
                    <a:avLst/>
                    <a:gdLst>
                      <a:gd name="T0" fmla="*/ 74 w 75"/>
                      <a:gd name="T1" fmla="*/ 0 h 15"/>
                      <a:gd name="T2" fmla="*/ 0 w 75"/>
                      <a:gd name="T3" fmla="*/ 11 h 15"/>
                      <a:gd name="T4" fmla="*/ 0 w 75"/>
                      <a:gd name="T5" fmla="*/ 13 h 15"/>
                      <a:gd name="T6" fmla="*/ 0 w 75"/>
                      <a:gd name="T7" fmla="*/ 15 h 15"/>
                      <a:gd name="T8" fmla="*/ 75 w 75"/>
                      <a:gd name="T9" fmla="*/ 3 h 15"/>
                      <a:gd name="T10" fmla="*/ 75 w 75"/>
                      <a:gd name="T11" fmla="*/ 1 h 15"/>
                      <a:gd name="T12" fmla="*/ 74 w 75"/>
                      <a:gd name="T13" fmla="*/ 0 h 1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75" h="15">
                        <a:moveTo>
                          <a:pt x="74" y="0"/>
                        </a:moveTo>
                        <a:lnTo>
                          <a:pt x="0" y="11"/>
                        </a:lnTo>
                        <a:lnTo>
                          <a:pt x="0" y="13"/>
                        </a:lnTo>
                        <a:lnTo>
                          <a:pt x="0" y="15"/>
                        </a:lnTo>
                        <a:lnTo>
                          <a:pt x="75" y="3"/>
                        </a:lnTo>
                        <a:lnTo>
                          <a:pt x="75" y="1"/>
                        </a:lnTo>
                        <a:lnTo>
                          <a:pt x="74" y="0"/>
                        </a:lnTo>
                      </a:path>
                    </a:pathLst>
                  </a:cu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69" name="Freeform 162"/>
                  <p:cNvSpPr>
                    <a:spLocks/>
                  </p:cNvSpPr>
                  <p:nvPr/>
                </p:nvSpPr>
                <p:spPr bwMode="auto">
                  <a:xfrm>
                    <a:off x="5066960" y="1993763"/>
                    <a:ext cx="119061" cy="33338"/>
                  </a:xfrm>
                  <a:custGeom>
                    <a:avLst/>
                    <a:gdLst>
                      <a:gd name="T0" fmla="*/ 75 w 75"/>
                      <a:gd name="T1" fmla="*/ 0 h 21"/>
                      <a:gd name="T2" fmla="*/ 0 w 75"/>
                      <a:gd name="T3" fmla="*/ 12 h 21"/>
                      <a:gd name="T4" fmla="*/ 0 w 75"/>
                      <a:gd name="T5" fmla="*/ 10 h 21"/>
                      <a:gd name="T6" fmla="*/ 0 w 75"/>
                      <a:gd name="T7" fmla="*/ 21 h 21"/>
                      <a:gd name="T8" fmla="*/ 74 w 75"/>
                      <a:gd name="T9" fmla="*/ 10 h 21"/>
                      <a:gd name="T10" fmla="*/ 75 w 75"/>
                      <a:gd name="T11" fmla="*/ 12 h 21"/>
                      <a:gd name="T12" fmla="*/ 75 w 75"/>
                      <a:gd name="T13" fmla="*/ 0 h 2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75" h="21">
                        <a:moveTo>
                          <a:pt x="75" y="0"/>
                        </a:moveTo>
                        <a:lnTo>
                          <a:pt x="0" y="12"/>
                        </a:lnTo>
                        <a:lnTo>
                          <a:pt x="0" y="10"/>
                        </a:lnTo>
                        <a:lnTo>
                          <a:pt x="0" y="21"/>
                        </a:lnTo>
                        <a:lnTo>
                          <a:pt x="74" y="10"/>
                        </a:lnTo>
                        <a:lnTo>
                          <a:pt x="75" y="12"/>
                        </a:lnTo>
                        <a:lnTo>
                          <a:pt x="75" y="0"/>
                        </a:lnTo>
                        <a:close/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70" name="Freeform 163"/>
                  <p:cNvSpPr>
                    <a:spLocks/>
                  </p:cNvSpPr>
                  <p:nvPr/>
                </p:nvSpPr>
                <p:spPr bwMode="auto">
                  <a:xfrm>
                    <a:off x="5066960" y="1993763"/>
                    <a:ext cx="119061" cy="33338"/>
                  </a:xfrm>
                  <a:custGeom>
                    <a:avLst/>
                    <a:gdLst>
                      <a:gd name="T0" fmla="*/ 75 w 75"/>
                      <a:gd name="T1" fmla="*/ 0 h 21"/>
                      <a:gd name="T2" fmla="*/ 0 w 75"/>
                      <a:gd name="T3" fmla="*/ 12 h 21"/>
                      <a:gd name="T4" fmla="*/ 0 w 75"/>
                      <a:gd name="T5" fmla="*/ 10 h 21"/>
                      <a:gd name="T6" fmla="*/ 0 w 75"/>
                      <a:gd name="T7" fmla="*/ 21 h 21"/>
                      <a:gd name="T8" fmla="*/ 74 w 75"/>
                      <a:gd name="T9" fmla="*/ 10 h 21"/>
                      <a:gd name="T10" fmla="*/ 75 w 75"/>
                      <a:gd name="T11" fmla="*/ 12 h 21"/>
                      <a:gd name="T12" fmla="*/ 75 w 75"/>
                      <a:gd name="T13" fmla="*/ 0 h 2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75" h="21">
                        <a:moveTo>
                          <a:pt x="75" y="0"/>
                        </a:moveTo>
                        <a:lnTo>
                          <a:pt x="0" y="12"/>
                        </a:lnTo>
                        <a:lnTo>
                          <a:pt x="0" y="10"/>
                        </a:lnTo>
                        <a:lnTo>
                          <a:pt x="0" y="21"/>
                        </a:lnTo>
                        <a:lnTo>
                          <a:pt x="74" y="10"/>
                        </a:lnTo>
                        <a:lnTo>
                          <a:pt x="75" y="12"/>
                        </a:lnTo>
                        <a:lnTo>
                          <a:pt x="75" y="0"/>
                        </a:lnTo>
                      </a:path>
                    </a:pathLst>
                  </a:cu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71" name="Freeform 164"/>
                  <p:cNvSpPr>
                    <a:spLocks/>
                  </p:cNvSpPr>
                  <p:nvPr/>
                </p:nvSpPr>
                <p:spPr bwMode="auto">
                  <a:xfrm>
                    <a:off x="5086010" y="2014401"/>
                    <a:ext cx="100011" cy="15875"/>
                  </a:xfrm>
                  <a:custGeom>
                    <a:avLst/>
                    <a:gdLst>
                      <a:gd name="T0" fmla="*/ 63 w 63"/>
                      <a:gd name="T1" fmla="*/ 0 h 10"/>
                      <a:gd name="T2" fmla="*/ 0 w 63"/>
                      <a:gd name="T3" fmla="*/ 10 h 10"/>
                      <a:gd name="T4" fmla="*/ 45 w 63"/>
                      <a:gd name="T5" fmla="*/ 10 h 10"/>
                      <a:gd name="T6" fmla="*/ 63 w 63"/>
                      <a:gd name="T7" fmla="*/ 10 h 10"/>
                      <a:gd name="T8" fmla="*/ 63 w 63"/>
                      <a:gd name="T9" fmla="*/ 0 h 1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63" h="10">
                        <a:moveTo>
                          <a:pt x="63" y="0"/>
                        </a:moveTo>
                        <a:lnTo>
                          <a:pt x="0" y="10"/>
                        </a:lnTo>
                        <a:lnTo>
                          <a:pt x="45" y="10"/>
                        </a:lnTo>
                        <a:lnTo>
                          <a:pt x="63" y="10"/>
                        </a:lnTo>
                        <a:lnTo>
                          <a:pt x="63" y="0"/>
                        </a:lnTo>
                        <a:close/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72" name="Freeform 165"/>
                  <p:cNvSpPr>
                    <a:spLocks/>
                  </p:cNvSpPr>
                  <p:nvPr/>
                </p:nvSpPr>
                <p:spPr bwMode="auto">
                  <a:xfrm>
                    <a:off x="5086010" y="2014401"/>
                    <a:ext cx="100011" cy="15875"/>
                  </a:xfrm>
                  <a:custGeom>
                    <a:avLst/>
                    <a:gdLst>
                      <a:gd name="T0" fmla="*/ 63 w 63"/>
                      <a:gd name="T1" fmla="*/ 0 h 10"/>
                      <a:gd name="T2" fmla="*/ 0 w 63"/>
                      <a:gd name="T3" fmla="*/ 10 h 10"/>
                      <a:gd name="T4" fmla="*/ 45 w 63"/>
                      <a:gd name="T5" fmla="*/ 10 h 10"/>
                      <a:gd name="T6" fmla="*/ 63 w 63"/>
                      <a:gd name="T7" fmla="*/ 10 h 10"/>
                      <a:gd name="T8" fmla="*/ 63 w 63"/>
                      <a:gd name="T9" fmla="*/ 0 h 1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63" h="10">
                        <a:moveTo>
                          <a:pt x="63" y="0"/>
                        </a:moveTo>
                        <a:lnTo>
                          <a:pt x="0" y="10"/>
                        </a:lnTo>
                        <a:lnTo>
                          <a:pt x="45" y="10"/>
                        </a:lnTo>
                        <a:lnTo>
                          <a:pt x="63" y="10"/>
                        </a:lnTo>
                        <a:lnTo>
                          <a:pt x="63" y="0"/>
                        </a:lnTo>
                      </a:path>
                    </a:pathLst>
                  </a:cu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73" name="Freeform 166"/>
                  <p:cNvSpPr>
                    <a:spLocks/>
                  </p:cNvSpPr>
                  <p:nvPr/>
                </p:nvSpPr>
                <p:spPr bwMode="auto">
                  <a:xfrm>
                    <a:off x="5066960" y="1987413"/>
                    <a:ext cx="119061" cy="25401"/>
                  </a:xfrm>
                  <a:custGeom>
                    <a:avLst/>
                    <a:gdLst>
                      <a:gd name="T0" fmla="*/ 74 w 75"/>
                      <a:gd name="T1" fmla="*/ 0 h 16"/>
                      <a:gd name="T2" fmla="*/ 0 w 75"/>
                      <a:gd name="T3" fmla="*/ 12 h 16"/>
                      <a:gd name="T4" fmla="*/ 0 w 75"/>
                      <a:gd name="T5" fmla="*/ 14 h 16"/>
                      <a:gd name="T6" fmla="*/ 0 w 75"/>
                      <a:gd name="T7" fmla="*/ 16 h 16"/>
                      <a:gd name="T8" fmla="*/ 75 w 75"/>
                      <a:gd name="T9" fmla="*/ 4 h 16"/>
                      <a:gd name="T10" fmla="*/ 75 w 75"/>
                      <a:gd name="T11" fmla="*/ 2 h 16"/>
                      <a:gd name="T12" fmla="*/ 74 w 75"/>
                      <a:gd name="T13" fmla="*/ 0 h 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75" h="16">
                        <a:moveTo>
                          <a:pt x="74" y="0"/>
                        </a:moveTo>
                        <a:lnTo>
                          <a:pt x="0" y="12"/>
                        </a:lnTo>
                        <a:lnTo>
                          <a:pt x="0" y="14"/>
                        </a:lnTo>
                        <a:lnTo>
                          <a:pt x="0" y="16"/>
                        </a:lnTo>
                        <a:lnTo>
                          <a:pt x="75" y="4"/>
                        </a:lnTo>
                        <a:lnTo>
                          <a:pt x="75" y="2"/>
                        </a:lnTo>
                        <a:lnTo>
                          <a:pt x="74" y="0"/>
                        </a:lnTo>
                        <a:close/>
                      </a:path>
                    </a:pathLst>
                  </a:custGeom>
                  <a:solidFill>
                    <a:srgbClr val="3333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74" name="Freeform 167"/>
                  <p:cNvSpPr>
                    <a:spLocks/>
                  </p:cNvSpPr>
                  <p:nvPr/>
                </p:nvSpPr>
                <p:spPr bwMode="auto">
                  <a:xfrm>
                    <a:off x="5066960" y="1987413"/>
                    <a:ext cx="119061" cy="25401"/>
                  </a:xfrm>
                  <a:custGeom>
                    <a:avLst/>
                    <a:gdLst>
                      <a:gd name="T0" fmla="*/ 74 w 75"/>
                      <a:gd name="T1" fmla="*/ 0 h 16"/>
                      <a:gd name="T2" fmla="*/ 0 w 75"/>
                      <a:gd name="T3" fmla="*/ 12 h 16"/>
                      <a:gd name="T4" fmla="*/ 0 w 75"/>
                      <a:gd name="T5" fmla="*/ 14 h 16"/>
                      <a:gd name="T6" fmla="*/ 0 w 75"/>
                      <a:gd name="T7" fmla="*/ 16 h 16"/>
                      <a:gd name="T8" fmla="*/ 75 w 75"/>
                      <a:gd name="T9" fmla="*/ 4 h 16"/>
                      <a:gd name="T10" fmla="*/ 75 w 75"/>
                      <a:gd name="T11" fmla="*/ 2 h 16"/>
                      <a:gd name="T12" fmla="*/ 74 w 75"/>
                      <a:gd name="T13" fmla="*/ 0 h 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75" h="16">
                        <a:moveTo>
                          <a:pt x="74" y="0"/>
                        </a:moveTo>
                        <a:lnTo>
                          <a:pt x="0" y="12"/>
                        </a:lnTo>
                        <a:lnTo>
                          <a:pt x="0" y="14"/>
                        </a:lnTo>
                        <a:lnTo>
                          <a:pt x="0" y="16"/>
                        </a:lnTo>
                        <a:lnTo>
                          <a:pt x="75" y="4"/>
                        </a:lnTo>
                        <a:lnTo>
                          <a:pt x="75" y="2"/>
                        </a:lnTo>
                        <a:lnTo>
                          <a:pt x="74" y="0"/>
                        </a:lnTo>
                      </a:path>
                    </a:pathLst>
                  </a:cu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75" name="Freeform 168"/>
                  <p:cNvSpPr>
                    <a:spLocks/>
                  </p:cNvSpPr>
                  <p:nvPr/>
                </p:nvSpPr>
                <p:spPr bwMode="auto">
                  <a:xfrm>
                    <a:off x="5066960" y="2009638"/>
                    <a:ext cx="119061" cy="20638"/>
                  </a:xfrm>
                  <a:custGeom>
                    <a:avLst/>
                    <a:gdLst>
                      <a:gd name="T0" fmla="*/ 74 w 75"/>
                      <a:gd name="T1" fmla="*/ 0 h 13"/>
                      <a:gd name="T2" fmla="*/ 0 w 75"/>
                      <a:gd name="T3" fmla="*/ 11 h 13"/>
                      <a:gd name="T4" fmla="*/ 0 w 75"/>
                      <a:gd name="T5" fmla="*/ 13 h 13"/>
                      <a:gd name="T6" fmla="*/ 12 w 75"/>
                      <a:gd name="T7" fmla="*/ 13 h 13"/>
                      <a:gd name="T8" fmla="*/ 75 w 75"/>
                      <a:gd name="T9" fmla="*/ 3 h 13"/>
                      <a:gd name="T10" fmla="*/ 75 w 75"/>
                      <a:gd name="T11" fmla="*/ 2 h 13"/>
                      <a:gd name="T12" fmla="*/ 74 w 75"/>
                      <a:gd name="T13" fmla="*/ 0 h 1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75" h="13">
                        <a:moveTo>
                          <a:pt x="74" y="0"/>
                        </a:moveTo>
                        <a:lnTo>
                          <a:pt x="0" y="11"/>
                        </a:lnTo>
                        <a:lnTo>
                          <a:pt x="0" y="13"/>
                        </a:lnTo>
                        <a:lnTo>
                          <a:pt x="12" y="13"/>
                        </a:lnTo>
                        <a:lnTo>
                          <a:pt x="75" y="3"/>
                        </a:lnTo>
                        <a:lnTo>
                          <a:pt x="75" y="2"/>
                        </a:lnTo>
                        <a:lnTo>
                          <a:pt x="74" y="0"/>
                        </a:lnTo>
                        <a:close/>
                      </a:path>
                    </a:pathLst>
                  </a:custGeom>
                  <a:solidFill>
                    <a:srgbClr val="3333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76" name="Freeform 169"/>
                  <p:cNvSpPr>
                    <a:spLocks/>
                  </p:cNvSpPr>
                  <p:nvPr/>
                </p:nvSpPr>
                <p:spPr bwMode="auto">
                  <a:xfrm>
                    <a:off x="5066960" y="2009638"/>
                    <a:ext cx="119061" cy="20638"/>
                  </a:xfrm>
                  <a:custGeom>
                    <a:avLst/>
                    <a:gdLst>
                      <a:gd name="T0" fmla="*/ 74 w 75"/>
                      <a:gd name="T1" fmla="*/ 0 h 13"/>
                      <a:gd name="T2" fmla="*/ 0 w 75"/>
                      <a:gd name="T3" fmla="*/ 11 h 13"/>
                      <a:gd name="T4" fmla="*/ 0 w 75"/>
                      <a:gd name="T5" fmla="*/ 13 h 13"/>
                      <a:gd name="T6" fmla="*/ 12 w 75"/>
                      <a:gd name="T7" fmla="*/ 13 h 13"/>
                      <a:gd name="T8" fmla="*/ 75 w 75"/>
                      <a:gd name="T9" fmla="*/ 3 h 13"/>
                      <a:gd name="T10" fmla="*/ 75 w 75"/>
                      <a:gd name="T11" fmla="*/ 2 h 13"/>
                      <a:gd name="T12" fmla="*/ 74 w 75"/>
                      <a:gd name="T13" fmla="*/ 0 h 1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75" h="13">
                        <a:moveTo>
                          <a:pt x="74" y="0"/>
                        </a:moveTo>
                        <a:lnTo>
                          <a:pt x="0" y="11"/>
                        </a:lnTo>
                        <a:lnTo>
                          <a:pt x="0" y="13"/>
                        </a:lnTo>
                        <a:lnTo>
                          <a:pt x="12" y="13"/>
                        </a:lnTo>
                        <a:lnTo>
                          <a:pt x="75" y="3"/>
                        </a:lnTo>
                        <a:lnTo>
                          <a:pt x="75" y="2"/>
                        </a:lnTo>
                        <a:lnTo>
                          <a:pt x="74" y="0"/>
                        </a:lnTo>
                      </a:path>
                    </a:pathLst>
                  </a:cu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77" name="Freeform 170"/>
                  <p:cNvSpPr>
                    <a:spLocks/>
                  </p:cNvSpPr>
                  <p:nvPr/>
                </p:nvSpPr>
                <p:spPr bwMode="auto">
                  <a:xfrm>
                    <a:off x="5095535" y="2030276"/>
                    <a:ext cx="61911" cy="20638"/>
                  </a:xfrm>
                  <a:custGeom>
                    <a:avLst/>
                    <a:gdLst>
                      <a:gd name="T0" fmla="*/ 39 w 39"/>
                      <a:gd name="T1" fmla="*/ 0 h 13"/>
                      <a:gd name="T2" fmla="*/ 0 w 39"/>
                      <a:gd name="T3" fmla="*/ 0 h 13"/>
                      <a:gd name="T4" fmla="*/ 6 w 39"/>
                      <a:gd name="T5" fmla="*/ 13 h 13"/>
                      <a:gd name="T6" fmla="*/ 32 w 39"/>
                      <a:gd name="T7" fmla="*/ 13 h 13"/>
                      <a:gd name="T8" fmla="*/ 39 w 39"/>
                      <a:gd name="T9" fmla="*/ 0 h 1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9" h="13">
                        <a:moveTo>
                          <a:pt x="39" y="0"/>
                        </a:moveTo>
                        <a:lnTo>
                          <a:pt x="0" y="0"/>
                        </a:lnTo>
                        <a:lnTo>
                          <a:pt x="6" y="13"/>
                        </a:lnTo>
                        <a:lnTo>
                          <a:pt x="32" y="13"/>
                        </a:lnTo>
                        <a:lnTo>
                          <a:pt x="39" y="0"/>
                        </a:lnTo>
                        <a:close/>
                      </a:path>
                    </a:pathLst>
                  </a:custGeom>
                  <a:solidFill>
                    <a:srgbClr val="3333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78" name="Freeform 171"/>
                  <p:cNvSpPr>
                    <a:spLocks/>
                  </p:cNvSpPr>
                  <p:nvPr/>
                </p:nvSpPr>
                <p:spPr bwMode="auto">
                  <a:xfrm>
                    <a:off x="5095535" y="2030276"/>
                    <a:ext cx="61911" cy="20638"/>
                  </a:xfrm>
                  <a:custGeom>
                    <a:avLst/>
                    <a:gdLst>
                      <a:gd name="T0" fmla="*/ 39 w 39"/>
                      <a:gd name="T1" fmla="*/ 0 h 13"/>
                      <a:gd name="T2" fmla="*/ 0 w 39"/>
                      <a:gd name="T3" fmla="*/ 0 h 13"/>
                      <a:gd name="T4" fmla="*/ 6 w 39"/>
                      <a:gd name="T5" fmla="*/ 13 h 13"/>
                      <a:gd name="T6" fmla="*/ 32 w 39"/>
                      <a:gd name="T7" fmla="*/ 13 h 13"/>
                      <a:gd name="T8" fmla="*/ 39 w 39"/>
                      <a:gd name="T9" fmla="*/ 0 h 1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9" h="13">
                        <a:moveTo>
                          <a:pt x="39" y="0"/>
                        </a:moveTo>
                        <a:lnTo>
                          <a:pt x="0" y="0"/>
                        </a:lnTo>
                        <a:lnTo>
                          <a:pt x="6" y="13"/>
                        </a:lnTo>
                        <a:lnTo>
                          <a:pt x="32" y="13"/>
                        </a:lnTo>
                        <a:lnTo>
                          <a:pt x="39" y="0"/>
                        </a:lnTo>
                      </a:path>
                    </a:pathLst>
                  </a:cu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</p:grpSp>
            <p:sp>
              <p:nvSpPr>
                <p:cNvPr id="179" name="Freeform 172"/>
                <p:cNvSpPr>
                  <a:spLocks/>
                </p:cNvSpPr>
                <p:nvPr/>
              </p:nvSpPr>
              <p:spPr bwMode="auto">
                <a:xfrm>
                  <a:off x="2577801" y="2468435"/>
                  <a:ext cx="311145" cy="246068"/>
                </a:xfrm>
                <a:custGeom>
                  <a:avLst/>
                  <a:gdLst>
                    <a:gd name="T0" fmla="*/ 15 w 216"/>
                    <a:gd name="T1" fmla="*/ 115 h 170"/>
                    <a:gd name="T2" fmla="*/ 15 w 216"/>
                    <a:gd name="T3" fmla="*/ 115 h 170"/>
                    <a:gd name="T4" fmla="*/ 4 w 216"/>
                    <a:gd name="T5" fmla="*/ 149 h 170"/>
                    <a:gd name="T6" fmla="*/ 32 w 216"/>
                    <a:gd name="T7" fmla="*/ 170 h 170"/>
                    <a:gd name="T8" fmla="*/ 166 w 216"/>
                    <a:gd name="T9" fmla="*/ 170 h 170"/>
                    <a:gd name="T10" fmla="*/ 166 w 216"/>
                    <a:gd name="T11" fmla="*/ 110 h 170"/>
                    <a:gd name="T12" fmla="*/ 127 w 216"/>
                    <a:gd name="T13" fmla="*/ 110 h 170"/>
                    <a:gd name="T14" fmla="*/ 216 w 216"/>
                    <a:gd name="T15" fmla="*/ 48 h 170"/>
                    <a:gd name="T16" fmla="*/ 180 w 216"/>
                    <a:gd name="T17" fmla="*/ 0 h 170"/>
                    <a:gd name="T18" fmla="*/ 15 w 216"/>
                    <a:gd name="T19" fmla="*/ 115 h 1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16" h="170">
                      <a:moveTo>
                        <a:pt x="15" y="115"/>
                      </a:moveTo>
                      <a:cubicBezTo>
                        <a:pt x="15" y="115"/>
                        <a:pt x="15" y="115"/>
                        <a:pt x="15" y="115"/>
                      </a:cubicBezTo>
                      <a:cubicBezTo>
                        <a:pt x="5" y="123"/>
                        <a:pt x="0" y="136"/>
                        <a:pt x="4" y="149"/>
                      </a:cubicBezTo>
                      <a:cubicBezTo>
                        <a:pt x="8" y="161"/>
                        <a:pt x="19" y="170"/>
                        <a:pt x="32" y="170"/>
                      </a:cubicBezTo>
                      <a:cubicBezTo>
                        <a:pt x="166" y="170"/>
                        <a:pt x="166" y="170"/>
                        <a:pt x="166" y="170"/>
                      </a:cubicBezTo>
                      <a:cubicBezTo>
                        <a:pt x="166" y="110"/>
                        <a:pt x="166" y="110"/>
                        <a:pt x="166" y="110"/>
                      </a:cubicBezTo>
                      <a:cubicBezTo>
                        <a:pt x="127" y="110"/>
                        <a:pt x="127" y="110"/>
                        <a:pt x="127" y="110"/>
                      </a:cubicBezTo>
                      <a:cubicBezTo>
                        <a:pt x="216" y="48"/>
                        <a:pt x="216" y="48"/>
                        <a:pt x="216" y="48"/>
                      </a:cubicBezTo>
                      <a:cubicBezTo>
                        <a:pt x="180" y="0"/>
                        <a:pt x="180" y="0"/>
                        <a:pt x="180" y="0"/>
                      </a:cubicBezTo>
                      <a:lnTo>
                        <a:pt x="15" y="115"/>
                      </a:lnTo>
                      <a:close/>
                    </a:path>
                  </a:pathLst>
                </a:custGeom>
                <a:solidFill>
                  <a:srgbClr val="E1623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173"/>
                <p:cNvSpPr>
                  <a:spLocks/>
                </p:cNvSpPr>
                <p:nvPr/>
              </p:nvSpPr>
              <p:spPr bwMode="auto">
                <a:xfrm>
                  <a:off x="2976257" y="2468435"/>
                  <a:ext cx="125410" cy="49214"/>
                </a:xfrm>
                <a:custGeom>
                  <a:avLst/>
                  <a:gdLst>
                    <a:gd name="T0" fmla="*/ 0 w 87"/>
                    <a:gd name="T1" fmla="*/ 0 h 33"/>
                    <a:gd name="T2" fmla="*/ 44 w 87"/>
                    <a:gd name="T3" fmla="*/ 33 h 33"/>
                    <a:gd name="T4" fmla="*/ 87 w 87"/>
                    <a:gd name="T5" fmla="*/ 0 h 33"/>
                    <a:gd name="T6" fmla="*/ 0 w 87"/>
                    <a:gd name="T7" fmla="*/ 0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7" h="33">
                      <a:moveTo>
                        <a:pt x="0" y="0"/>
                      </a:moveTo>
                      <a:cubicBezTo>
                        <a:pt x="5" y="19"/>
                        <a:pt x="23" y="33"/>
                        <a:pt x="44" y="33"/>
                      </a:cubicBezTo>
                      <a:cubicBezTo>
                        <a:pt x="64" y="33"/>
                        <a:pt x="82" y="19"/>
                        <a:pt x="87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CB96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174"/>
                <p:cNvSpPr>
                  <a:spLocks/>
                </p:cNvSpPr>
                <p:nvPr/>
              </p:nvSpPr>
              <p:spPr bwMode="auto">
                <a:xfrm>
                  <a:off x="3006419" y="2355720"/>
                  <a:ext cx="96836" cy="117477"/>
                </a:xfrm>
                <a:custGeom>
                  <a:avLst/>
                  <a:gdLst>
                    <a:gd name="T0" fmla="*/ 67 w 67"/>
                    <a:gd name="T1" fmla="*/ 7 h 81"/>
                    <a:gd name="T2" fmla="*/ 46 w 67"/>
                    <a:gd name="T3" fmla="*/ 0 h 81"/>
                    <a:gd name="T4" fmla="*/ 39 w 67"/>
                    <a:gd name="T5" fmla="*/ 18 h 81"/>
                    <a:gd name="T6" fmla="*/ 0 w 67"/>
                    <a:gd name="T7" fmla="*/ 18 h 81"/>
                    <a:gd name="T8" fmla="*/ 0 w 67"/>
                    <a:gd name="T9" fmla="*/ 81 h 81"/>
                    <a:gd name="T10" fmla="*/ 46 w 67"/>
                    <a:gd name="T11" fmla="*/ 81 h 81"/>
                    <a:gd name="T12" fmla="*/ 46 w 67"/>
                    <a:gd name="T13" fmla="*/ 45 h 81"/>
                    <a:gd name="T14" fmla="*/ 67 w 67"/>
                    <a:gd name="T15" fmla="*/ 7 h 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7" h="81">
                      <a:moveTo>
                        <a:pt x="67" y="7"/>
                      </a:move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39" y="18"/>
                        <a:pt x="39" y="18"/>
                        <a:pt x="39" y="18"/>
                      </a:cubicBezTo>
                      <a:cubicBezTo>
                        <a:pt x="0" y="18"/>
                        <a:pt x="0" y="18"/>
                        <a:pt x="0" y="18"/>
                      </a:cubicBezTo>
                      <a:cubicBezTo>
                        <a:pt x="0" y="81"/>
                        <a:pt x="0" y="81"/>
                        <a:pt x="0" y="81"/>
                      </a:cubicBezTo>
                      <a:cubicBezTo>
                        <a:pt x="46" y="81"/>
                        <a:pt x="46" y="81"/>
                        <a:pt x="46" y="81"/>
                      </a:cubicBezTo>
                      <a:cubicBezTo>
                        <a:pt x="46" y="45"/>
                        <a:pt x="46" y="45"/>
                        <a:pt x="46" y="45"/>
                      </a:cubicBezTo>
                      <a:cubicBezTo>
                        <a:pt x="47" y="33"/>
                        <a:pt x="51" y="13"/>
                        <a:pt x="67" y="7"/>
                      </a:cubicBezTo>
                      <a:close/>
                    </a:path>
                  </a:pathLst>
                </a:custGeom>
                <a:solidFill>
                  <a:srgbClr val="FCB96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175"/>
                <p:cNvSpPr>
                  <a:spLocks/>
                </p:cNvSpPr>
                <p:nvPr/>
              </p:nvSpPr>
              <p:spPr bwMode="auto">
                <a:xfrm>
                  <a:off x="3060393" y="2227130"/>
                  <a:ext cx="88899" cy="87314"/>
                </a:xfrm>
                <a:custGeom>
                  <a:avLst/>
                  <a:gdLst>
                    <a:gd name="T0" fmla="*/ 0 w 56"/>
                    <a:gd name="T1" fmla="*/ 0 h 55"/>
                    <a:gd name="T2" fmla="*/ 56 w 56"/>
                    <a:gd name="T3" fmla="*/ 31 h 55"/>
                    <a:gd name="T4" fmla="*/ 32 w 56"/>
                    <a:gd name="T5" fmla="*/ 55 h 55"/>
                    <a:gd name="T6" fmla="*/ 0 w 56"/>
                    <a:gd name="T7" fmla="*/ 0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6" h="55">
                      <a:moveTo>
                        <a:pt x="0" y="0"/>
                      </a:moveTo>
                      <a:lnTo>
                        <a:pt x="56" y="31"/>
                      </a:lnTo>
                      <a:lnTo>
                        <a:pt x="32" y="5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9A8D7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176"/>
                <p:cNvSpPr>
                  <a:spLocks/>
                </p:cNvSpPr>
                <p:nvPr/>
              </p:nvSpPr>
              <p:spPr bwMode="auto">
                <a:xfrm>
                  <a:off x="3036581" y="2271581"/>
                  <a:ext cx="15875" cy="14288"/>
                </a:xfrm>
                <a:custGeom>
                  <a:avLst/>
                  <a:gdLst>
                    <a:gd name="T0" fmla="*/ 9 w 11"/>
                    <a:gd name="T1" fmla="*/ 1 h 10"/>
                    <a:gd name="T2" fmla="*/ 9 w 11"/>
                    <a:gd name="T3" fmla="*/ 8 h 10"/>
                    <a:gd name="T4" fmla="*/ 2 w 11"/>
                    <a:gd name="T5" fmla="*/ 8 h 10"/>
                    <a:gd name="T6" fmla="*/ 2 w 11"/>
                    <a:gd name="T7" fmla="*/ 1 h 10"/>
                    <a:gd name="T8" fmla="*/ 9 w 11"/>
                    <a:gd name="T9" fmla="*/ 1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" h="10">
                      <a:moveTo>
                        <a:pt x="9" y="1"/>
                      </a:moveTo>
                      <a:cubicBezTo>
                        <a:pt x="11" y="3"/>
                        <a:pt x="11" y="6"/>
                        <a:pt x="9" y="8"/>
                      </a:cubicBezTo>
                      <a:cubicBezTo>
                        <a:pt x="7" y="10"/>
                        <a:pt x="4" y="10"/>
                        <a:pt x="2" y="8"/>
                      </a:cubicBezTo>
                      <a:cubicBezTo>
                        <a:pt x="0" y="6"/>
                        <a:pt x="0" y="3"/>
                        <a:pt x="2" y="1"/>
                      </a:cubicBezTo>
                      <a:cubicBezTo>
                        <a:pt x="4" y="0"/>
                        <a:pt x="7" y="0"/>
                        <a:pt x="9" y="1"/>
                      </a:cubicBezTo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177"/>
                <p:cNvSpPr>
                  <a:spLocks/>
                </p:cNvSpPr>
                <p:nvPr/>
              </p:nvSpPr>
              <p:spPr bwMode="auto">
                <a:xfrm>
                  <a:off x="3060393" y="2227130"/>
                  <a:ext cx="88899" cy="87314"/>
                </a:xfrm>
                <a:custGeom>
                  <a:avLst/>
                  <a:gdLst>
                    <a:gd name="T0" fmla="*/ 0 w 56"/>
                    <a:gd name="T1" fmla="*/ 0 h 55"/>
                    <a:gd name="T2" fmla="*/ 56 w 56"/>
                    <a:gd name="T3" fmla="*/ 31 h 55"/>
                    <a:gd name="T4" fmla="*/ 32 w 56"/>
                    <a:gd name="T5" fmla="*/ 55 h 55"/>
                    <a:gd name="T6" fmla="*/ 0 w 56"/>
                    <a:gd name="T7" fmla="*/ 0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6" h="55">
                      <a:moveTo>
                        <a:pt x="0" y="0"/>
                      </a:moveTo>
                      <a:lnTo>
                        <a:pt x="56" y="31"/>
                      </a:lnTo>
                      <a:lnTo>
                        <a:pt x="32" y="5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CB96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178"/>
                <p:cNvSpPr>
                  <a:spLocks/>
                </p:cNvSpPr>
                <p:nvPr/>
              </p:nvSpPr>
              <p:spPr bwMode="auto">
                <a:xfrm>
                  <a:off x="2887358" y="2179504"/>
                  <a:ext cx="296858" cy="273056"/>
                </a:xfrm>
                <a:custGeom>
                  <a:avLst/>
                  <a:gdLst>
                    <a:gd name="T0" fmla="*/ 0 w 205"/>
                    <a:gd name="T1" fmla="*/ 85 h 188"/>
                    <a:gd name="T2" fmla="*/ 61 w 205"/>
                    <a:gd name="T3" fmla="*/ 146 h 188"/>
                    <a:gd name="T4" fmla="*/ 61 w 205"/>
                    <a:gd name="T5" fmla="*/ 146 h 188"/>
                    <a:gd name="T6" fmla="*/ 205 w 205"/>
                    <a:gd name="T7" fmla="*/ 119 h 188"/>
                    <a:gd name="T8" fmla="*/ 201 w 205"/>
                    <a:gd name="T9" fmla="*/ 115 h 188"/>
                    <a:gd name="T10" fmla="*/ 167 w 205"/>
                    <a:gd name="T11" fmla="*/ 80 h 188"/>
                    <a:gd name="T12" fmla="*/ 124 w 205"/>
                    <a:gd name="T13" fmla="*/ 37 h 188"/>
                    <a:gd name="T14" fmla="*/ 86 w 205"/>
                    <a:gd name="T15" fmla="*/ 0 h 188"/>
                    <a:gd name="T16" fmla="*/ 0 w 205"/>
                    <a:gd name="T17" fmla="*/ 85 h 1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05" h="188">
                      <a:moveTo>
                        <a:pt x="0" y="85"/>
                      </a:moveTo>
                      <a:cubicBezTo>
                        <a:pt x="61" y="146"/>
                        <a:pt x="61" y="146"/>
                        <a:pt x="61" y="146"/>
                      </a:cubicBezTo>
                      <a:cubicBezTo>
                        <a:pt x="61" y="146"/>
                        <a:pt x="61" y="146"/>
                        <a:pt x="61" y="146"/>
                      </a:cubicBezTo>
                      <a:cubicBezTo>
                        <a:pt x="109" y="188"/>
                        <a:pt x="160" y="164"/>
                        <a:pt x="205" y="119"/>
                      </a:cubicBezTo>
                      <a:cubicBezTo>
                        <a:pt x="201" y="115"/>
                        <a:pt x="201" y="115"/>
                        <a:pt x="201" y="115"/>
                      </a:cubicBezTo>
                      <a:cubicBezTo>
                        <a:pt x="167" y="80"/>
                        <a:pt x="167" y="80"/>
                        <a:pt x="167" y="80"/>
                      </a:cubicBezTo>
                      <a:cubicBezTo>
                        <a:pt x="124" y="37"/>
                        <a:pt x="124" y="37"/>
                        <a:pt x="124" y="37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0" y="85"/>
                        <a:pt x="0" y="85"/>
                        <a:pt x="0" y="85"/>
                      </a:cubicBezTo>
                    </a:path>
                  </a:pathLst>
                </a:custGeom>
                <a:solidFill>
                  <a:srgbClr val="FCB96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179"/>
                <p:cNvSpPr>
                  <a:spLocks/>
                </p:cNvSpPr>
                <p:nvPr/>
              </p:nvSpPr>
              <p:spPr bwMode="auto">
                <a:xfrm>
                  <a:off x="3036579" y="2271580"/>
                  <a:ext cx="25284" cy="25284"/>
                </a:xfrm>
                <a:custGeom>
                  <a:avLst/>
                  <a:gdLst>
                    <a:gd name="T0" fmla="*/ 9 w 11"/>
                    <a:gd name="T1" fmla="*/ 1 h 10"/>
                    <a:gd name="T2" fmla="*/ 9 w 11"/>
                    <a:gd name="T3" fmla="*/ 8 h 10"/>
                    <a:gd name="T4" fmla="*/ 2 w 11"/>
                    <a:gd name="T5" fmla="*/ 8 h 10"/>
                    <a:gd name="T6" fmla="*/ 2 w 11"/>
                    <a:gd name="T7" fmla="*/ 1 h 10"/>
                    <a:gd name="T8" fmla="*/ 9 w 11"/>
                    <a:gd name="T9" fmla="*/ 1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" h="10">
                      <a:moveTo>
                        <a:pt x="9" y="1"/>
                      </a:moveTo>
                      <a:cubicBezTo>
                        <a:pt x="11" y="3"/>
                        <a:pt x="11" y="6"/>
                        <a:pt x="9" y="8"/>
                      </a:cubicBezTo>
                      <a:cubicBezTo>
                        <a:pt x="7" y="10"/>
                        <a:pt x="4" y="10"/>
                        <a:pt x="2" y="8"/>
                      </a:cubicBezTo>
                      <a:cubicBezTo>
                        <a:pt x="0" y="6"/>
                        <a:pt x="0" y="3"/>
                        <a:pt x="2" y="1"/>
                      </a:cubicBezTo>
                      <a:cubicBezTo>
                        <a:pt x="4" y="0"/>
                        <a:pt x="7" y="0"/>
                        <a:pt x="9" y="1"/>
                      </a:cubicBezTo>
                    </a:path>
                  </a:pathLst>
                </a:custGeom>
                <a:solidFill>
                  <a:srgbClr val="002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180"/>
                <p:cNvSpPr>
                  <a:spLocks/>
                </p:cNvSpPr>
                <p:nvPr/>
              </p:nvSpPr>
              <p:spPr bwMode="auto">
                <a:xfrm>
                  <a:off x="3198503" y="2468435"/>
                  <a:ext cx="309557" cy="246068"/>
                </a:xfrm>
                <a:custGeom>
                  <a:avLst/>
                  <a:gdLst>
                    <a:gd name="T0" fmla="*/ 200 w 215"/>
                    <a:gd name="T1" fmla="*/ 115 h 170"/>
                    <a:gd name="T2" fmla="*/ 200 w 215"/>
                    <a:gd name="T3" fmla="*/ 115 h 170"/>
                    <a:gd name="T4" fmla="*/ 212 w 215"/>
                    <a:gd name="T5" fmla="*/ 149 h 170"/>
                    <a:gd name="T6" fmla="*/ 183 w 215"/>
                    <a:gd name="T7" fmla="*/ 170 h 170"/>
                    <a:gd name="T8" fmla="*/ 50 w 215"/>
                    <a:gd name="T9" fmla="*/ 170 h 170"/>
                    <a:gd name="T10" fmla="*/ 49 w 215"/>
                    <a:gd name="T11" fmla="*/ 110 h 170"/>
                    <a:gd name="T12" fmla="*/ 89 w 215"/>
                    <a:gd name="T13" fmla="*/ 110 h 170"/>
                    <a:gd name="T14" fmla="*/ 0 w 215"/>
                    <a:gd name="T15" fmla="*/ 48 h 170"/>
                    <a:gd name="T16" fmla="*/ 36 w 215"/>
                    <a:gd name="T17" fmla="*/ 0 h 170"/>
                    <a:gd name="T18" fmla="*/ 200 w 215"/>
                    <a:gd name="T19" fmla="*/ 115 h 1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15" h="170">
                      <a:moveTo>
                        <a:pt x="200" y="115"/>
                      </a:moveTo>
                      <a:cubicBezTo>
                        <a:pt x="200" y="115"/>
                        <a:pt x="200" y="115"/>
                        <a:pt x="200" y="115"/>
                      </a:cubicBezTo>
                      <a:cubicBezTo>
                        <a:pt x="211" y="123"/>
                        <a:pt x="215" y="136"/>
                        <a:pt x="212" y="149"/>
                      </a:cubicBezTo>
                      <a:cubicBezTo>
                        <a:pt x="208" y="161"/>
                        <a:pt x="196" y="170"/>
                        <a:pt x="183" y="170"/>
                      </a:cubicBezTo>
                      <a:cubicBezTo>
                        <a:pt x="50" y="170"/>
                        <a:pt x="50" y="170"/>
                        <a:pt x="50" y="170"/>
                      </a:cubicBezTo>
                      <a:cubicBezTo>
                        <a:pt x="49" y="110"/>
                        <a:pt x="49" y="110"/>
                        <a:pt x="49" y="110"/>
                      </a:cubicBezTo>
                      <a:cubicBezTo>
                        <a:pt x="89" y="110"/>
                        <a:pt x="89" y="110"/>
                        <a:pt x="89" y="110"/>
                      </a:cubicBezTo>
                      <a:cubicBezTo>
                        <a:pt x="0" y="48"/>
                        <a:pt x="0" y="48"/>
                        <a:pt x="0" y="48"/>
                      </a:cubicBezTo>
                      <a:cubicBezTo>
                        <a:pt x="36" y="0"/>
                        <a:pt x="36" y="0"/>
                        <a:pt x="36" y="0"/>
                      </a:cubicBezTo>
                      <a:lnTo>
                        <a:pt x="200" y="115"/>
                      </a:lnTo>
                      <a:close/>
                    </a:path>
                  </a:pathLst>
                </a:custGeom>
                <a:solidFill>
                  <a:srgbClr val="E1623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182"/>
                <p:cNvSpPr>
                  <a:spLocks noEditPoints="1"/>
                </p:cNvSpPr>
                <p:nvPr/>
              </p:nvSpPr>
              <p:spPr bwMode="auto">
                <a:xfrm>
                  <a:off x="4320848" y="2049326"/>
                  <a:ext cx="0" cy="9525"/>
                </a:xfrm>
                <a:custGeom>
                  <a:avLst/>
                  <a:gdLst>
                    <a:gd name="T0" fmla="*/ 6 h 6"/>
                    <a:gd name="T1" fmla="*/ 6 h 6"/>
                    <a:gd name="T2" fmla="*/ 6 h 6"/>
                    <a:gd name="T3" fmla="*/ 5 h 6"/>
                    <a:gd name="T4" fmla="*/ 5 h 6"/>
                    <a:gd name="T5" fmla="*/ 5 h 6"/>
                    <a:gd name="T6" fmla="*/ 4 h 6"/>
                    <a:gd name="T7" fmla="*/ 5 h 6"/>
                    <a:gd name="T8" fmla="*/ 4 h 6"/>
                    <a:gd name="T9" fmla="*/ 4 h 6"/>
                    <a:gd name="T10" fmla="*/ 4 h 6"/>
                    <a:gd name="T11" fmla="*/ 4 h 6"/>
                    <a:gd name="T12" fmla="*/ 3 h 6"/>
                    <a:gd name="T13" fmla="*/ 3 h 6"/>
                    <a:gd name="T14" fmla="*/ 3 h 6"/>
                    <a:gd name="T15" fmla="*/ 2 h 6"/>
                    <a:gd name="T16" fmla="*/ 2 h 6"/>
                    <a:gd name="T17" fmla="*/ 2 h 6"/>
                    <a:gd name="T18" fmla="*/ 1 h 6"/>
                    <a:gd name="T19" fmla="*/ 1 h 6"/>
                    <a:gd name="T20" fmla="*/ 1 h 6"/>
                    <a:gd name="T21" fmla="*/ 0 h 6"/>
                    <a:gd name="T22" fmla="*/ 0 h 6"/>
                    <a:gd name="T23" fmla="*/ 0 h 6"/>
                    <a:gd name="T24" fmla="*/ 0 h 6"/>
                    <a:gd name="T25" fmla="*/ 0 h 6"/>
                    <a:gd name="T26" fmla="*/ 0 h 6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  <a:cxn ang="0">
                      <a:pos x="0" y="T5"/>
                    </a:cxn>
                    <a:cxn ang="0">
                      <a:pos x="0" y="T6"/>
                    </a:cxn>
                    <a:cxn ang="0">
                      <a:pos x="0" y="T7"/>
                    </a:cxn>
                    <a:cxn ang="0">
                      <a:pos x="0" y="T8"/>
                    </a:cxn>
                    <a:cxn ang="0">
                      <a:pos x="0" y="T9"/>
                    </a:cxn>
                    <a:cxn ang="0">
                      <a:pos x="0" y="T10"/>
                    </a:cxn>
                    <a:cxn ang="0">
                      <a:pos x="0" y="T11"/>
                    </a:cxn>
                    <a:cxn ang="0">
                      <a:pos x="0" y="T12"/>
                    </a:cxn>
                    <a:cxn ang="0">
                      <a:pos x="0" y="T13"/>
                    </a:cxn>
                    <a:cxn ang="0">
                      <a:pos x="0" y="T14"/>
                    </a:cxn>
                    <a:cxn ang="0">
                      <a:pos x="0" y="T15"/>
                    </a:cxn>
                    <a:cxn ang="0">
                      <a:pos x="0" y="T16"/>
                    </a:cxn>
                    <a:cxn ang="0">
                      <a:pos x="0" y="T17"/>
                    </a:cxn>
                    <a:cxn ang="0">
                      <a:pos x="0" y="T18"/>
                    </a:cxn>
                    <a:cxn ang="0">
                      <a:pos x="0" y="T19"/>
                    </a:cxn>
                    <a:cxn ang="0">
                      <a:pos x="0" y="T20"/>
                    </a:cxn>
                    <a:cxn ang="0">
                      <a:pos x="0" y="T21"/>
                    </a:cxn>
                    <a:cxn ang="0">
                      <a:pos x="0" y="T22"/>
                    </a:cxn>
                    <a:cxn ang="0">
                      <a:pos x="0" y="T23"/>
                    </a:cxn>
                    <a:cxn ang="0">
                      <a:pos x="0" y="T24"/>
                    </a:cxn>
                    <a:cxn ang="0">
                      <a:pos x="0" y="T25"/>
                    </a:cxn>
                    <a:cxn ang="0">
                      <a:pos x="0" y="T26"/>
                    </a:cxn>
                  </a:cxnLst>
                  <a:rect l="0" t="0" r="r" b="b"/>
                  <a:pathLst>
                    <a:path h="6">
                      <a:moveTo>
                        <a:pt x="0" y="6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6"/>
                        <a:pt x="0" y="6"/>
                        <a:pt x="0" y="6"/>
                      </a:cubicBezTo>
                      <a:moveTo>
                        <a:pt x="0" y="5"/>
                      </a:move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moveTo>
                        <a:pt x="0" y="4"/>
                      </a:move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4"/>
                      </a:cubicBezTo>
                      <a:moveTo>
                        <a:pt x="0" y="4"/>
                      </a:move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0" y="4"/>
                        <a:pt x="0" y="4"/>
                        <a:pt x="0" y="4"/>
                      </a:cubicBezTo>
                      <a:moveTo>
                        <a:pt x="0" y="3"/>
                      </a:move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0" y="3"/>
                        <a:pt x="0" y="3"/>
                        <a:pt x="0" y="3"/>
                      </a:cubicBezTo>
                      <a:moveTo>
                        <a:pt x="0" y="2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0" y="2"/>
                        <a:pt x="0" y="2"/>
                      </a:cubicBezTo>
                      <a:moveTo>
                        <a:pt x="0" y="1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E5D8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192"/>
                <p:cNvSpPr>
                  <a:spLocks/>
                </p:cNvSpPr>
                <p:nvPr/>
              </p:nvSpPr>
              <p:spPr bwMode="auto">
                <a:xfrm>
                  <a:off x="2830209" y="2125528"/>
                  <a:ext cx="195259" cy="300044"/>
                </a:xfrm>
                <a:custGeom>
                  <a:avLst/>
                  <a:gdLst>
                    <a:gd name="T0" fmla="*/ 94 w 135"/>
                    <a:gd name="T1" fmla="*/ 127 h 208"/>
                    <a:gd name="T2" fmla="*/ 95 w 135"/>
                    <a:gd name="T3" fmla="*/ 123 h 208"/>
                    <a:gd name="T4" fmla="*/ 112 w 135"/>
                    <a:gd name="T5" fmla="*/ 95 h 208"/>
                    <a:gd name="T6" fmla="*/ 126 w 135"/>
                    <a:gd name="T7" fmla="*/ 38 h 208"/>
                    <a:gd name="T8" fmla="*/ 126 w 135"/>
                    <a:gd name="T9" fmla="*/ 36 h 208"/>
                    <a:gd name="T10" fmla="*/ 105 w 135"/>
                    <a:gd name="T11" fmla="*/ 22 h 208"/>
                    <a:gd name="T12" fmla="*/ 53 w 135"/>
                    <a:gd name="T13" fmla="*/ 38 h 208"/>
                    <a:gd name="T14" fmla="*/ 32 w 135"/>
                    <a:gd name="T15" fmla="*/ 71 h 208"/>
                    <a:gd name="T16" fmla="*/ 32 w 135"/>
                    <a:gd name="T17" fmla="*/ 71 h 208"/>
                    <a:gd name="T18" fmla="*/ 40 w 135"/>
                    <a:gd name="T19" fmla="*/ 142 h 208"/>
                    <a:gd name="T20" fmla="*/ 122 w 135"/>
                    <a:gd name="T21" fmla="*/ 199 h 208"/>
                    <a:gd name="T22" fmla="*/ 94 w 135"/>
                    <a:gd name="T23" fmla="*/ 127 h 2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35" h="208">
                      <a:moveTo>
                        <a:pt x="94" y="127"/>
                      </a:moveTo>
                      <a:cubicBezTo>
                        <a:pt x="95" y="126"/>
                        <a:pt x="95" y="124"/>
                        <a:pt x="95" y="123"/>
                      </a:cubicBezTo>
                      <a:cubicBezTo>
                        <a:pt x="95" y="109"/>
                        <a:pt x="102" y="105"/>
                        <a:pt x="112" y="95"/>
                      </a:cubicBezTo>
                      <a:cubicBezTo>
                        <a:pt x="123" y="82"/>
                        <a:pt x="135" y="54"/>
                        <a:pt x="126" y="38"/>
                      </a:cubicBezTo>
                      <a:cubicBezTo>
                        <a:pt x="126" y="37"/>
                        <a:pt x="126" y="37"/>
                        <a:pt x="126" y="36"/>
                      </a:cubicBezTo>
                      <a:cubicBezTo>
                        <a:pt x="125" y="7"/>
                        <a:pt x="105" y="22"/>
                        <a:pt x="105" y="22"/>
                      </a:cubicBezTo>
                      <a:cubicBezTo>
                        <a:pt x="78" y="0"/>
                        <a:pt x="53" y="38"/>
                        <a:pt x="53" y="38"/>
                      </a:cubicBezTo>
                      <a:cubicBezTo>
                        <a:pt x="37" y="37"/>
                        <a:pt x="32" y="53"/>
                        <a:pt x="32" y="71"/>
                      </a:cubicBezTo>
                      <a:cubicBezTo>
                        <a:pt x="32" y="71"/>
                        <a:pt x="32" y="71"/>
                        <a:pt x="32" y="71"/>
                      </a:cubicBezTo>
                      <a:cubicBezTo>
                        <a:pt x="0" y="102"/>
                        <a:pt x="26" y="131"/>
                        <a:pt x="40" y="142"/>
                      </a:cubicBezTo>
                      <a:cubicBezTo>
                        <a:pt x="52" y="208"/>
                        <a:pt x="122" y="199"/>
                        <a:pt x="122" y="199"/>
                      </a:cubicBezTo>
                      <a:cubicBezTo>
                        <a:pt x="131" y="162"/>
                        <a:pt x="95" y="127"/>
                        <a:pt x="94" y="127"/>
                      </a:cubicBezTo>
                    </a:path>
                  </a:pathLst>
                </a:custGeom>
                <a:solidFill>
                  <a:srgbClr val="33333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Rectangle 195"/>
                <p:cNvSpPr>
                  <a:spLocks noChangeArrowheads="1"/>
                </p:cNvSpPr>
                <p:nvPr/>
              </p:nvSpPr>
              <p:spPr bwMode="auto">
                <a:xfrm>
                  <a:off x="2825447" y="2454147"/>
                  <a:ext cx="60324" cy="347670"/>
                </a:xfrm>
                <a:prstGeom prst="rect">
                  <a:avLst/>
                </a:pr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Rectangle 196"/>
                <p:cNvSpPr>
                  <a:spLocks noChangeArrowheads="1"/>
                </p:cNvSpPr>
                <p:nvPr/>
              </p:nvSpPr>
              <p:spPr bwMode="auto">
                <a:xfrm>
                  <a:off x="3209616" y="2454147"/>
                  <a:ext cx="60324" cy="347670"/>
                </a:xfrm>
                <a:prstGeom prst="rect">
                  <a:avLst/>
                </a:pr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197"/>
                <p:cNvSpPr>
                  <a:spLocks/>
                </p:cNvSpPr>
                <p:nvPr/>
              </p:nvSpPr>
              <p:spPr bwMode="auto">
                <a:xfrm>
                  <a:off x="2817509" y="2628776"/>
                  <a:ext cx="88899" cy="87314"/>
                </a:xfrm>
                <a:custGeom>
                  <a:avLst/>
                  <a:gdLst>
                    <a:gd name="T0" fmla="*/ 31 w 62"/>
                    <a:gd name="T1" fmla="*/ 60 h 61"/>
                    <a:gd name="T2" fmla="*/ 32 w 62"/>
                    <a:gd name="T3" fmla="*/ 61 h 61"/>
                    <a:gd name="T4" fmla="*/ 62 w 62"/>
                    <a:gd name="T5" fmla="*/ 31 h 61"/>
                    <a:gd name="T6" fmla="*/ 32 w 62"/>
                    <a:gd name="T7" fmla="*/ 0 h 61"/>
                    <a:gd name="T8" fmla="*/ 31 w 62"/>
                    <a:gd name="T9" fmla="*/ 1 h 61"/>
                    <a:gd name="T10" fmla="*/ 31 w 62"/>
                    <a:gd name="T11" fmla="*/ 0 h 61"/>
                    <a:gd name="T12" fmla="*/ 0 w 62"/>
                    <a:gd name="T13" fmla="*/ 0 h 61"/>
                    <a:gd name="T14" fmla="*/ 0 w 62"/>
                    <a:gd name="T15" fmla="*/ 61 h 61"/>
                    <a:gd name="T16" fmla="*/ 31 w 62"/>
                    <a:gd name="T17" fmla="*/ 61 h 61"/>
                    <a:gd name="T18" fmla="*/ 31 w 62"/>
                    <a:gd name="T19" fmla="*/ 60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2" h="61">
                      <a:moveTo>
                        <a:pt x="31" y="60"/>
                      </a:moveTo>
                      <a:cubicBezTo>
                        <a:pt x="31" y="60"/>
                        <a:pt x="32" y="61"/>
                        <a:pt x="32" y="61"/>
                      </a:cubicBezTo>
                      <a:cubicBezTo>
                        <a:pt x="49" y="61"/>
                        <a:pt x="62" y="47"/>
                        <a:pt x="62" y="31"/>
                      </a:cubicBezTo>
                      <a:cubicBezTo>
                        <a:pt x="62" y="14"/>
                        <a:pt x="49" y="0"/>
                        <a:pt x="32" y="0"/>
                      </a:cubicBezTo>
                      <a:cubicBezTo>
                        <a:pt x="32" y="0"/>
                        <a:pt x="31" y="1"/>
                        <a:pt x="31" y="1"/>
                      </a:cubicBezTo>
                      <a:cubicBezTo>
                        <a:pt x="31" y="0"/>
                        <a:pt x="31" y="0"/>
                        <a:pt x="31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61"/>
                        <a:pt x="0" y="61"/>
                        <a:pt x="0" y="61"/>
                      </a:cubicBezTo>
                      <a:cubicBezTo>
                        <a:pt x="31" y="61"/>
                        <a:pt x="31" y="61"/>
                        <a:pt x="31" y="61"/>
                      </a:cubicBezTo>
                      <a:lnTo>
                        <a:pt x="31" y="60"/>
                      </a:lnTo>
                      <a:close/>
                    </a:path>
                  </a:pathLst>
                </a:custGeom>
                <a:solidFill>
                  <a:srgbClr val="FCB96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198"/>
                <p:cNvSpPr>
                  <a:spLocks/>
                </p:cNvSpPr>
                <p:nvPr/>
              </p:nvSpPr>
              <p:spPr bwMode="auto">
                <a:xfrm>
                  <a:off x="3181041" y="2628776"/>
                  <a:ext cx="88899" cy="87314"/>
                </a:xfrm>
                <a:custGeom>
                  <a:avLst/>
                  <a:gdLst>
                    <a:gd name="T0" fmla="*/ 31 w 62"/>
                    <a:gd name="T1" fmla="*/ 60 h 61"/>
                    <a:gd name="T2" fmla="*/ 30 w 62"/>
                    <a:gd name="T3" fmla="*/ 61 h 61"/>
                    <a:gd name="T4" fmla="*/ 0 w 62"/>
                    <a:gd name="T5" fmla="*/ 31 h 61"/>
                    <a:gd name="T6" fmla="*/ 30 w 62"/>
                    <a:gd name="T7" fmla="*/ 0 h 61"/>
                    <a:gd name="T8" fmla="*/ 31 w 62"/>
                    <a:gd name="T9" fmla="*/ 1 h 61"/>
                    <a:gd name="T10" fmla="*/ 31 w 62"/>
                    <a:gd name="T11" fmla="*/ 0 h 61"/>
                    <a:gd name="T12" fmla="*/ 62 w 62"/>
                    <a:gd name="T13" fmla="*/ 0 h 61"/>
                    <a:gd name="T14" fmla="*/ 62 w 62"/>
                    <a:gd name="T15" fmla="*/ 61 h 61"/>
                    <a:gd name="T16" fmla="*/ 31 w 62"/>
                    <a:gd name="T17" fmla="*/ 61 h 61"/>
                    <a:gd name="T18" fmla="*/ 31 w 62"/>
                    <a:gd name="T19" fmla="*/ 60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2" h="61">
                      <a:moveTo>
                        <a:pt x="31" y="60"/>
                      </a:moveTo>
                      <a:cubicBezTo>
                        <a:pt x="30" y="60"/>
                        <a:pt x="30" y="61"/>
                        <a:pt x="30" y="61"/>
                      </a:cubicBezTo>
                      <a:cubicBezTo>
                        <a:pt x="13" y="61"/>
                        <a:pt x="0" y="47"/>
                        <a:pt x="0" y="31"/>
                      </a:cubicBezTo>
                      <a:cubicBezTo>
                        <a:pt x="0" y="14"/>
                        <a:pt x="13" y="0"/>
                        <a:pt x="30" y="0"/>
                      </a:cubicBezTo>
                      <a:cubicBezTo>
                        <a:pt x="30" y="0"/>
                        <a:pt x="30" y="1"/>
                        <a:pt x="31" y="1"/>
                      </a:cubicBezTo>
                      <a:cubicBezTo>
                        <a:pt x="31" y="0"/>
                        <a:pt x="31" y="0"/>
                        <a:pt x="31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61"/>
                        <a:pt x="62" y="61"/>
                        <a:pt x="62" y="61"/>
                      </a:cubicBezTo>
                      <a:cubicBezTo>
                        <a:pt x="31" y="61"/>
                        <a:pt x="31" y="61"/>
                        <a:pt x="31" y="61"/>
                      </a:cubicBezTo>
                      <a:lnTo>
                        <a:pt x="31" y="60"/>
                      </a:lnTo>
                      <a:close/>
                    </a:path>
                  </a:pathLst>
                </a:custGeom>
                <a:solidFill>
                  <a:srgbClr val="FCB96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199"/>
                <p:cNvSpPr>
                  <a:spLocks/>
                </p:cNvSpPr>
                <p:nvPr/>
              </p:nvSpPr>
              <p:spPr bwMode="auto">
                <a:xfrm>
                  <a:off x="2952445" y="2308094"/>
                  <a:ext cx="69849" cy="71439"/>
                </a:xfrm>
                <a:custGeom>
                  <a:avLst/>
                  <a:gdLst>
                    <a:gd name="T0" fmla="*/ 11 w 49"/>
                    <a:gd name="T1" fmla="*/ 0 h 49"/>
                    <a:gd name="T2" fmla="*/ 11 w 49"/>
                    <a:gd name="T3" fmla="*/ 38 h 49"/>
                    <a:gd name="T4" fmla="*/ 49 w 49"/>
                    <a:gd name="T5" fmla="*/ 38 h 49"/>
                    <a:gd name="T6" fmla="*/ 11 w 49"/>
                    <a:gd name="T7" fmla="*/ 0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9" h="49">
                      <a:moveTo>
                        <a:pt x="11" y="0"/>
                      </a:moveTo>
                      <a:cubicBezTo>
                        <a:pt x="0" y="10"/>
                        <a:pt x="0" y="27"/>
                        <a:pt x="11" y="38"/>
                      </a:cubicBezTo>
                      <a:cubicBezTo>
                        <a:pt x="21" y="49"/>
                        <a:pt x="39" y="49"/>
                        <a:pt x="49" y="38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CB96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200"/>
                <p:cNvSpPr>
                  <a:spLocks/>
                </p:cNvSpPr>
                <p:nvPr/>
              </p:nvSpPr>
              <p:spPr bwMode="auto">
                <a:xfrm>
                  <a:off x="2981019" y="2322382"/>
                  <a:ext cx="28575" cy="26988"/>
                </a:xfrm>
                <a:custGeom>
                  <a:avLst/>
                  <a:gdLst>
                    <a:gd name="T0" fmla="*/ 0 w 20"/>
                    <a:gd name="T1" fmla="*/ 0 h 19"/>
                    <a:gd name="T2" fmla="*/ 0 w 20"/>
                    <a:gd name="T3" fmla="*/ 0 h 19"/>
                    <a:gd name="T4" fmla="*/ 20 w 20"/>
                    <a:gd name="T5" fmla="*/ 19 h 19"/>
                    <a:gd name="T6" fmla="*/ 20 w 20"/>
                    <a:gd name="T7" fmla="*/ 19 h 19"/>
                    <a:gd name="T8" fmla="*/ 0 w 20"/>
                    <a:gd name="T9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0" h="19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0" y="19"/>
                        <a:pt x="20" y="19"/>
                        <a:pt x="20" y="19"/>
                      </a:cubicBezTo>
                      <a:cubicBezTo>
                        <a:pt x="20" y="19"/>
                        <a:pt x="20" y="19"/>
                        <a:pt x="20" y="19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99D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201"/>
                <p:cNvSpPr>
                  <a:spLocks/>
                </p:cNvSpPr>
                <p:nvPr/>
              </p:nvSpPr>
              <p:spPr bwMode="auto">
                <a:xfrm>
                  <a:off x="2973082" y="2322382"/>
                  <a:ext cx="36512" cy="33338"/>
                </a:xfrm>
                <a:custGeom>
                  <a:avLst/>
                  <a:gdLst>
                    <a:gd name="T0" fmla="*/ 5 w 25"/>
                    <a:gd name="T1" fmla="*/ 0 h 23"/>
                    <a:gd name="T2" fmla="*/ 5 w 25"/>
                    <a:gd name="T3" fmla="*/ 19 h 23"/>
                    <a:gd name="T4" fmla="*/ 15 w 25"/>
                    <a:gd name="T5" fmla="*/ 23 h 23"/>
                    <a:gd name="T6" fmla="*/ 25 w 25"/>
                    <a:gd name="T7" fmla="*/ 19 h 23"/>
                    <a:gd name="T8" fmla="*/ 5 w 25"/>
                    <a:gd name="T9" fmla="*/ 0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5" h="23">
                      <a:moveTo>
                        <a:pt x="5" y="0"/>
                      </a:moveTo>
                      <a:cubicBezTo>
                        <a:pt x="0" y="5"/>
                        <a:pt x="0" y="14"/>
                        <a:pt x="5" y="19"/>
                      </a:cubicBezTo>
                      <a:cubicBezTo>
                        <a:pt x="8" y="22"/>
                        <a:pt x="12" y="23"/>
                        <a:pt x="15" y="23"/>
                      </a:cubicBezTo>
                      <a:cubicBezTo>
                        <a:pt x="18" y="23"/>
                        <a:pt x="22" y="22"/>
                        <a:pt x="25" y="19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D99D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279"/>
                <p:cNvSpPr>
                  <a:spLocks/>
                </p:cNvSpPr>
                <p:nvPr/>
              </p:nvSpPr>
              <p:spPr bwMode="auto">
                <a:xfrm>
                  <a:off x="4794674" y="1234015"/>
                  <a:ext cx="300038" cy="180976"/>
                </a:xfrm>
                <a:custGeom>
                  <a:avLst/>
                  <a:gdLst>
                    <a:gd name="T0" fmla="*/ 39 w 401"/>
                    <a:gd name="T1" fmla="*/ 120 h 241"/>
                    <a:gd name="T2" fmla="*/ 105 w 401"/>
                    <a:gd name="T3" fmla="*/ 68 h 241"/>
                    <a:gd name="T4" fmla="*/ 106 w 401"/>
                    <a:gd name="T5" fmla="*/ 68 h 241"/>
                    <a:gd name="T6" fmla="*/ 106 w 401"/>
                    <a:gd name="T7" fmla="*/ 68 h 241"/>
                    <a:gd name="T8" fmla="*/ 174 w 401"/>
                    <a:gd name="T9" fmla="*/ 0 h 241"/>
                    <a:gd name="T10" fmla="*/ 234 w 401"/>
                    <a:gd name="T11" fmla="*/ 36 h 241"/>
                    <a:gd name="T12" fmla="*/ 256 w 401"/>
                    <a:gd name="T13" fmla="*/ 32 h 241"/>
                    <a:gd name="T14" fmla="*/ 319 w 401"/>
                    <a:gd name="T15" fmla="*/ 96 h 241"/>
                    <a:gd name="T16" fmla="*/ 319 w 401"/>
                    <a:gd name="T17" fmla="*/ 96 h 241"/>
                    <a:gd name="T18" fmla="*/ 328 w 401"/>
                    <a:gd name="T19" fmla="*/ 96 h 241"/>
                    <a:gd name="T20" fmla="*/ 401 w 401"/>
                    <a:gd name="T21" fmla="*/ 168 h 241"/>
                    <a:gd name="T22" fmla="*/ 328 w 401"/>
                    <a:gd name="T23" fmla="*/ 241 h 241"/>
                    <a:gd name="T24" fmla="*/ 62 w 401"/>
                    <a:gd name="T25" fmla="*/ 241 h 241"/>
                    <a:gd name="T26" fmla="*/ 0 w 401"/>
                    <a:gd name="T27" fmla="*/ 178 h 241"/>
                    <a:gd name="T28" fmla="*/ 39 w 401"/>
                    <a:gd name="T29" fmla="*/ 120 h 2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401" h="241">
                      <a:moveTo>
                        <a:pt x="39" y="120"/>
                      </a:moveTo>
                      <a:cubicBezTo>
                        <a:pt x="47" y="90"/>
                        <a:pt x="73" y="68"/>
                        <a:pt x="105" y="68"/>
                      </a:cubicBezTo>
                      <a:cubicBezTo>
                        <a:pt x="106" y="68"/>
                        <a:pt x="106" y="68"/>
                        <a:pt x="106" y="68"/>
                      </a:cubicBezTo>
                      <a:cubicBezTo>
                        <a:pt x="106" y="68"/>
                        <a:pt x="106" y="68"/>
                        <a:pt x="106" y="68"/>
                      </a:cubicBezTo>
                      <a:cubicBezTo>
                        <a:pt x="106" y="30"/>
                        <a:pt x="136" y="0"/>
                        <a:pt x="174" y="0"/>
                      </a:cubicBezTo>
                      <a:cubicBezTo>
                        <a:pt x="200" y="0"/>
                        <a:pt x="223" y="14"/>
                        <a:pt x="234" y="36"/>
                      </a:cubicBezTo>
                      <a:cubicBezTo>
                        <a:pt x="241" y="33"/>
                        <a:pt x="248" y="32"/>
                        <a:pt x="256" y="32"/>
                      </a:cubicBezTo>
                      <a:cubicBezTo>
                        <a:pt x="291" y="32"/>
                        <a:pt x="319" y="61"/>
                        <a:pt x="319" y="96"/>
                      </a:cubicBezTo>
                      <a:cubicBezTo>
                        <a:pt x="319" y="96"/>
                        <a:pt x="319" y="96"/>
                        <a:pt x="319" y="96"/>
                      </a:cubicBezTo>
                      <a:cubicBezTo>
                        <a:pt x="322" y="96"/>
                        <a:pt x="325" y="96"/>
                        <a:pt x="328" y="96"/>
                      </a:cubicBezTo>
                      <a:cubicBezTo>
                        <a:pt x="368" y="96"/>
                        <a:pt x="401" y="128"/>
                        <a:pt x="401" y="168"/>
                      </a:cubicBezTo>
                      <a:cubicBezTo>
                        <a:pt x="401" y="208"/>
                        <a:pt x="368" y="241"/>
                        <a:pt x="328" y="241"/>
                      </a:cubicBezTo>
                      <a:cubicBezTo>
                        <a:pt x="62" y="241"/>
                        <a:pt x="62" y="241"/>
                        <a:pt x="62" y="241"/>
                      </a:cubicBezTo>
                      <a:cubicBezTo>
                        <a:pt x="28" y="241"/>
                        <a:pt x="0" y="213"/>
                        <a:pt x="0" y="178"/>
                      </a:cubicBezTo>
                      <a:cubicBezTo>
                        <a:pt x="0" y="152"/>
                        <a:pt x="16" y="129"/>
                        <a:pt x="39" y="120"/>
                      </a:cubicBez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grpSp>
              <p:nvGrpSpPr>
                <p:cNvPr id="303" name="Group 302"/>
                <p:cNvGrpSpPr/>
                <p:nvPr/>
              </p:nvGrpSpPr>
              <p:grpSpPr>
                <a:xfrm>
                  <a:off x="6589928" y="1374281"/>
                  <a:ext cx="433392" cy="260361"/>
                  <a:chOff x="8261267" y="967867"/>
                  <a:chExt cx="433392" cy="260361"/>
                </a:xfrm>
              </p:grpSpPr>
              <p:sp>
                <p:nvSpPr>
                  <p:cNvPr id="301" name="Freeform 269"/>
                  <p:cNvSpPr>
                    <a:spLocks/>
                  </p:cNvSpPr>
                  <p:nvPr/>
                </p:nvSpPr>
                <p:spPr bwMode="auto">
                  <a:xfrm>
                    <a:off x="8261267" y="967867"/>
                    <a:ext cx="433392" cy="260361"/>
                  </a:xfrm>
                  <a:custGeom>
                    <a:avLst/>
                    <a:gdLst>
                      <a:gd name="T0" fmla="*/ 523 w 580"/>
                      <a:gd name="T1" fmla="*/ 173 h 349"/>
                      <a:gd name="T2" fmla="*/ 427 w 580"/>
                      <a:gd name="T3" fmla="*/ 98 h 349"/>
                      <a:gd name="T4" fmla="*/ 426 w 580"/>
                      <a:gd name="T5" fmla="*/ 98 h 349"/>
                      <a:gd name="T6" fmla="*/ 426 w 580"/>
                      <a:gd name="T7" fmla="*/ 98 h 349"/>
                      <a:gd name="T8" fmla="*/ 328 w 580"/>
                      <a:gd name="T9" fmla="*/ 0 h 349"/>
                      <a:gd name="T10" fmla="*/ 241 w 580"/>
                      <a:gd name="T11" fmla="*/ 52 h 349"/>
                      <a:gd name="T12" fmla="*/ 210 w 580"/>
                      <a:gd name="T13" fmla="*/ 46 h 349"/>
                      <a:gd name="T14" fmla="*/ 117 w 580"/>
                      <a:gd name="T15" fmla="*/ 139 h 349"/>
                      <a:gd name="T16" fmla="*/ 117 w 580"/>
                      <a:gd name="T17" fmla="*/ 140 h 349"/>
                      <a:gd name="T18" fmla="*/ 105 w 580"/>
                      <a:gd name="T19" fmla="*/ 139 h 349"/>
                      <a:gd name="T20" fmla="*/ 0 w 580"/>
                      <a:gd name="T21" fmla="*/ 244 h 349"/>
                      <a:gd name="T22" fmla="*/ 105 w 580"/>
                      <a:gd name="T23" fmla="*/ 349 h 349"/>
                      <a:gd name="T24" fmla="*/ 489 w 580"/>
                      <a:gd name="T25" fmla="*/ 349 h 349"/>
                      <a:gd name="T26" fmla="*/ 580 w 580"/>
                      <a:gd name="T27" fmla="*/ 258 h 349"/>
                      <a:gd name="T28" fmla="*/ 523 w 580"/>
                      <a:gd name="T29" fmla="*/ 173 h 34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580" h="349">
                        <a:moveTo>
                          <a:pt x="523" y="173"/>
                        </a:moveTo>
                        <a:cubicBezTo>
                          <a:pt x="512" y="130"/>
                          <a:pt x="473" y="98"/>
                          <a:pt x="427" y="98"/>
                        </a:cubicBezTo>
                        <a:cubicBezTo>
                          <a:pt x="426" y="98"/>
                          <a:pt x="426" y="98"/>
                          <a:pt x="426" y="98"/>
                        </a:cubicBezTo>
                        <a:cubicBezTo>
                          <a:pt x="426" y="98"/>
                          <a:pt x="426" y="98"/>
                          <a:pt x="426" y="98"/>
                        </a:cubicBezTo>
                        <a:cubicBezTo>
                          <a:pt x="426" y="44"/>
                          <a:pt x="382" y="0"/>
                          <a:pt x="328" y="0"/>
                        </a:cubicBezTo>
                        <a:cubicBezTo>
                          <a:pt x="290" y="0"/>
                          <a:pt x="258" y="21"/>
                          <a:pt x="241" y="52"/>
                        </a:cubicBezTo>
                        <a:cubicBezTo>
                          <a:pt x="231" y="48"/>
                          <a:pt x="221" y="46"/>
                          <a:pt x="210" y="46"/>
                        </a:cubicBezTo>
                        <a:cubicBezTo>
                          <a:pt x="159" y="46"/>
                          <a:pt x="117" y="88"/>
                          <a:pt x="117" y="139"/>
                        </a:cubicBezTo>
                        <a:cubicBezTo>
                          <a:pt x="117" y="140"/>
                          <a:pt x="117" y="140"/>
                          <a:pt x="117" y="140"/>
                        </a:cubicBezTo>
                        <a:cubicBezTo>
                          <a:pt x="113" y="139"/>
                          <a:pt x="109" y="139"/>
                          <a:pt x="105" y="139"/>
                        </a:cubicBezTo>
                        <a:cubicBezTo>
                          <a:pt x="47" y="139"/>
                          <a:pt x="0" y="186"/>
                          <a:pt x="0" y="244"/>
                        </a:cubicBezTo>
                        <a:cubicBezTo>
                          <a:pt x="0" y="302"/>
                          <a:pt x="47" y="349"/>
                          <a:pt x="105" y="349"/>
                        </a:cubicBezTo>
                        <a:cubicBezTo>
                          <a:pt x="489" y="349"/>
                          <a:pt x="489" y="349"/>
                          <a:pt x="489" y="349"/>
                        </a:cubicBezTo>
                        <a:cubicBezTo>
                          <a:pt x="540" y="349"/>
                          <a:pt x="580" y="308"/>
                          <a:pt x="580" y="258"/>
                        </a:cubicBezTo>
                        <a:cubicBezTo>
                          <a:pt x="580" y="219"/>
                          <a:pt x="557" y="187"/>
                          <a:pt x="523" y="173"/>
                        </a:cubicBezTo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02" name="Freeform 271"/>
                  <p:cNvSpPr>
                    <a:spLocks/>
                  </p:cNvSpPr>
                  <p:nvPr/>
                </p:nvSpPr>
                <p:spPr bwMode="auto">
                  <a:xfrm>
                    <a:off x="8261267" y="1015494"/>
                    <a:ext cx="334966" cy="212734"/>
                  </a:xfrm>
                  <a:custGeom>
                    <a:avLst/>
                    <a:gdLst>
                      <a:gd name="T0" fmla="*/ 154 w 447"/>
                      <a:gd name="T1" fmla="*/ 0 h 284"/>
                      <a:gd name="T2" fmla="*/ 117 w 447"/>
                      <a:gd name="T3" fmla="*/ 67 h 284"/>
                      <a:gd name="T4" fmla="*/ 117 w 447"/>
                      <a:gd name="T5" fmla="*/ 67 h 284"/>
                      <a:gd name="T6" fmla="*/ 117 w 447"/>
                      <a:gd name="T7" fmla="*/ 67 h 284"/>
                      <a:gd name="T8" fmla="*/ 117 w 447"/>
                      <a:gd name="T9" fmla="*/ 67 h 284"/>
                      <a:gd name="T10" fmla="*/ 117 w 447"/>
                      <a:gd name="T11" fmla="*/ 68 h 284"/>
                      <a:gd name="T12" fmla="*/ 117 w 447"/>
                      <a:gd name="T13" fmla="*/ 68 h 284"/>
                      <a:gd name="T14" fmla="*/ 117 w 447"/>
                      <a:gd name="T15" fmla="*/ 69 h 284"/>
                      <a:gd name="T16" fmla="*/ 117 w 447"/>
                      <a:gd name="T17" fmla="*/ 69 h 284"/>
                      <a:gd name="T18" fmla="*/ 117 w 447"/>
                      <a:gd name="T19" fmla="*/ 70 h 284"/>
                      <a:gd name="T20" fmla="*/ 117 w 447"/>
                      <a:gd name="T21" fmla="*/ 70 h 284"/>
                      <a:gd name="T22" fmla="*/ 117 w 447"/>
                      <a:gd name="T23" fmla="*/ 71 h 284"/>
                      <a:gd name="T24" fmla="*/ 117 w 447"/>
                      <a:gd name="T25" fmla="*/ 71 h 284"/>
                      <a:gd name="T26" fmla="*/ 117 w 447"/>
                      <a:gd name="T27" fmla="*/ 71 h 284"/>
                      <a:gd name="T28" fmla="*/ 117 w 447"/>
                      <a:gd name="T29" fmla="*/ 72 h 284"/>
                      <a:gd name="T30" fmla="*/ 117 w 447"/>
                      <a:gd name="T31" fmla="*/ 72 h 284"/>
                      <a:gd name="T32" fmla="*/ 117 w 447"/>
                      <a:gd name="T33" fmla="*/ 72 h 284"/>
                      <a:gd name="T34" fmla="*/ 117 w 447"/>
                      <a:gd name="T35" fmla="*/ 73 h 284"/>
                      <a:gd name="T36" fmla="*/ 117 w 447"/>
                      <a:gd name="T37" fmla="*/ 73 h 284"/>
                      <a:gd name="T38" fmla="*/ 117 w 447"/>
                      <a:gd name="T39" fmla="*/ 74 h 284"/>
                      <a:gd name="T40" fmla="*/ 117 w 447"/>
                      <a:gd name="T41" fmla="*/ 74 h 284"/>
                      <a:gd name="T42" fmla="*/ 117 w 447"/>
                      <a:gd name="T43" fmla="*/ 75 h 284"/>
                      <a:gd name="T44" fmla="*/ 117 w 447"/>
                      <a:gd name="T45" fmla="*/ 75 h 284"/>
                      <a:gd name="T46" fmla="*/ 105 w 447"/>
                      <a:gd name="T47" fmla="*/ 74 h 284"/>
                      <a:gd name="T48" fmla="*/ 0 w 447"/>
                      <a:gd name="T49" fmla="*/ 179 h 284"/>
                      <a:gd name="T50" fmla="*/ 105 w 447"/>
                      <a:gd name="T51" fmla="*/ 284 h 284"/>
                      <a:gd name="T52" fmla="*/ 447 w 447"/>
                      <a:gd name="T53" fmla="*/ 284 h 284"/>
                      <a:gd name="T54" fmla="*/ 154 w 447"/>
                      <a:gd name="T55" fmla="*/ 0 h 2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</a:cxnLst>
                    <a:rect l="0" t="0" r="r" b="b"/>
                    <a:pathLst>
                      <a:path w="447" h="284">
                        <a:moveTo>
                          <a:pt x="154" y="0"/>
                        </a:moveTo>
                        <a:cubicBezTo>
                          <a:pt x="133" y="16"/>
                          <a:pt x="120" y="40"/>
                          <a:pt x="117" y="67"/>
                        </a:cubicBezTo>
                        <a:cubicBezTo>
                          <a:pt x="117" y="67"/>
                          <a:pt x="117" y="67"/>
                          <a:pt x="117" y="67"/>
                        </a:cubicBezTo>
                        <a:cubicBezTo>
                          <a:pt x="117" y="67"/>
                          <a:pt x="117" y="67"/>
                          <a:pt x="117" y="67"/>
                        </a:cubicBezTo>
                        <a:cubicBezTo>
                          <a:pt x="117" y="67"/>
                          <a:pt x="117" y="67"/>
                          <a:pt x="117" y="67"/>
                        </a:cubicBezTo>
                        <a:cubicBezTo>
                          <a:pt x="117" y="68"/>
                          <a:pt x="117" y="68"/>
                          <a:pt x="117" y="68"/>
                        </a:cubicBezTo>
                        <a:cubicBezTo>
                          <a:pt x="117" y="68"/>
                          <a:pt x="117" y="68"/>
                          <a:pt x="117" y="68"/>
                        </a:cubicBezTo>
                        <a:cubicBezTo>
                          <a:pt x="117" y="68"/>
                          <a:pt x="117" y="69"/>
                          <a:pt x="117" y="69"/>
                        </a:cubicBezTo>
                        <a:cubicBezTo>
                          <a:pt x="117" y="69"/>
                          <a:pt x="117" y="69"/>
                          <a:pt x="117" y="69"/>
                        </a:cubicBezTo>
                        <a:cubicBezTo>
                          <a:pt x="117" y="69"/>
                          <a:pt x="117" y="70"/>
                          <a:pt x="117" y="70"/>
                        </a:cubicBezTo>
                        <a:cubicBezTo>
                          <a:pt x="117" y="70"/>
                          <a:pt x="117" y="70"/>
                          <a:pt x="117" y="70"/>
                        </a:cubicBezTo>
                        <a:cubicBezTo>
                          <a:pt x="117" y="70"/>
                          <a:pt x="117" y="71"/>
                          <a:pt x="117" y="71"/>
                        </a:cubicBezTo>
                        <a:cubicBezTo>
                          <a:pt x="117" y="71"/>
                          <a:pt x="117" y="71"/>
                          <a:pt x="117" y="71"/>
                        </a:cubicBezTo>
                        <a:cubicBezTo>
                          <a:pt x="117" y="71"/>
                          <a:pt x="117" y="71"/>
                          <a:pt x="117" y="71"/>
                        </a:cubicBezTo>
                        <a:cubicBezTo>
                          <a:pt x="117" y="72"/>
                          <a:pt x="117" y="72"/>
                          <a:pt x="117" y="72"/>
                        </a:cubicBezTo>
                        <a:cubicBezTo>
                          <a:pt x="117" y="72"/>
                          <a:pt x="117" y="72"/>
                          <a:pt x="117" y="72"/>
                        </a:cubicBezTo>
                        <a:cubicBezTo>
                          <a:pt x="117" y="72"/>
                          <a:pt x="117" y="72"/>
                          <a:pt x="117" y="72"/>
                        </a:cubicBezTo>
                        <a:cubicBezTo>
                          <a:pt x="117" y="73"/>
                          <a:pt x="117" y="73"/>
                          <a:pt x="117" y="73"/>
                        </a:cubicBezTo>
                        <a:cubicBezTo>
                          <a:pt x="117" y="73"/>
                          <a:pt x="117" y="73"/>
                          <a:pt x="117" y="73"/>
                        </a:cubicBezTo>
                        <a:cubicBezTo>
                          <a:pt x="117" y="73"/>
                          <a:pt x="117" y="73"/>
                          <a:pt x="117" y="74"/>
                        </a:cubicBezTo>
                        <a:cubicBezTo>
                          <a:pt x="117" y="74"/>
                          <a:pt x="117" y="74"/>
                          <a:pt x="117" y="74"/>
                        </a:cubicBezTo>
                        <a:cubicBezTo>
                          <a:pt x="117" y="75"/>
                          <a:pt x="117" y="75"/>
                          <a:pt x="117" y="75"/>
                        </a:cubicBezTo>
                        <a:cubicBezTo>
                          <a:pt x="117" y="75"/>
                          <a:pt x="117" y="75"/>
                          <a:pt x="117" y="75"/>
                        </a:cubicBezTo>
                        <a:cubicBezTo>
                          <a:pt x="113" y="74"/>
                          <a:pt x="109" y="74"/>
                          <a:pt x="105" y="74"/>
                        </a:cubicBezTo>
                        <a:cubicBezTo>
                          <a:pt x="47" y="74"/>
                          <a:pt x="0" y="121"/>
                          <a:pt x="0" y="179"/>
                        </a:cubicBezTo>
                        <a:cubicBezTo>
                          <a:pt x="0" y="237"/>
                          <a:pt x="47" y="284"/>
                          <a:pt x="105" y="284"/>
                        </a:cubicBezTo>
                        <a:cubicBezTo>
                          <a:pt x="447" y="284"/>
                          <a:pt x="447" y="284"/>
                          <a:pt x="447" y="284"/>
                        </a:cubicBezTo>
                        <a:cubicBezTo>
                          <a:pt x="154" y="0"/>
                          <a:pt x="154" y="0"/>
                          <a:pt x="154" y="0"/>
                        </a:cubicBezTo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</p:grpSp>
          </p:grpSp>
          <p:sp>
            <p:nvSpPr>
              <p:cNvPr id="359" name="Freeform 327"/>
              <p:cNvSpPr>
                <a:spLocks/>
              </p:cNvSpPr>
              <p:nvPr/>
            </p:nvSpPr>
            <p:spPr bwMode="auto">
              <a:xfrm>
                <a:off x="4189519" y="2351025"/>
                <a:ext cx="97571" cy="176758"/>
              </a:xfrm>
              <a:custGeom>
                <a:avLst/>
                <a:gdLst>
                  <a:gd name="T0" fmla="*/ 49 w 49"/>
                  <a:gd name="T1" fmla="*/ 58 h 89"/>
                  <a:gd name="T2" fmla="*/ 49 w 49"/>
                  <a:gd name="T3" fmla="*/ 63 h 89"/>
                  <a:gd name="T4" fmla="*/ 46 w 49"/>
                  <a:gd name="T5" fmla="*/ 69 h 89"/>
                  <a:gd name="T6" fmla="*/ 40 w 49"/>
                  <a:gd name="T7" fmla="*/ 74 h 89"/>
                  <a:gd name="T8" fmla="*/ 32 w 49"/>
                  <a:gd name="T9" fmla="*/ 78 h 89"/>
                  <a:gd name="T10" fmla="*/ 32 w 49"/>
                  <a:gd name="T11" fmla="*/ 89 h 89"/>
                  <a:gd name="T12" fmla="*/ 20 w 49"/>
                  <a:gd name="T13" fmla="*/ 89 h 89"/>
                  <a:gd name="T14" fmla="*/ 20 w 49"/>
                  <a:gd name="T15" fmla="*/ 79 h 89"/>
                  <a:gd name="T16" fmla="*/ 14 w 49"/>
                  <a:gd name="T17" fmla="*/ 79 h 89"/>
                  <a:gd name="T18" fmla="*/ 9 w 49"/>
                  <a:gd name="T19" fmla="*/ 78 h 89"/>
                  <a:gd name="T20" fmla="*/ 4 w 49"/>
                  <a:gd name="T21" fmla="*/ 77 h 89"/>
                  <a:gd name="T22" fmla="*/ 1 w 49"/>
                  <a:gd name="T23" fmla="*/ 75 h 89"/>
                  <a:gd name="T24" fmla="*/ 1 w 49"/>
                  <a:gd name="T25" fmla="*/ 56 h 89"/>
                  <a:gd name="T26" fmla="*/ 11 w 49"/>
                  <a:gd name="T27" fmla="*/ 62 h 89"/>
                  <a:gd name="T28" fmla="*/ 21 w 49"/>
                  <a:gd name="T29" fmla="*/ 64 h 89"/>
                  <a:gd name="T30" fmla="*/ 24 w 49"/>
                  <a:gd name="T31" fmla="*/ 64 h 89"/>
                  <a:gd name="T32" fmla="*/ 26 w 49"/>
                  <a:gd name="T33" fmla="*/ 62 h 89"/>
                  <a:gd name="T34" fmla="*/ 27 w 49"/>
                  <a:gd name="T35" fmla="*/ 61 h 89"/>
                  <a:gd name="T36" fmla="*/ 27 w 49"/>
                  <a:gd name="T37" fmla="*/ 59 h 89"/>
                  <a:gd name="T38" fmla="*/ 27 w 49"/>
                  <a:gd name="T39" fmla="*/ 57 h 89"/>
                  <a:gd name="T40" fmla="*/ 25 w 49"/>
                  <a:gd name="T41" fmla="*/ 55 h 89"/>
                  <a:gd name="T42" fmla="*/ 22 w 49"/>
                  <a:gd name="T43" fmla="*/ 53 h 89"/>
                  <a:gd name="T44" fmla="*/ 16 w 49"/>
                  <a:gd name="T45" fmla="*/ 51 h 89"/>
                  <a:gd name="T46" fmla="*/ 9 w 49"/>
                  <a:gd name="T47" fmla="*/ 47 h 89"/>
                  <a:gd name="T48" fmla="*/ 4 w 49"/>
                  <a:gd name="T49" fmla="*/ 42 h 89"/>
                  <a:gd name="T50" fmla="*/ 1 w 49"/>
                  <a:gd name="T51" fmla="*/ 37 h 89"/>
                  <a:gd name="T52" fmla="*/ 0 w 49"/>
                  <a:gd name="T53" fmla="*/ 30 h 89"/>
                  <a:gd name="T54" fmla="*/ 2 w 49"/>
                  <a:gd name="T55" fmla="*/ 23 h 89"/>
                  <a:gd name="T56" fmla="*/ 6 w 49"/>
                  <a:gd name="T57" fmla="*/ 17 h 89"/>
                  <a:gd name="T58" fmla="*/ 12 w 49"/>
                  <a:gd name="T59" fmla="*/ 12 h 89"/>
                  <a:gd name="T60" fmla="*/ 20 w 49"/>
                  <a:gd name="T61" fmla="*/ 9 h 89"/>
                  <a:gd name="T62" fmla="*/ 20 w 49"/>
                  <a:gd name="T63" fmla="*/ 0 h 89"/>
                  <a:gd name="T64" fmla="*/ 32 w 49"/>
                  <a:gd name="T65" fmla="*/ 0 h 89"/>
                  <a:gd name="T66" fmla="*/ 32 w 49"/>
                  <a:gd name="T67" fmla="*/ 9 h 89"/>
                  <a:gd name="T68" fmla="*/ 40 w 49"/>
                  <a:gd name="T69" fmla="*/ 10 h 89"/>
                  <a:gd name="T70" fmla="*/ 46 w 49"/>
                  <a:gd name="T71" fmla="*/ 11 h 89"/>
                  <a:gd name="T72" fmla="*/ 46 w 49"/>
                  <a:gd name="T73" fmla="*/ 29 h 89"/>
                  <a:gd name="T74" fmla="*/ 42 w 49"/>
                  <a:gd name="T75" fmla="*/ 27 h 89"/>
                  <a:gd name="T76" fmla="*/ 38 w 49"/>
                  <a:gd name="T77" fmla="*/ 26 h 89"/>
                  <a:gd name="T78" fmla="*/ 33 w 49"/>
                  <a:gd name="T79" fmla="*/ 24 h 89"/>
                  <a:gd name="T80" fmla="*/ 28 w 49"/>
                  <a:gd name="T81" fmla="*/ 24 h 89"/>
                  <a:gd name="T82" fmla="*/ 25 w 49"/>
                  <a:gd name="T83" fmla="*/ 24 h 89"/>
                  <a:gd name="T84" fmla="*/ 23 w 49"/>
                  <a:gd name="T85" fmla="*/ 25 h 89"/>
                  <a:gd name="T86" fmla="*/ 22 w 49"/>
                  <a:gd name="T87" fmla="*/ 27 h 89"/>
                  <a:gd name="T88" fmla="*/ 22 w 49"/>
                  <a:gd name="T89" fmla="*/ 28 h 89"/>
                  <a:gd name="T90" fmla="*/ 22 w 49"/>
                  <a:gd name="T91" fmla="*/ 30 h 89"/>
                  <a:gd name="T92" fmla="*/ 23 w 49"/>
                  <a:gd name="T93" fmla="*/ 32 h 89"/>
                  <a:gd name="T94" fmla="*/ 26 w 49"/>
                  <a:gd name="T95" fmla="*/ 34 h 89"/>
                  <a:gd name="T96" fmla="*/ 30 w 49"/>
                  <a:gd name="T97" fmla="*/ 36 h 89"/>
                  <a:gd name="T98" fmla="*/ 39 w 49"/>
                  <a:gd name="T99" fmla="*/ 41 h 89"/>
                  <a:gd name="T100" fmla="*/ 45 w 49"/>
                  <a:gd name="T101" fmla="*/ 46 h 89"/>
                  <a:gd name="T102" fmla="*/ 48 w 49"/>
                  <a:gd name="T103" fmla="*/ 51 h 89"/>
                  <a:gd name="T104" fmla="*/ 49 w 49"/>
                  <a:gd name="T105" fmla="*/ 58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9" h="89">
                    <a:moveTo>
                      <a:pt x="49" y="58"/>
                    </a:moveTo>
                    <a:cubicBezTo>
                      <a:pt x="49" y="59"/>
                      <a:pt x="49" y="61"/>
                      <a:pt x="49" y="63"/>
                    </a:cubicBezTo>
                    <a:cubicBezTo>
                      <a:pt x="48" y="65"/>
                      <a:pt x="47" y="67"/>
                      <a:pt x="46" y="69"/>
                    </a:cubicBezTo>
                    <a:cubicBezTo>
                      <a:pt x="44" y="71"/>
                      <a:pt x="43" y="72"/>
                      <a:pt x="40" y="74"/>
                    </a:cubicBezTo>
                    <a:cubicBezTo>
                      <a:pt x="38" y="76"/>
                      <a:pt x="35" y="77"/>
                      <a:pt x="32" y="78"/>
                    </a:cubicBezTo>
                    <a:cubicBezTo>
                      <a:pt x="32" y="89"/>
                      <a:pt x="32" y="89"/>
                      <a:pt x="32" y="89"/>
                    </a:cubicBezTo>
                    <a:cubicBezTo>
                      <a:pt x="20" y="89"/>
                      <a:pt x="20" y="89"/>
                      <a:pt x="20" y="89"/>
                    </a:cubicBezTo>
                    <a:cubicBezTo>
                      <a:pt x="20" y="79"/>
                      <a:pt x="20" y="79"/>
                      <a:pt x="20" y="79"/>
                    </a:cubicBezTo>
                    <a:cubicBezTo>
                      <a:pt x="18" y="79"/>
                      <a:pt x="16" y="79"/>
                      <a:pt x="14" y="79"/>
                    </a:cubicBezTo>
                    <a:cubicBezTo>
                      <a:pt x="12" y="79"/>
                      <a:pt x="11" y="78"/>
                      <a:pt x="9" y="78"/>
                    </a:cubicBezTo>
                    <a:cubicBezTo>
                      <a:pt x="7" y="77"/>
                      <a:pt x="6" y="77"/>
                      <a:pt x="4" y="77"/>
                    </a:cubicBezTo>
                    <a:cubicBezTo>
                      <a:pt x="3" y="76"/>
                      <a:pt x="2" y="76"/>
                      <a:pt x="1" y="75"/>
                    </a:cubicBezTo>
                    <a:cubicBezTo>
                      <a:pt x="1" y="56"/>
                      <a:pt x="1" y="56"/>
                      <a:pt x="1" y="56"/>
                    </a:cubicBezTo>
                    <a:cubicBezTo>
                      <a:pt x="4" y="59"/>
                      <a:pt x="8" y="61"/>
                      <a:pt x="11" y="62"/>
                    </a:cubicBezTo>
                    <a:cubicBezTo>
                      <a:pt x="14" y="63"/>
                      <a:pt x="18" y="64"/>
                      <a:pt x="21" y="64"/>
                    </a:cubicBezTo>
                    <a:cubicBezTo>
                      <a:pt x="22" y="64"/>
                      <a:pt x="23" y="64"/>
                      <a:pt x="24" y="64"/>
                    </a:cubicBezTo>
                    <a:cubicBezTo>
                      <a:pt x="25" y="63"/>
                      <a:pt x="25" y="63"/>
                      <a:pt x="26" y="62"/>
                    </a:cubicBezTo>
                    <a:cubicBezTo>
                      <a:pt x="26" y="62"/>
                      <a:pt x="26" y="61"/>
                      <a:pt x="27" y="61"/>
                    </a:cubicBezTo>
                    <a:cubicBezTo>
                      <a:pt x="27" y="60"/>
                      <a:pt x="27" y="60"/>
                      <a:pt x="27" y="59"/>
                    </a:cubicBezTo>
                    <a:cubicBezTo>
                      <a:pt x="27" y="58"/>
                      <a:pt x="27" y="58"/>
                      <a:pt x="27" y="57"/>
                    </a:cubicBezTo>
                    <a:cubicBezTo>
                      <a:pt x="26" y="57"/>
                      <a:pt x="26" y="56"/>
                      <a:pt x="25" y="55"/>
                    </a:cubicBezTo>
                    <a:cubicBezTo>
                      <a:pt x="25" y="55"/>
                      <a:pt x="23" y="54"/>
                      <a:pt x="22" y="53"/>
                    </a:cubicBezTo>
                    <a:cubicBezTo>
                      <a:pt x="21" y="53"/>
                      <a:pt x="19" y="52"/>
                      <a:pt x="16" y="51"/>
                    </a:cubicBezTo>
                    <a:cubicBezTo>
                      <a:pt x="13" y="50"/>
                      <a:pt x="11" y="48"/>
                      <a:pt x="9" y="47"/>
                    </a:cubicBezTo>
                    <a:cubicBezTo>
                      <a:pt x="7" y="45"/>
                      <a:pt x="5" y="44"/>
                      <a:pt x="4" y="42"/>
                    </a:cubicBezTo>
                    <a:cubicBezTo>
                      <a:pt x="3" y="40"/>
                      <a:pt x="2" y="39"/>
                      <a:pt x="1" y="37"/>
                    </a:cubicBezTo>
                    <a:cubicBezTo>
                      <a:pt x="1" y="35"/>
                      <a:pt x="0" y="33"/>
                      <a:pt x="0" y="30"/>
                    </a:cubicBezTo>
                    <a:cubicBezTo>
                      <a:pt x="0" y="28"/>
                      <a:pt x="1" y="25"/>
                      <a:pt x="2" y="23"/>
                    </a:cubicBezTo>
                    <a:cubicBezTo>
                      <a:pt x="3" y="20"/>
                      <a:pt x="4" y="18"/>
                      <a:pt x="6" y="17"/>
                    </a:cubicBezTo>
                    <a:cubicBezTo>
                      <a:pt x="7" y="15"/>
                      <a:pt x="9" y="13"/>
                      <a:pt x="12" y="12"/>
                    </a:cubicBezTo>
                    <a:cubicBezTo>
                      <a:pt x="14" y="11"/>
                      <a:pt x="17" y="10"/>
                      <a:pt x="20" y="9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2" y="9"/>
                      <a:pt x="32" y="9"/>
                      <a:pt x="32" y="9"/>
                    </a:cubicBezTo>
                    <a:cubicBezTo>
                      <a:pt x="35" y="9"/>
                      <a:pt x="37" y="9"/>
                      <a:pt x="40" y="10"/>
                    </a:cubicBezTo>
                    <a:cubicBezTo>
                      <a:pt x="42" y="10"/>
                      <a:pt x="44" y="11"/>
                      <a:pt x="46" y="11"/>
                    </a:cubicBezTo>
                    <a:cubicBezTo>
                      <a:pt x="46" y="29"/>
                      <a:pt x="46" y="29"/>
                      <a:pt x="46" y="29"/>
                    </a:cubicBezTo>
                    <a:cubicBezTo>
                      <a:pt x="45" y="29"/>
                      <a:pt x="44" y="28"/>
                      <a:pt x="42" y="27"/>
                    </a:cubicBezTo>
                    <a:cubicBezTo>
                      <a:pt x="41" y="27"/>
                      <a:pt x="40" y="26"/>
                      <a:pt x="38" y="26"/>
                    </a:cubicBezTo>
                    <a:cubicBezTo>
                      <a:pt x="36" y="25"/>
                      <a:pt x="35" y="25"/>
                      <a:pt x="33" y="24"/>
                    </a:cubicBezTo>
                    <a:cubicBezTo>
                      <a:pt x="31" y="24"/>
                      <a:pt x="30" y="24"/>
                      <a:pt x="28" y="24"/>
                    </a:cubicBezTo>
                    <a:cubicBezTo>
                      <a:pt x="27" y="24"/>
                      <a:pt x="26" y="24"/>
                      <a:pt x="25" y="24"/>
                    </a:cubicBezTo>
                    <a:cubicBezTo>
                      <a:pt x="25" y="25"/>
                      <a:pt x="24" y="25"/>
                      <a:pt x="23" y="25"/>
                    </a:cubicBezTo>
                    <a:cubicBezTo>
                      <a:pt x="23" y="26"/>
                      <a:pt x="22" y="26"/>
                      <a:pt x="22" y="27"/>
                    </a:cubicBezTo>
                    <a:cubicBezTo>
                      <a:pt x="22" y="27"/>
                      <a:pt x="22" y="28"/>
                      <a:pt x="22" y="28"/>
                    </a:cubicBezTo>
                    <a:cubicBezTo>
                      <a:pt x="22" y="29"/>
                      <a:pt x="22" y="30"/>
                      <a:pt x="22" y="30"/>
                    </a:cubicBezTo>
                    <a:cubicBezTo>
                      <a:pt x="22" y="31"/>
                      <a:pt x="23" y="31"/>
                      <a:pt x="23" y="32"/>
                    </a:cubicBezTo>
                    <a:cubicBezTo>
                      <a:pt x="24" y="32"/>
                      <a:pt x="24" y="33"/>
                      <a:pt x="26" y="34"/>
                    </a:cubicBezTo>
                    <a:cubicBezTo>
                      <a:pt x="27" y="34"/>
                      <a:pt x="28" y="35"/>
                      <a:pt x="30" y="36"/>
                    </a:cubicBezTo>
                    <a:cubicBezTo>
                      <a:pt x="34" y="38"/>
                      <a:pt x="37" y="39"/>
                      <a:pt x="39" y="41"/>
                    </a:cubicBezTo>
                    <a:cubicBezTo>
                      <a:pt x="42" y="42"/>
                      <a:pt x="44" y="44"/>
                      <a:pt x="45" y="46"/>
                    </a:cubicBezTo>
                    <a:cubicBezTo>
                      <a:pt x="47" y="48"/>
                      <a:pt x="48" y="49"/>
                      <a:pt x="48" y="51"/>
                    </a:cubicBezTo>
                    <a:cubicBezTo>
                      <a:pt x="49" y="53"/>
                      <a:pt x="49" y="55"/>
                      <a:pt x="49" y="58"/>
                    </a:cubicBezTo>
                    <a:close/>
                  </a:path>
                </a:pathLst>
              </a:custGeom>
              <a:solidFill>
                <a:srgbClr val="33333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362" name="Freeform 9"/>
            <p:cNvSpPr>
              <a:spLocks noEditPoints="1"/>
            </p:cNvSpPr>
            <p:nvPr/>
          </p:nvSpPr>
          <p:spPr bwMode="black">
            <a:xfrm>
              <a:off x="9777443" y="2759629"/>
              <a:ext cx="640080" cy="640080"/>
            </a:xfrm>
            <a:custGeom>
              <a:avLst/>
              <a:gdLst>
                <a:gd name="T0" fmla="*/ 88 w 149"/>
                <a:gd name="T1" fmla="*/ 67 h 149"/>
                <a:gd name="T2" fmla="*/ 65 w 149"/>
                <a:gd name="T3" fmla="*/ 46 h 149"/>
                <a:gd name="T4" fmla="*/ 84 w 149"/>
                <a:gd name="T5" fmla="*/ 46 h 149"/>
                <a:gd name="T6" fmla="*/ 115 w 149"/>
                <a:gd name="T7" fmla="*/ 75 h 149"/>
                <a:gd name="T8" fmla="*/ 84 w 149"/>
                <a:gd name="T9" fmla="*/ 104 h 149"/>
                <a:gd name="T10" fmla="*/ 65 w 149"/>
                <a:gd name="T11" fmla="*/ 104 h 149"/>
                <a:gd name="T12" fmla="*/ 88 w 149"/>
                <a:gd name="T13" fmla="*/ 82 h 149"/>
                <a:gd name="T14" fmla="*/ 36 w 149"/>
                <a:gd name="T15" fmla="*/ 82 h 149"/>
                <a:gd name="T16" fmla="*/ 36 w 149"/>
                <a:gd name="T17" fmla="*/ 67 h 149"/>
                <a:gd name="T18" fmla="*/ 88 w 149"/>
                <a:gd name="T19" fmla="*/ 67 h 149"/>
                <a:gd name="T20" fmla="*/ 74 w 149"/>
                <a:gd name="T21" fmla="*/ 9 h 149"/>
                <a:gd name="T22" fmla="*/ 140 w 149"/>
                <a:gd name="T23" fmla="*/ 75 h 149"/>
                <a:gd name="T24" fmla="*/ 74 w 149"/>
                <a:gd name="T25" fmla="*/ 140 h 149"/>
                <a:gd name="T26" fmla="*/ 9 w 149"/>
                <a:gd name="T27" fmla="*/ 75 h 149"/>
                <a:gd name="T28" fmla="*/ 74 w 149"/>
                <a:gd name="T29" fmla="*/ 9 h 149"/>
                <a:gd name="T30" fmla="*/ 74 w 149"/>
                <a:gd name="T31" fmla="*/ 0 h 149"/>
                <a:gd name="T32" fmla="*/ 0 w 149"/>
                <a:gd name="T33" fmla="*/ 75 h 149"/>
                <a:gd name="T34" fmla="*/ 74 w 149"/>
                <a:gd name="T35" fmla="*/ 149 h 149"/>
                <a:gd name="T36" fmla="*/ 149 w 149"/>
                <a:gd name="T37" fmla="*/ 75 h 149"/>
                <a:gd name="T38" fmla="*/ 74 w 149"/>
                <a:gd name="T3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9" h="149">
                  <a:moveTo>
                    <a:pt x="88" y="67"/>
                  </a:moveTo>
                  <a:cubicBezTo>
                    <a:pt x="65" y="46"/>
                    <a:pt x="65" y="46"/>
                    <a:pt x="65" y="46"/>
                  </a:cubicBezTo>
                  <a:cubicBezTo>
                    <a:pt x="84" y="46"/>
                    <a:pt x="84" y="46"/>
                    <a:pt x="84" y="46"/>
                  </a:cubicBezTo>
                  <a:cubicBezTo>
                    <a:pt x="115" y="75"/>
                    <a:pt x="115" y="75"/>
                    <a:pt x="115" y="75"/>
                  </a:cubicBezTo>
                  <a:cubicBezTo>
                    <a:pt x="84" y="104"/>
                    <a:pt x="84" y="104"/>
                    <a:pt x="84" y="104"/>
                  </a:cubicBezTo>
                  <a:cubicBezTo>
                    <a:pt x="65" y="104"/>
                    <a:pt x="65" y="104"/>
                    <a:pt x="65" y="104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6" y="67"/>
                    <a:pt x="36" y="67"/>
                    <a:pt x="36" y="67"/>
                  </a:cubicBezTo>
                  <a:lnTo>
                    <a:pt x="88" y="67"/>
                  </a:lnTo>
                  <a:close/>
                  <a:moveTo>
                    <a:pt x="74" y="9"/>
                  </a:moveTo>
                  <a:cubicBezTo>
                    <a:pt x="110" y="9"/>
                    <a:pt x="140" y="39"/>
                    <a:pt x="140" y="75"/>
                  </a:cubicBezTo>
                  <a:cubicBezTo>
                    <a:pt x="140" y="111"/>
                    <a:pt x="110" y="140"/>
                    <a:pt x="74" y="140"/>
                  </a:cubicBezTo>
                  <a:cubicBezTo>
                    <a:pt x="38" y="140"/>
                    <a:pt x="9" y="111"/>
                    <a:pt x="9" y="75"/>
                  </a:cubicBezTo>
                  <a:cubicBezTo>
                    <a:pt x="9" y="39"/>
                    <a:pt x="38" y="9"/>
                    <a:pt x="74" y="9"/>
                  </a:cubicBezTo>
                  <a:moveTo>
                    <a:pt x="74" y="0"/>
                  </a:moveTo>
                  <a:cubicBezTo>
                    <a:pt x="33" y="0"/>
                    <a:pt x="0" y="33"/>
                    <a:pt x="0" y="75"/>
                  </a:cubicBezTo>
                  <a:cubicBezTo>
                    <a:pt x="0" y="116"/>
                    <a:pt x="33" y="149"/>
                    <a:pt x="74" y="149"/>
                  </a:cubicBezTo>
                  <a:cubicBezTo>
                    <a:pt x="116" y="149"/>
                    <a:pt x="149" y="116"/>
                    <a:pt x="149" y="75"/>
                  </a:cubicBezTo>
                  <a:cubicBezTo>
                    <a:pt x="149" y="33"/>
                    <a:pt x="116" y="0"/>
                    <a:pt x="74" y="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8" tIns="34293" rIns="68588" bIns="34293" numCol="1" anchor="t" anchorCtr="0" compatLnSpc="1">
              <a:prstTxWarp prst="textNoShape">
                <a:avLst/>
              </a:prstTxWarp>
            </a:bodyPr>
            <a:lstStyle/>
            <a:p>
              <a:endParaRPr lang="en-US" sz="1324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2413964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1537" y="471487"/>
            <a:ext cx="10448925" cy="5915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83291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526513" y="757577"/>
            <a:ext cx="1028356" cy="1018502"/>
          </a:xfrm>
          <a:prstGeom prst="rect">
            <a:avLst/>
          </a:prstGeom>
          <a:solidFill>
            <a:srgbClr val="007F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b"/>
          <a:lstStyle/>
          <a:p>
            <a:r>
              <a:rPr lang="en-US" sz="1050" dirty="0" smtClean="0">
                <a:latin typeface="Segoe UI" panose="020B0502040204020203" pitchFamily="34" charset="0"/>
                <a:cs typeface="Segoe UI" panose="020B0502040204020203" pitchFamily="34" charset="0"/>
              </a:rPr>
              <a:t>SMB Advantage SQL Server Incentive</a:t>
            </a:r>
            <a:endParaRPr lang="en-US" sz="105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529484" y="757577"/>
            <a:ext cx="1028356" cy="1018502"/>
          </a:xfrm>
          <a:prstGeom prst="rect">
            <a:avLst/>
          </a:prstGeom>
          <a:solidFill>
            <a:srgbClr val="AB00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b"/>
          <a:lstStyle/>
          <a:p>
            <a:r>
              <a:rPr lang="en-US" sz="1050" dirty="0" smtClean="0">
                <a:latin typeface="Segoe UI" panose="020B0502040204020203" pitchFamily="34" charset="0"/>
                <a:cs typeface="Segoe UI" panose="020B0502040204020203" pitchFamily="34" charset="0"/>
              </a:rPr>
              <a:t>SMB Advantage Office 365 Promotion</a:t>
            </a:r>
          </a:p>
        </p:txBody>
      </p:sp>
      <p:sp>
        <p:nvSpPr>
          <p:cNvPr id="4" name="Rectangle 3"/>
          <p:cNvSpPr/>
          <p:nvPr/>
        </p:nvSpPr>
        <p:spPr>
          <a:xfrm>
            <a:off x="6005656" y="757577"/>
            <a:ext cx="1028356" cy="1018502"/>
          </a:xfrm>
          <a:prstGeom prst="rect">
            <a:avLst/>
          </a:prstGeom>
          <a:solidFill>
            <a:srgbClr val="FF99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b"/>
          <a:lstStyle/>
          <a:p>
            <a:r>
              <a:rPr lang="en-US" sz="1050" dirty="0" smtClean="0">
                <a:latin typeface="Segoe UI" panose="020B0502040204020203" pitchFamily="34" charset="0"/>
                <a:cs typeface="Segoe UI" panose="020B0502040204020203" pitchFamily="34" charset="0"/>
              </a:rPr>
              <a:t>Adoption Offer for Office 365</a:t>
            </a:r>
          </a:p>
        </p:txBody>
      </p:sp>
      <p:sp>
        <p:nvSpPr>
          <p:cNvPr id="5" name="Rectangle 4"/>
          <p:cNvSpPr/>
          <p:nvPr/>
        </p:nvSpPr>
        <p:spPr>
          <a:xfrm>
            <a:off x="4572595" y="2066477"/>
            <a:ext cx="1028356" cy="1018502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b"/>
          <a:lstStyle/>
          <a:p>
            <a:r>
              <a:rPr lang="en-US" sz="1050" dirty="0" smtClean="0">
                <a:latin typeface="Segoe UI" panose="020B0502040204020203" pitchFamily="34" charset="0"/>
                <a:cs typeface="Segoe UI" panose="020B0502040204020203" pitchFamily="34" charset="0"/>
              </a:rPr>
              <a:t>Online Services Advisor Program</a:t>
            </a:r>
          </a:p>
        </p:txBody>
      </p:sp>
      <p:sp>
        <p:nvSpPr>
          <p:cNvPr id="7" name="Rectangle 6"/>
          <p:cNvSpPr/>
          <p:nvPr/>
        </p:nvSpPr>
        <p:spPr>
          <a:xfrm>
            <a:off x="2072879" y="4011101"/>
            <a:ext cx="1028356" cy="1018502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b"/>
          <a:lstStyle/>
          <a:p>
            <a:r>
              <a:rPr lang="en-US" sz="1050" dirty="0" smtClean="0">
                <a:latin typeface="Segoe UI" panose="020B0502040204020203" pitchFamily="34" charset="0"/>
                <a:cs typeface="Segoe UI" panose="020B0502040204020203" pitchFamily="34" charset="0"/>
              </a:rPr>
              <a:t>Online Services Advisor Fees</a:t>
            </a:r>
          </a:p>
        </p:txBody>
      </p:sp>
      <p:sp>
        <p:nvSpPr>
          <p:cNvPr id="8" name="Rectangle 7"/>
          <p:cNvSpPr/>
          <p:nvPr/>
        </p:nvSpPr>
        <p:spPr>
          <a:xfrm>
            <a:off x="7034012" y="4520352"/>
            <a:ext cx="1028356" cy="101850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b"/>
          <a:lstStyle/>
          <a:p>
            <a:r>
              <a:rPr lang="en-US" sz="1050" dirty="0" smtClean="0">
                <a:latin typeface="Segoe UI" panose="020B0502040204020203" pitchFamily="34" charset="0"/>
                <a:cs typeface="Segoe UI" panose="020B0502040204020203" pitchFamily="34" charset="0"/>
              </a:rPr>
              <a:t>Visual Studio Enterprise with MSDN</a:t>
            </a:r>
            <a:endParaRPr lang="en-US" sz="105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8277793" y="1776079"/>
            <a:ext cx="1028356" cy="1018502"/>
          </a:xfrm>
          <a:prstGeom prst="rect">
            <a:avLst/>
          </a:prstGeom>
          <a:solidFill>
            <a:srgbClr val="0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b"/>
          <a:lstStyle/>
          <a:p>
            <a:r>
              <a:rPr lang="en-US" sz="1050" dirty="0" smtClean="0">
                <a:latin typeface="Segoe UI" panose="020B0502040204020203" pitchFamily="34" charset="0"/>
                <a:cs typeface="Segoe UI" panose="020B0502040204020203" pitchFamily="34" charset="0"/>
              </a:rPr>
              <a:t>CRM Online Pro Add-On to Office 365 USL for SA SKU</a:t>
            </a:r>
            <a:endParaRPr lang="en-US" sz="105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558701" y="2066477"/>
            <a:ext cx="1028356" cy="1018502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b"/>
          <a:lstStyle/>
          <a:p>
            <a:r>
              <a:rPr lang="en-US" sz="1050" dirty="0" smtClean="0">
                <a:latin typeface="Segoe UI" panose="020B0502040204020203" pitchFamily="34" charset="0"/>
                <a:cs typeface="Segoe UI" panose="020B0502040204020203" pitchFamily="34" charset="0"/>
              </a:rPr>
              <a:t>15% Windows Server SMB Advantage Offer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572595" y="4831448"/>
            <a:ext cx="1028356" cy="1018502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b"/>
          <a:lstStyle/>
          <a:p>
            <a:r>
              <a:rPr lang="en-US" sz="1050" dirty="0" smtClean="0">
                <a:latin typeface="Segoe UI" panose="020B0502040204020203" pitchFamily="34" charset="0"/>
                <a:cs typeface="Segoe UI" panose="020B0502040204020203" pitchFamily="34" charset="0"/>
              </a:rPr>
              <a:t>Upgrade to E5 Promo</a:t>
            </a:r>
          </a:p>
        </p:txBody>
      </p:sp>
    </p:spTree>
    <p:extLst>
      <p:ext uri="{BB962C8B-B14F-4D97-AF65-F5344CB8AC3E}">
        <p14:creationId xmlns:p14="http://schemas.microsoft.com/office/powerpoint/2010/main" val="190147212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Group 33"/>
          <p:cNvGrpSpPr/>
          <p:nvPr/>
        </p:nvGrpSpPr>
        <p:grpSpPr>
          <a:xfrm>
            <a:off x="1020064" y="4121335"/>
            <a:ext cx="5714999" cy="857250"/>
            <a:chOff x="1020064" y="4121335"/>
            <a:chExt cx="5714999" cy="857250"/>
          </a:xfrm>
        </p:grpSpPr>
        <p:sp>
          <p:nvSpPr>
            <p:cNvPr id="3" name="Rectangle 2"/>
            <p:cNvSpPr/>
            <p:nvPr/>
          </p:nvSpPr>
          <p:spPr>
            <a:xfrm>
              <a:off x="1020064" y="4121335"/>
              <a:ext cx="5714999" cy="857249"/>
            </a:xfrm>
            <a:prstGeom prst="rect">
              <a:avLst/>
            </a:prstGeom>
            <a:solidFill>
              <a:srgbClr val="007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rtlCol="0" anchor="ctr"/>
            <a:lstStyle/>
            <a:p>
              <a:pPr lvl="2"/>
              <a:endParaRPr lang="en-US" b="1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4" name="Rectangle 3"/>
            <p:cNvSpPr/>
            <p:nvPr/>
          </p:nvSpPr>
          <p:spPr>
            <a:xfrm>
              <a:off x="4597400" y="4121335"/>
              <a:ext cx="2137663" cy="857250"/>
            </a:xfrm>
            <a:prstGeom prst="rect">
              <a:avLst/>
            </a:prstGeom>
            <a:solidFill>
              <a:srgbClr val="DC3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rtlCol="0" anchor="ctr"/>
            <a:lstStyle/>
            <a:p>
              <a:pPr lvl="2"/>
              <a:endParaRPr lang="en-US" b="1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" name="Rectangle 4"/>
            <p:cNvSpPr/>
            <p:nvPr/>
          </p:nvSpPr>
          <p:spPr>
            <a:xfrm>
              <a:off x="4772447" y="4228821"/>
              <a:ext cx="1655770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200" dirty="0" smtClean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ee how Office has evolved to be better </a:t>
              </a:r>
            </a:p>
            <a:p>
              <a:r>
                <a:rPr lang="en-US" sz="1200" dirty="0" smtClean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than ever</a:t>
              </a:r>
              <a:endParaRPr lang="en-US" sz="12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6" name="Freeform 9"/>
            <p:cNvSpPr>
              <a:spLocks noEditPoints="1"/>
            </p:cNvSpPr>
            <p:nvPr/>
          </p:nvSpPr>
          <p:spPr bwMode="black">
            <a:xfrm>
              <a:off x="6247097" y="4452298"/>
              <a:ext cx="314941" cy="316221"/>
            </a:xfrm>
            <a:custGeom>
              <a:avLst/>
              <a:gdLst>
                <a:gd name="T0" fmla="*/ 88 w 149"/>
                <a:gd name="T1" fmla="*/ 67 h 149"/>
                <a:gd name="T2" fmla="*/ 65 w 149"/>
                <a:gd name="T3" fmla="*/ 46 h 149"/>
                <a:gd name="T4" fmla="*/ 84 w 149"/>
                <a:gd name="T5" fmla="*/ 46 h 149"/>
                <a:gd name="T6" fmla="*/ 115 w 149"/>
                <a:gd name="T7" fmla="*/ 75 h 149"/>
                <a:gd name="T8" fmla="*/ 84 w 149"/>
                <a:gd name="T9" fmla="*/ 104 h 149"/>
                <a:gd name="T10" fmla="*/ 65 w 149"/>
                <a:gd name="T11" fmla="*/ 104 h 149"/>
                <a:gd name="T12" fmla="*/ 88 w 149"/>
                <a:gd name="T13" fmla="*/ 82 h 149"/>
                <a:gd name="T14" fmla="*/ 36 w 149"/>
                <a:gd name="T15" fmla="*/ 82 h 149"/>
                <a:gd name="T16" fmla="*/ 36 w 149"/>
                <a:gd name="T17" fmla="*/ 67 h 149"/>
                <a:gd name="T18" fmla="*/ 88 w 149"/>
                <a:gd name="T19" fmla="*/ 67 h 149"/>
                <a:gd name="T20" fmla="*/ 74 w 149"/>
                <a:gd name="T21" fmla="*/ 9 h 149"/>
                <a:gd name="T22" fmla="*/ 140 w 149"/>
                <a:gd name="T23" fmla="*/ 75 h 149"/>
                <a:gd name="T24" fmla="*/ 74 w 149"/>
                <a:gd name="T25" fmla="*/ 140 h 149"/>
                <a:gd name="T26" fmla="*/ 9 w 149"/>
                <a:gd name="T27" fmla="*/ 75 h 149"/>
                <a:gd name="T28" fmla="*/ 74 w 149"/>
                <a:gd name="T29" fmla="*/ 9 h 149"/>
                <a:gd name="T30" fmla="*/ 74 w 149"/>
                <a:gd name="T31" fmla="*/ 0 h 149"/>
                <a:gd name="T32" fmla="*/ 0 w 149"/>
                <a:gd name="T33" fmla="*/ 75 h 149"/>
                <a:gd name="T34" fmla="*/ 74 w 149"/>
                <a:gd name="T35" fmla="*/ 149 h 149"/>
                <a:gd name="T36" fmla="*/ 149 w 149"/>
                <a:gd name="T37" fmla="*/ 75 h 149"/>
                <a:gd name="T38" fmla="*/ 74 w 149"/>
                <a:gd name="T3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9" h="149">
                  <a:moveTo>
                    <a:pt x="88" y="67"/>
                  </a:moveTo>
                  <a:cubicBezTo>
                    <a:pt x="65" y="46"/>
                    <a:pt x="65" y="46"/>
                    <a:pt x="65" y="46"/>
                  </a:cubicBezTo>
                  <a:cubicBezTo>
                    <a:pt x="84" y="46"/>
                    <a:pt x="84" y="46"/>
                    <a:pt x="84" y="46"/>
                  </a:cubicBezTo>
                  <a:cubicBezTo>
                    <a:pt x="115" y="75"/>
                    <a:pt x="115" y="75"/>
                    <a:pt x="115" y="75"/>
                  </a:cubicBezTo>
                  <a:cubicBezTo>
                    <a:pt x="84" y="104"/>
                    <a:pt x="84" y="104"/>
                    <a:pt x="84" y="104"/>
                  </a:cubicBezTo>
                  <a:cubicBezTo>
                    <a:pt x="65" y="104"/>
                    <a:pt x="65" y="104"/>
                    <a:pt x="65" y="104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6" y="67"/>
                    <a:pt x="36" y="67"/>
                    <a:pt x="36" y="67"/>
                  </a:cubicBezTo>
                  <a:lnTo>
                    <a:pt x="88" y="67"/>
                  </a:lnTo>
                  <a:close/>
                  <a:moveTo>
                    <a:pt x="74" y="9"/>
                  </a:moveTo>
                  <a:cubicBezTo>
                    <a:pt x="110" y="9"/>
                    <a:pt x="140" y="39"/>
                    <a:pt x="140" y="75"/>
                  </a:cubicBezTo>
                  <a:cubicBezTo>
                    <a:pt x="140" y="111"/>
                    <a:pt x="110" y="140"/>
                    <a:pt x="74" y="140"/>
                  </a:cubicBezTo>
                  <a:cubicBezTo>
                    <a:pt x="38" y="140"/>
                    <a:pt x="9" y="111"/>
                    <a:pt x="9" y="75"/>
                  </a:cubicBezTo>
                  <a:cubicBezTo>
                    <a:pt x="9" y="39"/>
                    <a:pt x="38" y="9"/>
                    <a:pt x="74" y="9"/>
                  </a:cubicBezTo>
                  <a:moveTo>
                    <a:pt x="74" y="0"/>
                  </a:moveTo>
                  <a:cubicBezTo>
                    <a:pt x="33" y="0"/>
                    <a:pt x="0" y="33"/>
                    <a:pt x="0" y="75"/>
                  </a:cubicBezTo>
                  <a:cubicBezTo>
                    <a:pt x="0" y="116"/>
                    <a:pt x="33" y="149"/>
                    <a:pt x="74" y="149"/>
                  </a:cubicBezTo>
                  <a:cubicBezTo>
                    <a:pt x="116" y="149"/>
                    <a:pt x="149" y="116"/>
                    <a:pt x="149" y="75"/>
                  </a:cubicBezTo>
                  <a:cubicBezTo>
                    <a:pt x="149" y="33"/>
                    <a:pt x="116" y="0"/>
                    <a:pt x="74" y="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8" tIns="34293" rIns="68588" bIns="34293" numCol="1" anchor="t" anchorCtr="0" compatLnSpc="1">
              <a:prstTxWarp prst="textNoShape">
                <a:avLst/>
              </a:prstTxWarp>
            </a:bodyPr>
            <a:lstStyle/>
            <a:p>
              <a:endParaRPr lang="en-US" sz="1324" dirty="0">
                <a:solidFill>
                  <a:srgbClr val="000000"/>
                </a:solidFill>
              </a:endParaRPr>
            </a:p>
          </p:txBody>
        </p:sp>
        <p:grpSp>
          <p:nvGrpSpPr>
            <p:cNvPr id="7" name="Group 6"/>
            <p:cNvGrpSpPr/>
            <p:nvPr/>
          </p:nvGrpSpPr>
          <p:grpSpPr>
            <a:xfrm>
              <a:off x="1198618" y="4351264"/>
              <a:ext cx="2970858" cy="388197"/>
              <a:chOff x="2141974" y="4713800"/>
              <a:chExt cx="4725662" cy="617496"/>
            </a:xfrm>
          </p:grpSpPr>
          <p:sp>
            <p:nvSpPr>
              <p:cNvPr id="9" name="Rectangle 8"/>
              <p:cNvSpPr/>
              <p:nvPr/>
            </p:nvSpPr>
            <p:spPr>
              <a:xfrm>
                <a:off x="2141974" y="4759884"/>
                <a:ext cx="2673830" cy="53853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600" b="1" dirty="0">
                    <a:solidFill>
                      <a:schemeClr val="bg1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The History of</a:t>
                </a:r>
              </a:p>
            </p:txBody>
          </p:sp>
          <p:pic>
            <p:nvPicPr>
              <p:cNvPr id="10" name="Picture 9"/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75397" y="4713800"/>
                <a:ext cx="1992239" cy="617496"/>
              </a:xfrm>
              <a:prstGeom prst="rect">
                <a:avLst/>
              </a:prstGeom>
            </p:spPr>
          </p:pic>
        </p:grpSp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10" b="59295"/>
            <a:stretch/>
          </p:blipFill>
          <p:spPr>
            <a:xfrm flipH="1">
              <a:off x="3753565" y="4220474"/>
              <a:ext cx="1259746" cy="757633"/>
            </a:xfrm>
            <a:prstGeom prst="rect">
              <a:avLst/>
            </a:prstGeom>
          </p:spPr>
        </p:pic>
      </p:grpSp>
      <p:grpSp>
        <p:nvGrpSpPr>
          <p:cNvPr id="11" name="Group 10"/>
          <p:cNvGrpSpPr/>
          <p:nvPr/>
        </p:nvGrpSpPr>
        <p:grpSpPr>
          <a:xfrm>
            <a:off x="1020065" y="620895"/>
            <a:ext cx="5714998" cy="2381249"/>
            <a:chOff x="1020065" y="620895"/>
            <a:chExt cx="7620000" cy="3175000"/>
          </a:xfrm>
        </p:grpSpPr>
        <p:grpSp>
          <p:nvGrpSpPr>
            <p:cNvPr id="12" name="Group 11"/>
            <p:cNvGrpSpPr/>
            <p:nvPr/>
          </p:nvGrpSpPr>
          <p:grpSpPr>
            <a:xfrm>
              <a:off x="1020065" y="620895"/>
              <a:ext cx="7620000" cy="3175000"/>
              <a:chOff x="2124965" y="1459095"/>
              <a:chExt cx="7620000" cy="3175000"/>
            </a:xfrm>
          </p:grpSpPr>
          <p:sp>
            <p:nvSpPr>
              <p:cNvPr id="14" name="Rectangle 13"/>
              <p:cNvSpPr/>
              <p:nvPr/>
            </p:nvSpPr>
            <p:spPr>
              <a:xfrm>
                <a:off x="2124965" y="1459095"/>
                <a:ext cx="7620000" cy="3175000"/>
              </a:xfrm>
              <a:prstGeom prst="rect">
                <a:avLst/>
              </a:prstGeom>
              <a:solidFill>
                <a:srgbClr val="0078D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0" rtlCol="0" anchor="ctr"/>
              <a:lstStyle/>
              <a:p>
                <a:pPr lvl="2"/>
                <a:endParaRPr lang="en-US" b="1" dirty="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5" name="Rectangle 14"/>
              <p:cNvSpPr/>
              <p:nvPr/>
            </p:nvSpPr>
            <p:spPr>
              <a:xfrm>
                <a:off x="5216245" y="1784532"/>
                <a:ext cx="2508981" cy="49244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chemeClr val="bg1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The History of</a:t>
                </a:r>
              </a:p>
            </p:txBody>
          </p:sp>
          <p:pic>
            <p:nvPicPr>
              <p:cNvPr id="16" name="Picture 15"/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490975" y="2310851"/>
                <a:ext cx="3959521" cy="1227257"/>
              </a:xfrm>
              <a:prstGeom prst="rect">
                <a:avLst/>
              </a:prstGeom>
            </p:spPr>
          </p:pic>
          <p:sp>
            <p:nvSpPr>
              <p:cNvPr id="17" name="Rectangle 16"/>
              <p:cNvSpPr/>
              <p:nvPr/>
            </p:nvSpPr>
            <p:spPr>
              <a:xfrm>
                <a:off x="2124965" y="3849484"/>
                <a:ext cx="7619999" cy="784611"/>
              </a:xfrm>
              <a:prstGeom prst="rect">
                <a:avLst/>
              </a:prstGeom>
              <a:solidFill>
                <a:srgbClr val="DC3C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D73B02"/>
                  </a:solidFill>
                </a:endParaRPr>
              </a:p>
            </p:txBody>
          </p:sp>
          <p:sp>
            <p:nvSpPr>
              <p:cNvPr id="18" name="Rectangle 17"/>
              <p:cNvSpPr/>
              <p:nvPr/>
            </p:nvSpPr>
            <p:spPr>
              <a:xfrm>
                <a:off x="3751583" y="4020533"/>
                <a:ext cx="5422869" cy="41037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400" dirty="0">
                    <a:solidFill>
                      <a:schemeClr val="bg1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See how Office has evolved to be better </a:t>
                </a:r>
                <a:r>
                  <a:rPr lang="en-US" sz="1400" dirty="0" smtClean="0">
                    <a:solidFill>
                      <a:schemeClr val="bg1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than </a:t>
                </a:r>
                <a:r>
                  <a:rPr lang="en-US" sz="1400" dirty="0">
                    <a:solidFill>
                      <a:schemeClr val="bg1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ever</a:t>
                </a:r>
              </a:p>
            </p:txBody>
          </p:sp>
          <p:pic>
            <p:nvPicPr>
              <p:cNvPr id="19" name="Picture 18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363036" y="1654629"/>
                <a:ext cx="1991264" cy="2979466"/>
              </a:xfrm>
              <a:prstGeom prst="rect">
                <a:avLst/>
              </a:prstGeom>
            </p:spPr>
          </p:pic>
        </p:grpSp>
        <p:sp>
          <p:nvSpPr>
            <p:cNvPr id="13" name="Freeform 9"/>
            <p:cNvSpPr>
              <a:spLocks noEditPoints="1"/>
            </p:cNvSpPr>
            <p:nvPr/>
          </p:nvSpPr>
          <p:spPr bwMode="black">
            <a:xfrm>
              <a:off x="7989443" y="3211803"/>
              <a:ext cx="419921" cy="421628"/>
            </a:xfrm>
            <a:custGeom>
              <a:avLst/>
              <a:gdLst>
                <a:gd name="T0" fmla="*/ 88 w 149"/>
                <a:gd name="T1" fmla="*/ 67 h 149"/>
                <a:gd name="T2" fmla="*/ 65 w 149"/>
                <a:gd name="T3" fmla="*/ 46 h 149"/>
                <a:gd name="T4" fmla="*/ 84 w 149"/>
                <a:gd name="T5" fmla="*/ 46 h 149"/>
                <a:gd name="T6" fmla="*/ 115 w 149"/>
                <a:gd name="T7" fmla="*/ 75 h 149"/>
                <a:gd name="T8" fmla="*/ 84 w 149"/>
                <a:gd name="T9" fmla="*/ 104 h 149"/>
                <a:gd name="T10" fmla="*/ 65 w 149"/>
                <a:gd name="T11" fmla="*/ 104 h 149"/>
                <a:gd name="T12" fmla="*/ 88 w 149"/>
                <a:gd name="T13" fmla="*/ 82 h 149"/>
                <a:gd name="T14" fmla="*/ 36 w 149"/>
                <a:gd name="T15" fmla="*/ 82 h 149"/>
                <a:gd name="T16" fmla="*/ 36 w 149"/>
                <a:gd name="T17" fmla="*/ 67 h 149"/>
                <a:gd name="T18" fmla="*/ 88 w 149"/>
                <a:gd name="T19" fmla="*/ 67 h 149"/>
                <a:gd name="T20" fmla="*/ 74 w 149"/>
                <a:gd name="T21" fmla="*/ 9 h 149"/>
                <a:gd name="T22" fmla="*/ 140 w 149"/>
                <a:gd name="T23" fmla="*/ 75 h 149"/>
                <a:gd name="T24" fmla="*/ 74 w 149"/>
                <a:gd name="T25" fmla="*/ 140 h 149"/>
                <a:gd name="T26" fmla="*/ 9 w 149"/>
                <a:gd name="T27" fmla="*/ 75 h 149"/>
                <a:gd name="T28" fmla="*/ 74 w 149"/>
                <a:gd name="T29" fmla="*/ 9 h 149"/>
                <a:gd name="T30" fmla="*/ 74 w 149"/>
                <a:gd name="T31" fmla="*/ 0 h 149"/>
                <a:gd name="T32" fmla="*/ 0 w 149"/>
                <a:gd name="T33" fmla="*/ 75 h 149"/>
                <a:gd name="T34" fmla="*/ 74 w 149"/>
                <a:gd name="T35" fmla="*/ 149 h 149"/>
                <a:gd name="T36" fmla="*/ 149 w 149"/>
                <a:gd name="T37" fmla="*/ 75 h 149"/>
                <a:gd name="T38" fmla="*/ 74 w 149"/>
                <a:gd name="T3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9" h="149">
                  <a:moveTo>
                    <a:pt x="88" y="67"/>
                  </a:moveTo>
                  <a:cubicBezTo>
                    <a:pt x="65" y="46"/>
                    <a:pt x="65" y="46"/>
                    <a:pt x="65" y="46"/>
                  </a:cubicBezTo>
                  <a:cubicBezTo>
                    <a:pt x="84" y="46"/>
                    <a:pt x="84" y="46"/>
                    <a:pt x="84" y="46"/>
                  </a:cubicBezTo>
                  <a:cubicBezTo>
                    <a:pt x="115" y="75"/>
                    <a:pt x="115" y="75"/>
                    <a:pt x="115" y="75"/>
                  </a:cubicBezTo>
                  <a:cubicBezTo>
                    <a:pt x="84" y="104"/>
                    <a:pt x="84" y="104"/>
                    <a:pt x="84" y="104"/>
                  </a:cubicBezTo>
                  <a:cubicBezTo>
                    <a:pt x="65" y="104"/>
                    <a:pt x="65" y="104"/>
                    <a:pt x="65" y="104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6" y="67"/>
                    <a:pt x="36" y="67"/>
                    <a:pt x="36" y="67"/>
                  </a:cubicBezTo>
                  <a:lnTo>
                    <a:pt x="88" y="67"/>
                  </a:lnTo>
                  <a:close/>
                  <a:moveTo>
                    <a:pt x="74" y="9"/>
                  </a:moveTo>
                  <a:cubicBezTo>
                    <a:pt x="110" y="9"/>
                    <a:pt x="140" y="39"/>
                    <a:pt x="140" y="75"/>
                  </a:cubicBezTo>
                  <a:cubicBezTo>
                    <a:pt x="140" y="111"/>
                    <a:pt x="110" y="140"/>
                    <a:pt x="74" y="140"/>
                  </a:cubicBezTo>
                  <a:cubicBezTo>
                    <a:pt x="38" y="140"/>
                    <a:pt x="9" y="111"/>
                    <a:pt x="9" y="75"/>
                  </a:cubicBezTo>
                  <a:cubicBezTo>
                    <a:pt x="9" y="39"/>
                    <a:pt x="38" y="9"/>
                    <a:pt x="74" y="9"/>
                  </a:cubicBezTo>
                  <a:moveTo>
                    <a:pt x="74" y="0"/>
                  </a:moveTo>
                  <a:cubicBezTo>
                    <a:pt x="33" y="0"/>
                    <a:pt x="0" y="33"/>
                    <a:pt x="0" y="75"/>
                  </a:cubicBezTo>
                  <a:cubicBezTo>
                    <a:pt x="0" y="116"/>
                    <a:pt x="33" y="149"/>
                    <a:pt x="74" y="149"/>
                  </a:cubicBezTo>
                  <a:cubicBezTo>
                    <a:pt x="116" y="149"/>
                    <a:pt x="149" y="116"/>
                    <a:pt x="149" y="75"/>
                  </a:cubicBezTo>
                  <a:cubicBezTo>
                    <a:pt x="149" y="33"/>
                    <a:pt x="116" y="0"/>
                    <a:pt x="74" y="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8" tIns="34293" rIns="68588" bIns="34293" numCol="1" anchor="t" anchorCtr="0" compatLnSpc="1">
              <a:prstTxWarp prst="textNoShape">
                <a:avLst/>
              </a:prstTxWarp>
            </a:bodyPr>
            <a:lstStyle/>
            <a:p>
              <a:endParaRPr lang="en-US" sz="1324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8575595" y="2180154"/>
            <a:ext cx="1714499" cy="1428749"/>
            <a:chOff x="9452300" y="2471927"/>
            <a:chExt cx="2286001" cy="1905001"/>
          </a:xfrm>
        </p:grpSpPr>
        <p:sp>
          <p:nvSpPr>
            <p:cNvPr id="21" name="Rectangle 20"/>
            <p:cNvSpPr/>
            <p:nvPr/>
          </p:nvSpPr>
          <p:spPr>
            <a:xfrm>
              <a:off x="9452301" y="2471927"/>
              <a:ext cx="2286000" cy="19050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 21"/>
            <p:cNvSpPr/>
            <p:nvPr/>
          </p:nvSpPr>
          <p:spPr>
            <a:xfrm>
              <a:off x="9452301" y="3672538"/>
              <a:ext cx="2286000" cy="704390"/>
            </a:xfrm>
            <a:prstGeom prst="rect">
              <a:avLst/>
            </a:prstGeom>
            <a:solidFill>
              <a:srgbClr val="DC3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9452300" y="3722086"/>
              <a:ext cx="2286001" cy="605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300"/>
                </a:spcAft>
              </a:pPr>
              <a:r>
                <a:rPr lang="en-US" sz="105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ee how Office has evolved </a:t>
              </a:r>
            </a:p>
            <a:p>
              <a:pPr>
                <a:spcAft>
                  <a:spcPts val="300"/>
                </a:spcAft>
              </a:pPr>
              <a:r>
                <a:rPr lang="en-US" sz="105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to be better than ever</a:t>
              </a:r>
            </a:p>
          </p:txBody>
        </p:sp>
        <p:grpSp>
          <p:nvGrpSpPr>
            <p:cNvPr id="24" name="Group 23"/>
            <p:cNvGrpSpPr/>
            <p:nvPr/>
          </p:nvGrpSpPr>
          <p:grpSpPr>
            <a:xfrm>
              <a:off x="9734843" y="2627959"/>
              <a:ext cx="1720916" cy="888548"/>
              <a:chOff x="9734843" y="2650825"/>
              <a:chExt cx="1720916" cy="888548"/>
            </a:xfrm>
          </p:grpSpPr>
          <p:sp>
            <p:nvSpPr>
              <p:cNvPr id="26" name="Rectangle 25"/>
              <p:cNvSpPr/>
              <p:nvPr/>
            </p:nvSpPr>
            <p:spPr>
              <a:xfrm>
                <a:off x="9734843" y="2650825"/>
                <a:ext cx="1720916" cy="36933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200" b="1" dirty="0">
                    <a:solidFill>
                      <a:schemeClr val="bg1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The History of</a:t>
                </a:r>
              </a:p>
            </p:txBody>
          </p:sp>
          <p:pic>
            <p:nvPicPr>
              <p:cNvPr id="27" name="Picture 26"/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820820" y="3059271"/>
                <a:ext cx="1548961" cy="480102"/>
              </a:xfrm>
              <a:prstGeom prst="rect">
                <a:avLst/>
              </a:prstGeom>
            </p:spPr>
          </p:pic>
        </p:grpSp>
        <p:sp>
          <p:nvSpPr>
            <p:cNvPr id="25" name="Freeform 9"/>
            <p:cNvSpPr>
              <a:spLocks noEditPoints="1"/>
            </p:cNvSpPr>
            <p:nvPr/>
          </p:nvSpPr>
          <p:spPr bwMode="black">
            <a:xfrm>
              <a:off x="11315336" y="4031826"/>
              <a:ext cx="280845" cy="280845"/>
            </a:xfrm>
            <a:custGeom>
              <a:avLst/>
              <a:gdLst>
                <a:gd name="T0" fmla="*/ 88 w 149"/>
                <a:gd name="T1" fmla="*/ 67 h 149"/>
                <a:gd name="T2" fmla="*/ 65 w 149"/>
                <a:gd name="T3" fmla="*/ 46 h 149"/>
                <a:gd name="T4" fmla="*/ 84 w 149"/>
                <a:gd name="T5" fmla="*/ 46 h 149"/>
                <a:gd name="T6" fmla="*/ 115 w 149"/>
                <a:gd name="T7" fmla="*/ 75 h 149"/>
                <a:gd name="T8" fmla="*/ 84 w 149"/>
                <a:gd name="T9" fmla="*/ 104 h 149"/>
                <a:gd name="T10" fmla="*/ 65 w 149"/>
                <a:gd name="T11" fmla="*/ 104 h 149"/>
                <a:gd name="T12" fmla="*/ 88 w 149"/>
                <a:gd name="T13" fmla="*/ 82 h 149"/>
                <a:gd name="T14" fmla="*/ 36 w 149"/>
                <a:gd name="T15" fmla="*/ 82 h 149"/>
                <a:gd name="T16" fmla="*/ 36 w 149"/>
                <a:gd name="T17" fmla="*/ 67 h 149"/>
                <a:gd name="T18" fmla="*/ 88 w 149"/>
                <a:gd name="T19" fmla="*/ 67 h 149"/>
                <a:gd name="T20" fmla="*/ 74 w 149"/>
                <a:gd name="T21" fmla="*/ 9 h 149"/>
                <a:gd name="T22" fmla="*/ 140 w 149"/>
                <a:gd name="T23" fmla="*/ 75 h 149"/>
                <a:gd name="T24" fmla="*/ 74 w 149"/>
                <a:gd name="T25" fmla="*/ 140 h 149"/>
                <a:gd name="T26" fmla="*/ 9 w 149"/>
                <a:gd name="T27" fmla="*/ 75 h 149"/>
                <a:gd name="T28" fmla="*/ 74 w 149"/>
                <a:gd name="T29" fmla="*/ 9 h 149"/>
                <a:gd name="T30" fmla="*/ 74 w 149"/>
                <a:gd name="T31" fmla="*/ 0 h 149"/>
                <a:gd name="T32" fmla="*/ 0 w 149"/>
                <a:gd name="T33" fmla="*/ 75 h 149"/>
                <a:gd name="T34" fmla="*/ 74 w 149"/>
                <a:gd name="T35" fmla="*/ 149 h 149"/>
                <a:gd name="T36" fmla="*/ 149 w 149"/>
                <a:gd name="T37" fmla="*/ 75 h 149"/>
                <a:gd name="T38" fmla="*/ 74 w 149"/>
                <a:gd name="T3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9" h="149">
                  <a:moveTo>
                    <a:pt x="88" y="67"/>
                  </a:moveTo>
                  <a:cubicBezTo>
                    <a:pt x="65" y="46"/>
                    <a:pt x="65" y="46"/>
                    <a:pt x="65" y="46"/>
                  </a:cubicBezTo>
                  <a:cubicBezTo>
                    <a:pt x="84" y="46"/>
                    <a:pt x="84" y="46"/>
                    <a:pt x="84" y="46"/>
                  </a:cubicBezTo>
                  <a:cubicBezTo>
                    <a:pt x="115" y="75"/>
                    <a:pt x="115" y="75"/>
                    <a:pt x="115" y="75"/>
                  </a:cubicBezTo>
                  <a:cubicBezTo>
                    <a:pt x="84" y="104"/>
                    <a:pt x="84" y="104"/>
                    <a:pt x="84" y="104"/>
                  </a:cubicBezTo>
                  <a:cubicBezTo>
                    <a:pt x="65" y="104"/>
                    <a:pt x="65" y="104"/>
                    <a:pt x="65" y="104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6" y="67"/>
                    <a:pt x="36" y="67"/>
                    <a:pt x="36" y="67"/>
                  </a:cubicBezTo>
                  <a:lnTo>
                    <a:pt x="88" y="67"/>
                  </a:lnTo>
                  <a:close/>
                  <a:moveTo>
                    <a:pt x="74" y="9"/>
                  </a:moveTo>
                  <a:cubicBezTo>
                    <a:pt x="110" y="9"/>
                    <a:pt x="140" y="39"/>
                    <a:pt x="140" y="75"/>
                  </a:cubicBezTo>
                  <a:cubicBezTo>
                    <a:pt x="140" y="111"/>
                    <a:pt x="110" y="140"/>
                    <a:pt x="74" y="140"/>
                  </a:cubicBezTo>
                  <a:cubicBezTo>
                    <a:pt x="38" y="140"/>
                    <a:pt x="9" y="111"/>
                    <a:pt x="9" y="75"/>
                  </a:cubicBezTo>
                  <a:cubicBezTo>
                    <a:pt x="9" y="39"/>
                    <a:pt x="38" y="9"/>
                    <a:pt x="74" y="9"/>
                  </a:cubicBezTo>
                  <a:moveTo>
                    <a:pt x="74" y="0"/>
                  </a:moveTo>
                  <a:cubicBezTo>
                    <a:pt x="33" y="0"/>
                    <a:pt x="0" y="33"/>
                    <a:pt x="0" y="75"/>
                  </a:cubicBezTo>
                  <a:cubicBezTo>
                    <a:pt x="0" y="116"/>
                    <a:pt x="33" y="149"/>
                    <a:pt x="74" y="149"/>
                  </a:cubicBezTo>
                  <a:cubicBezTo>
                    <a:pt x="116" y="149"/>
                    <a:pt x="149" y="116"/>
                    <a:pt x="149" y="75"/>
                  </a:cubicBezTo>
                  <a:cubicBezTo>
                    <a:pt x="149" y="33"/>
                    <a:pt x="116" y="0"/>
                    <a:pt x="74" y="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8" tIns="34293" rIns="68588" bIns="34293" numCol="1" anchor="t" anchorCtr="0" compatLnSpc="1">
              <a:prstTxWarp prst="textNoShape">
                <a:avLst/>
              </a:prstTxWarp>
            </a:bodyPr>
            <a:lstStyle/>
            <a:p>
              <a:endParaRPr lang="en-US" sz="1324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7573241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0" name="Group 239"/>
          <p:cNvGrpSpPr/>
          <p:nvPr/>
        </p:nvGrpSpPr>
        <p:grpSpPr>
          <a:xfrm>
            <a:off x="1688841" y="1408922"/>
            <a:ext cx="6667500" cy="1562099"/>
            <a:chOff x="1688841" y="1408922"/>
            <a:chExt cx="6667500" cy="1562099"/>
          </a:xfrm>
        </p:grpSpPr>
        <p:sp>
          <p:nvSpPr>
            <p:cNvPr id="3" name="Rectangle 2"/>
            <p:cNvSpPr/>
            <p:nvPr/>
          </p:nvSpPr>
          <p:spPr>
            <a:xfrm>
              <a:off x="1688841" y="1408922"/>
              <a:ext cx="6667500" cy="155359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Rectangle 3"/>
            <p:cNvSpPr/>
            <p:nvPr/>
          </p:nvSpPr>
          <p:spPr>
            <a:xfrm>
              <a:off x="4187834" y="1408922"/>
              <a:ext cx="4167050" cy="1562099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4418773" y="1790466"/>
              <a:ext cx="3936112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b="1" dirty="0" smtClean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eady-to-Go Marketing Web Content</a:t>
              </a:r>
              <a:endParaRPr lang="en-US" sz="1600" b="1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239" name="Group 238"/>
            <p:cNvGrpSpPr/>
            <p:nvPr/>
          </p:nvGrpSpPr>
          <p:grpSpPr>
            <a:xfrm>
              <a:off x="2085879" y="1500956"/>
              <a:ext cx="1704917" cy="1369523"/>
              <a:chOff x="1689100" y="3559175"/>
              <a:chExt cx="2808288" cy="2255838"/>
            </a:xfrm>
          </p:grpSpPr>
          <p:grpSp>
            <p:nvGrpSpPr>
              <p:cNvPr id="178" name="Group 4"/>
              <p:cNvGrpSpPr>
                <a:grpSpLocks noChangeAspect="1"/>
              </p:cNvGrpSpPr>
              <p:nvPr/>
            </p:nvGrpSpPr>
            <p:grpSpPr bwMode="auto">
              <a:xfrm>
                <a:off x="1689100" y="3559175"/>
                <a:ext cx="2808288" cy="2255838"/>
                <a:chOff x="1064" y="2242"/>
                <a:chExt cx="1769" cy="1421"/>
              </a:xfrm>
            </p:grpSpPr>
            <p:sp>
              <p:nvSpPr>
                <p:cNvPr id="179" name="AutoShape 3"/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1064" y="2242"/>
                  <a:ext cx="1769" cy="14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Rectangle 5"/>
                <p:cNvSpPr>
                  <a:spLocks noChangeArrowheads="1"/>
                </p:cNvSpPr>
                <p:nvPr/>
              </p:nvSpPr>
              <p:spPr bwMode="auto">
                <a:xfrm>
                  <a:off x="1820" y="3396"/>
                  <a:ext cx="251" cy="247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Rectangle 6"/>
                <p:cNvSpPr>
                  <a:spLocks noChangeArrowheads="1"/>
                </p:cNvSpPr>
                <p:nvPr/>
              </p:nvSpPr>
              <p:spPr bwMode="auto">
                <a:xfrm>
                  <a:off x="1551" y="3623"/>
                  <a:ext cx="789" cy="37"/>
                </a:xfrm>
                <a:prstGeom prst="rect">
                  <a:avLst/>
                </a:prstGeom>
                <a:solidFill>
                  <a:srgbClr val="33333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7"/>
                <p:cNvSpPr>
                  <a:spLocks/>
                </p:cNvSpPr>
                <p:nvPr/>
              </p:nvSpPr>
              <p:spPr bwMode="auto">
                <a:xfrm>
                  <a:off x="1064" y="2398"/>
                  <a:ext cx="1769" cy="1055"/>
                </a:xfrm>
                <a:custGeom>
                  <a:avLst/>
                  <a:gdLst>
                    <a:gd name="T0" fmla="*/ 625 w 625"/>
                    <a:gd name="T1" fmla="*/ 352 h 372"/>
                    <a:gd name="T2" fmla="*/ 604 w 625"/>
                    <a:gd name="T3" fmla="*/ 372 h 372"/>
                    <a:gd name="T4" fmla="*/ 20 w 625"/>
                    <a:gd name="T5" fmla="*/ 372 h 372"/>
                    <a:gd name="T6" fmla="*/ 0 w 625"/>
                    <a:gd name="T7" fmla="*/ 352 h 372"/>
                    <a:gd name="T8" fmla="*/ 0 w 625"/>
                    <a:gd name="T9" fmla="*/ 20 h 372"/>
                    <a:gd name="T10" fmla="*/ 20 w 625"/>
                    <a:gd name="T11" fmla="*/ 0 h 372"/>
                    <a:gd name="T12" fmla="*/ 604 w 625"/>
                    <a:gd name="T13" fmla="*/ 0 h 372"/>
                    <a:gd name="T14" fmla="*/ 625 w 625"/>
                    <a:gd name="T15" fmla="*/ 20 h 372"/>
                    <a:gd name="T16" fmla="*/ 625 w 625"/>
                    <a:gd name="T17" fmla="*/ 352 h 3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25" h="372">
                      <a:moveTo>
                        <a:pt x="625" y="352"/>
                      </a:moveTo>
                      <a:cubicBezTo>
                        <a:pt x="625" y="363"/>
                        <a:pt x="616" y="372"/>
                        <a:pt x="604" y="372"/>
                      </a:cubicBezTo>
                      <a:cubicBezTo>
                        <a:pt x="20" y="372"/>
                        <a:pt x="20" y="372"/>
                        <a:pt x="20" y="372"/>
                      </a:cubicBezTo>
                      <a:cubicBezTo>
                        <a:pt x="9" y="372"/>
                        <a:pt x="0" y="363"/>
                        <a:pt x="0" y="352"/>
                      </a:cubicBezTo>
                      <a:cubicBezTo>
                        <a:pt x="0" y="20"/>
                        <a:pt x="0" y="20"/>
                        <a:pt x="0" y="20"/>
                      </a:cubicBezTo>
                      <a:cubicBezTo>
                        <a:pt x="0" y="9"/>
                        <a:pt x="9" y="0"/>
                        <a:pt x="20" y="0"/>
                      </a:cubicBezTo>
                      <a:cubicBezTo>
                        <a:pt x="604" y="0"/>
                        <a:pt x="604" y="0"/>
                        <a:pt x="604" y="0"/>
                      </a:cubicBezTo>
                      <a:cubicBezTo>
                        <a:pt x="616" y="0"/>
                        <a:pt x="625" y="9"/>
                        <a:pt x="625" y="20"/>
                      </a:cubicBezTo>
                      <a:cubicBezTo>
                        <a:pt x="625" y="352"/>
                        <a:pt x="625" y="352"/>
                        <a:pt x="625" y="352"/>
                      </a:cubicBezTo>
                    </a:path>
                  </a:pathLst>
                </a:custGeom>
                <a:solidFill>
                  <a:srgbClr val="33333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8"/>
                <p:cNvSpPr>
                  <a:spLocks/>
                </p:cNvSpPr>
                <p:nvPr/>
              </p:nvSpPr>
              <p:spPr bwMode="auto">
                <a:xfrm>
                  <a:off x="1112" y="2446"/>
                  <a:ext cx="1664" cy="919"/>
                </a:xfrm>
                <a:custGeom>
                  <a:avLst/>
                  <a:gdLst>
                    <a:gd name="T0" fmla="*/ 588 w 588"/>
                    <a:gd name="T1" fmla="*/ 315 h 324"/>
                    <a:gd name="T2" fmla="*/ 580 w 588"/>
                    <a:gd name="T3" fmla="*/ 324 h 324"/>
                    <a:gd name="T4" fmla="*/ 9 w 588"/>
                    <a:gd name="T5" fmla="*/ 324 h 324"/>
                    <a:gd name="T6" fmla="*/ 0 w 588"/>
                    <a:gd name="T7" fmla="*/ 315 h 324"/>
                    <a:gd name="T8" fmla="*/ 0 w 588"/>
                    <a:gd name="T9" fmla="*/ 8 h 324"/>
                    <a:gd name="T10" fmla="*/ 9 w 588"/>
                    <a:gd name="T11" fmla="*/ 0 h 324"/>
                    <a:gd name="T12" fmla="*/ 580 w 588"/>
                    <a:gd name="T13" fmla="*/ 0 h 324"/>
                    <a:gd name="T14" fmla="*/ 588 w 588"/>
                    <a:gd name="T15" fmla="*/ 8 h 324"/>
                    <a:gd name="T16" fmla="*/ 588 w 588"/>
                    <a:gd name="T17" fmla="*/ 315 h 3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88" h="324">
                      <a:moveTo>
                        <a:pt x="588" y="315"/>
                      </a:moveTo>
                      <a:cubicBezTo>
                        <a:pt x="588" y="320"/>
                        <a:pt x="584" y="324"/>
                        <a:pt x="580" y="324"/>
                      </a:cubicBezTo>
                      <a:cubicBezTo>
                        <a:pt x="9" y="324"/>
                        <a:pt x="9" y="324"/>
                        <a:pt x="9" y="324"/>
                      </a:cubicBezTo>
                      <a:cubicBezTo>
                        <a:pt x="4" y="324"/>
                        <a:pt x="0" y="320"/>
                        <a:pt x="0" y="315"/>
                      </a:cubicBezTo>
                      <a:cubicBezTo>
                        <a:pt x="0" y="8"/>
                        <a:pt x="0" y="8"/>
                        <a:pt x="0" y="8"/>
                      </a:cubicBezTo>
                      <a:cubicBezTo>
                        <a:pt x="0" y="3"/>
                        <a:pt x="4" y="0"/>
                        <a:pt x="9" y="0"/>
                      </a:cubicBezTo>
                      <a:cubicBezTo>
                        <a:pt x="580" y="0"/>
                        <a:pt x="580" y="0"/>
                        <a:pt x="580" y="0"/>
                      </a:cubicBezTo>
                      <a:cubicBezTo>
                        <a:pt x="584" y="0"/>
                        <a:pt x="588" y="3"/>
                        <a:pt x="588" y="8"/>
                      </a:cubicBezTo>
                      <a:cubicBezTo>
                        <a:pt x="588" y="315"/>
                        <a:pt x="588" y="315"/>
                        <a:pt x="588" y="315"/>
                      </a:cubicBezTo>
                    </a:path>
                  </a:pathLst>
                </a:cu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Rectangle 9"/>
                <p:cNvSpPr>
                  <a:spLocks noChangeArrowheads="1"/>
                </p:cNvSpPr>
                <p:nvPr/>
              </p:nvSpPr>
              <p:spPr bwMode="auto">
                <a:xfrm>
                  <a:off x="1254" y="2591"/>
                  <a:ext cx="311" cy="601"/>
                </a:xfrm>
                <a:prstGeom prst="rect">
                  <a:avLst/>
                </a:prstGeom>
                <a:solidFill>
                  <a:srgbClr val="7FBA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Rectangle 10"/>
                <p:cNvSpPr>
                  <a:spLocks noChangeArrowheads="1"/>
                </p:cNvSpPr>
                <p:nvPr/>
              </p:nvSpPr>
              <p:spPr bwMode="auto">
                <a:xfrm>
                  <a:off x="1590" y="2591"/>
                  <a:ext cx="730" cy="601"/>
                </a:xfrm>
                <a:prstGeom prst="rect">
                  <a:avLst/>
                </a:prstGeom>
                <a:solidFill>
                  <a:srgbClr val="73737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Rectangle 11"/>
                <p:cNvSpPr>
                  <a:spLocks noChangeArrowheads="1"/>
                </p:cNvSpPr>
                <p:nvPr/>
              </p:nvSpPr>
              <p:spPr bwMode="auto">
                <a:xfrm>
                  <a:off x="1590" y="2591"/>
                  <a:ext cx="730" cy="60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Rectangle 12"/>
                <p:cNvSpPr>
                  <a:spLocks noChangeArrowheads="1"/>
                </p:cNvSpPr>
                <p:nvPr/>
              </p:nvSpPr>
              <p:spPr bwMode="auto">
                <a:xfrm>
                  <a:off x="2343" y="2591"/>
                  <a:ext cx="286" cy="133"/>
                </a:xfrm>
                <a:prstGeom prst="rect">
                  <a:avLst/>
                </a:prstGeom>
                <a:solidFill>
                  <a:srgbClr val="33333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Rectangle 13"/>
                <p:cNvSpPr>
                  <a:spLocks noChangeArrowheads="1"/>
                </p:cNvSpPr>
                <p:nvPr/>
              </p:nvSpPr>
              <p:spPr bwMode="auto">
                <a:xfrm>
                  <a:off x="2343" y="2747"/>
                  <a:ext cx="286" cy="133"/>
                </a:xfrm>
                <a:prstGeom prst="rect">
                  <a:avLst/>
                </a:prstGeom>
                <a:solidFill>
                  <a:srgbClr val="33333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Rectangle 14"/>
                <p:cNvSpPr>
                  <a:spLocks noChangeArrowheads="1"/>
                </p:cNvSpPr>
                <p:nvPr/>
              </p:nvSpPr>
              <p:spPr bwMode="auto">
                <a:xfrm>
                  <a:off x="2343" y="2747"/>
                  <a:ext cx="286" cy="13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Rectangle 15"/>
                <p:cNvSpPr>
                  <a:spLocks noChangeArrowheads="1"/>
                </p:cNvSpPr>
                <p:nvPr/>
              </p:nvSpPr>
              <p:spPr bwMode="auto">
                <a:xfrm>
                  <a:off x="2343" y="2903"/>
                  <a:ext cx="286" cy="133"/>
                </a:xfrm>
                <a:prstGeom prst="rect">
                  <a:avLst/>
                </a:prstGeom>
                <a:solidFill>
                  <a:srgbClr val="33333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Rectangle 16"/>
                <p:cNvSpPr>
                  <a:spLocks noChangeArrowheads="1"/>
                </p:cNvSpPr>
                <p:nvPr/>
              </p:nvSpPr>
              <p:spPr bwMode="auto">
                <a:xfrm>
                  <a:off x="2343" y="2903"/>
                  <a:ext cx="286" cy="13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Rectangle 17"/>
                <p:cNvSpPr>
                  <a:spLocks noChangeArrowheads="1"/>
                </p:cNvSpPr>
                <p:nvPr/>
              </p:nvSpPr>
              <p:spPr bwMode="auto">
                <a:xfrm>
                  <a:off x="2343" y="3062"/>
                  <a:ext cx="286" cy="130"/>
                </a:xfrm>
                <a:prstGeom prst="rect">
                  <a:avLst/>
                </a:prstGeom>
                <a:solidFill>
                  <a:srgbClr val="33333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Rectangle 18"/>
                <p:cNvSpPr>
                  <a:spLocks noChangeArrowheads="1"/>
                </p:cNvSpPr>
                <p:nvPr/>
              </p:nvSpPr>
              <p:spPr bwMode="auto">
                <a:xfrm>
                  <a:off x="2343" y="3062"/>
                  <a:ext cx="286" cy="13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19"/>
                <p:cNvSpPr>
                  <a:spLocks/>
                </p:cNvSpPr>
                <p:nvPr/>
              </p:nvSpPr>
              <p:spPr bwMode="auto">
                <a:xfrm>
                  <a:off x="1254" y="3249"/>
                  <a:ext cx="1375" cy="45"/>
                </a:xfrm>
                <a:custGeom>
                  <a:avLst/>
                  <a:gdLst>
                    <a:gd name="T0" fmla="*/ 486 w 486"/>
                    <a:gd name="T1" fmla="*/ 8 h 16"/>
                    <a:gd name="T2" fmla="*/ 478 w 486"/>
                    <a:gd name="T3" fmla="*/ 16 h 16"/>
                    <a:gd name="T4" fmla="*/ 8 w 486"/>
                    <a:gd name="T5" fmla="*/ 16 h 16"/>
                    <a:gd name="T6" fmla="*/ 0 w 486"/>
                    <a:gd name="T7" fmla="*/ 8 h 16"/>
                    <a:gd name="T8" fmla="*/ 8 w 486"/>
                    <a:gd name="T9" fmla="*/ 0 h 16"/>
                    <a:gd name="T10" fmla="*/ 478 w 486"/>
                    <a:gd name="T11" fmla="*/ 0 h 16"/>
                    <a:gd name="T12" fmla="*/ 486 w 486"/>
                    <a:gd name="T13" fmla="*/ 8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86" h="16">
                      <a:moveTo>
                        <a:pt x="486" y="8"/>
                      </a:moveTo>
                      <a:cubicBezTo>
                        <a:pt x="486" y="13"/>
                        <a:pt x="482" y="16"/>
                        <a:pt x="478" y="16"/>
                      </a:cubicBezTo>
                      <a:cubicBezTo>
                        <a:pt x="8" y="16"/>
                        <a:pt x="8" y="16"/>
                        <a:pt x="8" y="16"/>
                      </a:cubicBezTo>
                      <a:cubicBezTo>
                        <a:pt x="4" y="16"/>
                        <a:pt x="0" y="13"/>
                        <a:pt x="0" y="8"/>
                      </a:cubicBezTo>
                      <a:cubicBezTo>
                        <a:pt x="0" y="4"/>
                        <a:pt x="4" y="0"/>
                        <a:pt x="8" y="0"/>
                      </a:cubicBezTo>
                      <a:cubicBezTo>
                        <a:pt x="478" y="0"/>
                        <a:pt x="478" y="0"/>
                        <a:pt x="478" y="0"/>
                      </a:cubicBezTo>
                      <a:cubicBezTo>
                        <a:pt x="482" y="0"/>
                        <a:pt x="486" y="4"/>
                        <a:pt x="486" y="8"/>
                      </a:cubicBezTo>
                    </a:path>
                  </a:pathLst>
                </a:custGeom>
                <a:solidFill>
                  <a:srgbClr val="AFAFA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20"/>
                <p:cNvSpPr>
                  <a:spLocks/>
                </p:cNvSpPr>
                <p:nvPr/>
              </p:nvSpPr>
              <p:spPr bwMode="auto">
                <a:xfrm>
                  <a:off x="1389" y="2710"/>
                  <a:ext cx="51" cy="76"/>
                </a:xfrm>
                <a:custGeom>
                  <a:avLst/>
                  <a:gdLst>
                    <a:gd name="T0" fmla="*/ 51 w 51"/>
                    <a:gd name="T1" fmla="*/ 37 h 76"/>
                    <a:gd name="T2" fmla="*/ 0 w 51"/>
                    <a:gd name="T3" fmla="*/ 0 h 76"/>
                    <a:gd name="T4" fmla="*/ 0 w 51"/>
                    <a:gd name="T5" fmla="*/ 76 h 76"/>
                    <a:gd name="T6" fmla="*/ 51 w 51"/>
                    <a:gd name="T7" fmla="*/ 37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1" h="76">
                      <a:moveTo>
                        <a:pt x="51" y="37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51" y="37"/>
                      </a:lnTo>
                      <a:close/>
                    </a:path>
                  </a:pathLst>
                </a:custGeom>
                <a:solidFill>
                  <a:srgbClr val="EEEEE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21"/>
                <p:cNvSpPr>
                  <a:spLocks noEditPoints="1"/>
                </p:cNvSpPr>
                <p:nvPr/>
              </p:nvSpPr>
              <p:spPr bwMode="auto">
                <a:xfrm>
                  <a:off x="1316" y="2653"/>
                  <a:ext cx="187" cy="190"/>
                </a:xfrm>
                <a:custGeom>
                  <a:avLst/>
                  <a:gdLst>
                    <a:gd name="T0" fmla="*/ 33 w 66"/>
                    <a:gd name="T1" fmla="*/ 62 h 67"/>
                    <a:gd name="T2" fmla="*/ 62 w 66"/>
                    <a:gd name="T3" fmla="*/ 33 h 67"/>
                    <a:gd name="T4" fmla="*/ 33 w 66"/>
                    <a:gd name="T5" fmla="*/ 4 h 67"/>
                    <a:gd name="T6" fmla="*/ 4 w 66"/>
                    <a:gd name="T7" fmla="*/ 33 h 67"/>
                    <a:gd name="T8" fmla="*/ 33 w 66"/>
                    <a:gd name="T9" fmla="*/ 62 h 67"/>
                    <a:gd name="T10" fmla="*/ 33 w 66"/>
                    <a:gd name="T11" fmla="*/ 67 h 67"/>
                    <a:gd name="T12" fmla="*/ 0 w 66"/>
                    <a:gd name="T13" fmla="*/ 33 h 67"/>
                    <a:gd name="T14" fmla="*/ 33 w 66"/>
                    <a:gd name="T15" fmla="*/ 0 h 67"/>
                    <a:gd name="T16" fmla="*/ 66 w 66"/>
                    <a:gd name="T17" fmla="*/ 33 h 67"/>
                    <a:gd name="T18" fmla="*/ 33 w 66"/>
                    <a:gd name="T19" fmla="*/ 67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6" h="67">
                      <a:moveTo>
                        <a:pt x="33" y="62"/>
                      </a:moveTo>
                      <a:cubicBezTo>
                        <a:pt x="49" y="62"/>
                        <a:pt x="62" y="49"/>
                        <a:pt x="62" y="33"/>
                      </a:cubicBezTo>
                      <a:cubicBezTo>
                        <a:pt x="62" y="17"/>
                        <a:pt x="49" y="4"/>
                        <a:pt x="33" y="4"/>
                      </a:cubicBezTo>
                      <a:cubicBezTo>
                        <a:pt x="17" y="4"/>
                        <a:pt x="4" y="17"/>
                        <a:pt x="4" y="33"/>
                      </a:cubicBezTo>
                      <a:cubicBezTo>
                        <a:pt x="4" y="49"/>
                        <a:pt x="17" y="62"/>
                        <a:pt x="33" y="62"/>
                      </a:cubicBezTo>
                      <a:moveTo>
                        <a:pt x="33" y="67"/>
                      </a:moveTo>
                      <a:cubicBezTo>
                        <a:pt x="15" y="67"/>
                        <a:pt x="0" y="52"/>
                        <a:pt x="0" y="33"/>
                      </a:cubicBezTo>
                      <a:cubicBezTo>
                        <a:pt x="0" y="15"/>
                        <a:pt x="15" y="0"/>
                        <a:pt x="33" y="0"/>
                      </a:cubicBezTo>
                      <a:cubicBezTo>
                        <a:pt x="51" y="0"/>
                        <a:pt x="66" y="15"/>
                        <a:pt x="66" y="33"/>
                      </a:cubicBezTo>
                      <a:cubicBezTo>
                        <a:pt x="66" y="52"/>
                        <a:pt x="51" y="67"/>
                        <a:pt x="33" y="67"/>
                      </a:cubicBezTo>
                    </a:path>
                  </a:pathLst>
                </a:custGeom>
                <a:solidFill>
                  <a:srgbClr val="EEEEE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Rectangle 22"/>
                <p:cNvSpPr>
                  <a:spLocks noChangeArrowheads="1"/>
                </p:cNvSpPr>
                <p:nvPr/>
              </p:nvSpPr>
              <p:spPr bwMode="auto">
                <a:xfrm>
                  <a:off x="1172" y="2503"/>
                  <a:ext cx="147" cy="31"/>
                </a:xfrm>
                <a:prstGeom prst="rect">
                  <a:avLst/>
                </a:prstGeom>
                <a:solidFill>
                  <a:srgbClr val="EEEEE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Rectangle 23"/>
                <p:cNvSpPr>
                  <a:spLocks noChangeArrowheads="1"/>
                </p:cNvSpPr>
                <p:nvPr/>
              </p:nvSpPr>
              <p:spPr bwMode="auto">
                <a:xfrm>
                  <a:off x="1370" y="2503"/>
                  <a:ext cx="150" cy="31"/>
                </a:xfrm>
                <a:prstGeom prst="rect">
                  <a:avLst/>
                </a:prstGeom>
                <a:solidFill>
                  <a:srgbClr val="7FBA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Rectangle 24"/>
                <p:cNvSpPr>
                  <a:spLocks noChangeArrowheads="1"/>
                </p:cNvSpPr>
                <p:nvPr/>
              </p:nvSpPr>
              <p:spPr bwMode="auto">
                <a:xfrm>
                  <a:off x="1571" y="2503"/>
                  <a:ext cx="150" cy="31"/>
                </a:xfrm>
                <a:prstGeom prst="rect">
                  <a:avLst/>
                </a:prstGeom>
                <a:solidFill>
                  <a:srgbClr val="EEEEE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Rectangle 25"/>
                <p:cNvSpPr>
                  <a:spLocks noChangeArrowheads="1"/>
                </p:cNvSpPr>
                <p:nvPr/>
              </p:nvSpPr>
              <p:spPr bwMode="auto">
                <a:xfrm>
                  <a:off x="1571" y="2503"/>
                  <a:ext cx="150" cy="3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Rectangle 26"/>
                <p:cNvSpPr>
                  <a:spLocks noChangeArrowheads="1"/>
                </p:cNvSpPr>
                <p:nvPr/>
              </p:nvSpPr>
              <p:spPr bwMode="auto">
                <a:xfrm>
                  <a:off x="1771" y="2503"/>
                  <a:ext cx="150" cy="31"/>
                </a:xfrm>
                <a:prstGeom prst="rect">
                  <a:avLst/>
                </a:prstGeom>
                <a:solidFill>
                  <a:srgbClr val="EEEEE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Rectangle 27"/>
                <p:cNvSpPr>
                  <a:spLocks noChangeArrowheads="1"/>
                </p:cNvSpPr>
                <p:nvPr/>
              </p:nvSpPr>
              <p:spPr bwMode="auto">
                <a:xfrm>
                  <a:off x="1771" y="2503"/>
                  <a:ext cx="150" cy="3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Rectangle 28"/>
                <p:cNvSpPr>
                  <a:spLocks noChangeArrowheads="1"/>
                </p:cNvSpPr>
                <p:nvPr/>
              </p:nvSpPr>
              <p:spPr bwMode="auto">
                <a:xfrm>
                  <a:off x="1972" y="2503"/>
                  <a:ext cx="150" cy="31"/>
                </a:xfrm>
                <a:prstGeom prst="rect">
                  <a:avLst/>
                </a:prstGeom>
                <a:solidFill>
                  <a:srgbClr val="EEEEE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Rectangle 29"/>
                <p:cNvSpPr>
                  <a:spLocks noChangeArrowheads="1"/>
                </p:cNvSpPr>
                <p:nvPr/>
              </p:nvSpPr>
              <p:spPr bwMode="auto">
                <a:xfrm>
                  <a:off x="1972" y="2503"/>
                  <a:ext cx="150" cy="3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Rectangle 30"/>
                <p:cNvSpPr>
                  <a:spLocks noChangeArrowheads="1"/>
                </p:cNvSpPr>
                <p:nvPr/>
              </p:nvSpPr>
              <p:spPr bwMode="auto">
                <a:xfrm>
                  <a:off x="2173" y="2503"/>
                  <a:ext cx="150" cy="31"/>
                </a:xfrm>
                <a:prstGeom prst="rect">
                  <a:avLst/>
                </a:prstGeom>
                <a:solidFill>
                  <a:srgbClr val="EEEEE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Rectangle 31"/>
                <p:cNvSpPr>
                  <a:spLocks noChangeArrowheads="1"/>
                </p:cNvSpPr>
                <p:nvPr/>
              </p:nvSpPr>
              <p:spPr bwMode="auto">
                <a:xfrm>
                  <a:off x="2374" y="2503"/>
                  <a:ext cx="147" cy="31"/>
                </a:xfrm>
                <a:prstGeom prst="rect">
                  <a:avLst/>
                </a:prstGeom>
                <a:solidFill>
                  <a:srgbClr val="EEEEE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Rectangle 32"/>
                <p:cNvSpPr>
                  <a:spLocks noChangeArrowheads="1"/>
                </p:cNvSpPr>
                <p:nvPr/>
              </p:nvSpPr>
              <p:spPr bwMode="auto">
                <a:xfrm>
                  <a:off x="2575" y="2503"/>
                  <a:ext cx="147" cy="31"/>
                </a:xfrm>
                <a:prstGeom prst="rect">
                  <a:avLst/>
                </a:prstGeom>
                <a:solidFill>
                  <a:srgbClr val="EEEEE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33"/>
                <p:cNvSpPr>
                  <a:spLocks noEditPoints="1"/>
                </p:cNvSpPr>
                <p:nvPr/>
              </p:nvSpPr>
              <p:spPr bwMode="auto">
                <a:xfrm>
                  <a:off x="1542" y="2398"/>
                  <a:ext cx="1291" cy="1055"/>
                </a:xfrm>
                <a:custGeom>
                  <a:avLst/>
                  <a:gdLst>
                    <a:gd name="T0" fmla="*/ 436 w 456"/>
                    <a:gd name="T1" fmla="*/ 297 h 372"/>
                    <a:gd name="T2" fmla="*/ 436 w 456"/>
                    <a:gd name="T3" fmla="*/ 332 h 372"/>
                    <a:gd name="T4" fmla="*/ 428 w 456"/>
                    <a:gd name="T5" fmla="*/ 341 h 372"/>
                    <a:gd name="T6" fmla="*/ 341 w 456"/>
                    <a:gd name="T7" fmla="*/ 341 h 372"/>
                    <a:gd name="T8" fmla="*/ 372 w 456"/>
                    <a:gd name="T9" fmla="*/ 372 h 372"/>
                    <a:gd name="T10" fmla="*/ 435 w 456"/>
                    <a:gd name="T11" fmla="*/ 372 h 372"/>
                    <a:gd name="T12" fmla="*/ 456 w 456"/>
                    <a:gd name="T13" fmla="*/ 352 h 372"/>
                    <a:gd name="T14" fmla="*/ 456 w 456"/>
                    <a:gd name="T15" fmla="*/ 316 h 372"/>
                    <a:gd name="T16" fmla="*/ 436 w 456"/>
                    <a:gd name="T17" fmla="*/ 297 h 372"/>
                    <a:gd name="T18" fmla="*/ 139 w 456"/>
                    <a:gd name="T19" fmla="*/ 0 h 372"/>
                    <a:gd name="T20" fmla="*/ 0 w 456"/>
                    <a:gd name="T21" fmla="*/ 0 h 372"/>
                    <a:gd name="T22" fmla="*/ 17 w 456"/>
                    <a:gd name="T23" fmla="*/ 17 h 372"/>
                    <a:gd name="T24" fmla="*/ 156 w 456"/>
                    <a:gd name="T25" fmla="*/ 17 h 372"/>
                    <a:gd name="T26" fmla="*/ 139 w 456"/>
                    <a:gd name="T27" fmla="*/ 0 h 3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56" h="372">
                      <a:moveTo>
                        <a:pt x="436" y="297"/>
                      </a:moveTo>
                      <a:cubicBezTo>
                        <a:pt x="436" y="332"/>
                        <a:pt x="436" y="332"/>
                        <a:pt x="436" y="332"/>
                      </a:cubicBezTo>
                      <a:cubicBezTo>
                        <a:pt x="436" y="337"/>
                        <a:pt x="432" y="341"/>
                        <a:pt x="428" y="341"/>
                      </a:cubicBezTo>
                      <a:cubicBezTo>
                        <a:pt x="341" y="341"/>
                        <a:pt x="341" y="341"/>
                        <a:pt x="341" y="341"/>
                      </a:cubicBezTo>
                      <a:cubicBezTo>
                        <a:pt x="372" y="372"/>
                        <a:pt x="372" y="372"/>
                        <a:pt x="372" y="372"/>
                      </a:cubicBezTo>
                      <a:cubicBezTo>
                        <a:pt x="435" y="372"/>
                        <a:pt x="435" y="372"/>
                        <a:pt x="435" y="372"/>
                      </a:cubicBezTo>
                      <a:cubicBezTo>
                        <a:pt x="447" y="372"/>
                        <a:pt x="456" y="363"/>
                        <a:pt x="456" y="352"/>
                      </a:cubicBezTo>
                      <a:cubicBezTo>
                        <a:pt x="456" y="316"/>
                        <a:pt x="456" y="316"/>
                        <a:pt x="456" y="316"/>
                      </a:cubicBezTo>
                      <a:cubicBezTo>
                        <a:pt x="436" y="297"/>
                        <a:pt x="436" y="297"/>
                        <a:pt x="436" y="297"/>
                      </a:cubicBezTo>
                      <a:moveTo>
                        <a:pt x="139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7" y="17"/>
                        <a:pt x="17" y="17"/>
                        <a:pt x="17" y="17"/>
                      </a:cubicBezTo>
                      <a:cubicBezTo>
                        <a:pt x="156" y="17"/>
                        <a:pt x="156" y="17"/>
                        <a:pt x="156" y="17"/>
                      </a:cubicBezTo>
                      <a:cubicBezTo>
                        <a:pt x="139" y="0"/>
                        <a:pt x="139" y="0"/>
                        <a:pt x="139" y="0"/>
                      </a:cubicBezTo>
                    </a:path>
                  </a:pathLst>
                </a:custGeom>
                <a:solidFill>
                  <a:srgbClr val="46464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34"/>
                <p:cNvSpPr>
                  <a:spLocks noEditPoints="1"/>
                </p:cNvSpPr>
                <p:nvPr/>
              </p:nvSpPr>
              <p:spPr bwMode="auto">
                <a:xfrm>
                  <a:off x="1590" y="2446"/>
                  <a:ext cx="1186" cy="919"/>
                </a:xfrm>
                <a:custGeom>
                  <a:avLst/>
                  <a:gdLst>
                    <a:gd name="T0" fmla="*/ 258 w 419"/>
                    <a:gd name="T1" fmla="*/ 119 h 324"/>
                    <a:gd name="T2" fmla="*/ 258 w 419"/>
                    <a:gd name="T3" fmla="*/ 258 h 324"/>
                    <a:gd name="T4" fmla="*/ 283 w 419"/>
                    <a:gd name="T5" fmla="*/ 283 h 324"/>
                    <a:gd name="T6" fmla="*/ 359 w 419"/>
                    <a:gd name="T7" fmla="*/ 283 h 324"/>
                    <a:gd name="T8" fmla="*/ 367 w 419"/>
                    <a:gd name="T9" fmla="*/ 291 h 324"/>
                    <a:gd name="T10" fmla="*/ 359 w 419"/>
                    <a:gd name="T11" fmla="*/ 299 h 324"/>
                    <a:gd name="T12" fmla="*/ 299 w 419"/>
                    <a:gd name="T13" fmla="*/ 299 h 324"/>
                    <a:gd name="T14" fmla="*/ 324 w 419"/>
                    <a:gd name="T15" fmla="*/ 324 h 324"/>
                    <a:gd name="T16" fmla="*/ 411 w 419"/>
                    <a:gd name="T17" fmla="*/ 324 h 324"/>
                    <a:gd name="T18" fmla="*/ 419 w 419"/>
                    <a:gd name="T19" fmla="*/ 315 h 324"/>
                    <a:gd name="T20" fmla="*/ 419 w 419"/>
                    <a:gd name="T21" fmla="*/ 280 h 324"/>
                    <a:gd name="T22" fmla="*/ 367 w 419"/>
                    <a:gd name="T23" fmla="*/ 228 h 324"/>
                    <a:gd name="T24" fmla="*/ 367 w 419"/>
                    <a:gd name="T25" fmla="*/ 263 h 324"/>
                    <a:gd name="T26" fmla="*/ 266 w 419"/>
                    <a:gd name="T27" fmla="*/ 263 h 324"/>
                    <a:gd name="T28" fmla="*/ 266 w 419"/>
                    <a:gd name="T29" fmla="*/ 217 h 324"/>
                    <a:gd name="T30" fmla="*/ 356 w 419"/>
                    <a:gd name="T31" fmla="*/ 217 h 324"/>
                    <a:gd name="T32" fmla="*/ 348 w 419"/>
                    <a:gd name="T33" fmla="*/ 208 h 324"/>
                    <a:gd name="T34" fmla="*/ 266 w 419"/>
                    <a:gd name="T35" fmla="*/ 208 h 324"/>
                    <a:gd name="T36" fmla="*/ 266 w 419"/>
                    <a:gd name="T37" fmla="*/ 161 h 324"/>
                    <a:gd name="T38" fmla="*/ 301 w 419"/>
                    <a:gd name="T39" fmla="*/ 161 h 324"/>
                    <a:gd name="T40" fmla="*/ 293 w 419"/>
                    <a:gd name="T41" fmla="*/ 153 h 324"/>
                    <a:gd name="T42" fmla="*/ 266 w 419"/>
                    <a:gd name="T43" fmla="*/ 153 h 324"/>
                    <a:gd name="T44" fmla="*/ 266 w 419"/>
                    <a:gd name="T45" fmla="*/ 127 h 324"/>
                    <a:gd name="T46" fmla="*/ 258 w 419"/>
                    <a:gd name="T47" fmla="*/ 119 h 324"/>
                    <a:gd name="T48" fmla="*/ 64 w 419"/>
                    <a:gd name="T49" fmla="*/ 31 h 324"/>
                    <a:gd name="T50" fmla="*/ 64 w 419"/>
                    <a:gd name="T51" fmla="*/ 20 h 324"/>
                    <a:gd name="T52" fmla="*/ 117 w 419"/>
                    <a:gd name="T53" fmla="*/ 20 h 324"/>
                    <a:gd name="T54" fmla="*/ 117 w 419"/>
                    <a:gd name="T55" fmla="*/ 31 h 324"/>
                    <a:gd name="T56" fmla="*/ 64 w 419"/>
                    <a:gd name="T57" fmla="*/ 31 h 324"/>
                    <a:gd name="T58" fmla="*/ 139 w 419"/>
                    <a:gd name="T59" fmla="*/ 0 h 324"/>
                    <a:gd name="T60" fmla="*/ 0 w 419"/>
                    <a:gd name="T61" fmla="*/ 0 h 324"/>
                    <a:gd name="T62" fmla="*/ 20 w 419"/>
                    <a:gd name="T63" fmla="*/ 20 h 324"/>
                    <a:gd name="T64" fmla="*/ 46 w 419"/>
                    <a:gd name="T65" fmla="*/ 20 h 324"/>
                    <a:gd name="T66" fmla="*/ 46 w 419"/>
                    <a:gd name="T67" fmla="*/ 31 h 324"/>
                    <a:gd name="T68" fmla="*/ 31 w 419"/>
                    <a:gd name="T69" fmla="*/ 31 h 324"/>
                    <a:gd name="T70" fmla="*/ 51 w 419"/>
                    <a:gd name="T71" fmla="*/ 51 h 324"/>
                    <a:gd name="T72" fmla="*/ 191 w 419"/>
                    <a:gd name="T73" fmla="*/ 51 h 324"/>
                    <a:gd name="T74" fmla="*/ 170 w 419"/>
                    <a:gd name="T75" fmla="*/ 31 h 324"/>
                    <a:gd name="T76" fmla="*/ 135 w 419"/>
                    <a:gd name="T77" fmla="*/ 31 h 324"/>
                    <a:gd name="T78" fmla="*/ 135 w 419"/>
                    <a:gd name="T79" fmla="*/ 20 h 324"/>
                    <a:gd name="T80" fmla="*/ 159 w 419"/>
                    <a:gd name="T81" fmla="*/ 20 h 324"/>
                    <a:gd name="T82" fmla="*/ 139 w 419"/>
                    <a:gd name="T83" fmla="*/ 0 h 3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419" h="324">
                      <a:moveTo>
                        <a:pt x="258" y="119"/>
                      </a:moveTo>
                      <a:cubicBezTo>
                        <a:pt x="258" y="258"/>
                        <a:pt x="258" y="258"/>
                        <a:pt x="258" y="258"/>
                      </a:cubicBezTo>
                      <a:cubicBezTo>
                        <a:pt x="283" y="283"/>
                        <a:pt x="283" y="283"/>
                        <a:pt x="283" y="283"/>
                      </a:cubicBezTo>
                      <a:cubicBezTo>
                        <a:pt x="359" y="283"/>
                        <a:pt x="359" y="283"/>
                        <a:pt x="359" y="283"/>
                      </a:cubicBezTo>
                      <a:cubicBezTo>
                        <a:pt x="363" y="283"/>
                        <a:pt x="367" y="287"/>
                        <a:pt x="367" y="291"/>
                      </a:cubicBezTo>
                      <a:cubicBezTo>
                        <a:pt x="367" y="296"/>
                        <a:pt x="363" y="299"/>
                        <a:pt x="359" y="299"/>
                      </a:cubicBezTo>
                      <a:cubicBezTo>
                        <a:pt x="299" y="299"/>
                        <a:pt x="299" y="299"/>
                        <a:pt x="299" y="299"/>
                      </a:cubicBezTo>
                      <a:cubicBezTo>
                        <a:pt x="324" y="324"/>
                        <a:pt x="324" y="324"/>
                        <a:pt x="324" y="324"/>
                      </a:cubicBezTo>
                      <a:cubicBezTo>
                        <a:pt x="411" y="324"/>
                        <a:pt x="411" y="324"/>
                        <a:pt x="411" y="324"/>
                      </a:cubicBezTo>
                      <a:cubicBezTo>
                        <a:pt x="415" y="324"/>
                        <a:pt x="419" y="320"/>
                        <a:pt x="419" y="315"/>
                      </a:cubicBezTo>
                      <a:cubicBezTo>
                        <a:pt x="419" y="280"/>
                        <a:pt x="419" y="280"/>
                        <a:pt x="419" y="280"/>
                      </a:cubicBezTo>
                      <a:cubicBezTo>
                        <a:pt x="367" y="228"/>
                        <a:pt x="367" y="228"/>
                        <a:pt x="367" y="228"/>
                      </a:cubicBezTo>
                      <a:cubicBezTo>
                        <a:pt x="367" y="263"/>
                        <a:pt x="367" y="263"/>
                        <a:pt x="367" y="263"/>
                      </a:cubicBezTo>
                      <a:cubicBezTo>
                        <a:pt x="266" y="263"/>
                        <a:pt x="266" y="263"/>
                        <a:pt x="266" y="263"/>
                      </a:cubicBezTo>
                      <a:cubicBezTo>
                        <a:pt x="266" y="217"/>
                        <a:pt x="266" y="217"/>
                        <a:pt x="266" y="217"/>
                      </a:cubicBezTo>
                      <a:cubicBezTo>
                        <a:pt x="356" y="217"/>
                        <a:pt x="356" y="217"/>
                        <a:pt x="356" y="217"/>
                      </a:cubicBezTo>
                      <a:cubicBezTo>
                        <a:pt x="348" y="208"/>
                        <a:pt x="348" y="208"/>
                        <a:pt x="348" y="208"/>
                      </a:cubicBezTo>
                      <a:cubicBezTo>
                        <a:pt x="266" y="208"/>
                        <a:pt x="266" y="208"/>
                        <a:pt x="266" y="208"/>
                      </a:cubicBezTo>
                      <a:cubicBezTo>
                        <a:pt x="266" y="161"/>
                        <a:pt x="266" y="161"/>
                        <a:pt x="266" y="161"/>
                      </a:cubicBezTo>
                      <a:cubicBezTo>
                        <a:pt x="301" y="161"/>
                        <a:pt x="301" y="161"/>
                        <a:pt x="301" y="161"/>
                      </a:cubicBezTo>
                      <a:cubicBezTo>
                        <a:pt x="293" y="153"/>
                        <a:pt x="293" y="153"/>
                        <a:pt x="293" y="153"/>
                      </a:cubicBezTo>
                      <a:cubicBezTo>
                        <a:pt x="266" y="153"/>
                        <a:pt x="266" y="153"/>
                        <a:pt x="266" y="153"/>
                      </a:cubicBezTo>
                      <a:cubicBezTo>
                        <a:pt x="266" y="127"/>
                        <a:pt x="266" y="127"/>
                        <a:pt x="266" y="127"/>
                      </a:cubicBezTo>
                      <a:cubicBezTo>
                        <a:pt x="258" y="119"/>
                        <a:pt x="258" y="119"/>
                        <a:pt x="258" y="119"/>
                      </a:cubicBezTo>
                      <a:moveTo>
                        <a:pt x="64" y="31"/>
                      </a:moveTo>
                      <a:cubicBezTo>
                        <a:pt x="64" y="20"/>
                        <a:pt x="64" y="20"/>
                        <a:pt x="64" y="20"/>
                      </a:cubicBezTo>
                      <a:cubicBezTo>
                        <a:pt x="117" y="20"/>
                        <a:pt x="117" y="20"/>
                        <a:pt x="117" y="20"/>
                      </a:cubicBezTo>
                      <a:cubicBezTo>
                        <a:pt x="117" y="31"/>
                        <a:pt x="117" y="31"/>
                        <a:pt x="117" y="31"/>
                      </a:cubicBezTo>
                      <a:cubicBezTo>
                        <a:pt x="64" y="31"/>
                        <a:pt x="64" y="31"/>
                        <a:pt x="64" y="31"/>
                      </a:cubicBezTo>
                      <a:moveTo>
                        <a:pt x="139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0" y="20"/>
                        <a:pt x="20" y="20"/>
                        <a:pt x="20" y="20"/>
                      </a:cubicBezTo>
                      <a:cubicBezTo>
                        <a:pt x="46" y="20"/>
                        <a:pt x="46" y="20"/>
                        <a:pt x="46" y="20"/>
                      </a:cubicBezTo>
                      <a:cubicBezTo>
                        <a:pt x="46" y="31"/>
                        <a:pt x="46" y="31"/>
                        <a:pt x="46" y="31"/>
                      </a:cubicBezTo>
                      <a:cubicBezTo>
                        <a:pt x="31" y="31"/>
                        <a:pt x="31" y="31"/>
                        <a:pt x="31" y="31"/>
                      </a:cubicBezTo>
                      <a:cubicBezTo>
                        <a:pt x="51" y="51"/>
                        <a:pt x="51" y="51"/>
                        <a:pt x="51" y="51"/>
                      </a:cubicBezTo>
                      <a:cubicBezTo>
                        <a:pt x="191" y="51"/>
                        <a:pt x="191" y="51"/>
                        <a:pt x="191" y="51"/>
                      </a:cubicBezTo>
                      <a:cubicBezTo>
                        <a:pt x="170" y="31"/>
                        <a:pt x="170" y="31"/>
                        <a:pt x="170" y="31"/>
                      </a:cubicBezTo>
                      <a:cubicBezTo>
                        <a:pt x="135" y="31"/>
                        <a:pt x="135" y="31"/>
                        <a:pt x="135" y="31"/>
                      </a:cubicBezTo>
                      <a:cubicBezTo>
                        <a:pt x="135" y="20"/>
                        <a:pt x="135" y="20"/>
                        <a:pt x="135" y="20"/>
                      </a:cubicBezTo>
                      <a:cubicBezTo>
                        <a:pt x="159" y="20"/>
                        <a:pt x="159" y="20"/>
                        <a:pt x="159" y="20"/>
                      </a:cubicBezTo>
                      <a:cubicBezTo>
                        <a:pt x="139" y="0"/>
                        <a:pt x="139" y="0"/>
                        <a:pt x="139" y="0"/>
                      </a:cubicBezTo>
                    </a:path>
                  </a:pathLst>
                </a:custGeom>
                <a:solidFill>
                  <a:srgbClr val="D5D5D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35"/>
                <p:cNvSpPr>
                  <a:spLocks/>
                </p:cNvSpPr>
                <p:nvPr/>
              </p:nvSpPr>
              <p:spPr bwMode="auto">
                <a:xfrm>
                  <a:off x="1735" y="2591"/>
                  <a:ext cx="585" cy="587"/>
                </a:xfrm>
                <a:custGeom>
                  <a:avLst/>
                  <a:gdLst>
                    <a:gd name="T0" fmla="*/ 396 w 585"/>
                    <a:gd name="T1" fmla="*/ 0 h 587"/>
                    <a:gd name="T2" fmla="*/ 0 w 585"/>
                    <a:gd name="T3" fmla="*/ 0 h 587"/>
                    <a:gd name="T4" fmla="*/ 585 w 585"/>
                    <a:gd name="T5" fmla="*/ 587 h 587"/>
                    <a:gd name="T6" fmla="*/ 585 w 585"/>
                    <a:gd name="T7" fmla="*/ 193 h 587"/>
                    <a:gd name="T8" fmla="*/ 396 w 585"/>
                    <a:gd name="T9" fmla="*/ 0 h 5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85" h="587">
                      <a:moveTo>
                        <a:pt x="396" y="0"/>
                      </a:moveTo>
                      <a:lnTo>
                        <a:pt x="0" y="0"/>
                      </a:lnTo>
                      <a:lnTo>
                        <a:pt x="585" y="587"/>
                      </a:lnTo>
                      <a:lnTo>
                        <a:pt x="585" y="193"/>
                      </a:lnTo>
                      <a:lnTo>
                        <a:pt x="396" y="0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36"/>
                <p:cNvSpPr>
                  <a:spLocks/>
                </p:cNvSpPr>
                <p:nvPr/>
              </p:nvSpPr>
              <p:spPr bwMode="auto">
                <a:xfrm>
                  <a:off x="1735" y="2591"/>
                  <a:ext cx="585" cy="587"/>
                </a:xfrm>
                <a:custGeom>
                  <a:avLst/>
                  <a:gdLst>
                    <a:gd name="T0" fmla="*/ 396 w 585"/>
                    <a:gd name="T1" fmla="*/ 0 h 587"/>
                    <a:gd name="T2" fmla="*/ 0 w 585"/>
                    <a:gd name="T3" fmla="*/ 0 h 587"/>
                    <a:gd name="T4" fmla="*/ 585 w 585"/>
                    <a:gd name="T5" fmla="*/ 587 h 587"/>
                    <a:gd name="T6" fmla="*/ 585 w 585"/>
                    <a:gd name="T7" fmla="*/ 193 h 587"/>
                    <a:gd name="T8" fmla="*/ 396 w 585"/>
                    <a:gd name="T9" fmla="*/ 0 h 5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85" h="587">
                      <a:moveTo>
                        <a:pt x="396" y="0"/>
                      </a:moveTo>
                      <a:lnTo>
                        <a:pt x="0" y="0"/>
                      </a:lnTo>
                      <a:lnTo>
                        <a:pt x="585" y="587"/>
                      </a:lnTo>
                      <a:lnTo>
                        <a:pt x="585" y="193"/>
                      </a:lnTo>
                      <a:lnTo>
                        <a:pt x="396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37"/>
                <p:cNvSpPr>
                  <a:spLocks/>
                </p:cNvSpPr>
                <p:nvPr/>
              </p:nvSpPr>
              <p:spPr bwMode="auto">
                <a:xfrm>
                  <a:off x="2343" y="2806"/>
                  <a:ext cx="77" cy="74"/>
                </a:xfrm>
                <a:custGeom>
                  <a:avLst/>
                  <a:gdLst>
                    <a:gd name="T0" fmla="*/ 0 w 77"/>
                    <a:gd name="T1" fmla="*/ 0 h 74"/>
                    <a:gd name="T2" fmla="*/ 0 w 77"/>
                    <a:gd name="T3" fmla="*/ 74 h 74"/>
                    <a:gd name="T4" fmla="*/ 77 w 77"/>
                    <a:gd name="T5" fmla="*/ 74 h 74"/>
                    <a:gd name="T6" fmla="*/ 0 w 77"/>
                    <a:gd name="T7" fmla="*/ 0 h 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7" h="74">
                      <a:moveTo>
                        <a:pt x="0" y="0"/>
                      </a:moveTo>
                      <a:lnTo>
                        <a:pt x="0" y="74"/>
                      </a:lnTo>
                      <a:lnTo>
                        <a:pt x="77" y="7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6464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38"/>
                <p:cNvSpPr>
                  <a:spLocks/>
                </p:cNvSpPr>
                <p:nvPr/>
              </p:nvSpPr>
              <p:spPr bwMode="auto">
                <a:xfrm>
                  <a:off x="2343" y="2806"/>
                  <a:ext cx="77" cy="74"/>
                </a:xfrm>
                <a:custGeom>
                  <a:avLst/>
                  <a:gdLst>
                    <a:gd name="T0" fmla="*/ 0 w 77"/>
                    <a:gd name="T1" fmla="*/ 0 h 74"/>
                    <a:gd name="T2" fmla="*/ 0 w 77"/>
                    <a:gd name="T3" fmla="*/ 74 h 74"/>
                    <a:gd name="T4" fmla="*/ 77 w 77"/>
                    <a:gd name="T5" fmla="*/ 74 h 74"/>
                    <a:gd name="T6" fmla="*/ 0 w 77"/>
                    <a:gd name="T7" fmla="*/ 0 h 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7" h="74">
                      <a:moveTo>
                        <a:pt x="0" y="0"/>
                      </a:moveTo>
                      <a:lnTo>
                        <a:pt x="0" y="74"/>
                      </a:lnTo>
                      <a:lnTo>
                        <a:pt x="77" y="74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39"/>
                <p:cNvSpPr>
                  <a:spLocks/>
                </p:cNvSpPr>
                <p:nvPr/>
              </p:nvSpPr>
              <p:spPr bwMode="auto">
                <a:xfrm>
                  <a:off x="2343" y="2903"/>
                  <a:ext cx="232" cy="133"/>
                </a:xfrm>
                <a:custGeom>
                  <a:avLst/>
                  <a:gdLst>
                    <a:gd name="T0" fmla="*/ 99 w 232"/>
                    <a:gd name="T1" fmla="*/ 0 h 133"/>
                    <a:gd name="T2" fmla="*/ 0 w 232"/>
                    <a:gd name="T3" fmla="*/ 0 h 133"/>
                    <a:gd name="T4" fmla="*/ 0 w 232"/>
                    <a:gd name="T5" fmla="*/ 133 h 133"/>
                    <a:gd name="T6" fmla="*/ 232 w 232"/>
                    <a:gd name="T7" fmla="*/ 133 h 133"/>
                    <a:gd name="T8" fmla="*/ 99 w 232"/>
                    <a:gd name="T9" fmla="*/ 0 h 1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32" h="133">
                      <a:moveTo>
                        <a:pt x="99" y="0"/>
                      </a:moveTo>
                      <a:lnTo>
                        <a:pt x="0" y="0"/>
                      </a:lnTo>
                      <a:lnTo>
                        <a:pt x="0" y="133"/>
                      </a:lnTo>
                      <a:lnTo>
                        <a:pt x="232" y="133"/>
                      </a:lnTo>
                      <a:lnTo>
                        <a:pt x="99" y="0"/>
                      </a:lnTo>
                      <a:close/>
                    </a:path>
                  </a:pathLst>
                </a:custGeom>
                <a:solidFill>
                  <a:srgbClr val="46464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40"/>
                <p:cNvSpPr>
                  <a:spLocks/>
                </p:cNvSpPr>
                <p:nvPr/>
              </p:nvSpPr>
              <p:spPr bwMode="auto">
                <a:xfrm>
                  <a:off x="2343" y="2903"/>
                  <a:ext cx="232" cy="133"/>
                </a:xfrm>
                <a:custGeom>
                  <a:avLst/>
                  <a:gdLst>
                    <a:gd name="T0" fmla="*/ 99 w 232"/>
                    <a:gd name="T1" fmla="*/ 0 h 133"/>
                    <a:gd name="T2" fmla="*/ 0 w 232"/>
                    <a:gd name="T3" fmla="*/ 0 h 133"/>
                    <a:gd name="T4" fmla="*/ 0 w 232"/>
                    <a:gd name="T5" fmla="*/ 133 h 133"/>
                    <a:gd name="T6" fmla="*/ 232 w 232"/>
                    <a:gd name="T7" fmla="*/ 133 h 133"/>
                    <a:gd name="T8" fmla="*/ 99 w 232"/>
                    <a:gd name="T9" fmla="*/ 0 h 1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32" h="133">
                      <a:moveTo>
                        <a:pt x="99" y="0"/>
                      </a:moveTo>
                      <a:lnTo>
                        <a:pt x="0" y="0"/>
                      </a:lnTo>
                      <a:lnTo>
                        <a:pt x="0" y="133"/>
                      </a:lnTo>
                      <a:lnTo>
                        <a:pt x="232" y="133"/>
                      </a:lnTo>
                      <a:lnTo>
                        <a:pt x="99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41"/>
                <p:cNvSpPr>
                  <a:spLocks/>
                </p:cNvSpPr>
                <p:nvPr/>
              </p:nvSpPr>
              <p:spPr bwMode="auto">
                <a:xfrm>
                  <a:off x="2343" y="3062"/>
                  <a:ext cx="286" cy="130"/>
                </a:xfrm>
                <a:custGeom>
                  <a:avLst/>
                  <a:gdLst>
                    <a:gd name="T0" fmla="*/ 255 w 286"/>
                    <a:gd name="T1" fmla="*/ 0 h 130"/>
                    <a:gd name="T2" fmla="*/ 0 w 286"/>
                    <a:gd name="T3" fmla="*/ 0 h 130"/>
                    <a:gd name="T4" fmla="*/ 0 w 286"/>
                    <a:gd name="T5" fmla="*/ 130 h 130"/>
                    <a:gd name="T6" fmla="*/ 286 w 286"/>
                    <a:gd name="T7" fmla="*/ 130 h 130"/>
                    <a:gd name="T8" fmla="*/ 286 w 286"/>
                    <a:gd name="T9" fmla="*/ 31 h 130"/>
                    <a:gd name="T10" fmla="*/ 255 w 286"/>
                    <a:gd name="T11" fmla="*/ 0 h 1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86" h="130">
                      <a:moveTo>
                        <a:pt x="255" y="0"/>
                      </a:moveTo>
                      <a:lnTo>
                        <a:pt x="0" y="0"/>
                      </a:lnTo>
                      <a:lnTo>
                        <a:pt x="0" y="130"/>
                      </a:lnTo>
                      <a:lnTo>
                        <a:pt x="286" y="130"/>
                      </a:lnTo>
                      <a:lnTo>
                        <a:pt x="286" y="31"/>
                      </a:lnTo>
                      <a:lnTo>
                        <a:pt x="255" y="0"/>
                      </a:lnTo>
                      <a:close/>
                    </a:path>
                  </a:pathLst>
                </a:custGeom>
                <a:solidFill>
                  <a:srgbClr val="46464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42"/>
                <p:cNvSpPr>
                  <a:spLocks/>
                </p:cNvSpPr>
                <p:nvPr/>
              </p:nvSpPr>
              <p:spPr bwMode="auto">
                <a:xfrm>
                  <a:off x="2343" y="3062"/>
                  <a:ext cx="286" cy="130"/>
                </a:xfrm>
                <a:custGeom>
                  <a:avLst/>
                  <a:gdLst>
                    <a:gd name="T0" fmla="*/ 255 w 286"/>
                    <a:gd name="T1" fmla="*/ 0 h 130"/>
                    <a:gd name="T2" fmla="*/ 0 w 286"/>
                    <a:gd name="T3" fmla="*/ 0 h 130"/>
                    <a:gd name="T4" fmla="*/ 0 w 286"/>
                    <a:gd name="T5" fmla="*/ 130 h 130"/>
                    <a:gd name="T6" fmla="*/ 286 w 286"/>
                    <a:gd name="T7" fmla="*/ 130 h 130"/>
                    <a:gd name="T8" fmla="*/ 286 w 286"/>
                    <a:gd name="T9" fmla="*/ 31 h 130"/>
                    <a:gd name="T10" fmla="*/ 255 w 286"/>
                    <a:gd name="T11" fmla="*/ 0 h 1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86" h="130">
                      <a:moveTo>
                        <a:pt x="255" y="0"/>
                      </a:moveTo>
                      <a:lnTo>
                        <a:pt x="0" y="0"/>
                      </a:lnTo>
                      <a:lnTo>
                        <a:pt x="0" y="130"/>
                      </a:lnTo>
                      <a:lnTo>
                        <a:pt x="286" y="130"/>
                      </a:lnTo>
                      <a:lnTo>
                        <a:pt x="286" y="31"/>
                      </a:lnTo>
                      <a:lnTo>
                        <a:pt x="255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Freeform 43"/>
                <p:cNvSpPr>
                  <a:spLocks/>
                </p:cNvSpPr>
                <p:nvPr/>
              </p:nvSpPr>
              <p:spPr bwMode="auto">
                <a:xfrm>
                  <a:off x="2391" y="3249"/>
                  <a:ext cx="238" cy="45"/>
                </a:xfrm>
                <a:custGeom>
                  <a:avLst/>
                  <a:gdLst>
                    <a:gd name="T0" fmla="*/ 76 w 84"/>
                    <a:gd name="T1" fmla="*/ 0 h 16"/>
                    <a:gd name="T2" fmla="*/ 0 w 84"/>
                    <a:gd name="T3" fmla="*/ 0 h 16"/>
                    <a:gd name="T4" fmla="*/ 16 w 84"/>
                    <a:gd name="T5" fmla="*/ 16 h 16"/>
                    <a:gd name="T6" fmla="*/ 76 w 84"/>
                    <a:gd name="T7" fmla="*/ 16 h 16"/>
                    <a:gd name="T8" fmla="*/ 84 w 84"/>
                    <a:gd name="T9" fmla="*/ 8 h 16"/>
                    <a:gd name="T10" fmla="*/ 76 w 84"/>
                    <a:gd name="T11" fmla="*/ 0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84" h="16">
                      <a:moveTo>
                        <a:pt x="76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6" y="16"/>
                        <a:pt x="16" y="16"/>
                        <a:pt x="16" y="16"/>
                      </a:cubicBezTo>
                      <a:cubicBezTo>
                        <a:pt x="76" y="16"/>
                        <a:pt x="76" y="16"/>
                        <a:pt x="76" y="16"/>
                      </a:cubicBezTo>
                      <a:cubicBezTo>
                        <a:pt x="80" y="16"/>
                        <a:pt x="84" y="13"/>
                        <a:pt x="84" y="8"/>
                      </a:cubicBezTo>
                      <a:cubicBezTo>
                        <a:pt x="84" y="4"/>
                        <a:pt x="80" y="0"/>
                        <a:pt x="76" y="0"/>
                      </a:cubicBezTo>
                    </a:path>
                  </a:pathLst>
                </a:custGeom>
                <a:solidFill>
                  <a:srgbClr val="B5B5B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44"/>
                <p:cNvSpPr>
                  <a:spLocks/>
                </p:cNvSpPr>
                <p:nvPr/>
              </p:nvSpPr>
              <p:spPr bwMode="auto">
                <a:xfrm>
                  <a:off x="1647" y="2503"/>
                  <a:ext cx="74" cy="31"/>
                </a:xfrm>
                <a:custGeom>
                  <a:avLst/>
                  <a:gdLst>
                    <a:gd name="T0" fmla="*/ 74 w 74"/>
                    <a:gd name="T1" fmla="*/ 0 h 31"/>
                    <a:gd name="T2" fmla="*/ 0 w 74"/>
                    <a:gd name="T3" fmla="*/ 0 h 31"/>
                    <a:gd name="T4" fmla="*/ 31 w 74"/>
                    <a:gd name="T5" fmla="*/ 31 h 31"/>
                    <a:gd name="T6" fmla="*/ 74 w 74"/>
                    <a:gd name="T7" fmla="*/ 31 h 31"/>
                    <a:gd name="T8" fmla="*/ 74 w 74"/>
                    <a:gd name="T9" fmla="*/ 0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4" h="31">
                      <a:moveTo>
                        <a:pt x="74" y="0"/>
                      </a:moveTo>
                      <a:lnTo>
                        <a:pt x="0" y="0"/>
                      </a:lnTo>
                      <a:lnTo>
                        <a:pt x="31" y="31"/>
                      </a:lnTo>
                      <a:lnTo>
                        <a:pt x="74" y="31"/>
                      </a:lnTo>
                      <a:lnTo>
                        <a:pt x="74" y="0"/>
                      </a:lnTo>
                      <a:close/>
                    </a:path>
                  </a:pathLst>
                </a:custGeom>
                <a:solidFill>
                  <a:srgbClr val="EEEEE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45"/>
                <p:cNvSpPr>
                  <a:spLocks/>
                </p:cNvSpPr>
                <p:nvPr/>
              </p:nvSpPr>
              <p:spPr bwMode="auto">
                <a:xfrm>
                  <a:off x="1647" y="2503"/>
                  <a:ext cx="74" cy="31"/>
                </a:xfrm>
                <a:custGeom>
                  <a:avLst/>
                  <a:gdLst>
                    <a:gd name="T0" fmla="*/ 74 w 74"/>
                    <a:gd name="T1" fmla="*/ 0 h 31"/>
                    <a:gd name="T2" fmla="*/ 0 w 74"/>
                    <a:gd name="T3" fmla="*/ 0 h 31"/>
                    <a:gd name="T4" fmla="*/ 31 w 74"/>
                    <a:gd name="T5" fmla="*/ 31 h 31"/>
                    <a:gd name="T6" fmla="*/ 74 w 74"/>
                    <a:gd name="T7" fmla="*/ 31 h 31"/>
                    <a:gd name="T8" fmla="*/ 74 w 74"/>
                    <a:gd name="T9" fmla="*/ 0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4" h="31">
                      <a:moveTo>
                        <a:pt x="74" y="0"/>
                      </a:moveTo>
                      <a:lnTo>
                        <a:pt x="0" y="0"/>
                      </a:lnTo>
                      <a:lnTo>
                        <a:pt x="31" y="31"/>
                      </a:lnTo>
                      <a:lnTo>
                        <a:pt x="74" y="31"/>
                      </a:lnTo>
                      <a:lnTo>
                        <a:pt x="74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Rectangle 46"/>
                <p:cNvSpPr>
                  <a:spLocks noChangeArrowheads="1"/>
                </p:cNvSpPr>
                <p:nvPr/>
              </p:nvSpPr>
              <p:spPr bwMode="auto">
                <a:xfrm>
                  <a:off x="1771" y="2503"/>
                  <a:ext cx="150" cy="31"/>
                </a:xfrm>
                <a:prstGeom prst="rect">
                  <a:avLst/>
                </a:prstGeom>
                <a:solidFill>
                  <a:srgbClr val="EEEEE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Rectangle 47"/>
                <p:cNvSpPr>
                  <a:spLocks noChangeArrowheads="1"/>
                </p:cNvSpPr>
                <p:nvPr/>
              </p:nvSpPr>
              <p:spPr bwMode="auto">
                <a:xfrm>
                  <a:off x="1771" y="2503"/>
                  <a:ext cx="150" cy="3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48"/>
                <p:cNvSpPr>
                  <a:spLocks/>
                </p:cNvSpPr>
                <p:nvPr/>
              </p:nvSpPr>
              <p:spPr bwMode="auto">
                <a:xfrm>
                  <a:off x="1972" y="2503"/>
                  <a:ext cx="99" cy="31"/>
                </a:xfrm>
                <a:custGeom>
                  <a:avLst/>
                  <a:gdLst>
                    <a:gd name="T0" fmla="*/ 68 w 99"/>
                    <a:gd name="T1" fmla="*/ 0 h 31"/>
                    <a:gd name="T2" fmla="*/ 0 w 99"/>
                    <a:gd name="T3" fmla="*/ 0 h 31"/>
                    <a:gd name="T4" fmla="*/ 0 w 99"/>
                    <a:gd name="T5" fmla="*/ 31 h 31"/>
                    <a:gd name="T6" fmla="*/ 99 w 99"/>
                    <a:gd name="T7" fmla="*/ 31 h 31"/>
                    <a:gd name="T8" fmla="*/ 68 w 99"/>
                    <a:gd name="T9" fmla="*/ 0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9" h="31">
                      <a:moveTo>
                        <a:pt x="68" y="0"/>
                      </a:moveTo>
                      <a:lnTo>
                        <a:pt x="0" y="0"/>
                      </a:lnTo>
                      <a:lnTo>
                        <a:pt x="0" y="31"/>
                      </a:lnTo>
                      <a:lnTo>
                        <a:pt x="99" y="31"/>
                      </a:lnTo>
                      <a:lnTo>
                        <a:pt x="68" y="0"/>
                      </a:lnTo>
                      <a:close/>
                    </a:path>
                  </a:pathLst>
                </a:custGeom>
                <a:solidFill>
                  <a:srgbClr val="EEEEE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49"/>
                <p:cNvSpPr>
                  <a:spLocks/>
                </p:cNvSpPr>
                <p:nvPr/>
              </p:nvSpPr>
              <p:spPr bwMode="auto">
                <a:xfrm>
                  <a:off x="1972" y="2503"/>
                  <a:ext cx="99" cy="31"/>
                </a:xfrm>
                <a:custGeom>
                  <a:avLst/>
                  <a:gdLst>
                    <a:gd name="T0" fmla="*/ 68 w 99"/>
                    <a:gd name="T1" fmla="*/ 0 h 31"/>
                    <a:gd name="T2" fmla="*/ 0 w 99"/>
                    <a:gd name="T3" fmla="*/ 0 h 31"/>
                    <a:gd name="T4" fmla="*/ 0 w 99"/>
                    <a:gd name="T5" fmla="*/ 31 h 31"/>
                    <a:gd name="T6" fmla="*/ 99 w 99"/>
                    <a:gd name="T7" fmla="*/ 31 h 31"/>
                    <a:gd name="T8" fmla="*/ 68 w 99"/>
                    <a:gd name="T9" fmla="*/ 0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9" h="31">
                      <a:moveTo>
                        <a:pt x="68" y="0"/>
                      </a:moveTo>
                      <a:lnTo>
                        <a:pt x="0" y="0"/>
                      </a:lnTo>
                      <a:lnTo>
                        <a:pt x="0" y="31"/>
                      </a:lnTo>
                      <a:lnTo>
                        <a:pt x="99" y="31"/>
                      </a:lnTo>
                      <a:lnTo>
                        <a:pt x="68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grpSp>
            <p:nvGrpSpPr>
              <p:cNvPr id="65" name="Group 64"/>
              <p:cNvGrpSpPr>
                <a:grpSpLocks noChangeAspect="1"/>
              </p:cNvGrpSpPr>
              <p:nvPr/>
            </p:nvGrpSpPr>
            <p:grpSpPr bwMode="auto">
              <a:xfrm>
                <a:off x="3909219" y="4237278"/>
                <a:ext cx="478204" cy="468511"/>
                <a:chOff x="3843" y="2129"/>
                <a:chExt cx="148" cy="145"/>
              </a:xfrm>
            </p:grpSpPr>
            <p:sp>
              <p:nvSpPr>
                <p:cNvPr id="175" name="AutoShape 221"/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3843" y="2132"/>
                  <a:ext cx="148" cy="14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mc="http://schemas.openxmlformats.org/markup-compatibility/2006" xmlns:mv="urn:schemas-microsoft-com:mac:vml" xmlns:a14="http://schemas.microsoft.com/office/drawing/2010/main" xmlns="" xmlns:lc="http://schemas.openxmlformats.org/drawingml/2006/lockedCanvas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defTabSz="93231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6" name="Freeform 175"/>
                <p:cNvSpPr>
                  <a:spLocks/>
                </p:cNvSpPr>
                <p:nvPr/>
              </p:nvSpPr>
              <p:spPr bwMode="auto">
                <a:xfrm>
                  <a:off x="3843" y="2129"/>
                  <a:ext cx="145" cy="145"/>
                </a:xfrm>
                <a:custGeom>
                  <a:avLst/>
                  <a:gdLst>
                    <a:gd name="T0" fmla="*/ 145 w 145"/>
                    <a:gd name="T1" fmla="*/ 115 h 145"/>
                    <a:gd name="T2" fmla="*/ 101 w 145"/>
                    <a:gd name="T3" fmla="*/ 73 h 145"/>
                    <a:gd name="T4" fmla="*/ 131 w 145"/>
                    <a:gd name="T5" fmla="*/ 43 h 145"/>
                    <a:gd name="T6" fmla="*/ 0 w 145"/>
                    <a:gd name="T7" fmla="*/ 0 h 145"/>
                    <a:gd name="T8" fmla="*/ 44 w 145"/>
                    <a:gd name="T9" fmla="*/ 130 h 145"/>
                    <a:gd name="T10" fmla="*/ 74 w 145"/>
                    <a:gd name="T11" fmla="*/ 100 h 145"/>
                    <a:gd name="T12" fmla="*/ 116 w 145"/>
                    <a:gd name="T13" fmla="*/ 145 h 145"/>
                    <a:gd name="T14" fmla="*/ 145 w 145"/>
                    <a:gd name="T15" fmla="*/ 115 h 1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45" h="145">
                      <a:moveTo>
                        <a:pt x="145" y="115"/>
                      </a:moveTo>
                      <a:lnTo>
                        <a:pt x="101" y="73"/>
                      </a:lnTo>
                      <a:lnTo>
                        <a:pt x="131" y="43"/>
                      </a:lnTo>
                      <a:lnTo>
                        <a:pt x="0" y="0"/>
                      </a:lnTo>
                      <a:lnTo>
                        <a:pt x="44" y="130"/>
                      </a:lnTo>
                      <a:lnTo>
                        <a:pt x="74" y="100"/>
                      </a:lnTo>
                      <a:lnTo>
                        <a:pt x="116" y="145"/>
                      </a:lnTo>
                      <a:lnTo>
                        <a:pt x="145" y="115"/>
                      </a:lnTo>
                      <a:close/>
                    </a:path>
                  </a:pathLst>
                </a:custGeom>
                <a:solidFill>
                  <a:srgbClr val="008272"/>
                </a:solidFill>
                <a:ln>
                  <a:noFill/>
                </a:ln>
                <a:extLst>
                  <a:ext uri="{91240B29-F687-4f45-9708-019B960494DF}">
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defTabSz="93231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73400757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1081" y="2040593"/>
            <a:ext cx="7620000" cy="114300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428816"/>
            <a:ext cx="7620000" cy="3175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4181"/>
            <a:ext cx="2286000" cy="190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52478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 31"/>
          <p:cNvGrpSpPr/>
          <p:nvPr/>
        </p:nvGrpSpPr>
        <p:grpSpPr>
          <a:xfrm>
            <a:off x="1689537" y="2750866"/>
            <a:ext cx="7620000" cy="3175000"/>
            <a:chOff x="1689537" y="2750866"/>
            <a:chExt cx="7620000" cy="3175000"/>
          </a:xfrm>
        </p:grpSpPr>
        <p:sp>
          <p:nvSpPr>
            <p:cNvPr id="10" name="Rectangle 9"/>
            <p:cNvSpPr/>
            <p:nvPr/>
          </p:nvSpPr>
          <p:spPr>
            <a:xfrm>
              <a:off x="1689537" y="2750866"/>
              <a:ext cx="7620000" cy="3175000"/>
            </a:xfrm>
            <a:prstGeom prst="rect">
              <a:avLst/>
            </a:prstGeom>
            <a:solidFill>
              <a:srgbClr val="007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rtlCol="0" anchor="ctr"/>
            <a:lstStyle/>
            <a:p>
              <a:pPr lvl="2"/>
              <a:endParaRPr lang="en-US" b="1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29" name="Group 28"/>
            <p:cNvGrpSpPr/>
            <p:nvPr/>
          </p:nvGrpSpPr>
          <p:grpSpPr>
            <a:xfrm>
              <a:off x="4249754" y="3191606"/>
              <a:ext cx="3959522" cy="1753576"/>
              <a:chOff x="4249754" y="3191606"/>
              <a:chExt cx="3959522" cy="1753576"/>
            </a:xfrm>
          </p:grpSpPr>
          <p:sp>
            <p:nvSpPr>
              <p:cNvPr id="23" name="Rectangle 22"/>
              <p:cNvSpPr/>
              <p:nvPr/>
            </p:nvSpPr>
            <p:spPr>
              <a:xfrm>
                <a:off x="5317294" y="3191606"/>
                <a:ext cx="1720916" cy="36871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chemeClr val="bg1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The History of</a:t>
                </a:r>
              </a:p>
            </p:txBody>
          </p:sp>
          <p:pic>
            <p:nvPicPr>
              <p:cNvPr id="24" name="Picture 23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249754" y="3717926"/>
                <a:ext cx="3959522" cy="1227256"/>
              </a:xfrm>
              <a:prstGeom prst="rect">
                <a:avLst/>
              </a:prstGeom>
            </p:spPr>
          </p:pic>
        </p:grpSp>
        <p:sp>
          <p:nvSpPr>
            <p:cNvPr id="25" name="Rectangle 24"/>
            <p:cNvSpPr/>
            <p:nvPr/>
          </p:nvSpPr>
          <p:spPr>
            <a:xfrm>
              <a:off x="3908010" y="5181369"/>
              <a:ext cx="4643011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600" dirty="0" smtClean="0">
                  <a:solidFill>
                    <a:schemeClr val="bg2">
                      <a:lumMod val="10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ee how Office has evolved to be better than ever</a:t>
              </a:r>
              <a:endParaRPr lang="en-US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6" name="Freeform 9"/>
            <p:cNvSpPr>
              <a:spLocks noEditPoints="1"/>
            </p:cNvSpPr>
            <p:nvPr/>
          </p:nvSpPr>
          <p:spPr bwMode="black">
            <a:xfrm>
              <a:off x="8624787" y="5139832"/>
              <a:ext cx="419922" cy="421628"/>
            </a:xfrm>
            <a:custGeom>
              <a:avLst/>
              <a:gdLst>
                <a:gd name="T0" fmla="*/ 88 w 149"/>
                <a:gd name="T1" fmla="*/ 67 h 149"/>
                <a:gd name="T2" fmla="*/ 65 w 149"/>
                <a:gd name="T3" fmla="*/ 46 h 149"/>
                <a:gd name="T4" fmla="*/ 84 w 149"/>
                <a:gd name="T5" fmla="*/ 46 h 149"/>
                <a:gd name="T6" fmla="*/ 115 w 149"/>
                <a:gd name="T7" fmla="*/ 75 h 149"/>
                <a:gd name="T8" fmla="*/ 84 w 149"/>
                <a:gd name="T9" fmla="*/ 104 h 149"/>
                <a:gd name="T10" fmla="*/ 65 w 149"/>
                <a:gd name="T11" fmla="*/ 104 h 149"/>
                <a:gd name="T12" fmla="*/ 88 w 149"/>
                <a:gd name="T13" fmla="*/ 82 h 149"/>
                <a:gd name="T14" fmla="*/ 36 w 149"/>
                <a:gd name="T15" fmla="*/ 82 h 149"/>
                <a:gd name="T16" fmla="*/ 36 w 149"/>
                <a:gd name="T17" fmla="*/ 67 h 149"/>
                <a:gd name="T18" fmla="*/ 88 w 149"/>
                <a:gd name="T19" fmla="*/ 67 h 149"/>
                <a:gd name="T20" fmla="*/ 74 w 149"/>
                <a:gd name="T21" fmla="*/ 9 h 149"/>
                <a:gd name="T22" fmla="*/ 140 w 149"/>
                <a:gd name="T23" fmla="*/ 75 h 149"/>
                <a:gd name="T24" fmla="*/ 74 w 149"/>
                <a:gd name="T25" fmla="*/ 140 h 149"/>
                <a:gd name="T26" fmla="*/ 9 w 149"/>
                <a:gd name="T27" fmla="*/ 75 h 149"/>
                <a:gd name="T28" fmla="*/ 74 w 149"/>
                <a:gd name="T29" fmla="*/ 9 h 149"/>
                <a:gd name="T30" fmla="*/ 74 w 149"/>
                <a:gd name="T31" fmla="*/ 0 h 149"/>
                <a:gd name="T32" fmla="*/ 0 w 149"/>
                <a:gd name="T33" fmla="*/ 75 h 149"/>
                <a:gd name="T34" fmla="*/ 74 w 149"/>
                <a:gd name="T35" fmla="*/ 149 h 149"/>
                <a:gd name="T36" fmla="*/ 149 w 149"/>
                <a:gd name="T37" fmla="*/ 75 h 149"/>
                <a:gd name="T38" fmla="*/ 74 w 149"/>
                <a:gd name="T3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9" h="149">
                  <a:moveTo>
                    <a:pt x="88" y="67"/>
                  </a:moveTo>
                  <a:cubicBezTo>
                    <a:pt x="65" y="46"/>
                    <a:pt x="65" y="46"/>
                    <a:pt x="65" y="46"/>
                  </a:cubicBezTo>
                  <a:cubicBezTo>
                    <a:pt x="84" y="46"/>
                    <a:pt x="84" y="46"/>
                    <a:pt x="84" y="46"/>
                  </a:cubicBezTo>
                  <a:cubicBezTo>
                    <a:pt x="115" y="75"/>
                    <a:pt x="115" y="75"/>
                    <a:pt x="115" y="75"/>
                  </a:cubicBezTo>
                  <a:cubicBezTo>
                    <a:pt x="84" y="104"/>
                    <a:pt x="84" y="104"/>
                    <a:pt x="84" y="104"/>
                  </a:cubicBezTo>
                  <a:cubicBezTo>
                    <a:pt x="65" y="104"/>
                    <a:pt x="65" y="104"/>
                    <a:pt x="65" y="104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6" y="67"/>
                    <a:pt x="36" y="67"/>
                    <a:pt x="36" y="67"/>
                  </a:cubicBezTo>
                  <a:lnTo>
                    <a:pt x="88" y="67"/>
                  </a:lnTo>
                  <a:close/>
                  <a:moveTo>
                    <a:pt x="74" y="9"/>
                  </a:moveTo>
                  <a:cubicBezTo>
                    <a:pt x="110" y="9"/>
                    <a:pt x="140" y="39"/>
                    <a:pt x="140" y="75"/>
                  </a:cubicBezTo>
                  <a:cubicBezTo>
                    <a:pt x="140" y="111"/>
                    <a:pt x="110" y="140"/>
                    <a:pt x="74" y="140"/>
                  </a:cubicBezTo>
                  <a:cubicBezTo>
                    <a:pt x="38" y="140"/>
                    <a:pt x="9" y="111"/>
                    <a:pt x="9" y="75"/>
                  </a:cubicBezTo>
                  <a:cubicBezTo>
                    <a:pt x="9" y="39"/>
                    <a:pt x="38" y="9"/>
                    <a:pt x="74" y="9"/>
                  </a:cubicBezTo>
                  <a:moveTo>
                    <a:pt x="74" y="0"/>
                  </a:moveTo>
                  <a:cubicBezTo>
                    <a:pt x="33" y="0"/>
                    <a:pt x="0" y="33"/>
                    <a:pt x="0" y="75"/>
                  </a:cubicBezTo>
                  <a:cubicBezTo>
                    <a:pt x="0" y="116"/>
                    <a:pt x="33" y="149"/>
                    <a:pt x="74" y="149"/>
                  </a:cubicBezTo>
                  <a:cubicBezTo>
                    <a:pt x="116" y="149"/>
                    <a:pt x="149" y="116"/>
                    <a:pt x="149" y="75"/>
                  </a:cubicBezTo>
                  <a:cubicBezTo>
                    <a:pt x="149" y="33"/>
                    <a:pt x="116" y="0"/>
                    <a:pt x="74" y="0"/>
                  </a:cubicBezTo>
                </a:path>
              </a:pathLst>
            </a:custGeom>
            <a:solidFill>
              <a:schemeClr val="bg2">
                <a:lumMod val="1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8" tIns="34293" rIns="68588" bIns="34293" numCol="1" anchor="t" anchorCtr="0" compatLnSpc="1">
              <a:prstTxWarp prst="textNoShape">
                <a:avLst/>
              </a:prstTxWarp>
            </a:bodyPr>
            <a:lstStyle/>
            <a:p>
              <a:endParaRPr lang="en-US" sz="1324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9372534" y="462572"/>
            <a:ext cx="2286001" cy="1905000"/>
            <a:chOff x="715199" y="4154876"/>
            <a:chExt cx="2286001" cy="1905000"/>
          </a:xfrm>
        </p:grpSpPr>
        <p:sp>
          <p:nvSpPr>
            <p:cNvPr id="34" name="Rectangle 33"/>
            <p:cNvSpPr/>
            <p:nvPr/>
          </p:nvSpPr>
          <p:spPr>
            <a:xfrm>
              <a:off x="715199" y="4154876"/>
              <a:ext cx="2286000" cy="1905000"/>
            </a:xfrm>
            <a:prstGeom prst="rect">
              <a:avLst/>
            </a:prstGeom>
            <a:solidFill>
              <a:srgbClr val="007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274320" rtlCol="0" anchor="t"/>
            <a:lstStyle/>
            <a:p>
              <a:pPr algn="ctr"/>
              <a:r>
                <a:rPr lang="en-US" b="1" dirty="0" smtClean="0">
                  <a:latin typeface="Segoe UI" panose="020B0502040204020203" pitchFamily="34" charset="0"/>
                  <a:cs typeface="Segoe UI" panose="020B0502040204020203" pitchFamily="34" charset="0"/>
                </a:rPr>
                <a:t>The History of</a:t>
              </a:r>
              <a:endParaRPr lang="en-US" b="1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715199" y="5465918"/>
              <a:ext cx="2286001" cy="593958"/>
              <a:chOff x="3913318" y="5371277"/>
              <a:chExt cx="2286001" cy="593958"/>
            </a:xfrm>
          </p:grpSpPr>
          <p:sp>
            <p:nvSpPr>
              <p:cNvPr id="37" name="Rectangle 36"/>
              <p:cNvSpPr/>
              <p:nvPr/>
            </p:nvSpPr>
            <p:spPr>
              <a:xfrm>
                <a:off x="3913318" y="5371277"/>
                <a:ext cx="2286001" cy="593958"/>
              </a:xfrm>
              <a:prstGeom prst="rect">
                <a:avLst/>
              </a:prstGeom>
              <a:solidFill>
                <a:srgbClr val="D73B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" name="Rectangle 37"/>
              <p:cNvSpPr/>
              <p:nvPr/>
            </p:nvSpPr>
            <p:spPr>
              <a:xfrm>
                <a:off x="4052274" y="5450459"/>
                <a:ext cx="2008086" cy="43088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1100" dirty="0" smtClean="0">
                    <a:solidFill>
                      <a:schemeClr val="bg1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See how Office has evolved </a:t>
                </a:r>
              </a:p>
              <a:p>
                <a:r>
                  <a:rPr lang="en-US" sz="1100" dirty="0" smtClean="0">
                    <a:solidFill>
                      <a:schemeClr val="bg1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to be better than ever</a:t>
                </a:r>
                <a:endParaRPr lang="en-US" sz="11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39" name="Freeform 9"/>
              <p:cNvSpPr>
                <a:spLocks noEditPoints="1"/>
              </p:cNvSpPr>
              <p:nvPr/>
            </p:nvSpPr>
            <p:spPr bwMode="black">
              <a:xfrm>
                <a:off x="5810833" y="5540631"/>
                <a:ext cx="249527" cy="250541"/>
              </a:xfrm>
              <a:custGeom>
                <a:avLst/>
                <a:gdLst>
                  <a:gd name="T0" fmla="*/ 88 w 149"/>
                  <a:gd name="T1" fmla="*/ 67 h 149"/>
                  <a:gd name="T2" fmla="*/ 65 w 149"/>
                  <a:gd name="T3" fmla="*/ 46 h 149"/>
                  <a:gd name="T4" fmla="*/ 84 w 149"/>
                  <a:gd name="T5" fmla="*/ 46 h 149"/>
                  <a:gd name="T6" fmla="*/ 115 w 149"/>
                  <a:gd name="T7" fmla="*/ 75 h 149"/>
                  <a:gd name="T8" fmla="*/ 84 w 149"/>
                  <a:gd name="T9" fmla="*/ 104 h 149"/>
                  <a:gd name="T10" fmla="*/ 65 w 149"/>
                  <a:gd name="T11" fmla="*/ 104 h 149"/>
                  <a:gd name="T12" fmla="*/ 88 w 149"/>
                  <a:gd name="T13" fmla="*/ 82 h 149"/>
                  <a:gd name="T14" fmla="*/ 36 w 149"/>
                  <a:gd name="T15" fmla="*/ 82 h 149"/>
                  <a:gd name="T16" fmla="*/ 36 w 149"/>
                  <a:gd name="T17" fmla="*/ 67 h 149"/>
                  <a:gd name="T18" fmla="*/ 88 w 149"/>
                  <a:gd name="T19" fmla="*/ 67 h 149"/>
                  <a:gd name="T20" fmla="*/ 74 w 149"/>
                  <a:gd name="T21" fmla="*/ 9 h 149"/>
                  <a:gd name="T22" fmla="*/ 140 w 149"/>
                  <a:gd name="T23" fmla="*/ 75 h 149"/>
                  <a:gd name="T24" fmla="*/ 74 w 149"/>
                  <a:gd name="T25" fmla="*/ 140 h 149"/>
                  <a:gd name="T26" fmla="*/ 9 w 149"/>
                  <a:gd name="T27" fmla="*/ 75 h 149"/>
                  <a:gd name="T28" fmla="*/ 74 w 149"/>
                  <a:gd name="T29" fmla="*/ 9 h 149"/>
                  <a:gd name="T30" fmla="*/ 74 w 149"/>
                  <a:gd name="T31" fmla="*/ 0 h 149"/>
                  <a:gd name="T32" fmla="*/ 0 w 149"/>
                  <a:gd name="T33" fmla="*/ 75 h 149"/>
                  <a:gd name="T34" fmla="*/ 74 w 149"/>
                  <a:gd name="T35" fmla="*/ 149 h 149"/>
                  <a:gd name="T36" fmla="*/ 149 w 149"/>
                  <a:gd name="T37" fmla="*/ 75 h 149"/>
                  <a:gd name="T38" fmla="*/ 74 w 149"/>
                  <a:gd name="T39" fmla="*/ 0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49" h="149">
                    <a:moveTo>
                      <a:pt x="88" y="67"/>
                    </a:moveTo>
                    <a:cubicBezTo>
                      <a:pt x="65" y="46"/>
                      <a:pt x="65" y="46"/>
                      <a:pt x="65" y="46"/>
                    </a:cubicBezTo>
                    <a:cubicBezTo>
                      <a:pt x="84" y="46"/>
                      <a:pt x="84" y="46"/>
                      <a:pt x="84" y="46"/>
                    </a:cubicBezTo>
                    <a:cubicBezTo>
                      <a:pt x="115" y="75"/>
                      <a:pt x="115" y="75"/>
                      <a:pt x="115" y="75"/>
                    </a:cubicBezTo>
                    <a:cubicBezTo>
                      <a:pt x="84" y="104"/>
                      <a:pt x="84" y="104"/>
                      <a:pt x="84" y="104"/>
                    </a:cubicBezTo>
                    <a:cubicBezTo>
                      <a:pt x="65" y="104"/>
                      <a:pt x="65" y="104"/>
                      <a:pt x="65" y="104"/>
                    </a:cubicBezTo>
                    <a:cubicBezTo>
                      <a:pt x="88" y="82"/>
                      <a:pt x="88" y="82"/>
                      <a:pt x="88" y="82"/>
                    </a:cubicBezTo>
                    <a:cubicBezTo>
                      <a:pt x="36" y="82"/>
                      <a:pt x="36" y="82"/>
                      <a:pt x="36" y="82"/>
                    </a:cubicBezTo>
                    <a:cubicBezTo>
                      <a:pt x="36" y="67"/>
                      <a:pt x="36" y="67"/>
                      <a:pt x="36" y="67"/>
                    </a:cubicBezTo>
                    <a:lnTo>
                      <a:pt x="88" y="67"/>
                    </a:lnTo>
                    <a:close/>
                    <a:moveTo>
                      <a:pt x="74" y="9"/>
                    </a:moveTo>
                    <a:cubicBezTo>
                      <a:pt x="110" y="9"/>
                      <a:pt x="140" y="39"/>
                      <a:pt x="140" y="75"/>
                    </a:cubicBezTo>
                    <a:cubicBezTo>
                      <a:pt x="140" y="111"/>
                      <a:pt x="110" y="140"/>
                      <a:pt x="74" y="140"/>
                    </a:cubicBezTo>
                    <a:cubicBezTo>
                      <a:pt x="38" y="140"/>
                      <a:pt x="9" y="111"/>
                      <a:pt x="9" y="75"/>
                    </a:cubicBezTo>
                    <a:cubicBezTo>
                      <a:pt x="9" y="39"/>
                      <a:pt x="38" y="9"/>
                      <a:pt x="74" y="9"/>
                    </a:cubicBezTo>
                    <a:moveTo>
                      <a:pt x="74" y="0"/>
                    </a:moveTo>
                    <a:cubicBezTo>
                      <a:pt x="33" y="0"/>
                      <a:pt x="0" y="33"/>
                      <a:pt x="0" y="75"/>
                    </a:cubicBezTo>
                    <a:cubicBezTo>
                      <a:pt x="0" y="116"/>
                      <a:pt x="33" y="149"/>
                      <a:pt x="74" y="149"/>
                    </a:cubicBezTo>
                    <a:cubicBezTo>
                      <a:pt x="116" y="149"/>
                      <a:pt x="149" y="116"/>
                      <a:pt x="149" y="75"/>
                    </a:cubicBezTo>
                    <a:cubicBezTo>
                      <a:pt x="149" y="33"/>
                      <a:pt x="116" y="0"/>
                      <a:pt x="74" y="0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8" tIns="34293" rIns="68588" bIns="3429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24" dirty="0">
                  <a:solidFill>
                    <a:srgbClr val="000000"/>
                  </a:solidFill>
                </a:endParaRPr>
              </a:p>
            </p:txBody>
          </p:sp>
        </p:grpSp>
        <p:pic>
          <p:nvPicPr>
            <p:cNvPr id="36" name="Picture 3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38845" y="4842825"/>
              <a:ext cx="1438707" cy="45777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1867611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443" y="607975"/>
            <a:ext cx="5715000" cy="238125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0786" y="3310032"/>
            <a:ext cx="5715000" cy="85725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75321" y="856796"/>
            <a:ext cx="1714500" cy="142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581907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/>
        </p:nvGrpSpPr>
        <p:grpSpPr>
          <a:xfrm>
            <a:off x="203835" y="171069"/>
            <a:ext cx="7193280" cy="2420112"/>
            <a:chOff x="2499360" y="2218944"/>
            <a:chExt cx="7193280" cy="2420112"/>
          </a:xfrm>
        </p:grpSpPr>
        <p:pic>
          <p:nvPicPr>
            <p:cNvPr id="2" name="Picture 1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99360" y="2218944"/>
              <a:ext cx="7193280" cy="2420112"/>
            </a:xfrm>
            <a:prstGeom prst="rect">
              <a:avLst/>
            </a:prstGeom>
          </p:spPr>
        </p:pic>
        <p:sp>
          <p:nvSpPr>
            <p:cNvPr id="3" name="Rectangle 2"/>
            <p:cNvSpPr/>
            <p:nvPr/>
          </p:nvSpPr>
          <p:spPr>
            <a:xfrm>
              <a:off x="5160264" y="2752344"/>
              <a:ext cx="3828288" cy="932688"/>
            </a:xfrm>
            <a:prstGeom prst="rect">
              <a:avLst/>
            </a:prstGeom>
            <a:solidFill>
              <a:srgbClr val="6920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000" dirty="0" smtClean="0">
                  <a:latin typeface="Segoe UI" panose="020B0502040204020203" pitchFamily="34" charset="0"/>
                  <a:cs typeface="Segoe UI" panose="020B0502040204020203" pitchFamily="34" charset="0"/>
                </a:rPr>
                <a:t>Constant Contact, the #1 email marketing provider, and the Microsoft Partner Program are working together to help you become a better marketer.  </a:t>
              </a:r>
              <a:endParaRPr lang="en-US" sz="10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835" y="3058287"/>
            <a:ext cx="8572500" cy="3143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66430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689" y="55336"/>
            <a:ext cx="9334500" cy="314325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98892" y="758784"/>
            <a:ext cx="2023710" cy="2144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264656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7" t="5444" b="7951"/>
          <a:stretch>
            <a:fillRect/>
          </a:stretch>
        </p:blipFill>
        <p:spPr bwMode="auto">
          <a:xfrm>
            <a:off x="550636" y="4735172"/>
            <a:ext cx="10529780" cy="2041751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Picture 2" descr="cid:image007.jpg@01D0AF49.2A5DFB20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779" y="2696029"/>
            <a:ext cx="5705475" cy="152400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06" name="Group 105"/>
          <p:cNvGrpSpPr/>
          <p:nvPr/>
        </p:nvGrpSpPr>
        <p:grpSpPr>
          <a:xfrm>
            <a:off x="1406978" y="586955"/>
            <a:ext cx="6659656" cy="1562787"/>
            <a:chOff x="1406978" y="428229"/>
            <a:chExt cx="5705475" cy="1524000"/>
          </a:xfrm>
        </p:grpSpPr>
        <p:sp>
          <p:nvSpPr>
            <p:cNvPr id="4" name="Rectangle 3"/>
            <p:cNvSpPr/>
            <p:nvPr/>
          </p:nvSpPr>
          <p:spPr>
            <a:xfrm>
              <a:off x="1406978" y="428229"/>
              <a:ext cx="5705475" cy="15240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91440" rtlCol="0" anchor="b"/>
            <a:lstStyle/>
            <a:p>
              <a:r>
                <a:rPr lang="en-US" sz="1200" dirty="0" smtClean="0">
                  <a:latin typeface="Segoe UI Light" panose="020B0502040204020203" pitchFamily="34" charset="0"/>
                  <a:cs typeface="Segoe UI Light" panose="020B0502040204020203" pitchFamily="34" charset="0"/>
                </a:rPr>
                <a:t>Microsoft Virtual Event Series</a:t>
              </a:r>
            </a:p>
            <a:p>
              <a:r>
                <a:rPr lang="en-US" dirty="0" smtClean="0">
                  <a:latin typeface="Segoe UI Light" panose="020B0502040204020203" pitchFamily="34" charset="0"/>
                  <a:cs typeface="Segoe UI Light" panose="020B0502040204020203" pitchFamily="34" charset="0"/>
                </a:rPr>
                <a:t>The Transformative Power of the Cloud</a:t>
              </a:r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" name="Rectangle 4"/>
            <p:cNvSpPr/>
            <p:nvPr/>
          </p:nvSpPr>
          <p:spPr>
            <a:xfrm>
              <a:off x="1406979" y="428229"/>
              <a:ext cx="915014" cy="870857"/>
            </a:xfrm>
            <a:prstGeom prst="rect">
              <a:avLst/>
            </a:prstGeom>
            <a:solidFill>
              <a:srgbClr val="5C2D9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1200" dirty="0" smtClean="0">
                  <a:latin typeface="Segoe UI" panose="020B0502040204020203" pitchFamily="34" charset="0"/>
                  <a:cs typeface="Segoe UI" panose="020B0502040204020203" pitchFamily="34" charset="0"/>
                </a:rPr>
                <a:t>Microsoft Technology Centers</a:t>
              </a: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2306065" y="505554"/>
              <a:ext cx="148045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dirty="0" smtClean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tudios</a:t>
              </a:r>
              <a:endParaRPr lang="en-US" sz="24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grpSp>
          <p:nvGrpSpPr>
            <p:cNvPr id="8" name="Group 4"/>
            <p:cNvGrpSpPr>
              <a:grpSpLocks noChangeAspect="1"/>
            </p:cNvGrpSpPr>
            <p:nvPr/>
          </p:nvGrpSpPr>
          <p:grpSpPr bwMode="auto">
            <a:xfrm>
              <a:off x="5251054" y="582220"/>
              <a:ext cx="1689892" cy="1217569"/>
              <a:chOff x="4678" y="841"/>
              <a:chExt cx="1678" cy="1209"/>
            </a:xfrm>
          </p:grpSpPr>
          <p:sp>
            <p:nvSpPr>
              <p:cNvPr id="10" name="Freeform 5"/>
              <p:cNvSpPr>
                <a:spLocks/>
              </p:cNvSpPr>
              <p:nvPr/>
            </p:nvSpPr>
            <p:spPr bwMode="auto">
              <a:xfrm>
                <a:off x="6090" y="1107"/>
                <a:ext cx="196" cy="127"/>
              </a:xfrm>
              <a:custGeom>
                <a:avLst/>
                <a:gdLst>
                  <a:gd name="T0" fmla="*/ 118 w 140"/>
                  <a:gd name="T1" fmla="*/ 40 h 91"/>
                  <a:gd name="T2" fmla="*/ 118 w 140"/>
                  <a:gd name="T3" fmla="*/ 38 h 91"/>
                  <a:gd name="T4" fmla="*/ 79 w 140"/>
                  <a:gd name="T5" fmla="*/ 0 h 91"/>
                  <a:gd name="T6" fmla="*/ 47 w 140"/>
                  <a:gd name="T7" fmla="*/ 17 h 91"/>
                  <a:gd name="T8" fmla="*/ 37 w 140"/>
                  <a:gd name="T9" fmla="*/ 14 h 91"/>
                  <a:gd name="T10" fmla="*/ 24 w 140"/>
                  <a:gd name="T11" fmla="*/ 18 h 91"/>
                  <a:gd name="T12" fmla="*/ 14 w 140"/>
                  <a:gd name="T13" fmla="*/ 36 h 91"/>
                  <a:gd name="T14" fmla="*/ 0 w 140"/>
                  <a:gd name="T15" fmla="*/ 61 h 91"/>
                  <a:gd name="T16" fmla="*/ 27 w 140"/>
                  <a:gd name="T17" fmla="*/ 91 h 91"/>
                  <a:gd name="T18" fmla="*/ 31 w 140"/>
                  <a:gd name="T19" fmla="*/ 91 h 91"/>
                  <a:gd name="T20" fmla="*/ 34 w 140"/>
                  <a:gd name="T21" fmla="*/ 91 h 91"/>
                  <a:gd name="T22" fmla="*/ 97 w 140"/>
                  <a:gd name="T23" fmla="*/ 91 h 91"/>
                  <a:gd name="T24" fmla="*/ 98 w 140"/>
                  <a:gd name="T25" fmla="*/ 91 h 91"/>
                  <a:gd name="T26" fmla="*/ 99 w 140"/>
                  <a:gd name="T27" fmla="*/ 91 h 91"/>
                  <a:gd name="T28" fmla="*/ 104 w 140"/>
                  <a:gd name="T29" fmla="*/ 91 h 91"/>
                  <a:gd name="T30" fmla="*/ 114 w 140"/>
                  <a:gd name="T31" fmla="*/ 91 h 91"/>
                  <a:gd name="T32" fmla="*/ 140 w 140"/>
                  <a:gd name="T33" fmla="*/ 66 h 91"/>
                  <a:gd name="T34" fmla="*/ 118 w 140"/>
                  <a:gd name="T35" fmla="*/ 4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91">
                    <a:moveTo>
                      <a:pt x="118" y="40"/>
                    </a:moveTo>
                    <a:cubicBezTo>
                      <a:pt x="118" y="39"/>
                      <a:pt x="118" y="39"/>
                      <a:pt x="118" y="38"/>
                    </a:cubicBezTo>
                    <a:cubicBezTo>
                      <a:pt x="118" y="17"/>
                      <a:pt x="100" y="0"/>
                      <a:pt x="79" y="0"/>
                    </a:cubicBezTo>
                    <a:cubicBezTo>
                      <a:pt x="66" y="0"/>
                      <a:pt x="54" y="7"/>
                      <a:pt x="47" y="17"/>
                    </a:cubicBezTo>
                    <a:cubicBezTo>
                      <a:pt x="44" y="15"/>
                      <a:pt x="40" y="14"/>
                      <a:pt x="37" y="14"/>
                    </a:cubicBezTo>
                    <a:cubicBezTo>
                      <a:pt x="32" y="14"/>
                      <a:pt x="28" y="15"/>
                      <a:pt x="24" y="18"/>
                    </a:cubicBezTo>
                    <a:cubicBezTo>
                      <a:pt x="18" y="22"/>
                      <a:pt x="14" y="28"/>
                      <a:pt x="14" y="36"/>
                    </a:cubicBezTo>
                    <a:cubicBezTo>
                      <a:pt x="6" y="41"/>
                      <a:pt x="0" y="51"/>
                      <a:pt x="0" y="61"/>
                    </a:cubicBezTo>
                    <a:cubicBezTo>
                      <a:pt x="0" y="77"/>
                      <a:pt x="12" y="90"/>
                      <a:pt x="27" y="91"/>
                    </a:cubicBezTo>
                    <a:cubicBezTo>
                      <a:pt x="28" y="91"/>
                      <a:pt x="30" y="91"/>
                      <a:pt x="31" y="91"/>
                    </a:cubicBezTo>
                    <a:cubicBezTo>
                      <a:pt x="32" y="91"/>
                      <a:pt x="33" y="91"/>
                      <a:pt x="34" y="91"/>
                    </a:cubicBezTo>
                    <a:cubicBezTo>
                      <a:pt x="48" y="91"/>
                      <a:pt x="81" y="91"/>
                      <a:pt x="97" y="91"/>
                    </a:cubicBezTo>
                    <a:cubicBezTo>
                      <a:pt x="97" y="91"/>
                      <a:pt x="97" y="91"/>
                      <a:pt x="98" y="91"/>
                    </a:cubicBezTo>
                    <a:cubicBezTo>
                      <a:pt x="99" y="91"/>
                      <a:pt x="99" y="91"/>
                      <a:pt x="99" y="91"/>
                    </a:cubicBezTo>
                    <a:cubicBezTo>
                      <a:pt x="100" y="91"/>
                      <a:pt x="102" y="91"/>
                      <a:pt x="104" y="91"/>
                    </a:cubicBezTo>
                    <a:cubicBezTo>
                      <a:pt x="114" y="91"/>
                      <a:pt x="114" y="91"/>
                      <a:pt x="114" y="91"/>
                    </a:cubicBezTo>
                    <a:cubicBezTo>
                      <a:pt x="128" y="91"/>
                      <a:pt x="140" y="80"/>
                      <a:pt x="140" y="66"/>
                    </a:cubicBezTo>
                    <a:cubicBezTo>
                      <a:pt x="140" y="53"/>
                      <a:pt x="130" y="42"/>
                      <a:pt x="118" y="40"/>
                    </a:cubicBez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" name="Freeform 6"/>
              <p:cNvSpPr>
                <a:spLocks/>
              </p:cNvSpPr>
              <p:nvPr/>
            </p:nvSpPr>
            <p:spPr bwMode="auto">
              <a:xfrm>
                <a:off x="5466" y="1738"/>
                <a:ext cx="369" cy="312"/>
              </a:xfrm>
              <a:custGeom>
                <a:avLst/>
                <a:gdLst>
                  <a:gd name="T0" fmla="*/ 166 w 369"/>
                  <a:gd name="T1" fmla="*/ 53 h 312"/>
                  <a:gd name="T2" fmla="*/ 166 w 369"/>
                  <a:gd name="T3" fmla="*/ 0 h 312"/>
                  <a:gd name="T4" fmla="*/ 126 w 369"/>
                  <a:gd name="T5" fmla="*/ 0 h 312"/>
                  <a:gd name="T6" fmla="*/ 126 w 369"/>
                  <a:gd name="T7" fmla="*/ 53 h 312"/>
                  <a:gd name="T8" fmla="*/ 112 w 369"/>
                  <a:gd name="T9" fmla="*/ 53 h 312"/>
                  <a:gd name="T10" fmla="*/ 112 w 369"/>
                  <a:gd name="T11" fmla="*/ 0 h 312"/>
                  <a:gd name="T12" fmla="*/ 71 w 369"/>
                  <a:gd name="T13" fmla="*/ 0 h 312"/>
                  <a:gd name="T14" fmla="*/ 71 w 369"/>
                  <a:gd name="T15" fmla="*/ 53 h 312"/>
                  <a:gd name="T16" fmla="*/ 0 w 369"/>
                  <a:gd name="T17" fmla="*/ 53 h 312"/>
                  <a:gd name="T18" fmla="*/ 0 w 369"/>
                  <a:gd name="T19" fmla="*/ 66 h 312"/>
                  <a:gd name="T20" fmla="*/ 17 w 369"/>
                  <a:gd name="T21" fmla="*/ 66 h 312"/>
                  <a:gd name="T22" fmla="*/ 17 w 369"/>
                  <a:gd name="T23" fmla="*/ 312 h 312"/>
                  <a:gd name="T24" fmla="*/ 352 w 369"/>
                  <a:gd name="T25" fmla="*/ 312 h 312"/>
                  <a:gd name="T26" fmla="*/ 352 w 369"/>
                  <a:gd name="T27" fmla="*/ 66 h 312"/>
                  <a:gd name="T28" fmla="*/ 369 w 369"/>
                  <a:gd name="T29" fmla="*/ 66 h 312"/>
                  <a:gd name="T30" fmla="*/ 369 w 369"/>
                  <a:gd name="T31" fmla="*/ 53 h 312"/>
                  <a:gd name="T32" fmla="*/ 166 w 369"/>
                  <a:gd name="T33" fmla="*/ 53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69" h="312">
                    <a:moveTo>
                      <a:pt x="166" y="53"/>
                    </a:moveTo>
                    <a:lnTo>
                      <a:pt x="166" y="0"/>
                    </a:lnTo>
                    <a:lnTo>
                      <a:pt x="126" y="0"/>
                    </a:lnTo>
                    <a:lnTo>
                      <a:pt x="126" y="53"/>
                    </a:lnTo>
                    <a:lnTo>
                      <a:pt x="112" y="53"/>
                    </a:lnTo>
                    <a:lnTo>
                      <a:pt x="112" y="0"/>
                    </a:lnTo>
                    <a:lnTo>
                      <a:pt x="71" y="0"/>
                    </a:lnTo>
                    <a:lnTo>
                      <a:pt x="71" y="53"/>
                    </a:lnTo>
                    <a:lnTo>
                      <a:pt x="0" y="53"/>
                    </a:lnTo>
                    <a:lnTo>
                      <a:pt x="0" y="66"/>
                    </a:lnTo>
                    <a:lnTo>
                      <a:pt x="17" y="66"/>
                    </a:lnTo>
                    <a:lnTo>
                      <a:pt x="17" y="312"/>
                    </a:lnTo>
                    <a:lnTo>
                      <a:pt x="352" y="312"/>
                    </a:lnTo>
                    <a:lnTo>
                      <a:pt x="352" y="66"/>
                    </a:lnTo>
                    <a:lnTo>
                      <a:pt x="369" y="66"/>
                    </a:lnTo>
                    <a:lnTo>
                      <a:pt x="369" y="53"/>
                    </a:lnTo>
                    <a:lnTo>
                      <a:pt x="166" y="53"/>
                    </a:lnTo>
                    <a:close/>
                  </a:path>
                </a:pathLst>
              </a:cu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" name="Freeform 7"/>
              <p:cNvSpPr>
                <a:spLocks/>
              </p:cNvSpPr>
              <p:nvPr/>
            </p:nvSpPr>
            <p:spPr bwMode="auto">
              <a:xfrm>
                <a:off x="5660" y="1738"/>
                <a:ext cx="370" cy="312"/>
              </a:xfrm>
              <a:custGeom>
                <a:avLst/>
                <a:gdLst>
                  <a:gd name="T0" fmla="*/ 167 w 370"/>
                  <a:gd name="T1" fmla="*/ 53 h 312"/>
                  <a:gd name="T2" fmla="*/ 167 w 370"/>
                  <a:gd name="T3" fmla="*/ 0 h 312"/>
                  <a:gd name="T4" fmla="*/ 126 w 370"/>
                  <a:gd name="T5" fmla="*/ 0 h 312"/>
                  <a:gd name="T6" fmla="*/ 126 w 370"/>
                  <a:gd name="T7" fmla="*/ 53 h 312"/>
                  <a:gd name="T8" fmla="*/ 112 w 370"/>
                  <a:gd name="T9" fmla="*/ 53 h 312"/>
                  <a:gd name="T10" fmla="*/ 112 w 370"/>
                  <a:gd name="T11" fmla="*/ 0 h 312"/>
                  <a:gd name="T12" fmla="*/ 73 w 370"/>
                  <a:gd name="T13" fmla="*/ 0 h 312"/>
                  <a:gd name="T14" fmla="*/ 73 w 370"/>
                  <a:gd name="T15" fmla="*/ 53 h 312"/>
                  <a:gd name="T16" fmla="*/ 0 w 370"/>
                  <a:gd name="T17" fmla="*/ 53 h 312"/>
                  <a:gd name="T18" fmla="*/ 0 w 370"/>
                  <a:gd name="T19" fmla="*/ 66 h 312"/>
                  <a:gd name="T20" fmla="*/ 17 w 370"/>
                  <a:gd name="T21" fmla="*/ 66 h 312"/>
                  <a:gd name="T22" fmla="*/ 17 w 370"/>
                  <a:gd name="T23" fmla="*/ 312 h 312"/>
                  <a:gd name="T24" fmla="*/ 353 w 370"/>
                  <a:gd name="T25" fmla="*/ 312 h 312"/>
                  <a:gd name="T26" fmla="*/ 353 w 370"/>
                  <a:gd name="T27" fmla="*/ 66 h 312"/>
                  <a:gd name="T28" fmla="*/ 370 w 370"/>
                  <a:gd name="T29" fmla="*/ 66 h 312"/>
                  <a:gd name="T30" fmla="*/ 370 w 370"/>
                  <a:gd name="T31" fmla="*/ 53 h 312"/>
                  <a:gd name="T32" fmla="*/ 167 w 370"/>
                  <a:gd name="T33" fmla="*/ 53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70" h="312">
                    <a:moveTo>
                      <a:pt x="167" y="53"/>
                    </a:moveTo>
                    <a:lnTo>
                      <a:pt x="167" y="0"/>
                    </a:lnTo>
                    <a:lnTo>
                      <a:pt x="126" y="0"/>
                    </a:lnTo>
                    <a:lnTo>
                      <a:pt x="126" y="53"/>
                    </a:lnTo>
                    <a:lnTo>
                      <a:pt x="112" y="53"/>
                    </a:lnTo>
                    <a:lnTo>
                      <a:pt x="112" y="0"/>
                    </a:lnTo>
                    <a:lnTo>
                      <a:pt x="73" y="0"/>
                    </a:lnTo>
                    <a:lnTo>
                      <a:pt x="73" y="53"/>
                    </a:lnTo>
                    <a:lnTo>
                      <a:pt x="0" y="53"/>
                    </a:lnTo>
                    <a:lnTo>
                      <a:pt x="0" y="66"/>
                    </a:lnTo>
                    <a:lnTo>
                      <a:pt x="17" y="66"/>
                    </a:lnTo>
                    <a:lnTo>
                      <a:pt x="17" y="312"/>
                    </a:lnTo>
                    <a:lnTo>
                      <a:pt x="353" y="312"/>
                    </a:lnTo>
                    <a:lnTo>
                      <a:pt x="353" y="66"/>
                    </a:lnTo>
                    <a:lnTo>
                      <a:pt x="370" y="66"/>
                    </a:lnTo>
                    <a:lnTo>
                      <a:pt x="370" y="53"/>
                    </a:lnTo>
                    <a:lnTo>
                      <a:pt x="167" y="53"/>
                    </a:lnTo>
                    <a:close/>
                  </a:path>
                </a:pathLst>
              </a:cu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" name="Freeform 8"/>
              <p:cNvSpPr>
                <a:spLocks/>
              </p:cNvSpPr>
              <p:nvPr/>
            </p:nvSpPr>
            <p:spPr bwMode="auto">
              <a:xfrm>
                <a:off x="4678" y="1107"/>
                <a:ext cx="195" cy="127"/>
              </a:xfrm>
              <a:custGeom>
                <a:avLst/>
                <a:gdLst>
                  <a:gd name="T0" fmla="*/ 117 w 139"/>
                  <a:gd name="T1" fmla="*/ 40 h 91"/>
                  <a:gd name="T2" fmla="*/ 117 w 139"/>
                  <a:gd name="T3" fmla="*/ 38 h 91"/>
                  <a:gd name="T4" fmla="*/ 79 w 139"/>
                  <a:gd name="T5" fmla="*/ 0 h 91"/>
                  <a:gd name="T6" fmla="*/ 47 w 139"/>
                  <a:gd name="T7" fmla="*/ 17 h 91"/>
                  <a:gd name="T8" fmla="*/ 36 w 139"/>
                  <a:gd name="T9" fmla="*/ 14 h 91"/>
                  <a:gd name="T10" fmla="*/ 24 w 139"/>
                  <a:gd name="T11" fmla="*/ 18 h 91"/>
                  <a:gd name="T12" fmla="*/ 14 w 139"/>
                  <a:gd name="T13" fmla="*/ 36 h 91"/>
                  <a:gd name="T14" fmla="*/ 0 w 139"/>
                  <a:gd name="T15" fmla="*/ 61 h 91"/>
                  <a:gd name="T16" fmla="*/ 27 w 139"/>
                  <a:gd name="T17" fmla="*/ 91 h 91"/>
                  <a:gd name="T18" fmla="*/ 30 w 139"/>
                  <a:gd name="T19" fmla="*/ 91 h 91"/>
                  <a:gd name="T20" fmla="*/ 33 w 139"/>
                  <a:gd name="T21" fmla="*/ 91 h 91"/>
                  <a:gd name="T22" fmla="*/ 96 w 139"/>
                  <a:gd name="T23" fmla="*/ 91 h 91"/>
                  <a:gd name="T24" fmla="*/ 97 w 139"/>
                  <a:gd name="T25" fmla="*/ 91 h 91"/>
                  <a:gd name="T26" fmla="*/ 99 w 139"/>
                  <a:gd name="T27" fmla="*/ 91 h 91"/>
                  <a:gd name="T28" fmla="*/ 103 w 139"/>
                  <a:gd name="T29" fmla="*/ 91 h 91"/>
                  <a:gd name="T30" fmla="*/ 113 w 139"/>
                  <a:gd name="T31" fmla="*/ 91 h 91"/>
                  <a:gd name="T32" fmla="*/ 139 w 139"/>
                  <a:gd name="T33" fmla="*/ 66 h 91"/>
                  <a:gd name="T34" fmla="*/ 117 w 139"/>
                  <a:gd name="T35" fmla="*/ 4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9" h="91">
                    <a:moveTo>
                      <a:pt x="117" y="40"/>
                    </a:moveTo>
                    <a:cubicBezTo>
                      <a:pt x="117" y="39"/>
                      <a:pt x="117" y="39"/>
                      <a:pt x="117" y="38"/>
                    </a:cubicBezTo>
                    <a:cubicBezTo>
                      <a:pt x="117" y="17"/>
                      <a:pt x="100" y="0"/>
                      <a:pt x="79" y="0"/>
                    </a:cubicBezTo>
                    <a:cubicBezTo>
                      <a:pt x="65" y="0"/>
                      <a:pt x="53" y="7"/>
                      <a:pt x="47" y="17"/>
                    </a:cubicBezTo>
                    <a:cubicBezTo>
                      <a:pt x="43" y="15"/>
                      <a:pt x="40" y="14"/>
                      <a:pt x="36" y="14"/>
                    </a:cubicBezTo>
                    <a:cubicBezTo>
                      <a:pt x="31" y="14"/>
                      <a:pt x="27" y="15"/>
                      <a:pt x="24" y="18"/>
                    </a:cubicBezTo>
                    <a:cubicBezTo>
                      <a:pt x="18" y="22"/>
                      <a:pt x="14" y="28"/>
                      <a:pt x="14" y="36"/>
                    </a:cubicBezTo>
                    <a:cubicBezTo>
                      <a:pt x="6" y="41"/>
                      <a:pt x="0" y="51"/>
                      <a:pt x="0" y="61"/>
                    </a:cubicBezTo>
                    <a:cubicBezTo>
                      <a:pt x="0" y="77"/>
                      <a:pt x="12" y="90"/>
                      <a:pt x="27" y="91"/>
                    </a:cubicBezTo>
                    <a:cubicBezTo>
                      <a:pt x="28" y="91"/>
                      <a:pt x="29" y="91"/>
                      <a:pt x="30" y="91"/>
                    </a:cubicBezTo>
                    <a:cubicBezTo>
                      <a:pt x="31" y="91"/>
                      <a:pt x="32" y="91"/>
                      <a:pt x="33" y="91"/>
                    </a:cubicBezTo>
                    <a:cubicBezTo>
                      <a:pt x="47" y="91"/>
                      <a:pt x="80" y="91"/>
                      <a:pt x="96" y="91"/>
                    </a:cubicBezTo>
                    <a:cubicBezTo>
                      <a:pt x="97" y="91"/>
                      <a:pt x="97" y="91"/>
                      <a:pt x="97" y="91"/>
                    </a:cubicBezTo>
                    <a:cubicBezTo>
                      <a:pt x="99" y="91"/>
                      <a:pt x="99" y="91"/>
                      <a:pt x="99" y="91"/>
                    </a:cubicBezTo>
                    <a:cubicBezTo>
                      <a:pt x="100" y="91"/>
                      <a:pt x="102" y="91"/>
                      <a:pt x="103" y="91"/>
                    </a:cubicBezTo>
                    <a:cubicBezTo>
                      <a:pt x="113" y="91"/>
                      <a:pt x="113" y="91"/>
                      <a:pt x="113" y="91"/>
                    </a:cubicBezTo>
                    <a:cubicBezTo>
                      <a:pt x="128" y="91"/>
                      <a:pt x="139" y="80"/>
                      <a:pt x="139" y="66"/>
                    </a:cubicBezTo>
                    <a:cubicBezTo>
                      <a:pt x="139" y="53"/>
                      <a:pt x="130" y="42"/>
                      <a:pt x="117" y="40"/>
                    </a:cubicBez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" name="Rectangle 9"/>
              <p:cNvSpPr>
                <a:spLocks noChangeArrowheads="1"/>
              </p:cNvSpPr>
              <p:nvPr/>
            </p:nvSpPr>
            <p:spPr bwMode="auto">
              <a:xfrm>
                <a:off x="5231" y="1629"/>
                <a:ext cx="334" cy="421"/>
              </a:xfrm>
              <a:prstGeom prst="rect">
                <a:avLst/>
              </a:prstGeom>
              <a:solidFill>
                <a:srgbClr val="9B4F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Rectangle 10"/>
              <p:cNvSpPr>
                <a:spLocks noChangeArrowheads="1"/>
              </p:cNvSpPr>
              <p:nvPr/>
            </p:nvSpPr>
            <p:spPr bwMode="auto">
              <a:xfrm>
                <a:off x="5214" y="1616"/>
                <a:ext cx="368" cy="13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11"/>
              <p:cNvSpPr>
                <a:spLocks noChangeArrowheads="1"/>
              </p:cNvSpPr>
              <p:nvPr/>
            </p:nvSpPr>
            <p:spPr bwMode="auto">
              <a:xfrm>
                <a:off x="5262" y="1667"/>
                <a:ext cx="43" cy="44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12"/>
              <p:cNvSpPr>
                <a:spLocks noChangeArrowheads="1"/>
              </p:cNvSpPr>
              <p:nvPr/>
            </p:nvSpPr>
            <p:spPr bwMode="auto">
              <a:xfrm>
                <a:off x="5262" y="1667"/>
                <a:ext cx="43" cy="22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13"/>
              <p:cNvSpPr>
                <a:spLocks noChangeArrowheads="1"/>
              </p:cNvSpPr>
              <p:nvPr/>
            </p:nvSpPr>
            <p:spPr bwMode="auto">
              <a:xfrm>
                <a:off x="5337" y="1667"/>
                <a:ext cx="44" cy="44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14"/>
              <p:cNvSpPr>
                <a:spLocks noChangeArrowheads="1"/>
              </p:cNvSpPr>
              <p:nvPr/>
            </p:nvSpPr>
            <p:spPr bwMode="auto">
              <a:xfrm>
                <a:off x="5413" y="1667"/>
                <a:ext cx="45" cy="4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15"/>
              <p:cNvSpPr>
                <a:spLocks noChangeArrowheads="1"/>
              </p:cNvSpPr>
              <p:nvPr/>
            </p:nvSpPr>
            <p:spPr bwMode="auto">
              <a:xfrm>
                <a:off x="5337" y="1965"/>
                <a:ext cx="44" cy="85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16"/>
              <p:cNvSpPr>
                <a:spLocks noChangeArrowheads="1"/>
              </p:cNvSpPr>
              <p:nvPr/>
            </p:nvSpPr>
            <p:spPr bwMode="auto">
              <a:xfrm>
                <a:off x="5413" y="1965"/>
                <a:ext cx="45" cy="85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17"/>
              <p:cNvSpPr>
                <a:spLocks noChangeArrowheads="1"/>
              </p:cNvSpPr>
              <p:nvPr/>
            </p:nvSpPr>
            <p:spPr bwMode="auto">
              <a:xfrm>
                <a:off x="5490" y="1667"/>
                <a:ext cx="43" cy="44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18"/>
              <p:cNvSpPr>
                <a:spLocks noChangeArrowheads="1"/>
              </p:cNvSpPr>
              <p:nvPr/>
            </p:nvSpPr>
            <p:spPr bwMode="auto">
              <a:xfrm>
                <a:off x="5262" y="1742"/>
                <a:ext cx="43" cy="4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19"/>
              <p:cNvSpPr>
                <a:spLocks noChangeArrowheads="1"/>
              </p:cNvSpPr>
              <p:nvPr/>
            </p:nvSpPr>
            <p:spPr bwMode="auto">
              <a:xfrm>
                <a:off x="5337" y="1742"/>
                <a:ext cx="44" cy="45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20"/>
              <p:cNvSpPr>
                <a:spLocks noChangeArrowheads="1"/>
              </p:cNvSpPr>
              <p:nvPr/>
            </p:nvSpPr>
            <p:spPr bwMode="auto">
              <a:xfrm>
                <a:off x="5413" y="1742"/>
                <a:ext cx="45" cy="45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21"/>
              <p:cNvSpPr>
                <a:spLocks noChangeArrowheads="1"/>
              </p:cNvSpPr>
              <p:nvPr/>
            </p:nvSpPr>
            <p:spPr bwMode="auto">
              <a:xfrm>
                <a:off x="5490" y="1742"/>
                <a:ext cx="43" cy="45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22"/>
              <p:cNvSpPr>
                <a:spLocks noChangeArrowheads="1"/>
              </p:cNvSpPr>
              <p:nvPr/>
            </p:nvSpPr>
            <p:spPr bwMode="auto">
              <a:xfrm>
                <a:off x="5262" y="1819"/>
                <a:ext cx="43" cy="43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23"/>
              <p:cNvSpPr>
                <a:spLocks noChangeArrowheads="1"/>
              </p:cNvSpPr>
              <p:nvPr/>
            </p:nvSpPr>
            <p:spPr bwMode="auto">
              <a:xfrm>
                <a:off x="5337" y="1819"/>
                <a:ext cx="44" cy="4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24"/>
              <p:cNvSpPr>
                <a:spLocks noChangeArrowheads="1"/>
              </p:cNvSpPr>
              <p:nvPr/>
            </p:nvSpPr>
            <p:spPr bwMode="auto">
              <a:xfrm>
                <a:off x="5413" y="1819"/>
                <a:ext cx="45" cy="43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25"/>
              <p:cNvSpPr>
                <a:spLocks noChangeArrowheads="1"/>
              </p:cNvSpPr>
              <p:nvPr/>
            </p:nvSpPr>
            <p:spPr bwMode="auto">
              <a:xfrm>
                <a:off x="5490" y="1819"/>
                <a:ext cx="43" cy="43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26"/>
              <p:cNvSpPr>
                <a:spLocks noChangeArrowheads="1"/>
              </p:cNvSpPr>
              <p:nvPr/>
            </p:nvSpPr>
            <p:spPr bwMode="auto">
              <a:xfrm>
                <a:off x="5262" y="1895"/>
                <a:ext cx="43" cy="43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27"/>
              <p:cNvSpPr>
                <a:spLocks noChangeArrowheads="1"/>
              </p:cNvSpPr>
              <p:nvPr/>
            </p:nvSpPr>
            <p:spPr bwMode="auto">
              <a:xfrm>
                <a:off x="5337" y="1895"/>
                <a:ext cx="44" cy="4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28"/>
              <p:cNvSpPr>
                <a:spLocks noChangeArrowheads="1"/>
              </p:cNvSpPr>
              <p:nvPr/>
            </p:nvSpPr>
            <p:spPr bwMode="auto">
              <a:xfrm>
                <a:off x="5413" y="1895"/>
                <a:ext cx="45" cy="4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29"/>
              <p:cNvSpPr>
                <a:spLocks noChangeArrowheads="1"/>
              </p:cNvSpPr>
              <p:nvPr/>
            </p:nvSpPr>
            <p:spPr bwMode="auto">
              <a:xfrm>
                <a:off x="5490" y="1895"/>
                <a:ext cx="43" cy="43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Rectangle 30"/>
              <p:cNvSpPr>
                <a:spLocks noChangeArrowheads="1"/>
              </p:cNvSpPr>
              <p:nvPr/>
            </p:nvSpPr>
            <p:spPr bwMode="auto">
              <a:xfrm>
                <a:off x="5262" y="1819"/>
                <a:ext cx="43" cy="21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Rectangle 31"/>
              <p:cNvSpPr>
                <a:spLocks noChangeArrowheads="1"/>
              </p:cNvSpPr>
              <p:nvPr/>
            </p:nvSpPr>
            <p:spPr bwMode="auto">
              <a:xfrm>
                <a:off x="5490" y="1819"/>
                <a:ext cx="43" cy="21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Rectangle 32"/>
              <p:cNvSpPr>
                <a:spLocks noChangeArrowheads="1"/>
              </p:cNvSpPr>
              <p:nvPr/>
            </p:nvSpPr>
            <p:spPr bwMode="auto">
              <a:xfrm>
                <a:off x="5490" y="1742"/>
                <a:ext cx="43" cy="22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Rectangle 33"/>
              <p:cNvSpPr>
                <a:spLocks noChangeArrowheads="1"/>
              </p:cNvSpPr>
              <p:nvPr/>
            </p:nvSpPr>
            <p:spPr bwMode="auto">
              <a:xfrm>
                <a:off x="4750" y="2029"/>
                <a:ext cx="481" cy="21"/>
              </a:xfrm>
              <a:prstGeom prst="rect">
                <a:avLst/>
              </a:prstGeom>
              <a:solidFill>
                <a:srgbClr val="7FB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Rectangle 34"/>
              <p:cNvSpPr>
                <a:spLocks noChangeArrowheads="1"/>
              </p:cNvSpPr>
              <p:nvPr/>
            </p:nvSpPr>
            <p:spPr bwMode="auto">
              <a:xfrm>
                <a:off x="5014" y="1956"/>
                <a:ext cx="20" cy="73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Oval 35"/>
              <p:cNvSpPr>
                <a:spLocks noChangeArrowheads="1"/>
              </p:cNvSpPr>
              <p:nvPr/>
            </p:nvSpPr>
            <p:spPr bwMode="auto">
              <a:xfrm>
                <a:off x="4975" y="1892"/>
                <a:ext cx="97" cy="96"/>
              </a:xfrm>
              <a:prstGeom prst="ellipse">
                <a:avLst/>
              </a:prstGeom>
              <a:solidFill>
                <a:srgbClr val="7FB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Oval 36"/>
              <p:cNvSpPr>
                <a:spLocks noChangeArrowheads="1"/>
              </p:cNvSpPr>
              <p:nvPr/>
            </p:nvSpPr>
            <p:spPr bwMode="auto">
              <a:xfrm>
                <a:off x="4988" y="1843"/>
                <a:ext cx="71" cy="70"/>
              </a:xfrm>
              <a:prstGeom prst="ellipse">
                <a:avLst/>
              </a:prstGeom>
              <a:solidFill>
                <a:srgbClr val="7FB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Rectangle 37"/>
              <p:cNvSpPr>
                <a:spLocks noChangeArrowheads="1"/>
              </p:cNvSpPr>
              <p:nvPr/>
            </p:nvSpPr>
            <p:spPr bwMode="auto">
              <a:xfrm>
                <a:off x="5140" y="1956"/>
                <a:ext cx="20" cy="73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Oval 38"/>
              <p:cNvSpPr>
                <a:spLocks noChangeArrowheads="1"/>
              </p:cNvSpPr>
              <p:nvPr/>
            </p:nvSpPr>
            <p:spPr bwMode="auto">
              <a:xfrm>
                <a:off x="5101" y="1892"/>
                <a:ext cx="96" cy="96"/>
              </a:xfrm>
              <a:prstGeom prst="ellipse">
                <a:avLst/>
              </a:prstGeom>
              <a:solidFill>
                <a:srgbClr val="7FB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Oval 39"/>
              <p:cNvSpPr>
                <a:spLocks noChangeArrowheads="1"/>
              </p:cNvSpPr>
              <p:nvPr/>
            </p:nvSpPr>
            <p:spPr bwMode="auto">
              <a:xfrm>
                <a:off x="5113" y="1843"/>
                <a:ext cx="72" cy="70"/>
              </a:xfrm>
              <a:prstGeom prst="ellipse">
                <a:avLst/>
              </a:prstGeom>
              <a:solidFill>
                <a:srgbClr val="7FB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Rectangle 40"/>
              <p:cNvSpPr>
                <a:spLocks noChangeArrowheads="1"/>
              </p:cNvSpPr>
              <p:nvPr/>
            </p:nvSpPr>
            <p:spPr bwMode="auto">
              <a:xfrm>
                <a:off x="5381" y="1563"/>
                <a:ext cx="130" cy="53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Rectangle 41"/>
              <p:cNvSpPr>
                <a:spLocks noChangeArrowheads="1"/>
              </p:cNvSpPr>
              <p:nvPr/>
            </p:nvSpPr>
            <p:spPr bwMode="auto">
              <a:xfrm>
                <a:off x="6051" y="1783"/>
                <a:ext cx="305" cy="267"/>
              </a:xfrm>
              <a:prstGeom prst="rect">
                <a:avLst/>
              </a:pr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Rectangle 42"/>
              <p:cNvSpPr>
                <a:spLocks noChangeArrowheads="1"/>
              </p:cNvSpPr>
              <p:nvPr/>
            </p:nvSpPr>
            <p:spPr bwMode="auto">
              <a:xfrm>
                <a:off x="6034" y="1770"/>
                <a:ext cx="322" cy="13"/>
              </a:xfrm>
              <a:prstGeom prst="rect">
                <a:avLst/>
              </a:prstGeom>
              <a:solidFill>
                <a:srgbClr val="0072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Rectangle 43"/>
              <p:cNvSpPr>
                <a:spLocks noChangeArrowheads="1"/>
              </p:cNvSpPr>
              <p:nvPr/>
            </p:nvSpPr>
            <p:spPr bwMode="auto">
              <a:xfrm>
                <a:off x="6157" y="1965"/>
                <a:ext cx="45" cy="85"/>
              </a:xfrm>
              <a:prstGeom prst="rect">
                <a:avLst/>
              </a:prstGeom>
              <a:solidFill>
                <a:srgbClr val="0072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Rectangle 44"/>
              <p:cNvSpPr>
                <a:spLocks noChangeArrowheads="1"/>
              </p:cNvSpPr>
              <p:nvPr/>
            </p:nvSpPr>
            <p:spPr bwMode="auto">
              <a:xfrm>
                <a:off x="6232" y="1965"/>
                <a:ext cx="45" cy="85"/>
              </a:xfrm>
              <a:prstGeom prst="rect">
                <a:avLst/>
              </a:prstGeom>
              <a:solidFill>
                <a:srgbClr val="0072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Rectangle 45"/>
              <p:cNvSpPr>
                <a:spLocks noChangeArrowheads="1"/>
              </p:cNvSpPr>
              <p:nvPr/>
            </p:nvSpPr>
            <p:spPr bwMode="auto">
              <a:xfrm>
                <a:off x="6081" y="1819"/>
                <a:ext cx="44" cy="43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Rectangle 46"/>
              <p:cNvSpPr>
                <a:spLocks noChangeArrowheads="1"/>
              </p:cNvSpPr>
              <p:nvPr/>
            </p:nvSpPr>
            <p:spPr bwMode="auto">
              <a:xfrm>
                <a:off x="6157" y="1819"/>
                <a:ext cx="45" cy="4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Rectangle 47"/>
              <p:cNvSpPr>
                <a:spLocks noChangeArrowheads="1"/>
              </p:cNvSpPr>
              <p:nvPr/>
            </p:nvSpPr>
            <p:spPr bwMode="auto">
              <a:xfrm>
                <a:off x="6232" y="1819"/>
                <a:ext cx="45" cy="43"/>
              </a:xfrm>
              <a:prstGeom prst="rect">
                <a:avLst/>
              </a:prstGeom>
              <a:solidFill>
                <a:srgbClr val="0072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Rectangle 48"/>
              <p:cNvSpPr>
                <a:spLocks noChangeArrowheads="1"/>
              </p:cNvSpPr>
              <p:nvPr/>
            </p:nvSpPr>
            <p:spPr bwMode="auto">
              <a:xfrm>
                <a:off x="6309" y="1819"/>
                <a:ext cx="44" cy="43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Rectangle 49"/>
              <p:cNvSpPr>
                <a:spLocks noChangeArrowheads="1"/>
              </p:cNvSpPr>
              <p:nvPr/>
            </p:nvSpPr>
            <p:spPr bwMode="auto">
              <a:xfrm>
                <a:off x="6081" y="1895"/>
                <a:ext cx="44" cy="43"/>
              </a:xfrm>
              <a:prstGeom prst="rect">
                <a:avLst/>
              </a:prstGeom>
              <a:solidFill>
                <a:srgbClr val="0072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Rectangle 50"/>
              <p:cNvSpPr>
                <a:spLocks noChangeArrowheads="1"/>
              </p:cNvSpPr>
              <p:nvPr/>
            </p:nvSpPr>
            <p:spPr bwMode="auto">
              <a:xfrm>
                <a:off x="6157" y="1895"/>
                <a:ext cx="45" cy="4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Rectangle 51"/>
              <p:cNvSpPr>
                <a:spLocks noChangeArrowheads="1"/>
              </p:cNvSpPr>
              <p:nvPr/>
            </p:nvSpPr>
            <p:spPr bwMode="auto">
              <a:xfrm>
                <a:off x="6232" y="1895"/>
                <a:ext cx="45" cy="4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Rectangle 52"/>
              <p:cNvSpPr>
                <a:spLocks noChangeArrowheads="1"/>
              </p:cNvSpPr>
              <p:nvPr/>
            </p:nvSpPr>
            <p:spPr bwMode="auto">
              <a:xfrm>
                <a:off x="6309" y="1895"/>
                <a:ext cx="44" cy="43"/>
              </a:xfrm>
              <a:prstGeom prst="rect">
                <a:avLst/>
              </a:prstGeom>
              <a:solidFill>
                <a:srgbClr val="0072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Rectangle 53"/>
              <p:cNvSpPr>
                <a:spLocks noChangeArrowheads="1"/>
              </p:cNvSpPr>
              <p:nvPr/>
            </p:nvSpPr>
            <p:spPr bwMode="auto">
              <a:xfrm>
                <a:off x="6081" y="1819"/>
                <a:ext cx="44" cy="21"/>
              </a:xfrm>
              <a:prstGeom prst="rect">
                <a:avLst/>
              </a:prstGeom>
              <a:solidFill>
                <a:srgbClr val="0072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54"/>
              <p:cNvSpPr>
                <a:spLocks noChangeArrowheads="1"/>
              </p:cNvSpPr>
              <p:nvPr/>
            </p:nvSpPr>
            <p:spPr bwMode="auto">
              <a:xfrm>
                <a:off x="6309" y="1819"/>
                <a:ext cx="44" cy="21"/>
              </a:xfrm>
              <a:prstGeom prst="rect">
                <a:avLst/>
              </a:prstGeom>
              <a:solidFill>
                <a:srgbClr val="0072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55"/>
              <p:cNvSpPr>
                <a:spLocks noChangeArrowheads="1"/>
              </p:cNvSpPr>
              <p:nvPr/>
            </p:nvSpPr>
            <p:spPr bwMode="auto">
              <a:xfrm>
                <a:off x="6202" y="1717"/>
                <a:ext cx="128" cy="53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Rectangle 56"/>
              <p:cNvSpPr>
                <a:spLocks noChangeArrowheads="1"/>
              </p:cNvSpPr>
              <p:nvPr/>
            </p:nvSpPr>
            <p:spPr bwMode="auto">
              <a:xfrm>
                <a:off x="5641" y="1479"/>
                <a:ext cx="334" cy="571"/>
              </a:xfrm>
              <a:prstGeom prst="rect">
                <a:avLst/>
              </a:prstGeom>
              <a:solidFill>
                <a:srgbClr val="0072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Rectangle 57"/>
              <p:cNvSpPr>
                <a:spLocks noChangeArrowheads="1"/>
              </p:cNvSpPr>
              <p:nvPr/>
            </p:nvSpPr>
            <p:spPr bwMode="auto">
              <a:xfrm>
                <a:off x="5624" y="1465"/>
                <a:ext cx="368" cy="14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Rectangle 58"/>
              <p:cNvSpPr>
                <a:spLocks noChangeArrowheads="1"/>
              </p:cNvSpPr>
              <p:nvPr/>
            </p:nvSpPr>
            <p:spPr bwMode="auto">
              <a:xfrm>
                <a:off x="5672" y="1667"/>
                <a:ext cx="43" cy="44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Rectangle 59"/>
              <p:cNvSpPr>
                <a:spLocks noChangeArrowheads="1"/>
              </p:cNvSpPr>
              <p:nvPr/>
            </p:nvSpPr>
            <p:spPr bwMode="auto">
              <a:xfrm>
                <a:off x="5672" y="1667"/>
                <a:ext cx="43" cy="22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Rectangle 60"/>
              <p:cNvSpPr>
                <a:spLocks noChangeArrowheads="1"/>
              </p:cNvSpPr>
              <p:nvPr/>
            </p:nvSpPr>
            <p:spPr bwMode="auto">
              <a:xfrm>
                <a:off x="5747" y="1667"/>
                <a:ext cx="43" cy="44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Rectangle 61"/>
              <p:cNvSpPr>
                <a:spLocks noChangeArrowheads="1"/>
              </p:cNvSpPr>
              <p:nvPr/>
            </p:nvSpPr>
            <p:spPr bwMode="auto">
              <a:xfrm>
                <a:off x="5823" y="1667"/>
                <a:ext cx="44" cy="4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Rectangle 62"/>
              <p:cNvSpPr>
                <a:spLocks noChangeArrowheads="1"/>
              </p:cNvSpPr>
              <p:nvPr/>
            </p:nvSpPr>
            <p:spPr bwMode="auto">
              <a:xfrm>
                <a:off x="5747" y="1965"/>
                <a:ext cx="43" cy="85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Rectangle 63"/>
              <p:cNvSpPr>
                <a:spLocks noChangeArrowheads="1"/>
              </p:cNvSpPr>
              <p:nvPr/>
            </p:nvSpPr>
            <p:spPr bwMode="auto">
              <a:xfrm>
                <a:off x="5823" y="1965"/>
                <a:ext cx="44" cy="85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Rectangle 64"/>
              <p:cNvSpPr>
                <a:spLocks noChangeArrowheads="1"/>
              </p:cNvSpPr>
              <p:nvPr/>
            </p:nvSpPr>
            <p:spPr bwMode="auto">
              <a:xfrm>
                <a:off x="5900" y="1667"/>
                <a:ext cx="43" cy="44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65"/>
              <p:cNvSpPr>
                <a:spLocks noChangeArrowheads="1"/>
              </p:cNvSpPr>
              <p:nvPr/>
            </p:nvSpPr>
            <p:spPr bwMode="auto">
              <a:xfrm>
                <a:off x="5672" y="1742"/>
                <a:ext cx="43" cy="4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66"/>
              <p:cNvSpPr>
                <a:spLocks noChangeArrowheads="1"/>
              </p:cNvSpPr>
              <p:nvPr/>
            </p:nvSpPr>
            <p:spPr bwMode="auto">
              <a:xfrm>
                <a:off x="5747" y="1742"/>
                <a:ext cx="43" cy="45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67"/>
              <p:cNvSpPr>
                <a:spLocks noChangeArrowheads="1"/>
              </p:cNvSpPr>
              <p:nvPr/>
            </p:nvSpPr>
            <p:spPr bwMode="auto">
              <a:xfrm>
                <a:off x="5823" y="1742"/>
                <a:ext cx="44" cy="45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68"/>
              <p:cNvSpPr>
                <a:spLocks noChangeArrowheads="1"/>
              </p:cNvSpPr>
              <p:nvPr/>
            </p:nvSpPr>
            <p:spPr bwMode="auto">
              <a:xfrm>
                <a:off x="5900" y="1742"/>
                <a:ext cx="43" cy="45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69"/>
              <p:cNvSpPr>
                <a:spLocks noChangeArrowheads="1"/>
              </p:cNvSpPr>
              <p:nvPr/>
            </p:nvSpPr>
            <p:spPr bwMode="auto">
              <a:xfrm>
                <a:off x="5672" y="1819"/>
                <a:ext cx="43" cy="43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70"/>
              <p:cNvSpPr>
                <a:spLocks noChangeArrowheads="1"/>
              </p:cNvSpPr>
              <p:nvPr/>
            </p:nvSpPr>
            <p:spPr bwMode="auto">
              <a:xfrm>
                <a:off x="5747" y="1819"/>
                <a:ext cx="43" cy="4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71"/>
              <p:cNvSpPr>
                <a:spLocks noChangeArrowheads="1"/>
              </p:cNvSpPr>
              <p:nvPr/>
            </p:nvSpPr>
            <p:spPr bwMode="auto">
              <a:xfrm>
                <a:off x="5823" y="1819"/>
                <a:ext cx="44" cy="43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72"/>
              <p:cNvSpPr>
                <a:spLocks noChangeArrowheads="1"/>
              </p:cNvSpPr>
              <p:nvPr/>
            </p:nvSpPr>
            <p:spPr bwMode="auto">
              <a:xfrm>
                <a:off x="5900" y="1819"/>
                <a:ext cx="43" cy="43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73"/>
              <p:cNvSpPr>
                <a:spLocks noChangeArrowheads="1"/>
              </p:cNvSpPr>
              <p:nvPr/>
            </p:nvSpPr>
            <p:spPr bwMode="auto">
              <a:xfrm>
                <a:off x="5672" y="1895"/>
                <a:ext cx="43" cy="43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74"/>
              <p:cNvSpPr>
                <a:spLocks noChangeArrowheads="1"/>
              </p:cNvSpPr>
              <p:nvPr/>
            </p:nvSpPr>
            <p:spPr bwMode="auto">
              <a:xfrm>
                <a:off x="5747" y="1895"/>
                <a:ext cx="43" cy="43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75"/>
              <p:cNvSpPr>
                <a:spLocks noChangeArrowheads="1"/>
              </p:cNvSpPr>
              <p:nvPr/>
            </p:nvSpPr>
            <p:spPr bwMode="auto">
              <a:xfrm>
                <a:off x="5823" y="1895"/>
                <a:ext cx="44" cy="4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76"/>
              <p:cNvSpPr>
                <a:spLocks noChangeArrowheads="1"/>
              </p:cNvSpPr>
              <p:nvPr/>
            </p:nvSpPr>
            <p:spPr bwMode="auto">
              <a:xfrm>
                <a:off x="5900" y="1895"/>
                <a:ext cx="43" cy="43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77"/>
              <p:cNvSpPr>
                <a:spLocks noChangeArrowheads="1"/>
              </p:cNvSpPr>
              <p:nvPr/>
            </p:nvSpPr>
            <p:spPr bwMode="auto">
              <a:xfrm>
                <a:off x="5672" y="1819"/>
                <a:ext cx="43" cy="21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78"/>
              <p:cNvSpPr>
                <a:spLocks noChangeArrowheads="1"/>
              </p:cNvSpPr>
              <p:nvPr/>
            </p:nvSpPr>
            <p:spPr bwMode="auto">
              <a:xfrm>
                <a:off x="5900" y="1819"/>
                <a:ext cx="43" cy="21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79"/>
              <p:cNvSpPr>
                <a:spLocks noChangeArrowheads="1"/>
              </p:cNvSpPr>
              <p:nvPr/>
            </p:nvSpPr>
            <p:spPr bwMode="auto">
              <a:xfrm>
                <a:off x="5900" y="1742"/>
                <a:ext cx="43" cy="22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80"/>
              <p:cNvSpPr>
                <a:spLocks noChangeArrowheads="1"/>
              </p:cNvSpPr>
              <p:nvPr/>
            </p:nvSpPr>
            <p:spPr bwMode="auto">
              <a:xfrm>
                <a:off x="5672" y="1515"/>
                <a:ext cx="43" cy="44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81"/>
              <p:cNvSpPr>
                <a:spLocks noChangeArrowheads="1"/>
              </p:cNvSpPr>
              <p:nvPr/>
            </p:nvSpPr>
            <p:spPr bwMode="auto">
              <a:xfrm>
                <a:off x="5672" y="1515"/>
                <a:ext cx="43" cy="23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82"/>
              <p:cNvSpPr>
                <a:spLocks noChangeArrowheads="1"/>
              </p:cNvSpPr>
              <p:nvPr/>
            </p:nvSpPr>
            <p:spPr bwMode="auto">
              <a:xfrm>
                <a:off x="5747" y="1515"/>
                <a:ext cx="43" cy="44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83"/>
              <p:cNvSpPr>
                <a:spLocks noChangeArrowheads="1"/>
              </p:cNvSpPr>
              <p:nvPr/>
            </p:nvSpPr>
            <p:spPr bwMode="auto">
              <a:xfrm>
                <a:off x="5823" y="1515"/>
                <a:ext cx="44" cy="4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84"/>
              <p:cNvSpPr>
                <a:spLocks noChangeArrowheads="1"/>
              </p:cNvSpPr>
              <p:nvPr/>
            </p:nvSpPr>
            <p:spPr bwMode="auto">
              <a:xfrm>
                <a:off x="5900" y="1515"/>
                <a:ext cx="43" cy="44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85"/>
              <p:cNvSpPr>
                <a:spLocks noChangeArrowheads="1"/>
              </p:cNvSpPr>
              <p:nvPr/>
            </p:nvSpPr>
            <p:spPr bwMode="auto">
              <a:xfrm>
                <a:off x="5672" y="1591"/>
                <a:ext cx="43" cy="4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86"/>
              <p:cNvSpPr>
                <a:spLocks noChangeArrowheads="1"/>
              </p:cNvSpPr>
              <p:nvPr/>
            </p:nvSpPr>
            <p:spPr bwMode="auto">
              <a:xfrm>
                <a:off x="5747" y="1591"/>
                <a:ext cx="43" cy="43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87"/>
              <p:cNvSpPr>
                <a:spLocks noChangeArrowheads="1"/>
              </p:cNvSpPr>
              <p:nvPr/>
            </p:nvSpPr>
            <p:spPr bwMode="auto">
              <a:xfrm>
                <a:off x="5823" y="1591"/>
                <a:ext cx="44" cy="43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88"/>
              <p:cNvSpPr>
                <a:spLocks noChangeArrowheads="1"/>
              </p:cNvSpPr>
              <p:nvPr/>
            </p:nvSpPr>
            <p:spPr bwMode="auto">
              <a:xfrm>
                <a:off x="5900" y="1591"/>
                <a:ext cx="43" cy="43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89"/>
              <p:cNvSpPr>
                <a:spLocks noChangeArrowheads="1"/>
              </p:cNvSpPr>
              <p:nvPr/>
            </p:nvSpPr>
            <p:spPr bwMode="auto">
              <a:xfrm>
                <a:off x="5900" y="1591"/>
                <a:ext cx="43" cy="22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90"/>
              <p:cNvSpPr>
                <a:spLocks noChangeArrowheads="1"/>
              </p:cNvSpPr>
              <p:nvPr/>
            </p:nvSpPr>
            <p:spPr bwMode="auto">
              <a:xfrm>
                <a:off x="5695" y="1413"/>
                <a:ext cx="41" cy="52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91"/>
              <p:cNvSpPr>
                <a:spLocks noChangeArrowheads="1"/>
              </p:cNvSpPr>
              <p:nvPr/>
            </p:nvSpPr>
            <p:spPr bwMode="auto">
              <a:xfrm>
                <a:off x="5750" y="1413"/>
                <a:ext cx="39" cy="52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92"/>
              <p:cNvSpPr>
                <a:spLocks noChangeArrowheads="1"/>
              </p:cNvSpPr>
              <p:nvPr/>
            </p:nvSpPr>
            <p:spPr bwMode="auto">
              <a:xfrm>
                <a:off x="5540" y="2029"/>
                <a:ext cx="126" cy="21"/>
              </a:xfrm>
              <a:prstGeom prst="rect">
                <a:avLst/>
              </a:prstGeom>
              <a:solidFill>
                <a:srgbClr val="7FB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Rectangle 93"/>
              <p:cNvSpPr>
                <a:spLocks noChangeArrowheads="1"/>
              </p:cNvSpPr>
              <p:nvPr/>
            </p:nvSpPr>
            <p:spPr bwMode="auto">
              <a:xfrm>
                <a:off x="5900" y="2029"/>
                <a:ext cx="181" cy="21"/>
              </a:xfrm>
              <a:prstGeom prst="rect">
                <a:avLst/>
              </a:prstGeom>
              <a:solidFill>
                <a:srgbClr val="7FB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94"/>
              <p:cNvSpPr>
                <a:spLocks/>
              </p:cNvSpPr>
              <p:nvPr/>
            </p:nvSpPr>
            <p:spPr bwMode="auto">
              <a:xfrm>
                <a:off x="4997" y="849"/>
                <a:ext cx="644" cy="424"/>
              </a:xfrm>
              <a:custGeom>
                <a:avLst/>
                <a:gdLst>
                  <a:gd name="T0" fmla="*/ 387 w 460"/>
                  <a:gd name="T1" fmla="*/ 133 h 303"/>
                  <a:gd name="T2" fmla="*/ 387 w 460"/>
                  <a:gd name="T3" fmla="*/ 127 h 303"/>
                  <a:gd name="T4" fmla="*/ 260 w 460"/>
                  <a:gd name="T5" fmla="*/ 0 h 303"/>
                  <a:gd name="T6" fmla="*/ 154 w 460"/>
                  <a:gd name="T7" fmla="*/ 57 h 303"/>
                  <a:gd name="T8" fmla="*/ 119 w 460"/>
                  <a:gd name="T9" fmla="*/ 47 h 303"/>
                  <a:gd name="T10" fmla="*/ 78 w 460"/>
                  <a:gd name="T11" fmla="*/ 60 h 303"/>
                  <a:gd name="T12" fmla="*/ 46 w 460"/>
                  <a:gd name="T13" fmla="*/ 119 h 303"/>
                  <a:gd name="T14" fmla="*/ 0 w 460"/>
                  <a:gd name="T15" fmla="*/ 203 h 303"/>
                  <a:gd name="T16" fmla="*/ 89 w 460"/>
                  <a:gd name="T17" fmla="*/ 303 h 303"/>
                  <a:gd name="T18" fmla="*/ 100 w 460"/>
                  <a:gd name="T19" fmla="*/ 303 h 303"/>
                  <a:gd name="T20" fmla="*/ 110 w 460"/>
                  <a:gd name="T21" fmla="*/ 303 h 303"/>
                  <a:gd name="T22" fmla="*/ 317 w 460"/>
                  <a:gd name="T23" fmla="*/ 303 h 303"/>
                  <a:gd name="T24" fmla="*/ 321 w 460"/>
                  <a:gd name="T25" fmla="*/ 303 h 303"/>
                  <a:gd name="T26" fmla="*/ 327 w 460"/>
                  <a:gd name="T27" fmla="*/ 303 h 303"/>
                  <a:gd name="T28" fmla="*/ 342 w 460"/>
                  <a:gd name="T29" fmla="*/ 303 h 303"/>
                  <a:gd name="T30" fmla="*/ 375 w 460"/>
                  <a:gd name="T31" fmla="*/ 303 h 303"/>
                  <a:gd name="T32" fmla="*/ 460 w 460"/>
                  <a:gd name="T33" fmla="*/ 217 h 303"/>
                  <a:gd name="T34" fmla="*/ 387 w 460"/>
                  <a:gd name="T35" fmla="*/ 133 h 3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60" h="303">
                    <a:moveTo>
                      <a:pt x="387" y="133"/>
                    </a:moveTo>
                    <a:cubicBezTo>
                      <a:pt x="387" y="131"/>
                      <a:pt x="387" y="128"/>
                      <a:pt x="387" y="127"/>
                    </a:cubicBezTo>
                    <a:cubicBezTo>
                      <a:pt x="387" y="57"/>
                      <a:pt x="330" y="0"/>
                      <a:pt x="260" y="0"/>
                    </a:cubicBezTo>
                    <a:cubicBezTo>
                      <a:pt x="216" y="0"/>
                      <a:pt x="177" y="23"/>
                      <a:pt x="154" y="57"/>
                    </a:cubicBezTo>
                    <a:cubicBezTo>
                      <a:pt x="144" y="51"/>
                      <a:pt x="132" y="47"/>
                      <a:pt x="119" y="47"/>
                    </a:cubicBezTo>
                    <a:cubicBezTo>
                      <a:pt x="104" y="47"/>
                      <a:pt x="90" y="52"/>
                      <a:pt x="78" y="60"/>
                    </a:cubicBezTo>
                    <a:cubicBezTo>
                      <a:pt x="59" y="73"/>
                      <a:pt x="46" y="94"/>
                      <a:pt x="46" y="119"/>
                    </a:cubicBezTo>
                    <a:cubicBezTo>
                      <a:pt x="19" y="137"/>
                      <a:pt x="0" y="168"/>
                      <a:pt x="0" y="203"/>
                    </a:cubicBezTo>
                    <a:cubicBezTo>
                      <a:pt x="0" y="254"/>
                      <a:pt x="39" y="297"/>
                      <a:pt x="89" y="303"/>
                    </a:cubicBezTo>
                    <a:cubicBezTo>
                      <a:pt x="92" y="303"/>
                      <a:pt x="97" y="303"/>
                      <a:pt x="100" y="303"/>
                    </a:cubicBezTo>
                    <a:cubicBezTo>
                      <a:pt x="103" y="303"/>
                      <a:pt x="107" y="303"/>
                      <a:pt x="110" y="303"/>
                    </a:cubicBezTo>
                    <a:cubicBezTo>
                      <a:pt x="157" y="303"/>
                      <a:pt x="266" y="303"/>
                      <a:pt x="317" y="303"/>
                    </a:cubicBezTo>
                    <a:cubicBezTo>
                      <a:pt x="319" y="303"/>
                      <a:pt x="320" y="303"/>
                      <a:pt x="321" y="303"/>
                    </a:cubicBezTo>
                    <a:cubicBezTo>
                      <a:pt x="327" y="303"/>
                      <a:pt x="327" y="303"/>
                      <a:pt x="327" y="303"/>
                    </a:cubicBezTo>
                    <a:cubicBezTo>
                      <a:pt x="329" y="303"/>
                      <a:pt x="337" y="303"/>
                      <a:pt x="342" y="303"/>
                    </a:cubicBezTo>
                    <a:cubicBezTo>
                      <a:pt x="375" y="303"/>
                      <a:pt x="375" y="303"/>
                      <a:pt x="375" y="303"/>
                    </a:cubicBezTo>
                    <a:cubicBezTo>
                      <a:pt x="422" y="302"/>
                      <a:pt x="460" y="264"/>
                      <a:pt x="460" y="217"/>
                    </a:cubicBezTo>
                    <a:cubicBezTo>
                      <a:pt x="460" y="174"/>
                      <a:pt x="428" y="139"/>
                      <a:pt x="387" y="133"/>
                    </a:cubicBezTo>
                    <a:close/>
                  </a:path>
                </a:pathLst>
              </a:custGeom>
              <a:solidFill>
                <a:srgbClr val="6DC2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95"/>
              <p:cNvSpPr>
                <a:spLocks/>
              </p:cNvSpPr>
              <p:nvPr/>
            </p:nvSpPr>
            <p:spPr bwMode="auto">
              <a:xfrm>
                <a:off x="4988" y="1131"/>
                <a:ext cx="784" cy="797"/>
              </a:xfrm>
              <a:custGeom>
                <a:avLst/>
                <a:gdLst>
                  <a:gd name="T0" fmla="*/ 557 w 561"/>
                  <a:gd name="T1" fmla="*/ 563 h 570"/>
                  <a:gd name="T2" fmla="*/ 443 w 561"/>
                  <a:gd name="T3" fmla="*/ 409 h 570"/>
                  <a:gd name="T4" fmla="*/ 395 w 561"/>
                  <a:gd name="T5" fmla="*/ 32 h 570"/>
                  <a:gd name="T6" fmla="*/ 402 w 561"/>
                  <a:gd name="T7" fmla="*/ 31 h 570"/>
                  <a:gd name="T8" fmla="*/ 473 w 561"/>
                  <a:gd name="T9" fmla="*/ 4 h 570"/>
                  <a:gd name="T10" fmla="*/ 470 w 561"/>
                  <a:gd name="T11" fmla="*/ 0 h 570"/>
                  <a:gd name="T12" fmla="*/ 466 w 561"/>
                  <a:gd name="T13" fmla="*/ 4 h 570"/>
                  <a:gd name="T14" fmla="*/ 401 w 561"/>
                  <a:gd name="T15" fmla="*/ 23 h 570"/>
                  <a:gd name="T16" fmla="*/ 237 w 561"/>
                  <a:gd name="T17" fmla="*/ 33 h 570"/>
                  <a:gd name="T18" fmla="*/ 73 w 561"/>
                  <a:gd name="T19" fmla="*/ 23 h 570"/>
                  <a:gd name="T20" fmla="*/ 8 w 561"/>
                  <a:gd name="T21" fmla="*/ 4 h 570"/>
                  <a:gd name="T22" fmla="*/ 4 w 561"/>
                  <a:gd name="T23" fmla="*/ 0 h 570"/>
                  <a:gd name="T24" fmla="*/ 0 w 561"/>
                  <a:gd name="T25" fmla="*/ 4 h 570"/>
                  <a:gd name="T26" fmla="*/ 72 w 561"/>
                  <a:gd name="T27" fmla="*/ 31 h 570"/>
                  <a:gd name="T28" fmla="*/ 237 w 561"/>
                  <a:gd name="T29" fmla="*/ 40 h 570"/>
                  <a:gd name="T30" fmla="*/ 387 w 561"/>
                  <a:gd name="T31" fmla="*/ 33 h 570"/>
                  <a:gd name="T32" fmla="*/ 436 w 561"/>
                  <a:gd name="T33" fmla="*/ 411 h 570"/>
                  <a:gd name="T34" fmla="*/ 557 w 561"/>
                  <a:gd name="T35" fmla="*/ 570 h 570"/>
                  <a:gd name="T36" fmla="*/ 561 w 561"/>
                  <a:gd name="T37" fmla="*/ 567 h 570"/>
                  <a:gd name="T38" fmla="*/ 557 w 561"/>
                  <a:gd name="T39" fmla="*/ 563 h 5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61" h="570">
                    <a:moveTo>
                      <a:pt x="557" y="563"/>
                    </a:moveTo>
                    <a:cubicBezTo>
                      <a:pt x="515" y="563"/>
                      <a:pt x="474" y="507"/>
                      <a:pt x="443" y="409"/>
                    </a:cubicBezTo>
                    <a:cubicBezTo>
                      <a:pt x="412" y="308"/>
                      <a:pt x="395" y="174"/>
                      <a:pt x="395" y="32"/>
                    </a:cubicBezTo>
                    <a:cubicBezTo>
                      <a:pt x="397" y="31"/>
                      <a:pt x="400" y="31"/>
                      <a:pt x="402" y="31"/>
                    </a:cubicBezTo>
                    <a:cubicBezTo>
                      <a:pt x="473" y="21"/>
                      <a:pt x="473" y="8"/>
                      <a:pt x="473" y="4"/>
                    </a:cubicBezTo>
                    <a:cubicBezTo>
                      <a:pt x="473" y="2"/>
                      <a:pt x="472" y="0"/>
                      <a:pt x="470" y="0"/>
                    </a:cubicBezTo>
                    <a:cubicBezTo>
                      <a:pt x="468" y="0"/>
                      <a:pt x="466" y="2"/>
                      <a:pt x="466" y="4"/>
                    </a:cubicBezTo>
                    <a:cubicBezTo>
                      <a:pt x="466" y="4"/>
                      <a:pt x="465" y="14"/>
                      <a:pt x="401" y="23"/>
                    </a:cubicBezTo>
                    <a:cubicBezTo>
                      <a:pt x="357" y="30"/>
                      <a:pt x="299" y="33"/>
                      <a:pt x="237" y="33"/>
                    </a:cubicBezTo>
                    <a:cubicBezTo>
                      <a:pt x="175" y="33"/>
                      <a:pt x="117" y="30"/>
                      <a:pt x="73" y="23"/>
                    </a:cubicBezTo>
                    <a:cubicBezTo>
                      <a:pt x="9" y="14"/>
                      <a:pt x="8" y="4"/>
                      <a:pt x="8" y="4"/>
                    </a:cubicBezTo>
                    <a:cubicBezTo>
                      <a:pt x="8" y="2"/>
                      <a:pt x="6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8"/>
                      <a:pt x="0" y="21"/>
                      <a:pt x="72" y="31"/>
                    </a:cubicBezTo>
                    <a:cubicBezTo>
                      <a:pt x="116" y="37"/>
                      <a:pt x="175" y="40"/>
                      <a:pt x="237" y="40"/>
                    </a:cubicBezTo>
                    <a:cubicBezTo>
                      <a:pt x="293" y="40"/>
                      <a:pt x="345" y="38"/>
                      <a:pt x="387" y="33"/>
                    </a:cubicBezTo>
                    <a:cubicBezTo>
                      <a:pt x="387" y="176"/>
                      <a:pt x="405" y="310"/>
                      <a:pt x="436" y="411"/>
                    </a:cubicBezTo>
                    <a:cubicBezTo>
                      <a:pt x="468" y="514"/>
                      <a:pt x="511" y="570"/>
                      <a:pt x="557" y="570"/>
                    </a:cubicBezTo>
                    <a:cubicBezTo>
                      <a:pt x="559" y="570"/>
                      <a:pt x="561" y="569"/>
                      <a:pt x="561" y="567"/>
                    </a:cubicBezTo>
                    <a:cubicBezTo>
                      <a:pt x="561" y="565"/>
                      <a:pt x="559" y="563"/>
                      <a:pt x="557" y="563"/>
                    </a:cubicBez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96"/>
              <p:cNvSpPr>
                <a:spLocks/>
              </p:cNvSpPr>
              <p:nvPr/>
            </p:nvSpPr>
            <p:spPr bwMode="auto">
              <a:xfrm>
                <a:off x="5679" y="841"/>
                <a:ext cx="418" cy="276"/>
              </a:xfrm>
              <a:custGeom>
                <a:avLst/>
                <a:gdLst>
                  <a:gd name="T0" fmla="*/ 251 w 299"/>
                  <a:gd name="T1" fmla="*/ 87 h 197"/>
                  <a:gd name="T2" fmla="*/ 251 w 299"/>
                  <a:gd name="T3" fmla="*/ 83 h 197"/>
                  <a:gd name="T4" fmla="*/ 169 w 299"/>
                  <a:gd name="T5" fmla="*/ 0 h 197"/>
                  <a:gd name="T6" fmla="*/ 100 w 299"/>
                  <a:gd name="T7" fmla="*/ 37 h 197"/>
                  <a:gd name="T8" fmla="*/ 78 w 299"/>
                  <a:gd name="T9" fmla="*/ 31 h 197"/>
                  <a:gd name="T10" fmla="*/ 51 w 299"/>
                  <a:gd name="T11" fmla="*/ 39 h 197"/>
                  <a:gd name="T12" fmla="*/ 30 w 299"/>
                  <a:gd name="T13" fmla="*/ 78 h 197"/>
                  <a:gd name="T14" fmla="*/ 0 w 299"/>
                  <a:gd name="T15" fmla="*/ 132 h 197"/>
                  <a:gd name="T16" fmla="*/ 58 w 299"/>
                  <a:gd name="T17" fmla="*/ 197 h 197"/>
                  <a:gd name="T18" fmla="*/ 65 w 299"/>
                  <a:gd name="T19" fmla="*/ 197 h 197"/>
                  <a:gd name="T20" fmla="*/ 72 w 299"/>
                  <a:gd name="T21" fmla="*/ 197 h 197"/>
                  <a:gd name="T22" fmla="*/ 206 w 299"/>
                  <a:gd name="T23" fmla="*/ 197 h 197"/>
                  <a:gd name="T24" fmla="*/ 209 w 299"/>
                  <a:gd name="T25" fmla="*/ 197 h 197"/>
                  <a:gd name="T26" fmla="*/ 212 w 299"/>
                  <a:gd name="T27" fmla="*/ 197 h 197"/>
                  <a:gd name="T28" fmla="*/ 222 w 299"/>
                  <a:gd name="T29" fmla="*/ 197 h 197"/>
                  <a:gd name="T30" fmla="*/ 244 w 299"/>
                  <a:gd name="T31" fmla="*/ 197 h 197"/>
                  <a:gd name="T32" fmla="*/ 299 w 299"/>
                  <a:gd name="T33" fmla="*/ 142 h 197"/>
                  <a:gd name="T34" fmla="*/ 251 w 299"/>
                  <a:gd name="T35" fmla="*/ 87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99" h="197">
                    <a:moveTo>
                      <a:pt x="251" y="87"/>
                    </a:moveTo>
                    <a:cubicBezTo>
                      <a:pt x="251" y="86"/>
                      <a:pt x="251" y="84"/>
                      <a:pt x="251" y="83"/>
                    </a:cubicBezTo>
                    <a:cubicBezTo>
                      <a:pt x="251" y="37"/>
                      <a:pt x="215" y="0"/>
                      <a:pt x="169" y="0"/>
                    </a:cubicBezTo>
                    <a:cubicBezTo>
                      <a:pt x="140" y="0"/>
                      <a:pt x="115" y="15"/>
                      <a:pt x="100" y="37"/>
                    </a:cubicBezTo>
                    <a:cubicBezTo>
                      <a:pt x="94" y="33"/>
                      <a:pt x="86" y="31"/>
                      <a:pt x="78" y="31"/>
                    </a:cubicBezTo>
                    <a:cubicBezTo>
                      <a:pt x="68" y="31"/>
                      <a:pt x="58" y="34"/>
                      <a:pt x="51" y="39"/>
                    </a:cubicBezTo>
                    <a:cubicBezTo>
                      <a:pt x="38" y="48"/>
                      <a:pt x="30" y="62"/>
                      <a:pt x="30" y="78"/>
                    </a:cubicBezTo>
                    <a:cubicBezTo>
                      <a:pt x="12" y="89"/>
                      <a:pt x="0" y="110"/>
                      <a:pt x="0" y="132"/>
                    </a:cubicBezTo>
                    <a:cubicBezTo>
                      <a:pt x="0" y="166"/>
                      <a:pt x="25" y="193"/>
                      <a:pt x="58" y="197"/>
                    </a:cubicBezTo>
                    <a:cubicBezTo>
                      <a:pt x="60" y="197"/>
                      <a:pt x="63" y="197"/>
                      <a:pt x="65" y="197"/>
                    </a:cubicBezTo>
                    <a:cubicBezTo>
                      <a:pt x="67" y="197"/>
                      <a:pt x="69" y="197"/>
                      <a:pt x="72" y="197"/>
                    </a:cubicBezTo>
                    <a:cubicBezTo>
                      <a:pt x="102" y="197"/>
                      <a:pt x="173" y="197"/>
                      <a:pt x="206" y="197"/>
                    </a:cubicBezTo>
                    <a:cubicBezTo>
                      <a:pt x="207" y="197"/>
                      <a:pt x="208" y="197"/>
                      <a:pt x="209" y="197"/>
                    </a:cubicBezTo>
                    <a:cubicBezTo>
                      <a:pt x="212" y="197"/>
                      <a:pt x="212" y="197"/>
                      <a:pt x="212" y="197"/>
                    </a:cubicBezTo>
                    <a:cubicBezTo>
                      <a:pt x="214" y="197"/>
                      <a:pt x="219" y="197"/>
                      <a:pt x="222" y="197"/>
                    </a:cubicBezTo>
                    <a:cubicBezTo>
                      <a:pt x="244" y="197"/>
                      <a:pt x="244" y="197"/>
                      <a:pt x="244" y="197"/>
                    </a:cubicBezTo>
                    <a:cubicBezTo>
                      <a:pt x="275" y="197"/>
                      <a:pt x="299" y="172"/>
                      <a:pt x="299" y="142"/>
                    </a:cubicBezTo>
                    <a:cubicBezTo>
                      <a:pt x="299" y="114"/>
                      <a:pt x="278" y="91"/>
                      <a:pt x="251" y="87"/>
                    </a:cubicBezTo>
                    <a:close/>
                  </a:path>
                </a:pathLst>
              </a:custGeom>
              <a:solidFill>
                <a:srgbClr val="6DC2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97"/>
              <p:cNvSpPr>
                <a:spLocks/>
              </p:cNvSpPr>
              <p:nvPr/>
            </p:nvSpPr>
            <p:spPr bwMode="auto">
              <a:xfrm>
                <a:off x="5670" y="1026"/>
                <a:ext cx="435" cy="902"/>
              </a:xfrm>
              <a:custGeom>
                <a:avLst/>
                <a:gdLst>
                  <a:gd name="T0" fmla="*/ 308 w 311"/>
                  <a:gd name="T1" fmla="*/ 638 h 645"/>
                  <a:gd name="T2" fmla="*/ 166 w 311"/>
                  <a:gd name="T3" fmla="*/ 460 h 645"/>
                  <a:gd name="T4" fmla="*/ 106 w 311"/>
                  <a:gd name="T5" fmla="*/ 28 h 645"/>
                  <a:gd name="T6" fmla="*/ 156 w 311"/>
                  <a:gd name="T7" fmla="*/ 29 h 645"/>
                  <a:gd name="T8" fmla="*/ 311 w 311"/>
                  <a:gd name="T9" fmla="*/ 4 h 645"/>
                  <a:gd name="T10" fmla="*/ 308 w 311"/>
                  <a:gd name="T11" fmla="*/ 0 h 645"/>
                  <a:gd name="T12" fmla="*/ 304 w 311"/>
                  <a:gd name="T13" fmla="*/ 4 h 645"/>
                  <a:gd name="T14" fmla="*/ 156 w 311"/>
                  <a:gd name="T15" fmla="*/ 21 h 645"/>
                  <a:gd name="T16" fmla="*/ 7 w 311"/>
                  <a:gd name="T17" fmla="*/ 4 h 645"/>
                  <a:gd name="T18" fmla="*/ 3 w 311"/>
                  <a:gd name="T19" fmla="*/ 0 h 645"/>
                  <a:gd name="T20" fmla="*/ 0 w 311"/>
                  <a:gd name="T21" fmla="*/ 4 h 645"/>
                  <a:gd name="T22" fmla="*/ 99 w 311"/>
                  <a:gd name="T23" fmla="*/ 27 h 645"/>
                  <a:gd name="T24" fmla="*/ 159 w 311"/>
                  <a:gd name="T25" fmla="*/ 462 h 645"/>
                  <a:gd name="T26" fmla="*/ 308 w 311"/>
                  <a:gd name="T27" fmla="*/ 645 h 645"/>
                  <a:gd name="T28" fmla="*/ 311 w 311"/>
                  <a:gd name="T29" fmla="*/ 642 h 645"/>
                  <a:gd name="T30" fmla="*/ 308 w 311"/>
                  <a:gd name="T31" fmla="*/ 638 h 6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11" h="645">
                    <a:moveTo>
                      <a:pt x="308" y="638"/>
                    </a:moveTo>
                    <a:cubicBezTo>
                      <a:pt x="255" y="638"/>
                      <a:pt x="204" y="575"/>
                      <a:pt x="166" y="460"/>
                    </a:cubicBezTo>
                    <a:cubicBezTo>
                      <a:pt x="128" y="345"/>
                      <a:pt x="106" y="191"/>
                      <a:pt x="106" y="28"/>
                    </a:cubicBezTo>
                    <a:cubicBezTo>
                      <a:pt x="132" y="29"/>
                      <a:pt x="153" y="29"/>
                      <a:pt x="156" y="29"/>
                    </a:cubicBezTo>
                    <a:cubicBezTo>
                      <a:pt x="162" y="29"/>
                      <a:pt x="311" y="29"/>
                      <a:pt x="311" y="4"/>
                    </a:cubicBezTo>
                    <a:cubicBezTo>
                      <a:pt x="311" y="2"/>
                      <a:pt x="310" y="0"/>
                      <a:pt x="308" y="0"/>
                    </a:cubicBezTo>
                    <a:cubicBezTo>
                      <a:pt x="306" y="0"/>
                      <a:pt x="304" y="1"/>
                      <a:pt x="304" y="4"/>
                    </a:cubicBezTo>
                    <a:cubicBezTo>
                      <a:pt x="302" y="10"/>
                      <a:pt x="250" y="21"/>
                      <a:pt x="156" y="21"/>
                    </a:cubicBezTo>
                    <a:cubicBezTo>
                      <a:pt x="61" y="21"/>
                      <a:pt x="10" y="10"/>
                      <a:pt x="7" y="4"/>
                    </a:cubicBezTo>
                    <a:cubicBezTo>
                      <a:pt x="7" y="2"/>
                      <a:pt x="5" y="0"/>
                      <a:pt x="3" y="0"/>
                    </a:cubicBezTo>
                    <a:cubicBezTo>
                      <a:pt x="1" y="0"/>
                      <a:pt x="0" y="2"/>
                      <a:pt x="0" y="4"/>
                    </a:cubicBezTo>
                    <a:cubicBezTo>
                      <a:pt x="0" y="19"/>
                      <a:pt x="54" y="25"/>
                      <a:pt x="99" y="27"/>
                    </a:cubicBezTo>
                    <a:cubicBezTo>
                      <a:pt x="99" y="192"/>
                      <a:pt x="120" y="346"/>
                      <a:pt x="159" y="462"/>
                    </a:cubicBezTo>
                    <a:cubicBezTo>
                      <a:pt x="198" y="580"/>
                      <a:pt x="251" y="645"/>
                      <a:pt x="308" y="645"/>
                    </a:cubicBezTo>
                    <a:cubicBezTo>
                      <a:pt x="310" y="645"/>
                      <a:pt x="311" y="644"/>
                      <a:pt x="311" y="642"/>
                    </a:cubicBezTo>
                    <a:cubicBezTo>
                      <a:pt x="311" y="640"/>
                      <a:pt x="310" y="638"/>
                      <a:pt x="308" y="638"/>
                    </a:cubicBez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pic>
          <p:nvPicPr>
            <p:cNvPr id="103" name="Picture 102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89696" y="524033"/>
              <a:ext cx="550030" cy="42470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6595255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986" name="Picture 2" descr="https://resources.office.com/rs/112-YPQ-597/images/730x155_Hero-logos-only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33" r="4859"/>
          <a:stretch/>
        </p:blipFill>
        <p:spPr bwMode="auto">
          <a:xfrm>
            <a:off x="537029" y="2594552"/>
            <a:ext cx="6669503" cy="15646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/>
          <p:cNvGrpSpPr/>
          <p:nvPr/>
        </p:nvGrpSpPr>
        <p:grpSpPr>
          <a:xfrm>
            <a:off x="3136218" y="4752003"/>
            <a:ext cx="6667501" cy="1564629"/>
            <a:chOff x="3136218" y="4752003"/>
            <a:chExt cx="6667501" cy="1564629"/>
          </a:xfrm>
        </p:grpSpPr>
        <p:grpSp>
          <p:nvGrpSpPr>
            <p:cNvPr id="3" name="Group 2"/>
            <p:cNvGrpSpPr/>
            <p:nvPr/>
          </p:nvGrpSpPr>
          <p:grpSpPr>
            <a:xfrm>
              <a:off x="3136218" y="4752004"/>
              <a:ext cx="6667500" cy="1564628"/>
              <a:chOff x="3032143" y="4474328"/>
              <a:chExt cx="6667500" cy="1564628"/>
            </a:xfrm>
          </p:grpSpPr>
          <p:sp>
            <p:nvSpPr>
              <p:cNvPr id="4" name="Rectangle 3"/>
              <p:cNvSpPr/>
              <p:nvPr/>
            </p:nvSpPr>
            <p:spPr>
              <a:xfrm>
                <a:off x="3032143" y="4474328"/>
                <a:ext cx="6667500" cy="1564628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182880" bIns="91440" rtlCol="0" anchor="t"/>
              <a:lstStyle/>
              <a:p>
                <a:pPr lvl="1"/>
                <a:r>
                  <a:rPr lang="en-US" sz="3600" dirty="0" smtClean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Data Platform</a:t>
                </a:r>
              </a:p>
            </p:txBody>
          </p:sp>
          <p:sp>
            <p:nvSpPr>
              <p:cNvPr id="6" name="Rectangle 5"/>
              <p:cNvSpPr/>
              <p:nvPr/>
            </p:nvSpPr>
            <p:spPr>
              <a:xfrm>
                <a:off x="3488885" y="5254039"/>
                <a:ext cx="2992229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dirty="0">
                    <a:solidFill>
                      <a:srgbClr val="FFFFFF"/>
                    </a:solidFill>
                    <a:latin typeface="Segoe UI Light" panose="020B0502040204020203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Microsoft Virtual Event Series</a:t>
                </a:r>
              </a:p>
            </p:txBody>
          </p:sp>
        </p:grpSp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62685" y="4752003"/>
              <a:ext cx="2341034" cy="1559425"/>
            </a:xfrm>
            <a:prstGeom prst="rect">
              <a:avLst/>
            </a:prstGeom>
          </p:spPr>
        </p:pic>
      </p:grpSp>
      <p:grpSp>
        <p:nvGrpSpPr>
          <p:cNvPr id="5" name="Group 4"/>
          <p:cNvGrpSpPr/>
          <p:nvPr/>
        </p:nvGrpSpPr>
        <p:grpSpPr>
          <a:xfrm>
            <a:off x="2492501" y="247951"/>
            <a:ext cx="6667500" cy="1564628"/>
            <a:chOff x="2492501" y="247951"/>
            <a:chExt cx="6667500" cy="1564628"/>
          </a:xfrm>
        </p:grpSpPr>
        <p:sp>
          <p:nvSpPr>
            <p:cNvPr id="9" name="Rectangle 8"/>
            <p:cNvSpPr/>
            <p:nvPr/>
          </p:nvSpPr>
          <p:spPr>
            <a:xfrm>
              <a:off x="2492501" y="247951"/>
              <a:ext cx="6667500" cy="1564628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ctr"/>
            <a:lstStyle/>
            <a:p>
              <a:pPr lvl="1"/>
              <a:r>
                <a:rPr lang="en-US" sz="2400" dirty="0" smtClean="0">
                  <a:latin typeface="Segoe UI Light" panose="020B0502040204020203" pitchFamily="34" charset="0"/>
                  <a:cs typeface="Segoe UI Light" panose="020B0502040204020203" pitchFamily="34" charset="0"/>
                </a:rPr>
                <a:t>Transform Your </a:t>
              </a:r>
            </a:p>
            <a:p>
              <a:pPr lvl="1"/>
              <a:r>
                <a:rPr lang="en-US" sz="2400" dirty="0" smtClean="0">
                  <a:latin typeface="Segoe UI Light" panose="020B0502040204020203" pitchFamily="34" charset="0"/>
                  <a:cs typeface="Segoe UI Light" panose="020B0502040204020203" pitchFamily="34" charset="0"/>
                </a:rPr>
                <a:t>Datacenter</a:t>
              </a:r>
            </a:p>
            <a:p>
              <a:pPr lvl="1"/>
              <a:r>
                <a:rPr lang="en-US" dirty="0" smtClean="0">
                  <a:latin typeface="Segoe UI Light" panose="020B0502040204020203" pitchFamily="34" charset="0"/>
                  <a:cs typeface="Segoe UI Light" panose="020B0502040204020203" pitchFamily="34" charset="0"/>
                </a:rPr>
                <a:t>Microsoft Virtual Event Series</a:t>
              </a:r>
              <a:endParaRPr lang="en-US" dirty="0" smtClean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260" r="5861" b="26239"/>
            <a:stretch/>
          </p:blipFill>
          <p:spPr>
            <a:xfrm>
              <a:off x="6333362" y="253155"/>
              <a:ext cx="2826639" cy="155942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8297667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2270452" y="1255412"/>
            <a:ext cx="2020208" cy="2023872"/>
            <a:chOff x="2270452" y="1255412"/>
            <a:chExt cx="2020208" cy="2023872"/>
          </a:xfrm>
        </p:grpSpPr>
        <p:sp>
          <p:nvSpPr>
            <p:cNvPr id="2" name="Rectangle 1"/>
            <p:cNvSpPr/>
            <p:nvPr/>
          </p:nvSpPr>
          <p:spPr>
            <a:xfrm>
              <a:off x="2270452" y="1255412"/>
              <a:ext cx="2020208" cy="2023872"/>
            </a:xfrm>
            <a:prstGeom prst="rect">
              <a:avLst/>
            </a:prstGeom>
            <a:solidFill>
              <a:srgbClr val="7FBA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" name="Freeform 57"/>
            <p:cNvSpPr>
              <a:spLocks noEditPoints="1"/>
            </p:cNvSpPr>
            <p:nvPr/>
          </p:nvSpPr>
          <p:spPr bwMode="black">
            <a:xfrm flipH="1">
              <a:off x="2393047" y="1379842"/>
              <a:ext cx="1775017" cy="1775012"/>
            </a:xfrm>
            <a:custGeom>
              <a:avLst/>
              <a:gdLst>
                <a:gd name="T0" fmla="*/ 77 w 154"/>
                <a:gd name="T1" fmla="*/ 154 h 154"/>
                <a:gd name="T2" fmla="*/ 0 w 154"/>
                <a:gd name="T3" fmla="*/ 77 h 154"/>
                <a:gd name="T4" fmla="*/ 77 w 154"/>
                <a:gd name="T5" fmla="*/ 0 h 154"/>
                <a:gd name="T6" fmla="*/ 154 w 154"/>
                <a:gd name="T7" fmla="*/ 77 h 154"/>
                <a:gd name="T8" fmla="*/ 77 w 154"/>
                <a:gd name="T9" fmla="*/ 154 h 154"/>
                <a:gd name="T10" fmla="*/ 77 w 154"/>
                <a:gd name="T11" fmla="*/ 10 h 154"/>
                <a:gd name="T12" fmla="*/ 10 w 154"/>
                <a:gd name="T13" fmla="*/ 77 h 154"/>
                <a:gd name="T14" fmla="*/ 77 w 154"/>
                <a:gd name="T15" fmla="*/ 145 h 154"/>
                <a:gd name="T16" fmla="*/ 144 w 154"/>
                <a:gd name="T17" fmla="*/ 77 h 154"/>
                <a:gd name="T18" fmla="*/ 77 w 154"/>
                <a:gd name="T19" fmla="*/ 10 h 154"/>
                <a:gd name="T20" fmla="*/ 102 w 154"/>
                <a:gd name="T21" fmla="*/ 49 h 154"/>
                <a:gd name="T22" fmla="*/ 52 w 154"/>
                <a:gd name="T23" fmla="*/ 49 h 154"/>
                <a:gd name="T24" fmla="*/ 44 w 154"/>
                <a:gd name="T25" fmla="*/ 58 h 154"/>
                <a:gd name="T26" fmla="*/ 44 w 154"/>
                <a:gd name="T27" fmla="*/ 90 h 154"/>
                <a:gd name="T28" fmla="*/ 52 w 154"/>
                <a:gd name="T29" fmla="*/ 99 h 154"/>
                <a:gd name="T30" fmla="*/ 64 w 154"/>
                <a:gd name="T31" fmla="*/ 99 h 154"/>
                <a:gd name="T32" fmla="*/ 90 w 154"/>
                <a:gd name="T33" fmla="*/ 116 h 154"/>
                <a:gd name="T34" fmla="*/ 85 w 154"/>
                <a:gd name="T35" fmla="*/ 99 h 154"/>
                <a:gd name="T36" fmla="*/ 102 w 154"/>
                <a:gd name="T37" fmla="*/ 99 h 154"/>
                <a:gd name="T38" fmla="*/ 110 w 154"/>
                <a:gd name="T39" fmla="*/ 91 h 154"/>
                <a:gd name="T40" fmla="*/ 110 w 154"/>
                <a:gd name="T41" fmla="*/ 58 h 154"/>
                <a:gd name="T42" fmla="*/ 102 w 154"/>
                <a:gd name="T43" fmla="*/ 49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54" h="154">
                  <a:moveTo>
                    <a:pt x="77" y="154"/>
                  </a:moveTo>
                  <a:cubicBezTo>
                    <a:pt x="34" y="154"/>
                    <a:pt x="0" y="120"/>
                    <a:pt x="0" y="77"/>
                  </a:cubicBezTo>
                  <a:cubicBezTo>
                    <a:pt x="0" y="35"/>
                    <a:pt x="34" y="0"/>
                    <a:pt x="77" y="0"/>
                  </a:cubicBezTo>
                  <a:cubicBezTo>
                    <a:pt x="120" y="0"/>
                    <a:pt x="154" y="35"/>
                    <a:pt x="154" y="77"/>
                  </a:cubicBezTo>
                  <a:cubicBezTo>
                    <a:pt x="154" y="120"/>
                    <a:pt x="120" y="154"/>
                    <a:pt x="77" y="154"/>
                  </a:cubicBezTo>
                  <a:close/>
                  <a:moveTo>
                    <a:pt x="77" y="10"/>
                  </a:moveTo>
                  <a:cubicBezTo>
                    <a:pt x="40" y="10"/>
                    <a:pt x="10" y="40"/>
                    <a:pt x="10" y="77"/>
                  </a:cubicBezTo>
                  <a:cubicBezTo>
                    <a:pt x="10" y="114"/>
                    <a:pt x="40" y="145"/>
                    <a:pt x="77" y="145"/>
                  </a:cubicBezTo>
                  <a:cubicBezTo>
                    <a:pt x="114" y="145"/>
                    <a:pt x="144" y="114"/>
                    <a:pt x="144" y="77"/>
                  </a:cubicBezTo>
                  <a:cubicBezTo>
                    <a:pt x="144" y="40"/>
                    <a:pt x="114" y="10"/>
                    <a:pt x="77" y="10"/>
                  </a:cubicBezTo>
                  <a:close/>
                  <a:moveTo>
                    <a:pt x="102" y="49"/>
                  </a:moveTo>
                  <a:cubicBezTo>
                    <a:pt x="52" y="49"/>
                    <a:pt x="52" y="49"/>
                    <a:pt x="52" y="49"/>
                  </a:cubicBezTo>
                  <a:cubicBezTo>
                    <a:pt x="48" y="49"/>
                    <a:pt x="44" y="53"/>
                    <a:pt x="44" y="58"/>
                  </a:cubicBezTo>
                  <a:cubicBezTo>
                    <a:pt x="44" y="90"/>
                    <a:pt x="44" y="90"/>
                    <a:pt x="44" y="90"/>
                  </a:cubicBezTo>
                  <a:cubicBezTo>
                    <a:pt x="44" y="95"/>
                    <a:pt x="47" y="99"/>
                    <a:pt x="52" y="99"/>
                  </a:cubicBezTo>
                  <a:cubicBezTo>
                    <a:pt x="64" y="99"/>
                    <a:pt x="64" y="99"/>
                    <a:pt x="64" y="99"/>
                  </a:cubicBezTo>
                  <a:cubicBezTo>
                    <a:pt x="90" y="116"/>
                    <a:pt x="90" y="116"/>
                    <a:pt x="90" y="116"/>
                  </a:cubicBezTo>
                  <a:cubicBezTo>
                    <a:pt x="85" y="99"/>
                    <a:pt x="85" y="99"/>
                    <a:pt x="85" y="99"/>
                  </a:cubicBezTo>
                  <a:cubicBezTo>
                    <a:pt x="102" y="99"/>
                    <a:pt x="102" y="99"/>
                    <a:pt x="102" y="99"/>
                  </a:cubicBezTo>
                  <a:cubicBezTo>
                    <a:pt x="107" y="99"/>
                    <a:pt x="110" y="95"/>
                    <a:pt x="110" y="91"/>
                  </a:cubicBezTo>
                  <a:cubicBezTo>
                    <a:pt x="110" y="58"/>
                    <a:pt x="110" y="58"/>
                    <a:pt x="110" y="58"/>
                  </a:cubicBezTo>
                  <a:cubicBezTo>
                    <a:pt x="110" y="53"/>
                    <a:pt x="107" y="49"/>
                    <a:pt x="102" y="4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8" tIns="34293" rIns="68588" bIns="34293" numCol="1" anchor="t" anchorCtr="0" compatLnSpc="1">
              <a:prstTxWarp prst="textNoShape">
                <a:avLst/>
              </a:prstTxWarp>
            </a:bodyPr>
            <a:lstStyle/>
            <a:p>
              <a:endParaRPr lang="en-US" sz="1324" dirty="0">
                <a:solidFill>
                  <a:srgbClr val="000000"/>
                </a:solidFill>
              </a:endParaRPr>
            </a:p>
          </p:txBody>
        </p:sp>
        <p:sp>
          <p:nvSpPr>
            <p:cNvPr id="7" name="Freeform 95"/>
            <p:cNvSpPr>
              <a:spLocks/>
            </p:cNvSpPr>
            <p:nvPr/>
          </p:nvSpPr>
          <p:spPr bwMode="black">
            <a:xfrm flipH="1">
              <a:off x="2758707" y="1856646"/>
              <a:ext cx="1043694" cy="1043690"/>
            </a:xfrm>
            <a:custGeom>
              <a:avLst/>
              <a:gdLst>
                <a:gd name="T0" fmla="*/ 59 w 67"/>
                <a:gd name="T1" fmla="*/ 0 h 67"/>
                <a:gd name="T2" fmla="*/ 9 w 67"/>
                <a:gd name="T3" fmla="*/ 0 h 67"/>
                <a:gd name="T4" fmla="*/ 0 w 67"/>
                <a:gd name="T5" fmla="*/ 9 h 67"/>
                <a:gd name="T6" fmla="*/ 0 w 67"/>
                <a:gd name="T7" fmla="*/ 41 h 67"/>
                <a:gd name="T8" fmla="*/ 9 w 67"/>
                <a:gd name="T9" fmla="*/ 50 h 67"/>
                <a:gd name="T10" fmla="*/ 21 w 67"/>
                <a:gd name="T11" fmla="*/ 50 h 67"/>
                <a:gd name="T12" fmla="*/ 47 w 67"/>
                <a:gd name="T13" fmla="*/ 67 h 67"/>
                <a:gd name="T14" fmla="*/ 41 w 67"/>
                <a:gd name="T15" fmla="*/ 50 h 67"/>
                <a:gd name="T16" fmla="*/ 59 w 67"/>
                <a:gd name="T17" fmla="*/ 50 h 67"/>
                <a:gd name="T18" fmla="*/ 67 w 67"/>
                <a:gd name="T19" fmla="*/ 41 h 67"/>
                <a:gd name="T20" fmla="*/ 67 w 67"/>
                <a:gd name="T21" fmla="*/ 9 h 67"/>
                <a:gd name="T22" fmla="*/ 59 w 67"/>
                <a:gd name="T23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7" h="67">
                  <a:moveTo>
                    <a:pt x="5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46"/>
                    <a:pt x="4" y="50"/>
                    <a:pt x="9" y="50"/>
                  </a:cubicBezTo>
                  <a:cubicBezTo>
                    <a:pt x="21" y="50"/>
                    <a:pt x="21" y="50"/>
                    <a:pt x="21" y="50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1" y="50"/>
                    <a:pt x="41" y="50"/>
                    <a:pt x="41" y="50"/>
                  </a:cubicBezTo>
                  <a:cubicBezTo>
                    <a:pt x="59" y="50"/>
                    <a:pt x="59" y="50"/>
                    <a:pt x="59" y="50"/>
                  </a:cubicBezTo>
                  <a:cubicBezTo>
                    <a:pt x="63" y="50"/>
                    <a:pt x="67" y="46"/>
                    <a:pt x="67" y="41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67" y="4"/>
                    <a:pt x="63" y="0"/>
                    <a:pt x="5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 vert="horz" wrap="square" lIns="68588" tIns="34293" rIns="68588" bIns="34293" numCol="1" anchor="t" anchorCtr="0" compatLnSpc="1">
              <a:prstTxWarp prst="textNoShape">
                <a:avLst/>
              </a:prstTxWarp>
            </a:bodyPr>
            <a:lstStyle/>
            <a:p>
              <a:endParaRPr lang="en-US" sz="1324" dirty="0">
                <a:solidFill>
                  <a:srgbClr val="000000"/>
                </a:solidFill>
              </a:endParaRPr>
            </a:p>
          </p:txBody>
        </p:sp>
        <p:sp>
          <p:nvSpPr>
            <p:cNvPr id="4" name="TextBox 3"/>
            <p:cNvSpPr txBox="1"/>
            <p:nvPr/>
          </p:nvSpPr>
          <p:spPr>
            <a:xfrm>
              <a:off x="2709561" y="1944182"/>
              <a:ext cx="114198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3600" dirty="0" smtClean="0">
                  <a:solidFill>
                    <a:srgbClr val="7FBA00"/>
                  </a:solidFill>
                  <a:latin typeface="Segoe UI Bold" panose="020B0802040204020203" pitchFamily="34" charset="0"/>
                  <a:cs typeface="Segoe UI Bold" panose="020B0802040204020203" pitchFamily="34" charset="0"/>
                </a:rPr>
                <a:t>FAQ</a:t>
              </a:r>
              <a:endParaRPr lang="en-US" sz="3600" dirty="0">
                <a:solidFill>
                  <a:srgbClr val="7FBA00"/>
                </a:solidFill>
                <a:latin typeface="Segoe UI Bold" panose="020B0802040204020203" pitchFamily="34" charset="0"/>
                <a:cs typeface="Segoe UI Bold" panose="020B0802040204020203" pitchFamily="34" charset="0"/>
              </a:endParaRPr>
            </a:p>
          </p:txBody>
        </p:sp>
      </p:grp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3602" y="3250691"/>
            <a:ext cx="708227" cy="143113"/>
          </a:xfrm>
          <a:prstGeom prst="rect">
            <a:avLst/>
          </a:prstGeom>
        </p:spPr>
      </p:pic>
      <p:grpSp>
        <p:nvGrpSpPr>
          <p:cNvPr id="11" name="Group 10"/>
          <p:cNvGrpSpPr/>
          <p:nvPr/>
        </p:nvGrpSpPr>
        <p:grpSpPr>
          <a:xfrm>
            <a:off x="5211909" y="1028414"/>
            <a:ext cx="6667500" cy="1562099"/>
            <a:chOff x="1688841" y="1408922"/>
            <a:chExt cx="6667500" cy="1562099"/>
          </a:xfrm>
        </p:grpSpPr>
        <p:sp>
          <p:nvSpPr>
            <p:cNvPr id="12" name="Rectangle 11"/>
            <p:cNvSpPr/>
            <p:nvPr/>
          </p:nvSpPr>
          <p:spPr>
            <a:xfrm>
              <a:off x="1688841" y="1408922"/>
              <a:ext cx="6667500" cy="155359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4187834" y="1408922"/>
              <a:ext cx="4167050" cy="1562099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4" name="Group 13"/>
            <p:cNvGrpSpPr/>
            <p:nvPr/>
          </p:nvGrpSpPr>
          <p:grpSpPr>
            <a:xfrm>
              <a:off x="1891155" y="1483341"/>
              <a:ext cx="2146430" cy="1470101"/>
              <a:chOff x="6576921" y="3113125"/>
              <a:chExt cx="4384846" cy="3050335"/>
            </a:xfrm>
          </p:grpSpPr>
          <p:grpSp>
            <p:nvGrpSpPr>
              <p:cNvPr id="16" name="Group 15"/>
              <p:cNvGrpSpPr/>
              <p:nvPr/>
            </p:nvGrpSpPr>
            <p:grpSpPr>
              <a:xfrm>
                <a:off x="6576921" y="3978462"/>
                <a:ext cx="4004690" cy="2184998"/>
                <a:chOff x="3982076" y="4694333"/>
                <a:chExt cx="4156084" cy="2037901"/>
              </a:xfrm>
            </p:grpSpPr>
            <p:sp>
              <p:nvSpPr>
                <p:cNvPr id="39" name="Rectangle 38"/>
                <p:cNvSpPr>
                  <a:spLocks noChangeArrowheads="1"/>
                </p:cNvSpPr>
                <p:nvPr/>
              </p:nvSpPr>
              <p:spPr bwMode="auto">
                <a:xfrm>
                  <a:off x="3982076" y="6653725"/>
                  <a:ext cx="640080" cy="70538"/>
                </a:xfrm>
                <a:prstGeom prst="rect">
                  <a:avLst/>
                </a:prstGeom>
                <a:solidFill>
                  <a:srgbClr val="7FBA00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155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316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847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463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078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694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3102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29258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0" name="Freeform 39"/>
                <p:cNvSpPr>
                  <a:spLocks/>
                </p:cNvSpPr>
                <p:nvPr/>
              </p:nvSpPr>
              <p:spPr bwMode="auto">
                <a:xfrm>
                  <a:off x="4857164" y="5730850"/>
                  <a:ext cx="1181514" cy="993413"/>
                </a:xfrm>
                <a:custGeom>
                  <a:avLst/>
                  <a:gdLst>
                    <a:gd name="T0" fmla="*/ 332 w 603"/>
                    <a:gd name="T1" fmla="*/ 86 h 507"/>
                    <a:gd name="T2" fmla="*/ 332 w 603"/>
                    <a:gd name="T3" fmla="*/ 0 h 507"/>
                    <a:gd name="T4" fmla="*/ 398 w 603"/>
                    <a:gd name="T5" fmla="*/ 0 h 507"/>
                    <a:gd name="T6" fmla="*/ 398 w 603"/>
                    <a:gd name="T7" fmla="*/ 86 h 507"/>
                    <a:gd name="T8" fmla="*/ 420 w 603"/>
                    <a:gd name="T9" fmla="*/ 86 h 507"/>
                    <a:gd name="T10" fmla="*/ 420 w 603"/>
                    <a:gd name="T11" fmla="*/ 0 h 507"/>
                    <a:gd name="T12" fmla="*/ 486 w 603"/>
                    <a:gd name="T13" fmla="*/ 0 h 507"/>
                    <a:gd name="T14" fmla="*/ 486 w 603"/>
                    <a:gd name="T15" fmla="*/ 86 h 507"/>
                    <a:gd name="T16" fmla="*/ 603 w 603"/>
                    <a:gd name="T17" fmla="*/ 86 h 507"/>
                    <a:gd name="T18" fmla="*/ 603 w 603"/>
                    <a:gd name="T19" fmla="*/ 106 h 507"/>
                    <a:gd name="T20" fmla="*/ 576 w 603"/>
                    <a:gd name="T21" fmla="*/ 106 h 507"/>
                    <a:gd name="T22" fmla="*/ 576 w 603"/>
                    <a:gd name="T23" fmla="*/ 507 h 507"/>
                    <a:gd name="T24" fmla="*/ 28 w 603"/>
                    <a:gd name="T25" fmla="*/ 507 h 507"/>
                    <a:gd name="T26" fmla="*/ 28 w 603"/>
                    <a:gd name="T27" fmla="*/ 106 h 507"/>
                    <a:gd name="T28" fmla="*/ 0 w 603"/>
                    <a:gd name="T29" fmla="*/ 106 h 507"/>
                    <a:gd name="T30" fmla="*/ 0 w 603"/>
                    <a:gd name="T31" fmla="*/ 86 h 507"/>
                    <a:gd name="T32" fmla="*/ 332 w 603"/>
                    <a:gd name="T33" fmla="*/ 86 h 5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03" h="507">
                      <a:moveTo>
                        <a:pt x="332" y="86"/>
                      </a:moveTo>
                      <a:lnTo>
                        <a:pt x="332" y="0"/>
                      </a:lnTo>
                      <a:lnTo>
                        <a:pt x="398" y="0"/>
                      </a:lnTo>
                      <a:lnTo>
                        <a:pt x="398" y="86"/>
                      </a:lnTo>
                      <a:lnTo>
                        <a:pt x="420" y="86"/>
                      </a:lnTo>
                      <a:lnTo>
                        <a:pt x="420" y="0"/>
                      </a:lnTo>
                      <a:lnTo>
                        <a:pt x="486" y="0"/>
                      </a:lnTo>
                      <a:lnTo>
                        <a:pt x="486" y="86"/>
                      </a:lnTo>
                      <a:lnTo>
                        <a:pt x="603" y="86"/>
                      </a:lnTo>
                      <a:lnTo>
                        <a:pt x="603" y="106"/>
                      </a:lnTo>
                      <a:lnTo>
                        <a:pt x="576" y="106"/>
                      </a:lnTo>
                      <a:lnTo>
                        <a:pt x="576" y="507"/>
                      </a:lnTo>
                      <a:lnTo>
                        <a:pt x="28" y="507"/>
                      </a:lnTo>
                      <a:lnTo>
                        <a:pt x="28" y="106"/>
                      </a:lnTo>
                      <a:lnTo>
                        <a:pt x="0" y="106"/>
                      </a:lnTo>
                      <a:lnTo>
                        <a:pt x="0" y="86"/>
                      </a:lnTo>
                      <a:lnTo>
                        <a:pt x="332" y="86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75000"/>
                  </a:sys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155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316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847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463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078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694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3102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29258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1" name="Rectangle 40"/>
                <p:cNvSpPr>
                  <a:spLocks noChangeArrowheads="1"/>
                </p:cNvSpPr>
                <p:nvPr/>
              </p:nvSpPr>
              <p:spPr bwMode="auto">
                <a:xfrm>
                  <a:off x="5399915" y="6653725"/>
                  <a:ext cx="403635" cy="70538"/>
                </a:xfrm>
                <a:prstGeom prst="rect">
                  <a:avLst/>
                </a:prstGeom>
                <a:solidFill>
                  <a:srgbClr val="7FBA00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155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316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847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463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078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694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3102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29258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2" name="Freeform 41"/>
                <p:cNvSpPr>
                  <a:spLocks/>
                </p:cNvSpPr>
                <p:nvPr/>
              </p:nvSpPr>
              <p:spPr bwMode="auto">
                <a:xfrm>
                  <a:off x="6095685" y="5730850"/>
                  <a:ext cx="1181514" cy="993413"/>
                </a:xfrm>
                <a:custGeom>
                  <a:avLst/>
                  <a:gdLst>
                    <a:gd name="T0" fmla="*/ 333 w 603"/>
                    <a:gd name="T1" fmla="*/ 86 h 507"/>
                    <a:gd name="T2" fmla="*/ 333 w 603"/>
                    <a:gd name="T3" fmla="*/ 0 h 507"/>
                    <a:gd name="T4" fmla="*/ 397 w 603"/>
                    <a:gd name="T5" fmla="*/ 0 h 507"/>
                    <a:gd name="T6" fmla="*/ 397 w 603"/>
                    <a:gd name="T7" fmla="*/ 86 h 507"/>
                    <a:gd name="T8" fmla="*/ 420 w 603"/>
                    <a:gd name="T9" fmla="*/ 86 h 507"/>
                    <a:gd name="T10" fmla="*/ 420 w 603"/>
                    <a:gd name="T11" fmla="*/ 0 h 507"/>
                    <a:gd name="T12" fmla="*/ 486 w 603"/>
                    <a:gd name="T13" fmla="*/ 0 h 507"/>
                    <a:gd name="T14" fmla="*/ 486 w 603"/>
                    <a:gd name="T15" fmla="*/ 86 h 507"/>
                    <a:gd name="T16" fmla="*/ 603 w 603"/>
                    <a:gd name="T17" fmla="*/ 86 h 507"/>
                    <a:gd name="T18" fmla="*/ 603 w 603"/>
                    <a:gd name="T19" fmla="*/ 106 h 507"/>
                    <a:gd name="T20" fmla="*/ 576 w 603"/>
                    <a:gd name="T21" fmla="*/ 106 h 507"/>
                    <a:gd name="T22" fmla="*/ 576 w 603"/>
                    <a:gd name="T23" fmla="*/ 507 h 507"/>
                    <a:gd name="T24" fmla="*/ 28 w 603"/>
                    <a:gd name="T25" fmla="*/ 507 h 507"/>
                    <a:gd name="T26" fmla="*/ 28 w 603"/>
                    <a:gd name="T27" fmla="*/ 106 h 507"/>
                    <a:gd name="T28" fmla="*/ 0 w 603"/>
                    <a:gd name="T29" fmla="*/ 106 h 507"/>
                    <a:gd name="T30" fmla="*/ 0 w 603"/>
                    <a:gd name="T31" fmla="*/ 86 h 507"/>
                    <a:gd name="T32" fmla="*/ 333 w 603"/>
                    <a:gd name="T33" fmla="*/ 86 h 5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03" h="507">
                      <a:moveTo>
                        <a:pt x="333" y="86"/>
                      </a:moveTo>
                      <a:lnTo>
                        <a:pt x="333" y="0"/>
                      </a:lnTo>
                      <a:lnTo>
                        <a:pt x="397" y="0"/>
                      </a:lnTo>
                      <a:lnTo>
                        <a:pt x="397" y="86"/>
                      </a:lnTo>
                      <a:lnTo>
                        <a:pt x="420" y="86"/>
                      </a:lnTo>
                      <a:lnTo>
                        <a:pt x="420" y="0"/>
                      </a:lnTo>
                      <a:lnTo>
                        <a:pt x="486" y="0"/>
                      </a:lnTo>
                      <a:lnTo>
                        <a:pt x="486" y="86"/>
                      </a:lnTo>
                      <a:lnTo>
                        <a:pt x="603" y="86"/>
                      </a:lnTo>
                      <a:lnTo>
                        <a:pt x="603" y="106"/>
                      </a:lnTo>
                      <a:lnTo>
                        <a:pt x="576" y="106"/>
                      </a:lnTo>
                      <a:lnTo>
                        <a:pt x="576" y="507"/>
                      </a:lnTo>
                      <a:lnTo>
                        <a:pt x="28" y="507"/>
                      </a:lnTo>
                      <a:lnTo>
                        <a:pt x="28" y="106"/>
                      </a:lnTo>
                      <a:lnTo>
                        <a:pt x="0" y="106"/>
                      </a:lnTo>
                      <a:lnTo>
                        <a:pt x="0" y="86"/>
                      </a:lnTo>
                      <a:lnTo>
                        <a:pt x="333" y="86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75000"/>
                  </a:sys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155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316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847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463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078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694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3102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29258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3" name="Freeform 42"/>
                <p:cNvSpPr>
                  <a:spLocks/>
                </p:cNvSpPr>
                <p:nvPr/>
              </p:nvSpPr>
              <p:spPr bwMode="auto">
                <a:xfrm>
                  <a:off x="4234077" y="5730850"/>
                  <a:ext cx="1181514" cy="993413"/>
                </a:xfrm>
                <a:custGeom>
                  <a:avLst/>
                  <a:gdLst>
                    <a:gd name="T0" fmla="*/ 333 w 603"/>
                    <a:gd name="T1" fmla="*/ 86 h 507"/>
                    <a:gd name="T2" fmla="*/ 333 w 603"/>
                    <a:gd name="T3" fmla="*/ 0 h 507"/>
                    <a:gd name="T4" fmla="*/ 397 w 603"/>
                    <a:gd name="T5" fmla="*/ 0 h 507"/>
                    <a:gd name="T6" fmla="*/ 397 w 603"/>
                    <a:gd name="T7" fmla="*/ 86 h 507"/>
                    <a:gd name="T8" fmla="*/ 420 w 603"/>
                    <a:gd name="T9" fmla="*/ 86 h 507"/>
                    <a:gd name="T10" fmla="*/ 420 w 603"/>
                    <a:gd name="T11" fmla="*/ 0 h 507"/>
                    <a:gd name="T12" fmla="*/ 486 w 603"/>
                    <a:gd name="T13" fmla="*/ 0 h 507"/>
                    <a:gd name="T14" fmla="*/ 486 w 603"/>
                    <a:gd name="T15" fmla="*/ 86 h 507"/>
                    <a:gd name="T16" fmla="*/ 603 w 603"/>
                    <a:gd name="T17" fmla="*/ 86 h 507"/>
                    <a:gd name="T18" fmla="*/ 603 w 603"/>
                    <a:gd name="T19" fmla="*/ 106 h 507"/>
                    <a:gd name="T20" fmla="*/ 576 w 603"/>
                    <a:gd name="T21" fmla="*/ 106 h 507"/>
                    <a:gd name="T22" fmla="*/ 576 w 603"/>
                    <a:gd name="T23" fmla="*/ 507 h 507"/>
                    <a:gd name="T24" fmla="*/ 28 w 603"/>
                    <a:gd name="T25" fmla="*/ 507 h 507"/>
                    <a:gd name="T26" fmla="*/ 28 w 603"/>
                    <a:gd name="T27" fmla="*/ 106 h 507"/>
                    <a:gd name="T28" fmla="*/ 0 w 603"/>
                    <a:gd name="T29" fmla="*/ 106 h 507"/>
                    <a:gd name="T30" fmla="*/ 0 w 603"/>
                    <a:gd name="T31" fmla="*/ 86 h 507"/>
                    <a:gd name="T32" fmla="*/ 333 w 603"/>
                    <a:gd name="T33" fmla="*/ 86 h 5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03" h="507">
                      <a:moveTo>
                        <a:pt x="333" y="86"/>
                      </a:moveTo>
                      <a:lnTo>
                        <a:pt x="333" y="0"/>
                      </a:lnTo>
                      <a:lnTo>
                        <a:pt x="397" y="0"/>
                      </a:lnTo>
                      <a:lnTo>
                        <a:pt x="397" y="86"/>
                      </a:lnTo>
                      <a:lnTo>
                        <a:pt x="420" y="86"/>
                      </a:lnTo>
                      <a:lnTo>
                        <a:pt x="420" y="0"/>
                      </a:lnTo>
                      <a:lnTo>
                        <a:pt x="486" y="0"/>
                      </a:lnTo>
                      <a:lnTo>
                        <a:pt x="486" y="86"/>
                      </a:lnTo>
                      <a:lnTo>
                        <a:pt x="603" y="86"/>
                      </a:lnTo>
                      <a:lnTo>
                        <a:pt x="603" y="106"/>
                      </a:lnTo>
                      <a:lnTo>
                        <a:pt x="576" y="106"/>
                      </a:lnTo>
                      <a:lnTo>
                        <a:pt x="576" y="507"/>
                      </a:lnTo>
                      <a:lnTo>
                        <a:pt x="28" y="507"/>
                      </a:lnTo>
                      <a:lnTo>
                        <a:pt x="28" y="106"/>
                      </a:lnTo>
                      <a:lnTo>
                        <a:pt x="0" y="106"/>
                      </a:lnTo>
                      <a:lnTo>
                        <a:pt x="0" y="86"/>
                      </a:lnTo>
                      <a:lnTo>
                        <a:pt x="333" y="86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75000"/>
                  </a:sys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155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316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847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463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078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694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3102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29258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4" name="Rectangle 43"/>
                <p:cNvSpPr>
                  <a:spLocks noChangeArrowheads="1"/>
                </p:cNvSpPr>
                <p:nvPr/>
              </p:nvSpPr>
              <p:spPr bwMode="auto">
                <a:xfrm>
                  <a:off x="5719297" y="5382079"/>
                  <a:ext cx="1075705" cy="1342184"/>
                </a:xfrm>
                <a:prstGeom prst="rect">
                  <a:avLst/>
                </a:prstGeom>
                <a:solidFill>
                  <a:srgbClr val="AB0086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155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316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847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463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078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694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3102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29258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5" name="Rectangle 44"/>
                <p:cNvSpPr>
                  <a:spLocks noChangeArrowheads="1"/>
                </p:cNvSpPr>
                <p:nvPr/>
              </p:nvSpPr>
              <p:spPr bwMode="auto">
                <a:xfrm>
                  <a:off x="5666393" y="5340932"/>
                  <a:ext cx="1179554" cy="41148"/>
                </a:xfrm>
                <a:prstGeom prst="rect">
                  <a:avLst/>
                </a:prstGeom>
                <a:solidFill>
                  <a:srgbClr val="AB0086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155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316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847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463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078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694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3102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29258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6" name="Rectangle 45"/>
                <p:cNvSpPr>
                  <a:spLocks noChangeArrowheads="1"/>
                </p:cNvSpPr>
                <p:nvPr/>
              </p:nvSpPr>
              <p:spPr bwMode="auto">
                <a:xfrm>
                  <a:off x="6311033" y="6451907"/>
                  <a:ext cx="139116" cy="272356"/>
                </a:xfrm>
                <a:prstGeom prst="rect">
                  <a:avLst/>
                </a:prstGeom>
                <a:solidFill>
                  <a:srgbClr val="AB0086">
                    <a:lumMod val="50000"/>
                  </a:srgb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155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316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847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463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078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694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3102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29258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7" name="Rectangle 46"/>
                <p:cNvSpPr>
                  <a:spLocks noChangeArrowheads="1"/>
                </p:cNvSpPr>
                <p:nvPr/>
              </p:nvSpPr>
              <p:spPr bwMode="auto">
                <a:xfrm>
                  <a:off x="6068069" y="6451907"/>
                  <a:ext cx="141077" cy="272356"/>
                </a:xfrm>
                <a:prstGeom prst="rect">
                  <a:avLst/>
                </a:prstGeom>
                <a:solidFill>
                  <a:srgbClr val="AB0086">
                    <a:lumMod val="50000"/>
                  </a:srgb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155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316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847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463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078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694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3102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29258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8" name="Rectangle 47"/>
                <p:cNvSpPr>
                  <a:spLocks noChangeArrowheads="1"/>
                </p:cNvSpPr>
                <p:nvPr/>
              </p:nvSpPr>
              <p:spPr bwMode="auto">
                <a:xfrm>
                  <a:off x="5827063" y="5503561"/>
                  <a:ext cx="866052" cy="139117"/>
                </a:xfrm>
                <a:prstGeom prst="rect">
                  <a:avLst/>
                </a:prstGeom>
                <a:solidFill>
                  <a:srgbClr val="AB0086">
                    <a:lumMod val="50000"/>
                  </a:srgb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155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316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847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463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078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694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3102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29258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9" name="Rectangle 48"/>
                <p:cNvSpPr>
                  <a:spLocks noChangeArrowheads="1"/>
                </p:cNvSpPr>
                <p:nvPr/>
              </p:nvSpPr>
              <p:spPr bwMode="auto">
                <a:xfrm>
                  <a:off x="5827063" y="5744567"/>
                  <a:ext cx="866052" cy="141077"/>
                </a:xfrm>
                <a:prstGeom prst="rect">
                  <a:avLst/>
                </a:prstGeom>
                <a:solidFill>
                  <a:srgbClr val="AB0086">
                    <a:lumMod val="50000"/>
                  </a:srgb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155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316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847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463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078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694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3102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29258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0" name="Rectangle 49"/>
                <p:cNvSpPr>
                  <a:spLocks noChangeArrowheads="1"/>
                </p:cNvSpPr>
                <p:nvPr/>
              </p:nvSpPr>
              <p:spPr bwMode="auto">
                <a:xfrm>
                  <a:off x="5827063" y="5985572"/>
                  <a:ext cx="866052" cy="141077"/>
                </a:xfrm>
                <a:prstGeom prst="rect">
                  <a:avLst/>
                </a:prstGeom>
                <a:solidFill>
                  <a:srgbClr val="AB0086">
                    <a:lumMod val="50000"/>
                  </a:srgb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155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316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847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463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078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694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3102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29258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1" name="Rectangle 50"/>
                <p:cNvSpPr>
                  <a:spLocks noChangeArrowheads="1"/>
                </p:cNvSpPr>
                <p:nvPr/>
              </p:nvSpPr>
              <p:spPr bwMode="auto">
                <a:xfrm>
                  <a:off x="5827063" y="6226578"/>
                  <a:ext cx="866052" cy="141077"/>
                </a:xfrm>
                <a:prstGeom prst="rect">
                  <a:avLst/>
                </a:prstGeom>
                <a:solidFill>
                  <a:srgbClr val="AB0086">
                    <a:lumMod val="50000"/>
                  </a:srgb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155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316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847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463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078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694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3102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29258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2" name="Rectangle 51"/>
                <p:cNvSpPr>
                  <a:spLocks noChangeArrowheads="1"/>
                </p:cNvSpPr>
                <p:nvPr/>
              </p:nvSpPr>
              <p:spPr bwMode="auto">
                <a:xfrm>
                  <a:off x="6794998" y="6661696"/>
                  <a:ext cx="1343162" cy="70538"/>
                </a:xfrm>
                <a:prstGeom prst="rect">
                  <a:avLst/>
                </a:prstGeom>
                <a:solidFill>
                  <a:srgbClr val="7FBA00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155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316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847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463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078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694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3102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29258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3" name="Rectangle 52"/>
                <p:cNvSpPr>
                  <a:spLocks noChangeArrowheads="1"/>
                </p:cNvSpPr>
                <p:nvPr/>
              </p:nvSpPr>
              <p:spPr bwMode="auto">
                <a:xfrm>
                  <a:off x="4120303" y="6424476"/>
                  <a:ext cx="62700" cy="229250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155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316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847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463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078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694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3102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29258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4" name="Oval 53"/>
                <p:cNvSpPr>
                  <a:spLocks noChangeArrowheads="1"/>
                </p:cNvSpPr>
                <p:nvPr/>
              </p:nvSpPr>
              <p:spPr bwMode="auto">
                <a:xfrm>
                  <a:off x="4000779" y="6220699"/>
                  <a:ext cx="305666" cy="305665"/>
                </a:xfrm>
                <a:prstGeom prst="ellipse">
                  <a:avLst/>
                </a:prstGeom>
                <a:solidFill>
                  <a:srgbClr val="7FBA00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155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316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847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463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078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694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3102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29258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5" name="Oval 54"/>
                <p:cNvSpPr>
                  <a:spLocks noChangeArrowheads="1"/>
                </p:cNvSpPr>
                <p:nvPr/>
              </p:nvSpPr>
              <p:spPr bwMode="auto">
                <a:xfrm>
                  <a:off x="4039967" y="6063947"/>
                  <a:ext cx="227289" cy="223371"/>
                </a:xfrm>
                <a:prstGeom prst="ellipse">
                  <a:avLst/>
                </a:prstGeom>
                <a:solidFill>
                  <a:srgbClr val="7FBA00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155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316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847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463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078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694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3102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29258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6" name="Rectangle 55"/>
                <p:cNvSpPr>
                  <a:spLocks noChangeArrowheads="1"/>
                </p:cNvSpPr>
                <p:nvPr/>
              </p:nvSpPr>
              <p:spPr bwMode="auto">
                <a:xfrm>
                  <a:off x="5893682" y="5174384"/>
                  <a:ext cx="417350" cy="166549"/>
                </a:xfrm>
                <a:prstGeom prst="rect">
                  <a:avLst/>
                </a:prstGeom>
                <a:solidFill>
                  <a:sysClr val="window" lastClr="FFFFFF">
                    <a:lumMod val="75000"/>
                  </a:sys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155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316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847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463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078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694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3102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29258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7" name="Rectangle 56"/>
                <p:cNvSpPr>
                  <a:spLocks noChangeArrowheads="1"/>
                </p:cNvSpPr>
                <p:nvPr/>
              </p:nvSpPr>
              <p:spPr bwMode="auto">
                <a:xfrm>
                  <a:off x="4408463" y="4902029"/>
                  <a:ext cx="1073746" cy="1822234"/>
                </a:xfrm>
                <a:prstGeom prst="rect">
                  <a:avLst/>
                </a:prstGeom>
                <a:solidFill>
                  <a:srgbClr val="9B4F96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155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316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847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463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078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694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3102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29258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8" name="Rectangle 57"/>
                <p:cNvSpPr>
                  <a:spLocks noChangeArrowheads="1"/>
                </p:cNvSpPr>
                <p:nvPr/>
              </p:nvSpPr>
              <p:spPr bwMode="auto">
                <a:xfrm>
                  <a:off x="4353600" y="4862841"/>
                  <a:ext cx="1181514" cy="39188"/>
                </a:xfrm>
                <a:prstGeom prst="rect">
                  <a:avLst/>
                </a:prstGeom>
                <a:solidFill>
                  <a:srgbClr val="9B4F96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155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316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847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463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078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694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3102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29258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9" name="Rectangle 58"/>
                <p:cNvSpPr>
                  <a:spLocks noChangeArrowheads="1"/>
                </p:cNvSpPr>
                <p:nvPr/>
              </p:nvSpPr>
              <p:spPr bwMode="auto">
                <a:xfrm>
                  <a:off x="4998240" y="6451907"/>
                  <a:ext cx="141077" cy="272356"/>
                </a:xfrm>
                <a:prstGeom prst="rect">
                  <a:avLst/>
                </a:prstGeom>
                <a:solidFill>
                  <a:srgbClr val="663300">
                    <a:lumMod val="75000"/>
                  </a:srgb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155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316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847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463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078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694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3102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29258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0" name="Rectangle 59"/>
                <p:cNvSpPr>
                  <a:spLocks noChangeArrowheads="1"/>
                </p:cNvSpPr>
                <p:nvPr/>
              </p:nvSpPr>
              <p:spPr bwMode="auto">
                <a:xfrm>
                  <a:off x="4755276" y="6451907"/>
                  <a:ext cx="139116" cy="272356"/>
                </a:xfrm>
                <a:prstGeom prst="rect">
                  <a:avLst/>
                </a:prstGeom>
                <a:solidFill>
                  <a:srgbClr val="663300">
                    <a:lumMod val="75000"/>
                  </a:srgb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155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316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847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463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078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694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3102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29258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1" name="Rectangle 60"/>
                <p:cNvSpPr>
                  <a:spLocks noChangeArrowheads="1"/>
                </p:cNvSpPr>
                <p:nvPr/>
              </p:nvSpPr>
              <p:spPr bwMode="auto">
                <a:xfrm>
                  <a:off x="4512311" y="5503561"/>
                  <a:ext cx="868010" cy="139117"/>
                </a:xfrm>
                <a:prstGeom prst="rect">
                  <a:avLst/>
                </a:prstGeom>
                <a:solidFill>
                  <a:srgbClr val="663300">
                    <a:lumMod val="75000"/>
                  </a:srgb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155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316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847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463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078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694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3102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29258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2" name="Rectangle 61"/>
                <p:cNvSpPr>
                  <a:spLocks noChangeArrowheads="1"/>
                </p:cNvSpPr>
                <p:nvPr/>
              </p:nvSpPr>
              <p:spPr bwMode="auto">
                <a:xfrm>
                  <a:off x="4512311" y="5744567"/>
                  <a:ext cx="868010" cy="141077"/>
                </a:xfrm>
                <a:prstGeom prst="rect">
                  <a:avLst/>
                </a:prstGeom>
                <a:solidFill>
                  <a:srgbClr val="663300">
                    <a:lumMod val="75000"/>
                  </a:srgb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155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316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847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463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078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694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3102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29258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3" name="Rectangle 62"/>
                <p:cNvSpPr>
                  <a:spLocks noChangeArrowheads="1"/>
                </p:cNvSpPr>
                <p:nvPr/>
              </p:nvSpPr>
              <p:spPr bwMode="auto">
                <a:xfrm>
                  <a:off x="4512311" y="5985572"/>
                  <a:ext cx="868010" cy="141077"/>
                </a:xfrm>
                <a:prstGeom prst="rect">
                  <a:avLst/>
                </a:prstGeom>
                <a:solidFill>
                  <a:srgbClr val="663300">
                    <a:lumMod val="75000"/>
                  </a:srgb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155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316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847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463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078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694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3102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29258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4" name="Rectangle 63"/>
                <p:cNvSpPr>
                  <a:spLocks noChangeArrowheads="1"/>
                </p:cNvSpPr>
                <p:nvPr/>
              </p:nvSpPr>
              <p:spPr bwMode="auto">
                <a:xfrm>
                  <a:off x="4512311" y="6226578"/>
                  <a:ext cx="868010" cy="141077"/>
                </a:xfrm>
                <a:prstGeom prst="rect">
                  <a:avLst/>
                </a:prstGeom>
                <a:solidFill>
                  <a:srgbClr val="663300">
                    <a:lumMod val="75000"/>
                  </a:srgb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155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316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847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463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078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694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3102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29258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5" name="Rectangle 64"/>
                <p:cNvSpPr>
                  <a:spLocks noChangeArrowheads="1"/>
                </p:cNvSpPr>
                <p:nvPr/>
              </p:nvSpPr>
              <p:spPr bwMode="auto">
                <a:xfrm>
                  <a:off x="4512311" y="5021551"/>
                  <a:ext cx="868010" cy="139117"/>
                </a:xfrm>
                <a:prstGeom prst="rect">
                  <a:avLst/>
                </a:prstGeom>
                <a:solidFill>
                  <a:srgbClr val="663300">
                    <a:lumMod val="75000"/>
                  </a:srgb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155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316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847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463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078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694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3102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29258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6" name="Rectangle 65"/>
                <p:cNvSpPr>
                  <a:spLocks noChangeArrowheads="1"/>
                </p:cNvSpPr>
                <p:nvPr/>
              </p:nvSpPr>
              <p:spPr bwMode="auto">
                <a:xfrm>
                  <a:off x="4512311" y="5262557"/>
                  <a:ext cx="868010" cy="139117"/>
                </a:xfrm>
                <a:prstGeom prst="rect">
                  <a:avLst/>
                </a:prstGeom>
                <a:solidFill>
                  <a:srgbClr val="663300">
                    <a:lumMod val="75000"/>
                  </a:srgb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155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316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847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463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078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694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3102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29258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7" name="Rectangle 66"/>
                <p:cNvSpPr>
                  <a:spLocks noChangeArrowheads="1"/>
                </p:cNvSpPr>
                <p:nvPr/>
              </p:nvSpPr>
              <p:spPr bwMode="auto">
                <a:xfrm>
                  <a:off x="5176544" y="4694333"/>
                  <a:ext cx="129320" cy="168508"/>
                </a:xfrm>
                <a:prstGeom prst="rect">
                  <a:avLst/>
                </a:prstGeom>
                <a:solidFill>
                  <a:sysClr val="window" lastClr="FFFFFF">
                    <a:lumMod val="75000"/>
                  </a:sys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155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316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847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463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078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694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3102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29258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8" name="Rectangle 67"/>
                <p:cNvSpPr>
                  <a:spLocks noChangeArrowheads="1"/>
                </p:cNvSpPr>
                <p:nvPr/>
              </p:nvSpPr>
              <p:spPr bwMode="auto">
                <a:xfrm>
                  <a:off x="5004118" y="4694333"/>
                  <a:ext cx="127360" cy="168508"/>
                </a:xfrm>
                <a:prstGeom prst="rect">
                  <a:avLst/>
                </a:prstGeom>
                <a:solidFill>
                  <a:sysClr val="window" lastClr="FFFFFF">
                    <a:lumMod val="75000"/>
                  </a:sys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155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316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847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463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078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694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3102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29258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9" name="Freeform 68"/>
                <p:cNvSpPr>
                  <a:spLocks/>
                </p:cNvSpPr>
                <p:nvPr/>
              </p:nvSpPr>
              <p:spPr bwMode="auto">
                <a:xfrm>
                  <a:off x="6514810" y="5035268"/>
                  <a:ext cx="280193" cy="305665"/>
                </a:xfrm>
                <a:custGeom>
                  <a:avLst/>
                  <a:gdLst>
                    <a:gd name="T0" fmla="*/ 71 w 143"/>
                    <a:gd name="T1" fmla="*/ 0 h 156"/>
                    <a:gd name="T2" fmla="*/ 71 w 143"/>
                    <a:gd name="T3" fmla="*/ 0 h 156"/>
                    <a:gd name="T4" fmla="*/ 0 w 143"/>
                    <a:gd name="T5" fmla="*/ 156 h 156"/>
                    <a:gd name="T6" fmla="*/ 143 w 143"/>
                    <a:gd name="T7" fmla="*/ 156 h 156"/>
                    <a:gd name="T8" fmla="*/ 71 w 143"/>
                    <a:gd name="T9" fmla="*/ 0 h 1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43" h="156">
                      <a:moveTo>
                        <a:pt x="71" y="0"/>
                      </a:moveTo>
                      <a:lnTo>
                        <a:pt x="71" y="0"/>
                      </a:lnTo>
                      <a:lnTo>
                        <a:pt x="0" y="156"/>
                      </a:lnTo>
                      <a:lnTo>
                        <a:pt x="143" y="156"/>
                      </a:lnTo>
                      <a:lnTo>
                        <a:pt x="71" y="0"/>
                      </a:lnTo>
                      <a:close/>
                    </a:path>
                  </a:pathLst>
                </a:custGeom>
                <a:solidFill>
                  <a:srgbClr val="AB0086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155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316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847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4631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078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6947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3102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29258" algn="l" defTabSz="932316" rtl="0" eaLnBrk="1" latinLnBrk="0" hangingPunct="1">
                    <a:defRPr sz="1836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7" name="Freeform 277"/>
              <p:cNvSpPr>
                <a:spLocks/>
              </p:cNvSpPr>
              <p:nvPr/>
            </p:nvSpPr>
            <p:spPr bwMode="auto">
              <a:xfrm>
                <a:off x="9778229" y="3113125"/>
                <a:ext cx="1183538" cy="660682"/>
              </a:xfrm>
              <a:custGeom>
                <a:avLst/>
                <a:gdLst>
                  <a:gd name="T0" fmla="*/ 1466 w 1746"/>
                  <a:gd name="T1" fmla="*/ 504 h 1148"/>
                  <a:gd name="T2" fmla="*/ 1466 w 1746"/>
                  <a:gd name="T3" fmla="*/ 481 h 1148"/>
                  <a:gd name="T4" fmla="*/ 985 w 1746"/>
                  <a:gd name="T5" fmla="*/ 0 h 1148"/>
                  <a:gd name="T6" fmla="*/ 584 w 1746"/>
                  <a:gd name="T7" fmla="*/ 215 h 1148"/>
                  <a:gd name="T8" fmla="*/ 452 w 1746"/>
                  <a:gd name="T9" fmla="*/ 180 h 1148"/>
                  <a:gd name="T10" fmla="*/ 297 w 1746"/>
                  <a:gd name="T11" fmla="*/ 226 h 1148"/>
                  <a:gd name="T12" fmla="*/ 173 w 1746"/>
                  <a:gd name="T13" fmla="*/ 452 h 1148"/>
                  <a:gd name="T14" fmla="*/ 0 w 1746"/>
                  <a:gd name="T15" fmla="*/ 770 h 1148"/>
                  <a:gd name="T16" fmla="*/ 337 w 1746"/>
                  <a:gd name="T17" fmla="*/ 1148 h 1148"/>
                  <a:gd name="T18" fmla="*/ 378 w 1746"/>
                  <a:gd name="T19" fmla="*/ 1148 h 1148"/>
                  <a:gd name="T20" fmla="*/ 417 w 1746"/>
                  <a:gd name="T21" fmla="*/ 1148 h 1148"/>
                  <a:gd name="T22" fmla="*/ 1203 w 1746"/>
                  <a:gd name="T23" fmla="*/ 1148 h 1148"/>
                  <a:gd name="T24" fmla="*/ 1219 w 1746"/>
                  <a:gd name="T25" fmla="*/ 1148 h 1148"/>
                  <a:gd name="T26" fmla="*/ 1239 w 1746"/>
                  <a:gd name="T27" fmla="*/ 1148 h 1148"/>
                  <a:gd name="T28" fmla="*/ 1296 w 1746"/>
                  <a:gd name="T29" fmla="*/ 1148 h 1148"/>
                  <a:gd name="T30" fmla="*/ 1422 w 1746"/>
                  <a:gd name="T31" fmla="*/ 1148 h 1148"/>
                  <a:gd name="T32" fmla="*/ 1746 w 1746"/>
                  <a:gd name="T33" fmla="*/ 824 h 1148"/>
                  <a:gd name="T34" fmla="*/ 1466 w 1746"/>
                  <a:gd name="T35" fmla="*/ 504 h 1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46" h="1148">
                    <a:moveTo>
                      <a:pt x="1466" y="504"/>
                    </a:moveTo>
                    <a:lnTo>
                      <a:pt x="1466" y="481"/>
                    </a:lnTo>
                    <a:cubicBezTo>
                      <a:pt x="1466" y="215"/>
                      <a:pt x="1251" y="0"/>
                      <a:pt x="985" y="0"/>
                    </a:cubicBezTo>
                    <a:cubicBezTo>
                      <a:pt x="818" y="0"/>
                      <a:pt x="671" y="87"/>
                      <a:pt x="584" y="215"/>
                    </a:cubicBezTo>
                    <a:cubicBezTo>
                      <a:pt x="545" y="193"/>
                      <a:pt x="500" y="180"/>
                      <a:pt x="452" y="180"/>
                    </a:cubicBezTo>
                    <a:cubicBezTo>
                      <a:pt x="394" y="180"/>
                      <a:pt x="341" y="197"/>
                      <a:pt x="297" y="226"/>
                    </a:cubicBezTo>
                    <a:cubicBezTo>
                      <a:pt x="223" y="275"/>
                      <a:pt x="175" y="358"/>
                      <a:pt x="173" y="452"/>
                    </a:cubicBezTo>
                    <a:cubicBezTo>
                      <a:pt x="70" y="520"/>
                      <a:pt x="0" y="638"/>
                      <a:pt x="0" y="770"/>
                    </a:cubicBezTo>
                    <a:cubicBezTo>
                      <a:pt x="0" y="966"/>
                      <a:pt x="147" y="1126"/>
                      <a:pt x="337" y="1148"/>
                    </a:cubicBezTo>
                    <a:lnTo>
                      <a:pt x="378" y="1148"/>
                    </a:lnTo>
                    <a:lnTo>
                      <a:pt x="417" y="1148"/>
                    </a:lnTo>
                    <a:lnTo>
                      <a:pt x="1203" y="1148"/>
                    </a:lnTo>
                    <a:lnTo>
                      <a:pt x="1219" y="1148"/>
                    </a:lnTo>
                    <a:lnTo>
                      <a:pt x="1239" y="1148"/>
                    </a:lnTo>
                    <a:lnTo>
                      <a:pt x="1296" y="1148"/>
                    </a:lnTo>
                    <a:lnTo>
                      <a:pt x="1422" y="1148"/>
                    </a:lnTo>
                    <a:cubicBezTo>
                      <a:pt x="1601" y="1145"/>
                      <a:pt x="1746" y="1001"/>
                      <a:pt x="1746" y="824"/>
                    </a:cubicBezTo>
                    <a:cubicBezTo>
                      <a:pt x="1746" y="661"/>
                      <a:pt x="1624" y="526"/>
                      <a:pt x="1466" y="504"/>
                    </a:cubicBezTo>
                  </a:path>
                </a:pathLst>
              </a:custGeom>
              <a:solidFill>
                <a:srgbClr val="00BCF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55513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" name="Freeform 17"/>
              <p:cNvSpPr/>
              <p:nvPr/>
            </p:nvSpPr>
            <p:spPr>
              <a:xfrm>
                <a:off x="9284753" y="3630204"/>
                <a:ext cx="635618" cy="612956"/>
              </a:xfrm>
              <a:custGeom>
                <a:avLst/>
                <a:gdLst>
                  <a:gd name="connsiteX0" fmla="*/ 147901 w 547492"/>
                  <a:gd name="connsiteY0" fmla="*/ 159 h 547027"/>
                  <a:gd name="connsiteX1" fmla="*/ 164790 w 547492"/>
                  <a:gd name="connsiteY1" fmla="*/ 17385 h 547027"/>
                  <a:gd name="connsiteX2" fmla="*/ 257543 w 547492"/>
                  <a:gd name="connsiteY2" fmla="*/ 261873 h 547027"/>
                  <a:gd name="connsiteX3" fmla="*/ 531263 w 547492"/>
                  <a:gd name="connsiteY3" fmla="*/ 383096 h 547027"/>
                  <a:gd name="connsiteX4" fmla="*/ 533050 w 547492"/>
                  <a:gd name="connsiteY4" fmla="*/ 419093 h 547027"/>
                  <a:gd name="connsiteX5" fmla="*/ 234902 w 547492"/>
                  <a:gd name="connsiteY5" fmla="*/ 291210 h 547027"/>
                  <a:gd name="connsiteX6" fmla="*/ 130118 w 547492"/>
                  <a:gd name="connsiteY6" fmla="*/ 16219 h 547027"/>
                  <a:gd name="connsiteX7" fmla="*/ 147901 w 547492"/>
                  <a:gd name="connsiteY7" fmla="*/ 159 h 547027"/>
                  <a:gd name="connsiteX8" fmla="*/ 258593 w 547492"/>
                  <a:gd name="connsiteY8" fmla="*/ 83 h 547027"/>
                  <a:gd name="connsiteX9" fmla="*/ 276870 w 547492"/>
                  <a:gd name="connsiteY9" fmla="*/ 19473 h 547027"/>
                  <a:gd name="connsiteX10" fmla="*/ 342477 w 547492"/>
                  <a:gd name="connsiteY10" fmla="*/ 185830 h 547027"/>
                  <a:gd name="connsiteX11" fmla="*/ 529533 w 547492"/>
                  <a:gd name="connsiteY11" fmla="*/ 271534 h 547027"/>
                  <a:gd name="connsiteX12" fmla="*/ 529010 w 547492"/>
                  <a:gd name="connsiteY12" fmla="*/ 308769 h 547027"/>
                  <a:gd name="connsiteX13" fmla="*/ 319908 w 547492"/>
                  <a:gd name="connsiteY13" fmla="*/ 218161 h 547027"/>
                  <a:gd name="connsiteX14" fmla="*/ 241025 w 547492"/>
                  <a:gd name="connsiteY14" fmla="*/ 18615 h 547027"/>
                  <a:gd name="connsiteX15" fmla="*/ 258593 w 547492"/>
                  <a:gd name="connsiteY15" fmla="*/ 83 h 547027"/>
                  <a:gd name="connsiteX16" fmla="*/ 18843 w 547492"/>
                  <a:gd name="connsiteY16" fmla="*/ 10 h 547027"/>
                  <a:gd name="connsiteX17" fmla="*/ 37685 w 547492"/>
                  <a:gd name="connsiteY17" fmla="*/ 16302 h 547027"/>
                  <a:gd name="connsiteX18" fmla="*/ 164891 w 547492"/>
                  <a:gd name="connsiteY18" fmla="*/ 345340 h 547027"/>
                  <a:gd name="connsiteX19" fmla="*/ 531167 w 547492"/>
                  <a:gd name="connsiteY19" fmla="*/ 510082 h 547027"/>
                  <a:gd name="connsiteX20" fmla="*/ 528039 w 547492"/>
                  <a:gd name="connsiteY20" fmla="*/ 547022 h 547027"/>
                  <a:gd name="connsiteX21" fmla="*/ 139867 w 547492"/>
                  <a:gd name="connsiteY21" fmla="*/ 375130 h 547027"/>
                  <a:gd name="connsiteX22" fmla="*/ 0 w 547492"/>
                  <a:gd name="connsiteY22" fmla="*/ 15557 h 547027"/>
                  <a:gd name="connsiteX23" fmla="*/ 18843 w 547492"/>
                  <a:gd name="connsiteY23" fmla="*/ 10 h 547027"/>
                  <a:gd name="connsiteX24" fmla="*/ 361357 w 547492"/>
                  <a:gd name="connsiteY24" fmla="*/ 3 h 547027"/>
                  <a:gd name="connsiteX25" fmla="*/ 379427 w 547492"/>
                  <a:gd name="connsiteY25" fmla="*/ 22811 h 547027"/>
                  <a:gd name="connsiteX26" fmla="*/ 416799 w 547492"/>
                  <a:gd name="connsiteY26" fmla="*/ 121134 h 547027"/>
                  <a:gd name="connsiteX27" fmla="*/ 530986 w 547492"/>
                  <a:gd name="connsiteY27" fmla="*/ 167238 h 547027"/>
                  <a:gd name="connsiteX28" fmla="*/ 528863 w 547492"/>
                  <a:gd name="connsiteY28" fmla="*/ 205554 h 547027"/>
                  <a:gd name="connsiteX29" fmla="*/ 395749 w 547492"/>
                  <a:gd name="connsiteY29" fmla="*/ 150171 h 547027"/>
                  <a:gd name="connsiteX30" fmla="*/ 342870 w 547492"/>
                  <a:gd name="connsiteY30" fmla="*/ 38961 h 547027"/>
                  <a:gd name="connsiteX31" fmla="*/ 343296 w 547492"/>
                  <a:gd name="connsiteY31" fmla="*/ 21634 h 547027"/>
                  <a:gd name="connsiteX32" fmla="*/ 361357 w 547492"/>
                  <a:gd name="connsiteY32" fmla="*/ 3 h 5470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547492" h="547027">
                    <a:moveTo>
                      <a:pt x="147901" y="159"/>
                    </a:moveTo>
                    <a:cubicBezTo>
                      <a:pt x="156233" y="1247"/>
                      <a:pt x="164417" y="7883"/>
                      <a:pt x="164790" y="17385"/>
                    </a:cubicBezTo>
                    <a:cubicBezTo>
                      <a:pt x="163504" y="123250"/>
                      <a:pt x="210481" y="208637"/>
                      <a:pt x="257543" y="261873"/>
                    </a:cubicBezTo>
                    <a:cubicBezTo>
                      <a:pt x="329801" y="345790"/>
                      <a:pt x="450493" y="385299"/>
                      <a:pt x="531263" y="383096"/>
                    </a:cubicBezTo>
                    <a:cubicBezTo>
                      <a:pt x="554755" y="384136"/>
                      <a:pt x="550415" y="419245"/>
                      <a:pt x="533050" y="419093"/>
                    </a:cubicBezTo>
                    <a:cubicBezTo>
                      <a:pt x="450691" y="419472"/>
                      <a:pt x="338455" y="398909"/>
                      <a:pt x="234902" y="291210"/>
                    </a:cubicBezTo>
                    <a:cubicBezTo>
                      <a:pt x="193363" y="241274"/>
                      <a:pt x="128927" y="167539"/>
                      <a:pt x="130118" y="16219"/>
                    </a:cubicBezTo>
                    <a:cubicBezTo>
                      <a:pt x="131087" y="3530"/>
                      <a:pt x="139569" y="-930"/>
                      <a:pt x="147901" y="159"/>
                    </a:cubicBezTo>
                    <a:close/>
                    <a:moveTo>
                      <a:pt x="258593" y="83"/>
                    </a:moveTo>
                    <a:cubicBezTo>
                      <a:pt x="267391" y="-753"/>
                      <a:pt x="276308" y="4730"/>
                      <a:pt x="276870" y="19473"/>
                    </a:cubicBezTo>
                    <a:cubicBezTo>
                      <a:pt x="277152" y="95057"/>
                      <a:pt x="309784" y="144239"/>
                      <a:pt x="342477" y="185830"/>
                    </a:cubicBezTo>
                    <a:cubicBezTo>
                      <a:pt x="395970" y="243463"/>
                      <a:pt x="472402" y="273156"/>
                      <a:pt x="529533" y="271534"/>
                    </a:cubicBezTo>
                    <a:cubicBezTo>
                      <a:pt x="554491" y="271108"/>
                      <a:pt x="552612" y="307689"/>
                      <a:pt x="529010" y="308769"/>
                    </a:cubicBezTo>
                    <a:cubicBezTo>
                      <a:pt x="463605" y="309049"/>
                      <a:pt x="394346" y="293904"/>
                      <a:pt x="319908" y="218161"/>
                    </a:cubicBezTo>
                    <a:cubicBezTo>
                      <a:pt x="290526" y="181384"/>
                      <a:pt x="240182" y="130058"/>
                      <a:pt x="241025" y="18615"/>
                    </a:cubicBezTo>
                    <a:cubicBezTo>
                      <a:pt x="241115" y="8077"/>
                      <a:pt x="249795" y="920"/>
                      <a:pt x="258593" y="83"/>
                    </a:cubicBezTo>
                    <a:close/>
                    <a:moveTo>
                      <a:pt x="18843" y="10"/>
                    </a:moveTo>
                    <a:cubicBezTo>
                      <a:pt x="28214" y="265"/>
                      <a:pt x="37586" y="5826"/>
                      <a:pt x="37685" y="16302"/>
                    </a:cubicBezTo>
                    <a:cubicBezTo>
                      <a:pt x="35997" y="154729"/>
                      <a:pt x="103125" y="275729"/>
                      <a:pt x="164891" y="345340"/>
                    </a:cubicBezTo>
                    <a:cubicBezTo>
                      <a:pt x="259725" y="455069"/>
                      <a:pt x="425162" y="512962"/>
                      <a:pt x="531167" y="510082"/>
                    </a:cubicBezTo>
                    <a:cubicBezTo>
                      <a:pt x="555744" y="509883"/>
                      <a:pt x="550829" y="547221"/>
                      <a:pt x="528039" y="547022"/>
                    </a:cubicBezTo>
                    <a:cubicBezTo>
                      <a:pt x="419949" y="547519"/>
                      <a:pt x="273429" y="516735"/>
                      <a:pt x="139867" y="375130"/>
                    </a:cubicBezTo>
                    <a:cubicBezTo>
                      <a:pt x="85350" y="312173"/>
                      <a:pt x="0" y="200955"/>
                      <a:pt x="0" y="15557"/>
                    </a:cubicBezTo>
                    <a:cubicBezTo>
                      <a:pt x="99" y="4808"/>
                      <a:pt x="9471" y="-244"/>
                      <a:pt x="18843" y="10"/>
                    </a:cubicBezTo>
                    <a:close/>
                    <a:moveTo>
                      <a:pt x="361357" y="3"/>
                    </a:moveTo>
                    <a:cubicBezTo>
                      <a:pt x="370360" y="-117"/>
                      <a:pt x="379364" y="7170"/>
                      <a:pt x="379427" y="22811"/>
                    </a:cubicBezTo>
                    <a:cubicBezTo>
                      <a:pt x="379608" y="73981"/>
                      <a:pt x="395801" y="92977"/>
                      <a:pt x="416799" y="121134"/>
                    </a:cubicBezTo>
                    <a:cubicBezTo>
                      <a:pt x="452945" y="158363"/>
                      <a:pt x="498462" y="168336"/>
                      <a:pt x="530986" y="167238"/>
                    </a:cubicBezTo>
                    <a:cubicBezTo>
                      <a:pt x="549400" y="166950"/>
                      <a:pt x="557131" y="203036"/>
                      <a:pt x="528863" y="205554"/>
                    </a:cubicBezTo>
                    <a:cubicBezTo>
                      <a:pt x="486854" y="205743"/>
                      <a:pt x="443561" y="201449"/>
                      <a:pt x="395749" y="150171"/>
                    </a:cubicBezTo>
                    <a:cubicBezTo>
                      <a:pt x="351991" y="102452"/>
                      <a:pt x="343809" y="62263"/>
                      <a:pt x="342870" y="38961"/>
                    </a:cubicBezTo>
                    <a:cubicBezTo>
                      <a:pt x="342557" y="31194"/>
                      <a:pt x="343049" y="25303"/>
                      <a:pt x="343296" y="21634"/>
                    </a:cubicBezTo>
                    <a:cubicBezTo>
                      <a:pt x="343354" y="7649"/>
                      <a:pt x="352355" y="122"/>
                      <a:pt x="361357" y="3"/>
                    </a:cubicBezTo>
                    <a:close/>
                  </a:path>
                </a:pathLst>
              </a:custGeom>
              <a:solidFill>
                <a:srgbClr val="EB3C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r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19" name="Group 18"/>
              <p:cNvGrpSpPr/>
              <p:nvPr/>
            </p:nvGrpSpPr>
            <p:grpSpPr>
              <a:xfrm>
                <a:off x="8328591" y="4246212"/>
                <a:ext cx="649980" cy="649980"/>
                <a:chOff x="9250745" y="2863148"/>
                <a:chExt cx="717419" cy="717419"/>
              </a:xfrm>
            </p:grpSpPr>
            <p:sp>
              <p:nvSpPr>
                <p:cNvPr id="32" name="Oval 312"/>
                <p:cNvSpPr>
                  <a:spLocks noChangeArrowheads="1"/>
                </p:cNvSpPr>
                <p:nvPr/>
              </p:nvSpPr>
              <p:spPr bwMode="auto">
                <a:xfrm>
                  <a:off x="9250745" y="2863148"/>
                  <a:ext cx="717419" cy="717419"/>
                </a:xfrm>
                <a:prstGeom prst="ellipse">
                  <a:avLst/>
                </a:prstGeom>
                <a:solidFill>
                  <a:srgbClr val="7FBA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555132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F3F3F"/>
                    </a:solidFill>
                    <a:effectLst/>
                    <a:uLnTx/>
                    <a:uFillTx/>
                  </a:endParaRPr>
                </a:p>
              </p:txBody>
            </p:sp>
            <p:grpSp>
              <p:nvGrpSpPr>
                <p:cNvPr id="33" name="Group 32"/>
                <p:cNvGrpSpPr/>
                <p:nvPr/>
              </p:nvGrpSpPr>
              <p:grpSpPr bwMode="black">
                <a:xfrm>
                  <a:off x="9407585" y="3106850"/>
                  <a:ext cx="403737" cy="250377"/>
                  <a:chOff x="10387012" y="4103350"/>
                  <a:chExt cx="995920" cy="725626"/>
                </a:xfrm>
                <a:solidFill>
                  <a:srgbClr val="FFFFFF"/>
                </a:solidFill>
              </p:grpSpPr>
              <p:sp>
                <p:nvSpPr>
                  <p:cNvPr id="34" name="Freeform 26"/>
                  <p:cNvSpPr>
                    <a:spLocks/>
                  </p:cNvSpPr>
                  <p:nvPr/>
                </p:nvSpPr>
                <p:spPr bwMode="black">
                  <a:xfrm>
                    <a:off x="10506081" y="4218399"/>
                    <a:ext cx="706438" cy="599679"/>
                  </a:xfrm>
                  <a:custGeom>
                    <a:avLst/>
                    <a:gdLst>
                      <a:gd name="T0" fmla="*/ 183 w 188"/>
                      <a:gd name="T1" fmla="*/ 84 h 137"/>
                      <a:gd name="T2" fmla="*/ 104 w 188"/>
                      <a:gd name="T3" fmla="*/ 27 h 137"/>
                      <a:gd name="T4" fmla="*/ 86 w 188"/>
                      <a:gd name="T5" fmla="*/ 19 h 137"/>
                      <a:gd name="T6" fmla="*/ 59 w 188"/>
                      <a:gd name="T7" fmla="*/ 34 h 137"/>
                      <a:gd name="T8" fmla="*/ 56 w 188"/>
                      <a:gd name="T9" fmla="*/ 36 h 137"/>
                      <a:gd name="T10" fmla="*/ 43 w 188"/>
                      <a:gd name="T11" fmla="*/ 38 h 137"/>
                      <a:gd name="T12" fmla="*/ 43 w 188"/>
                      <a:gd name="T13" fmla="*/ 38 h 137"/>
                      <a:gd name="T14" fmla="*/ 26 w 188"/>
                      <a:gd name="T15" fmla="*/ 27 h 137"/>
                      <a:gd name="T16" fmla="*/ 24 w 188"/>
                      <a:gd name="T17" fmla="*/ 14 h 137"/>
                      <a:gd name="T18" fmla="*/ 31 w 188"/>
                      <a:gd name="T19" fmla="*/ 0 h 137"/>
                      <a:gd name="T20" fmla="*/ 21 w 188"/>
                      <a:gd name="T21" fmla="*/ 0 h 137"/>
                      <a:gd name="T22" fmla="*/ 1 w 188"/>
                      <a:gd name="T23" fmla="*/ 79 h 137"/>
                      <a:gd name="T24" fmla="*/ 4 w 188"/>
                      <a:gd name="T25" fmla="*/ 80 h 137"/>
                      <a:gd name="T26" fmla="*/ 16 w 188"/>
                      <a:gd name="T27" fmla="*/ 70 h 137"/>
                      <a:gd name="T28" fmla="*/ 22 w 188"/>
                      <a:gd name="T29" fmla="*/ 70 h 137"/>
                      <a:gd name="T30" fmla="*/ 32 w 188"/>
                      <a:gd name="T31" fmla="*/ 74 h 137"/>
                      <a:gd name="T32" fmla="*/ 43 w 188"/>
                      <a:gd name="T33" fmla="*/ 72 h 137"/>
                      <a:gd name="T34" fmla="*/ 44 w 188"/>
                      <a:gd name="T35" fmla="*/ 72 h 137"/>
                      <a:gd name="T36" fmla="*/ 53 w 188"/>
                      <a:gd name="T37" fmla="*/ 76 h 137"/>
                      <a:gd name="T38" fmla="*/ 65 w 188"/>
                      <a:gd name="T39" fmla="*/ 74 h 137"/>
                      <a:gd name="T40" fmla="*/ 67 w 188"/>
                      <a:gd name="T41" fmla="*/ 74 h 137"/>
                      <a:gd name="T42" fmla="*/ 80 w 188"/>
                      <a:gd name="T43" fmla="*/ 88 h 137"/>
                      <a:gd name="T44" fmla="*/ 83 w 188"/>
                      <a:gd name="T45" fmla="*/ 88 h 137"/>
                      <a:gd name="T46" fmla="*/ 85 w 188"/>
                      <a:gd name="T47" fmla="*/ 89 h 137"/>
                      <a:gd name="T48" fmla="*/ 99 w 188"/>
                      <a:gd name="T49" fmla="*/ 108 h 137"/>
                      <a:gd name="T50" fmla="*/ 99 w 188"/>
                      <a:gd name="T51" fmla="*/ 110 h 137"/>
                      <a:gd name="T52" fmla="*/ 96 w 188"/>
                      <a:gd name="T53" fmla="*/ 124 h 137"/>
                      <a:gd name="T54" fmla="*/ 114 w 188"/>
                      <a:gd name="T55" fmla="*/ 137 h 137"/>
                      <a:gd name="T56" fmla="*/ 123 w 188"/>
                      <a:gd name="T57" fmla="*/ 132 h 137"/>
                      <a:gd name="T58" fmla="*/ 124 w 188"/>
                      <a:gd name="T59" fmla="*/ 124 h 137"/>
                      <a:gd name="T60" fmla="*/ 108 w 188"/>
                      <a:gd name="T61" fmla="*/ 112 h 137"/>
                      <a:gd name="T62" fmla="*/ 107 w 188"/>
                      <a:gd name="T63" fmla="*/ 109 h 137"/>
                      <a:gd name="T64" fmla="*/ 110 w 188"/>
                      <a:gd name="T65" fmla="*/ 109 h 137"/>
                      <a:gd name="T66" fmla="*/ 136 w 188"/>
                      <a:gd name="T67" fmla="*/ 127 h 137"/>
                      <a:gd name="T68" fmla="*/ 145 w 188"/>
                      <a:gd name="T69" fmla="*/ 123 h 137"/>
                      <a:gd name="T70" fmla="*/ 147 w 188"/>
                      <a:gd name="T71" fmla="*/ 114 h 137"/>
                      <a:gd name="T72" fmla="*/ 117 w 188"/>
                      <a:gd name="T73" fmla="*/ 93 h 137"/>
                      <a:gd name="T74" fmla="*/ 117 w 188"/>
                      <a:gd name="T75" fmla="*/ 90 h 137"/>
                      <a:gd name="T76" fmla="*/ 120 w 188"/>
                      <a:gd name="T77" fmla="*/ 89 h 137"/>
                      <a:gd name="T78" fmla="*/ 156 w 188"/>
                      <a:gd name="T79" fmla="*/ 116 h 137"/>
                      <a:gd name="T80" fmla="*/ 165 w 188"/>
                      <a:gd name="T81" fmla="*/ 111 h 137"/>
                      <a:gd name="T82" fmla="*/ 167 w 188"/>
                      <a:gd name="T83" fmla="*/ 102 h 137"/>
                      <a:gd name="T84" fmla="*/ 137 w 188"/>
                      <a:gd name="T85" fmla="*/ 81 h 137"/>
                      <a:gd name="T86" fmla="*/ 136 w 188"/>
                      <a:gd name="T87" fmla="*/ 78 h 137"/>
                      <a:gd name="T88" fmla="*/ 139 w 188"/>
                      <a:gd name="T89" fmla="*/ 77 h 137"/>
                      <a:gd name="T90" fmla="*/ 176 w 188"/>
                      <a:gd name="T91" fmla="*/ 104 h 137"/>
                      <a:gd name="T92" fmla="*/ 185 w 188"/>
                      <a:gd name="T93" fmla="*/ 99 h 137"/>
                      <a:gd name="T94" fmla="*/ 183 w 188"/>
                      <a:gd name="T95" fmla="*/ 84 h 13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</a:cxnLst>
                    <a:rect l="0" t="0" r="r" b="b"/>
                    <a:pathLst>
                      <a:path w="188" h="137">
                        <a:moveTo>
                          <a:pt x="183" y="84"/>
                        </a:moveTo>
                        <a:cubicBezTo>
                          <a:pt x="104" y="27"/>
                          <a:pt x="104" y="27"/>
                          <a:pt x="104" y="27"/>
                        </a:cubicBezTo>
                        <a:cubicBezTo>
                          <a:pt x="86" y="19"/>
                          <a:pt x="86" y="19"/>
                          <a:pt x="86" y="19"/>
                        </a:cubicBezTo>
                        <a:cubicBezTo>
                          <a:pt x="59" y="34"/>
                          <a:pt x="59" y="34"/>
                          <a:pt x="59" y="34"/>
                        </a:cubicBezTo>
                        <a:cubicBezTo>
                          <a:pt x="56" y="36"/>
                          <a:pt x="56" y="36"/>
                          <a:pt x="56" y="36"/>
                        </a:cubicBezTo>
                        <a:cubicBezTo>
                          <a:pt x="52" y="38"/>
                          <a:pt x="47" y="39"/>
                          <a:pt x="43" y="38"/>
                        </a:cubicBezTo>
                        <a:cubicBezTo>
                          <a:pt x="43" y="38"/>
                          <a:pt x="43" y="38"/>
                          <a:pt x="43" y="38"/>
                        </a:cubicBezTo>
                        <a:cubicBezTo>
                          <a:pt x="36" y="38"/>
                          <a:pt x="30" y="34"/>
                          <a:pt x="26" y="27"/>
                        </a:cubicBezTo>
                        <a:cubicBezTo>
                          <a:pt x="24" y="23"/>
                          <a:pt x="23" y="19"/>
                          <a:pt x="24" y="14"/>
                        </a:cubicBezTo>
                        <a:cubicBezTo>
                          <a:pt x="24" y="9"/>
                          <a:pt x="27" y="4"/>
                          <a:pt x="31" y="0"/>
                        </a:cubicBezTo>
                        <a:cubicBezTo>
                          <a:pt x="25" y="0"/>
                          <a:pt x="21" y="0"/>
                          <a:pt x="21" y="0"/>
                        </a:cubicBezTo>
                        <a:cubicBezTo>
                          <a:pt x="21" y="0"/>
                          <a:pt x="0" y="40"/>
                          <a:pt x="1" y="79"/>
                        </a:cubicBezTo>
                        <a:cubicBezTo>
                          <a:pt x="4" y="80"/>
                          <a:pt x="4" y="80"/>
                          <a:pt x="4" y="80"/>
                        </a:cubicBezTo>
                        <a:cubicBezTo>
                          <a:pt x="6" y="75"/>
                          <a:pt x="10" y="72"/>
                          <a:pt x="16" y="70"/>
                        </a:cubicBezTo>
                        <a:cubicBezTo>
                          <a:pt x="18" y="70"/>
                          <a:pt x="20" y="70"/>
                          <a:pt x="22" y="70"/>
                        </a:cubicBezTo>
                        <a:cubicBezTo>
                          <a:pt x="25" y="70"/>
                          <a:pt x="29" y="72"/>
                          <a:pt x="32" y="74"/>
                        </a:cubicBezTo>
                        <a:cubicBezTo>
                          <a:pt x="35" y="72"/>
                          <a:pt x="39" y="71"/>
                          <a:pt x="43" y="72"/>
                        </a:cubicBezTo>
                        <a:cubicBezTo>
                          <a:pt x="43" y="72"/>
                          <a:pt x="44" y="72"/>
                          <a:pt x="44" y="72"/>
                        </a:cubicBezTo>
                        <a:cubicBezTo>
                          <a:pt x="48" y="72"/>
                          <a:pt x="51" y="74"/>
                          <a:pt x="53" y="76"/>
                        </a:cubicBezTo>
                        <a:cubicBezTo>
                          <a:pt x="56" y="74"/>
                          <a:pt x="60" y="73"/>
                          <a:pt x="65" y="74"/>
                        </a:cubicBezTo>
                        <a:cubicBezTo>
                          <a:pt x="65" y="74"/>
                          <a:pt x="66" y="74"/>
                          <a:pt x="67" y="74"/>
                        </a:cubicBezTo>
                        <a:cubicBezTo>
                          <a:pt x="74" y="76"/>
                          <a:pt x="79" y="81"/>
                          <a:pt x="80" y="88"/>
                        </a:cubicBezTo>
                        <a:cubicBezTo>
                          <a:pt x="81" y="88"/>
                          <a:pt x="82" y="88"/>
                          <a:pt x="83" y="88"/>
                        </a:cubicBezTo>
                        <a:cubicBezTo>
                          <a:pt x="84" y="88"/>
                          <a:pt x="84" y="88"/>
                          <a:pt x="85" y="89"/>
                        </a:cubicBezTo>
                        <a:cubicBezTo>
                          <a:pt x="94" y="91"/>
                          <a:pt x="100" y="99"/>
                          <a:pt x="99" y="108"/>
                        </a:cubicBezTo>
                        <a:cubicBezTo>
                          <a:pt x="99" y="109"/>
                          <a:pt x="99" y="110"/>
                          <a:pt x="99" y="110"/>
                        </a:cubicBezTo>
                        <a:cubicBezTo>
                          <a:pt x="96" y="124"/>
                          <a:pt x="96" y="124"/>
                          <a:pt x="96" y="124"/>
                        </a:cubicBezTo>
                        <a:cubicBezTo>
                          <a:pt x="114" y="137"/>
                          <a:pt x="114" y="137"/>
                          <a:pt x="114" y="137"/>
                        </a:cubicBezTo>
                        <a:cubicBezTo>
                          <a:pt x="117" y="137"/>
                          <a:pt x="120" y="135"/>
                          <a:pt x="123" y="132"/>
                        </a:cubicBezTo>
                        <a:cubicBezTo>
                          <a:pt x="124" y="130"/>
                          <a:pt x="125" y="127"/>
                          <a:pt x="124" y="124"/>
                        </a:cubicBezTo>
                        <a:cubicBezTo>
                          <a:pt x="108" y="112"/>
                          <a:pt x="108" y="112"/>
                          <a:pt x="108" y="112"/>
                        </a:cubicBezTo>
                        <a:cubicBezTo>
                          <a:pt x="107" y="111"/>
                          <a:pt x="107" y="110"/>
                          <a:pt x="107" y="109"/>
                        </a:cubicBezTo>
                        <a:cubicBezTo>
                          <a:pt x="108" y="108"/>
                          <a:pt x="109" y="108"/>
                          <a:pt x="110" y="109"/>
                        </a:cubicBezTo>
                        <a:cubicBezTo>
                          <a:pt x="136" y="127"/>
                          <a:pt x="136" y="127"/>
                          <a:pt x="136" y="127"/>
                        </a:cubicBezTo>
                        <a:cubicBezTo>
                          <a:pt x="140" y="127"/>
                          <a:pt x="143" y="126"/>
                          <a:pt x="145" y="123"/>
                        </a:cubicBezTo>
                        <a:cubicBezTo>
                          <a:pt x="147" y="120"/>
                          <a:pt x="147" y="117"/>
                          <a:pt x="147" y="114"/>
                        </a:cubicBezTo>
                        <a:cubicBezTo>
                          <a:pt x="117" y="93"/>
                          <a:pt x="117" y="93"/>
                          <a:pt x="117" y="93"/>
                        </a:cubicBezTo>
                        <a:cubicBezTo>
                          <a:pt x="116" y="92"/>
                          <a:pt x="116" y="91"/>
                          <a:pt x="117" y="90"/>
                        </a:cubicBezTo>
                        <a:cubicBezTo>
                          <a:pt x="117" y="89"/>
                          <a:pt x="119" y="89"/>
                          <a:pt x="120" y="89"/>
                        </a:cubicBezTo>
                        <a:cubicBezTo>
                          <a:pt x="156" y="116"/>
                          <a:pt x="156" y="116"/>
                          <a:pt x="156" y="116"/>
                        </a:cubicBezTo>
                        <a:cubicBezTo>
                          <a:pt x="159" y="116"/>
                          <a:pt x="163" y="114"/>
                          <a:pt x="165" y="111"/>
                        </a:cubicBezTo>
                        <a:cubicBezTo>
                          <a:pt x="167" y="108"/>
                          <a:pt x="167" y="105"/>
                          <a:pt x="167" y="102"/>
                        </a:cubicBezTo>
                        <a:cubicBezTo>
                          <a:pt x="137" y="81"/>
                          <a:pt x="137" y="81"/>
                          <a:pt x="137" y="81"/>
                        </a:cubicBezTo>
                        <a:cubicBezTo>
                          <a:pt x="136" y="80"/>
                          <a:pt x="136" y="79"/>
                          <a:pt x="136" y="78"/>
                        </a:cubicBezTo>
                        <a:cubicBezTo>
                          <a:pt x="137" y="77"/>
                          <a:pt x="138" y="76"/>
                          <a:pt x="139" y="77"/>
                        </a:cubicBezTo>
                        <a:cubicBezTo>
                          <a:pt x="176" y="104"/>
                          <a:pt x="176" y="104"/>
                          <a:pt x="176" y="104"/>
                        </a:cubicBezTo>
                        <a:cubicBezTo>
                          <a:pt x="180" y="104"/>
                          <a:pt x="183" y="102"/>
                          <a:pt x="185" y="99"/>
                        </a:cubicBezTo>
                        <a:cubicBezTo>
                          <a:pt x="188" y="94"/>
                          <a:pt x="187" y="87"/>
                          <a:pt x="183" y="84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32316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0" cap="none" spc="0" normalizeH="0" baseline="0" noProof="0" dirty="0">
                      <a:ln>
                        <a:solidFill>
                          <a:srgbClr val="FFFFFF">
                            <a:alpha val="0"/>
                          </a:srgbClr>
                        </a:solidFill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35" name="Freeform 27"/>
                  <p:cNvSpPr>
                    <a:spLocks/>
                  </p:cNvSpPr>
                  <p:nvPr/>
                </p:nvSpPr>
                <p:spPr bwMode="black">
                  <a:xfrm>
                    <a:off x="10615616" y="4103350"/>
                    <a:ext cx="657226" cy="452255"/>
                  </a:xfrm>
                  <a:custGeom>
                    <a:avLst/>
                    <a:gdLst>
                      <a:gd name="T0" fmla="*/ 127 w 175"/>
                      <a:gd name="T1" fmla="*/ 31 h 100"/>
                      <a:gd name="T2" fmla="*/ 119 w 175"/>
                      <a:gd name="T3" fmla="*/ 28 h 100"/>
                      <a:gd name="T4" fmla="*/ 62 w 175"/>
                      <a:gd name="T5" fmla="*/ 2 h 100"/>
                      <a:gd name="T6" fmla="*/ 49 w 175"/>
                      <a:gd name="T7" fmla="*/ 3 h 100"/>
                      <a:gd name="T8" fmla="*/ 26 w 175"/>
                      <a:gd name="T9" fmla="*/ 16 h 100"/>
                      <a:gd name="T10" fmla="*/ 9 w 175"/>
                      <a:gd name="T11" fmla="*/ 25 h 100"/>
                      <a:gd name="T12" fmla="*/ 4 w 175"/>
                      <a:gd name="T13" fmla="*/ 45 h 100"/>
                      <a:gd name="T14" fmla="*/ 15 w 175"/>
                      <a:gd name="T15" fmla="*/ 52 h 100"/>
                      <a:gd name="T16" fmla="*/ 23 w 175"/>
                      <a:gd name="T17" fmla="*/ 50 h 100"/>
                      <a:gd name="T18" fmla="*/ 23 w 175"/>
                      <a:gd name="T19" fmla="*/ 50 h 100"/>
                      <a:gd name="T20" fmla="*/ 57 w 175"/>
                      <a:gd name="T21" fmla="*/ 32 h 100"/>
                      <a:gd name="T22" fmla="*/ 79 w 175"/>
                      <a:gd name="T23" fmla="*/ 42 h 100"/>
                      <a:gd name="T24" fmla="*/ 109 w 175"/>
                      <a:gd name="T25" fmla="*/ 64 h 100"/>
                      <a:gd name="T26" fmla="*/ 158 w 175"/>
                      <a:gd name="T27" fmla="*/ 99 h 100"/>
                      <a:gd name="T28" fmla="*/ 159 w 175"/>
                      <a:gd name="T29" fmla="*/ 100 h 100"/>
                      <a:gd name="T30" fmla="*/ 173 w 175"/>
                      <a:gd name="T31" fmla="*/ 97 h 100"/>
                      <a:gd name="T32" fmla="*/ 154 w 175"/>
                      <a:gd name="T33" fmla="*/ 29 h 100"/>
                      <a:gd name="T34" fmla="*/ 127 w 175"/>
                      <a:gd name="T35" fmla="*/ 31 h 1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75" h="100">
                        <a:moveTo>
                          <a:pt x="127" y="31"/>
                        </a:moveTo>
                        <a:cubicBezTo>
                          <a:pt x="125" y="31"/>
                          <a:pt x="122" y="30"/>
                          <a:pt x="119" y="28"/>
                        </a:cubicBezTo>
                        <a:cubicBezTo>
                          <a:pt x="62" y="2"/>
                          <a:pt x="62" y="2"/>
                          <a:pt x="62" y="2"/>
                        </a:cubicBezTo>
                        <a:cubicBezTo>
                          <a:pt x="58" y="0"/>
                          <a:pt x="53" y="1"/>
                          <a:pt x="49" y="3"/>
                        </a:cubicBezTo>
                        <a:cubicBezTo>
                          <a:pt x="26" y="16"/>
                          <a:pt x="26" y="16"/>
                          <a:pt x="26" y="16"/>
                        </a:cubicBezTo>
                        <a:cubicBezTo>
                          <a:pt x="9" y="25"/>
                          <a:pt x="9" y="25"/>
                          <a:pt x="9" y="25"/>
                        </a:cubicBezTo>
                        <a:cubicBezTo>
                          <a:pt x="2" y="29"/>
                          <a:pt x="0" y="38"/>
                          <a:pt x="4" y="45"/>
                        </a:cubicBezTo>
                        <a:cubicBezTo>
                          <a:pt x="6" y="49"/>
                          <a:pt x="10" y="52"/>
                          <a:pt x="15" y="52"/>
                        </a:cubicBezTo>
                        <a:cubicBezTo>
                          <a:pt x="18" y="52"/>
                          <a:pt x="21" y="52"/>
                          <a:pt x="23" y="50"/>
                        </a:cubicBezTo>
                        <a:cubicBezTo>
                          <a:pt x="23" y="50"/>
                          <a:pt x="23" y="50"/>
                          <a:pt x="23" y="50"/>
                        </a:cubicBezTo>
                        <a:cubicBezTo>
                          <a:pt x="57" y="32"/>
                          <a:pt x="57" y="32"/>
                          <a:pt x="57" y="32"/>
                        </a:cubicBezTo>
                        <a:cubicBezTo>
                          <a:pt x="79" y="42"/>
                          <a:pt x="79" y="42"/>
                          <a:pt x="79" y="42"/>
                        </a:cubicBezTo>
                        <a:cubicBezTo>
                          <a:pt x="109" y="64"/>
                          <a:pt x="109" y="64"/>
                          <a:pt x="109" y="64"/>
                        </a:cubicBezTo>
                        <a:cubicBezTo>
                          <a:pt x="158" y="99"/>
                          <a:pt x="158" y="99"/>
                          <a:pt x="158" y="99"/>
                        </a:cubicBezTo>
                        <a:cubicBezTo>
                          <a:pt x="158" y="99"/>
                          <a:pt x="159" y="100"/>
                          <a:pt x="159" y="100"/>
                        </a:cubicBezTo>
                        <a:cubicBezTo>
                          <a:pt x="173" y="97"/>
                          <a:pt x="173" y="97"/>
                          <a:pt x="173" y="97"/>
                        </a:cubicBezTo>
                        <a:cubicBezTo>
                          <a:pt x="175" y="51"/>
                          <a:pt x="154" y="29"/>
                          <a:pt x="154" y="29"/>
                        </a:cubicBezTo>
                        <a:cubicBezTo>
                          <a:pt x="154" y="29"/>
                          <a:pt x="133" y="33"/>
                          <a:pt x="127" y="31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32316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0" cap="none" spc="0" normalizeH="0" baseline="0" noProof="0" dirty="0">
                      <a:ln>
                        <a:solidFill>
                          <a:srgbClr val="FFFFFF">
                            <a:alpha val="0"/>
                          </a:srgbClr>
                        </a:solidFill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36" name="Freeform 28"/>
                  <p:cNvSpPr>
                    <a:spLocks/>
                  </p:cNvSpPr>
                  <p:nvPr/>
                </p:nvSpPr>
                <p:spPr bwMode="black">
                  <a:xfrm>
                    <a:off x="10536238" y="4554567"/>
                    <a:ext cx="319088" cy="274409"/>
                  </a:xfrm>
                  <a:custGeom>
                    <a:avLst/>
                    <a:gdLst>
                      <a:gd name="T0" fmla="*/ 76 w 85"/>
                      <a:gd name="T1" fmla="*/ 20 h 59"/>
                      <a:gd name="T2" fmla="*/ 64 w 85"/>
                      <a:gd name="T3" fmla="*/ 25 h 59"/>
                      <a:gd name="T4" fmla="*/ 65 w 85"/>
                      <a:gd name="T5" fmla="*/ 18 h 59"/>
                      <a:gd name="T6" fmla="*/ 57 w 85"/>
                      <a:gd name="T7" fmla="*/ 5 h 59"/>
                      <a:gd name="T8" fmla="*/ 44 w 85"/>
                      <a:gd name="T9" fmla="*/ 13 h 59"/>
                      <a:gd name="T10" fmla="*/ 44 w 85"/>
                      <a:gd name="T11" fmla="*/ 14 h 59"/>
                      <a:gd name="T12" fmla="*/ 35 w 85"/>
                      <a:gd name="T13" fmla="*/ 3 h 59"/>
                      <a:gd name="T14" fmla="*/ 23 w 85"/>
                      <a:gd name="T15" fmla="*/ 10 h 59"/>
                      <a:gd name="T16" fmla="*/ 23 w 85"/>
                      <a:gd name="T17" fmla="*/ 10 h 59"/>
                      <a:gd name="T18" fmla="*/ 10 w 85"/>
                      <a:gd name="T19" fmla="*/ 1 h 59"/>
                      <a:gd name="T20" fmla="*/ 1 w 85"/>
                      <a:gd name="T21" fmla="*/ 14 h 59"/>
                      <a:gd name="T22" fmla="*/ 4 w 85"/>
                      <a:gd name="T23" fmla="*/ 28 h 59"/>
                      <a:gd name="T24" fmla="*/ 14 w 85"/>
                      <a:gd name="T25" fmla="*/ 36 h 59"/>
                      <a:gd name="T26" fmla="*/ 17 w 85"/>
                      <a:gd name="T27" fmla="*/ 36 h 59"/>
                      <a:gd name="T28" fmla="*/ 19 w 85"/>
                      <a:gd name="T29" fmla="*/ 35 h 59"/>
                      <a:gd name="T30" fmla="*/ 27 w 85"/>
                      <a:gd name="T31" fmla="*/ 43 h 59"/>
                      <a:gd name="T32" fmla="*/ 28 w 85"/>
                      <a:gd name="T33" fmla="*/ 43 h 59"/>
                      <a:gd name="T34" fmla="*/ 39 w 85"/>
                      <a:gd name="T35" fmla="*/ 38 h 59"/>
                      <a:gd name="T36" fmla="*/ 38 w 85"/>
                      <a:gd name="T37" fmla="*/ 39 h 59"/>
                      <a:gd name="T38" fmla="*/ 47 w 85"/>
                      <a:gd name="T39" fmla="*/ 52 h 59"/>
                      <a:gd name="T40" fmla="*/ 48 w 85"/>
                      <a:gd name="T41" fmla="*/ 52 h 59"/>
                      <a:gd name="T42" fmla="*/ 58 w 85"/>
                      <a:gd name="T43" fmla="*/ 47 h 59"/>
                      <a:gd name="T44" fmla="*/ 67 w 85"/>
                      <a:gd name="T45" fmla="*/ 59 h 59"/>
                      <a:gd name="T46" fmla="*/ 68 w 85"/>
                      <a:gd name="T47" fmla="*/ 59 h 59"/>
                      <a:gd name="T48" fmla="*/ 80 w 85"/>
                      <a:gd name="T49" fmla="*/ 50 h 59"/>
                      <a:gd name="T50" fmla="*/ 84 w 85"/>
                      <a:gd name="T51" fmla="*/ 33 h 59"/>
                      <a:gd name="T52" fmla="*/ 76 w 85"/>
                      <a:gd name="T53" fmla="*/ 20 h 5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</a:cxnLst>
                    <a:rect l="0" t="0" r="r" b="b"/>
                    <a:pathLst>
                      <a:path w="85" h="59">
                        <a:moveTo>
                          <a:pt x="76" y="20"/>
                        </a:moveTo>
                        <a:cubicBezTo>
                          <a:pt x="71" y="19"/>
                          <a:pt x="66" y="21"/>
                          <a:pt x="64" y="25"/>
                        </a:cubicBezTo>
                        <a:cubicBezTo>
                          <a:pt x="65" y="18"/>
                          <a:pt x="65" y="18"/>
                          <a:pt x="65" y="18"/>
                        </a:cubicBezTo>
                        <a:cubicBezTo>
                          <a:pt x="67" y="12"/>
                          <a:pt x="63" y="6"/>
                          <a:pt x="57" y="5"/>
                        </a:cubicBezTo>
                        <a:cubicBezTo>
                          <a:pt x="51" y="4"/>
                          <a:pt x="45" y="7"/>
                          <a:pt x="44" y="13"/>
                        </a:cubicBezTo>
                        <a:cubicBezTo>
                          <a:pt x="44" y="14"/>
                          <a:pt x="44" y="14"/>
                          <a:pt x="44" y="14"/>
                        </a:cubicBezTo>
                        <a:cubicBezTo>
                          <a:pt x="44" y="9"/>
                          <a:pt x="40" y="4"/>
                          <a:pt x="35" y="3"/>
                        </a:cubicBezTo>
                        <a:cubicBezTo>
                          <a:pt x="30" y="2"/>
                          <a:pt x="24" y="5"/>
                          <a:pt x="23" y="10"/>
                        </a:cubicBezTo>
                        <a:cubicBezTo>
                          <a:pt x="23" y="10"/>
                          <a:pt x="23" y="10"/>
                          <a:pt x="23" y="10"/>
                        </a:cubicBezTo>
                        <a:cubicBezTo>
                          <a:pt x="21" y="4"/>
                          <a:pt x="15" y="0"/>
                          <a:pt x="10" y="1"/>
                        </a:cubicBezTo>
                        <a:cubicBezTo>
                          <a:pt x="4" y="3"/>
                          <a:pt x="0" y="8"/>
                          <a:pt x="1" y="14"/>
                        </a:cubicBezTo>
                        <a:cubicBezTo>
                          <a:pt x="4" y="28"/>
                          <a:pt x="4" y="28"/>
                          <a:pt x="4" y="28"/>
                        </a:cubicBezTo>
                        <a:cubicBezTo>
                          <a:pt x="5" y="32"/>
                          <a:pt x="9" y="36"/>
                          <a:pt x="14" y="36"/>
                        </a:cubicBezTo>
                        <a:cubicBezTo>
                          <a:pt x="15" y="36"/>
                          <a:pt x="16" y="36"/>
                          <a:pt x="17" y="36"/>
                        </a:cubicBezTo>
                        <a:cubicBezTo>
                          <a:pt x="18" y="36"/>
                          <a:pt x="18" y="36"/>
                          <a:pt x="19" y="35"/>
                        </a:cubicBezTo>
                        <a:cubicBezTo>
                          <a:pt x="20" y="39"/>
                          <a:pt x="23" y="42"/>
                          <a:pt x="27" y="43"/>
                        </a:cubicBezTo>
                        <a:cubicBezTo>
                          <a:pt x="28" y="43"/>
                          <a:pt x="28" y="43"/>
                          <a:pt x="28" y="43"/>
                        </a:cubicBezTo>
                        <a:cubicBezTo>
                          <a:pt x="32" y="43"/>
                          <a:pt x="36" y="41"/>
                          <a:pt x="39" y="38"/>
                        </a:cubicBezTo>
                        <a:cubicBezTo>
                          <a:pt x="38" y="39"/>
                          <a:pt x="38" y="39"/>
                          <a:pt x="38" y="39"/>
                        </a:cubicBezTo>
                        <a:cubicBezTo>
                          <a:pt x="37" y="44"/>
                          <a:pt x="41" y="50"/>
                          <a:pt x="47" y="52"/>
                        </a:cubicBezTo>
                        <a:cubicBezTo>
                          <a:pt x="47" y="52"/>
                          <a:pt x="47" y="52"/>
                          <a:pt x="48" y="52"/>
                        </a:cubicBezTo>
                        <a:cubicBezTo>
                          <a:pt x="52" y="52"/>
                          <a:pt x="56" y="50"/>
                          <a:pt x="58" y="47"/>
                        </a:cubicBezTo>
                        <a:cubicBezTo>
                          <a:pt x="58" y="52"/>
                          <a:pt x="61" y="57"/>
                          <a:pt x="67" y="59"/>
                        </a:cubicBezTo>
                        <a:cubicBezTo>
                          <a:pt x="67" y="59"/>
                          <a:pt x="67" y="59"/>
                          <a:pt x="68" y="59"/>
                        </a:cubicBezTo>
                        <a:cubicBezTo>
                          <a:pt x="73" y="59"/>
                          <a:pt x="78" y="56"/>
                          <a:pt x="80" y="50"/>
                        </a:cubicBezTo>
                        <a:cubicBezTo>
                          <a:pt x="84" y="33"/>
                          <a:pt x="84" y="33"/>
                          <a:pt x="84" y="33"/>
                        </a:cubicBezTo>
                        <a:cubicBezTo>
                          <a:pt x="85" y="27"/>
                          <a:pt x="81" y="21"/>
                          <a:pt x="76" y="2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32316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0" cap="none" spc="0" normalizeH="0" baseline="0" noProof="0" dirty="0">
                      <a:ln>
                        <a:solidFill>
                          <a:srgbClr val="FFFFFF">
                            <a:alpha val="0"/>
                          </a:srgbClr>
                        </a:solidFill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37" name="Freeform 29"/>
                  <p:cNvSpPr>
                    <a:spLocks/>
                  </p:cNvSpPr>
                  <p:nvPr/>
                </p:nvSpPr>
                <p:spPr bwMode="black">
                  <a:xfrm>
                    <a:off x="11207741" y="4198910"/>
                    <a:ext cx="175191" cy="359859"/>
                  </a:xfrm>
                  <a:custGeom>
                    <a:avLst/>
                    <a:gdLst>
                      <a:gd name="T0" fmla="*/ 41 w 41"/>
                      <a:gd name="T1" fmla="*/ 77 h 85"/>
                      <a:gd name="T2" fmla="*/ 33 w 41"/>
                      <a:gd name="T3" fmla="*/ 7 h 85"/>
                      <a:gd name="T4" fmla="*/ 24 w 41"/>
                      <a:gd name="T5" fmla="*/ 1 h 85"/>
                      <a:gd name="T6" fmla="*/ 0 w 41"/>
                      <a:gd name="T7" fmla="*/ 7 h 85"/>
                      <a:gd name="T8" fmla="*/ 22 w 41"/>
                      <a:gd name="T9" fmla="*/ 85 h 85"/>
                      <a:gd name="T10" fmla="*/ 33 w 41"/>
                      <a:gd name="T11" fmla="*/ 85 h 85"/>
                      <a:gd name="T12" fmla="*/ 41 w 41"/>
                      <a:gd name="T13" fmla="*/ 77 h 8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1" h="85">
                        <a:moveTo>
                          <a:pt x="41" y="77"/>
                        </a:moveTo>
                        <a:cubicBezTo>
                          <a:pt x="33" y="7"/>
                          <a:pt x="33" y="7"/>
                          <a:pt x="33" y="7"/>
                        </a:cubicBezTo>
                        <a:cubicBezTo>
                          <a:pt x="32" y="2"/>
                          <a:pt x="28" y="0"/>
                          <a:pt x="24" y="1"/>
                        </a:cubicBezTo>
                        <a:cubicBezTo>
                          <a:pt x="0" y="7"/>
                          <a:pt x="0" y="7"/>
                          <a:pt x="0" y="7"/>
                        </a:cubicBezTo>
                        <a:cubicBezTo>
                          <a:pt x="0" y="7"/>
                          <a:pt x="25" y="32"/>
                          <a:pt x="22" y="85"/>
                        </a:cubicBezTo>
                        <a:cubicBezTo>
                          <a:pt x="33" y="85"/>
                          <a:pt x="33" y="85"/>
                          <a:pt x="33" y="85"/>
                        </a:cubicBezTo>
                        <a:cubicBezTo>
                          <a:pt x="38" y="85"/>
                          <a:pt x="41" y="81"/>
                          <a:pt x="41" y="77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32316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0" cap="none" spc="0" normalizeH="0" baseline="0" noProof="0" dirty="0">
                      <a:ln>
                        <a:solidFill>
                          <a:srgbClr val="FFFFFF">
                            <a:alpha val="0"/>
                          </a:srgbClr>
                        </a:solidFill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38" name="Freeform 30"/>
                  <p:cNvSpPr>
                    <a:spLocks/>
                  </p:cNvSpPr>
                  <p:nvPr/>
                </p:nvSpPr>
                <p:spPr bwMode="black">
                  <a:xfrm>
                    <a:off x="10387012" y="4206348"/>
                    <a:ext cx="176211" cy="352424"/>
                  </a:xfrm>
                  <a:custGeom>
                    <a:avLst/>
                    <a:gdLst>
                      <a:gd name="T0" fmla="*/ 47 w 47"/>
                      <a:gd name="T1" fmla="*/ 9 h 94"/>
                      <a:gd name="T2" fmla="*/ 35 w 47"/>
                      <a:gd name="T3" fmla="*/ 2 h 94"/>
                      <a:gd name="T4" fmla="*/ 25 w 47"/>
                      <a:gd name="T5" fmla="*/ 6 h 94"/>
                      <a:gd name="T6" fmla="*/ 2 w 47"/>
                      <a:gd name="T7" fmla="*/ 81 h 94"/>
                      <a:gd name="T8" fmla="*/ 7 w 47"/>
                      <a:gd name="T9" fmla="*/ 90 h 94"/>
                      <a:gd name="T10" fmla="*/ 26 w 47"/>
                      <a:gd name="T11" fmla="*/ 94 h 94"/>
                      <a:gd name="T12" fmla="*/ 47 w 47"/>
                      <a:gd name="T13" fmla="*/ 9 h 9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7" h="94">
                        <a:moveTo>
                          <a:pt x="47" y="9"/>
                        </a:moveTo>
                        <a:cubicBezTo>
                          <a:pt x="35" y="2"/>
                          <a:pt x="35" y="2"/>
                          <a:pt x="35" y="2"/>
                        </a:cubicBezTo>
                        <a:cubicBezTo>
                          <a:pt x="31" y="0"/>
                          <a:pt x="27" y="2"/>
                          <a:pt x="25" y="6"/>
                        </a:cubicBezTo>
                        <a:cubicBezTo>
                          <a:pt x="2" y="81"/>
                          <a:pt x="2" y="81"/>
                          <a:pt x="2" y="81"/>
                        </a:cubicBezTo>
                        <a:cubicBezTo>
                          <a:pt x="0" y="86"/>
                          <a:pt x="3" y="90"/>
                          <a:pt x="7" y="90"/>
                        </a:cubicBezTo>
                        <a:cubicBezTo>
                          <a:pt x="26" y="94"/>
                          <a:pt x="26" y="94"/>
                          <a:pt x="26" y="94"/>
                        </a:cubicBezTo>
                        <a:cubicBezTo>
                          <a:pt x="24" y="52"/>
                          <a:pt x="47" y="9"/>
                          <a:pt x="47" y="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32316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0" cap="none" spc="0" normalizeH="0" baseline="0" noProof="0" dirty="0">
                      <a:ln>
                        <a:solidFill>
                          <a:srgbClr val="FFFFFF">
                            <a:alpha val="0"/>
                          </a:srgbClr>
                        </a:solidFill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</p:grpSp>
          <p:grpSp>
            <p:nvGrpSpPr>
              <p:cNvPr id="20" name="Group 19"/>
              <p:cNvGrpSpPr/>
              <p:nvPr/>
            </p:nvGrpSpPr>
            <p:grpSpPr>
              <a:xfrm>
                <a:off x="7696770" y="3327956"/>
                <a:ext cx="569902" cy="569902"/>
                <a:chOff x="8293716" y="4003332"/>
                <a:chExt cx="671134" cy="671134"/>
              </a:xfrm>
            </p:grpSpPr>
            <p:sp>
              <p:nvSpPr>
                <p:cNvPr id="30" name="Oval 310"/>
                <p:cNvSpPr>
                  <a:spLocks noChangeArrowheads="1"/>
                </p:cNvSpPr>
                <p:nvPr/>
              </p:nvSpPr>
              <p:spPr bwMode="auto">
                <a:xfrm>
                  <a:off x="8293716" y="4003332"/>
                  <a:ext cx="671134" cy="671134"/>
                </a:xfrm>
                <a:prstGeom prst="ellipse">
                  <a:avLst/>
                </a:prstGeom>
                <a:solidFill>
                  <a:srgbClr val="4F81BD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555132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F3F3F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1" name="Freeform 113"/>
                <p:cNvSpPr>
                  <a:spLocks noEditPoints="1"/>
                </p:cNvSpPr>
                <p:nvPr/>
              </p:nvSpPr>
              <p:spPr bwMode="black">
                <a:xfrm>
                  <a:off x="8501313" y="4194745"/>
                  <a:ext cx="288785" cy="288784"/>
                </a:xfrm>
                <a:custGeom>
                  <a:avLst/>
                  <a:gdLst>
                    <a:gd name="T0" fmla="*/ 47 w 66"/>
                    <a:gd name="T1" fmla="*/ 37 h 66"/>
                    <a:gd name="T2" fmla="*/ 51 w 66"/>
                    <a:gd name="T3" fmla="*/ 33 h 66"/>
                    <a:gd name="T4" fmla="*/ 47 w 66"/>
                    <a:gd name="T5" fmla="*/ 29 h 66"/>
                    <a:gd name="T6" fmla="*/ 37 w 66"/>
                    <a:gd name="T7" fmla="*/ 29 h 66"/>
                    <a:gd name="T8" fmla="*/ 37 w 66"/>
                    <a:gd name="T9" fmla="*/ 16 h 66"/>
                    <a:gd name="T10" fmla="*/ 33 w 66"/>
                    <a:gd name="T11" fmla="*/ 13 h 66"/>
                    <a:gd name="T12" fmla="*/ 29 w 66"/>
                    <a:gd name="T13" fmla="*/ 16 h 66"/>
                    <a:gd name="T14" fmla="*/ 29 w 66"/>
                    <a:gd name="T15" fmla="*/ 33 h 66"/>
                    <a:gd name="T16" fmla="*/ 33 w 66"/>
                    <a:gd name="T17" fmla="*/ 37 h 66"/>
                    <a:gd name="T18" fmla="*/ 47 w 66"/>
                    <a:gd name="T19" fmla="*/ 37 h 66"/>
                    <a:gd name="T20" fmla="*/ 33 w 66"/>
                    <a:gd name="T21" fmla="*/ 8 h 66"/>
                    <a:gd name="T22" fmla="*/ 58 w 66"/>
                    <a:gd name="T23" fmla="*/ 33 h 66"/>
                    <a:gd name="T24" fmla="*/ 33 w 66"/>
                    <a:gd name="T25" fmla="*/ 58 h 66"/>
                    <a:gd name="T26" fmla="*/ 8 w 66"/>
                    <a:gd name="T27" fmla="*/ 33 h 66"/>
                    <a:gd name="T28" fmla="*/ 33 w 66"/>
                    <a:gd name="T29" fmla="*/ 8 h 66"/>
                    <a:gd name="T30" fmla="*/ 33 w 66"/>
                    <a:gd name="T31" fmla="*/ 66 h 66"/>
                    <a:gd name="T32" fmla="*/ 66 w 66"/>
                    <a:gd name="T33" fmla="*/ 33 h 66"/>
                    <a:gd name="T34" fmla="*/ 33 w 66"/>
                    <a:gd name="T35" fmla="*/ 0 h 66"/>
                    <a:gd name="T36" fmla="*/ 0 w 66"/>
                    <a:gd name="T37" fmla="*/ 33 h 66"/>
                    <a:gd name="T38" fmla="*/ 33 w 66"/>
                    <a:gd name="T39" fmla="*/ 66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66" h="66">
                      <a:moveTo>
                        <a:pt x="47" y="37"/>
                      </a:moveTo>
                      <a:cubicBezTo>
                        <a:pt x="49" y="37"/>
                        <a:pt x="51" y="35"/>
                        <a:pt x="51" y="33"/>
                      </a:cubicBezTo>
                      <a:cubicBezTo>
                        <a:pt x="51" y="31"/>
                        <a:pt x="49" y="29"/>
                        <a:pt x="47" y="29"/>
                      </a:cubicBezTo>
                      <a:cubicBezTo>
                        <a:pt x="37" y="29"/>
                        <a:pt x="37" y="29"/>
                        <a:pt x="37" y="29"/>
                      </a:cubicBezTo>
                      <a:cubicBezTo>
                        <a:pt x="37" y="16"/>
                        <a:pt x="37" y="16"/>
                        <a:pt x="37" y="16"/>
                      </a:cubicBezTo>
                      <a:cubicBezTo>
                        <a:pt x="37" y="14"/>
                        <a:pt x="35" y="13"/>
                        <a:pt x="33" y="13"/>
                      </a:cubicBezTo>
                      <a:cubicBezTo>
                        <a:pt x="31" y="13"/>
                        <a:pt x="29" y="14"/>
                        <a:pt x="29" y="16"/>
                      </a:cubicBezTo>
                      <a:cubicBezTo>
                        <a:pt x="29" y="33"/>
                        <a:pt x="29" y="33"/>
                        <a:pt x="29" y="33"/>
                      </a:cubicBezTo>
                      <a:cubicBezTo>
                        <a:pt x="29" y="35"/>
                        <a:pt x="31" y="37"/>
                        <a:pt x="33" y="37"/>
                      </a:cubicBezTo>
                      <a:lnTo>
                        <a:pt x="47" y="37"/>
                      </a:lnTo>
                      <a:close/>
                      <a:moveTo>
                        <a:pt x="33" y="8"/>
                      </a:moveTo>
                      <a:cubicBezTo>
                        <a:pt x="47" y="8"/>
                        <a:pt x="58" y="19"/>
                        <a:pt x="58" y="33"/>
                      </a:cubicBezTo>
                      <a:cubicBezTo>
                        <a:pt x="58" y="47"/>
                        <a:pt x="47" y="58"/>
                        <a:pt x="33" y="58"/>
                      </a:cubicBezTo>
                      <a:cubicBezTo>
                        <a:pt x="19" y="58"/>
                        <a:pt x="8" y="47"/>
                        <a:pt x="8" y="33"/>
                      </a:cubicBezTo>
                      <a:cubicBezTo>
                        <a:pt x="8" y="19"/>
                        <a:pt x="19" y="8"/>
                        <a:pt x="33" y="8"/>
                      </a:cubicBezTo>
                      <a:moveTo>
                        <a:pt x="33" y="66"/>
                      </a:moveTo>
                      <a:cubicBezTo>
                        <a:pt x="51" y="66"/>
                        <a:pt x="66" y="51"/>
                        <a:pt x="66" y="33"/>
                      </a:cubicBezTo>
                      <a:cubicBezTo>
                        <a:pt x="66" y="15"/>
                        <a:pt x="51" y="0"/>
                        <a:pt x="33" y="0"/>
                      </a:cubicBezTo>
                      <a:cubicBezTo>
                        <a:pt x="15" y="0"/>
                        <a:pt x="0" y="15"/>
                        <a:pt x="0" y="33"/>
                      </a:cubicBezTo>
                      <a:cubicBezTo>
                        <a:pt x="0" y="51"/>
                        <a:pt x="15" y="66"/>
                        <a:pt x="33" y="66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3231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21" name="Group 20"/>
              <p:cNvGrpSpPr/>
              <p:nvPr/>
            </p:nvGrpSpPr>
            <p:grpSpPr>
              <a:xfrm>
                <a:off x="7549768" y="5018788"/>
                <a:ext cx="638107" cy="639738"/>
                <a:chOff x="6623809" y="3060227"/>
                <a:chExt cx="885760" cy="888024"/>
              </a:xfrm>
            </p:grpSpPr>
            <p:sp>
              <p:nvSpPr>
                <p:cNvPr id="28" name="Oval 307"/>
                <p:cNvSpPr>
                  <a:spLocks noChangeArrowheads="1"/>
                </p:cNvSpPr>
                <p:nvPr/>
              </p:nvSpPr>
              <p:spPr bwMode="auto">
                <a:xfrm>
                  <a:off x="6623809" y="3060227"/>
                  <a:ext cx="885760" cy="888024"/>
                </a:xfrm>
                <a:prstGeom prst="ellipse">
                  <a:avLst/>
                </a:prstGeom>
                <a:solidFill>
                  <a:srgbClr val="EB3C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555132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F3F3F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9" name="Freeform 81"/>
                <p:cNvSpPr>
                  <a:spLocks noEditPoints="1"/>
                </p:cNvSpPr>
                <p:nvPr/>
              </p:nvSpPr>
              <p:spPr bwMode="black">
                <a:xfrm>
                  <a:off x="6889427" y="3371258"/>
                  <a:ext cx="344794" cy="266936"/>
                </a:xfrm>
                <a:custGeom>
                  <a:avLst/>
                  <a:gdLst>
                    <a:gd name="T0" fmla="*/ 71 w 75"/>
                    <a:gd name="T1" fmla="*/ 58 h 58"/>
                    <a:gd name="T2" fmla="*/ 4 w 75"/>
                    <a:gd name="T3" fmla="*/ 58 h 58"/>
                    <a:gd name="T4" fmla="*/ 0 w 75"/>
                    <a:gd name="T5" fmla="*/ 54 h 58"/>
                    <a:gd name="T6" fmla="*/ 0 w 75"/>
                    <a:gd name="T7" fmla="*/ 4 h 58"/>
                    <a:gd name="T8" fmla="*/ 4 w 75"/>
                    <a:gd name="T9" fmla="*/ 0 h 58"/>
                    <a:gd name="T10" fmla="*/ 71 w 75"/>
                    <a:gd name="T11" fmla="*/ 0 h 58"/>
                    <a:gd name="T12" fmla="*/ 75 w 75"/>
                    <a:gd name="T13" fmla="*/ 4 h 58"/>
                    <a:gd name="T14" fmla="*/ 75 w 75"/>
                    <a:gd name="T15" fmla="*/ 54 h 58"/>
                    <a:gd name="T16" fmla="*/ 71 w 75"/>
                    <a:gd name="T17" fmla="*/ 58 h 58"/>
                    <a:gd name="T18" fmla="*/ 8 w 75"/>
                    <a:gd name="T19" fmla="*/ 50 h 58"/>
                    <a:gd name="T20" fmla="*/ 67 w 75"/>
                    <a:gd name="T21" fmla="*/ 50 h 58"/>
                    <a:gd name="T22" fmla="*/ 67 w 75"/>
                    <a:gd name="T23" fmla="*/ 16 h 58"/>
                    <a:gd name="T24" fmla="*/ 39 w 75"/>
                    <a:gd name="T25" fmla="*/ 38 h 58"/>
                    <a:gd name="T26" fmla="*/ 35 w 75"/>
                    <a:gd name="T27" fmla="*/ 38 h 58"/>
                    <a:gd name="T28" fmla="*/ 8 w 75"/>
                    <a:gd name="T29" fmla="*/ 17 h 58"/>
                    <a:gd name="T30" fmla="*/ 8 w 75"/>
                    <a:gd name="T31" fmla="*/ 50 h 58"/>
                    <a:gd name="T32" fmla="*/ 9 w 75"/>
                    <a:gd name="T33" fmla="*/ 8 h 58"/>
                    <a:gd name="T34" fmla="*/ 37 w 75"/>
                    <a:gd name="T35" fmla="*/ 30 h 58"/>
                    <a:gd name="T36" fmla="*/ 65 w 75"/>
                    <a:gd name="T37" fmla="*/ 8 h 58"/>
                    <a:gd name="T38" fmla="*/ 9 w 75"/>
                    <a:gd name="T39" fmla="*/ 8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75" h="58">
                      <a:moveTo>
                        <a:pt x="71" y="58"/>
                      </a:moveTo>
                      <a:cubicBezTo>
                        <a:pt x="4" y="58"/>
                        <a:pt x="4" y="58"/>
                        <a:pt x="4" y="58"/>
                      </a:cubicBezTo>
                      <a:cubicBezTo>
                        <a:pt x="2" y="58"/>
                        <a:pt x="0" y="56"/>
                        <a:pt x="0" y="54"/>
                      </a:cubicBez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0" y="2"/>
                        <a:pt x="2" y="0"/>
                        <a:pt x="4" y="0"/>
                      </a:cubicBezTo>
                      <a:cubicBezTo>
                        <a:pt x="71" y="0"/>
                        <a:pt x="71" y="0"/>
                        <a:pt x="71" y="0"/>
                      </a:cubicBezTo>
                      <a:cubicBezTo>
                        <a:pt x="73" y="0"/>
                        <a:pt x="75" y="2"/>
                        <a:pt x="75" y="4"/>
                      </a:cubicBezTo>
                      <a:cubicBezTo>
                        <a:pt x="75" y="54"/>
                        <a:pt x="75" y="54"/>
                        <a:pt x="75" y="54"/>
                      </a:cubicBezTo>
                      <a:cubicBezTo>
                        <a:pt x="75" y="56"/>
                        <a:pt x="73" y="58"/>
                        <a:pt x="71" y="58"/>
                      </a:cubicBezTo>
                      <a:close/>
                      <a:moveTo>
                        <a:pt x="8" y="50"/>
                      </a:moveTo>
                      <a:cubicBezTo>
                        <a:pt x="67" y="50"/>
                        <a:pt x="67" y="50"/>
                        <a:pt x="67" y="50"/>
                      </a:cubicBezTo>
                      <a:cubicBezTo>
                        <a:pt x="67" y="16"/>
                        <a:pt x="67" y="16"/>
                        <a:pt x="67" y="16"/>
                      </a:cubicBezTo>
                      <a:cubicBezTo>
                        <a:pt x="39" y="38"/>
                        <a:pt x="39" y="38"/>
                        <a:pt x="39" y="38"/>
                      </a:cubicBezTo>
                      <a:cubicBezTo>
                        <a:pt x="38" y="39"/>
                        <a:pt x="36" y="39"/>
                        <a:pt x="35" y="38"/>
                      </a:cubicBezTo>
                      <a:cubicBezTo>
                        <a:pt x="8" y="17"/>
                        <a:pt x="8" y="17"/>
                        <a:pt x="8" y="17"/>
                      </a:cubicBezTo>
                      <a:lnTo>
                        <a:pt x="8" y="50"/>
                      </a:lnTo>
                      <a:close/>
                      <a:moveTo>
                        <a:pt x="9" y="8"/>
                      </a:moveTo>
                      <a:cubicBezTo>
                        <a:pt x="37" y="30"/>
                        <a:pt x="37" y="30"/>
                        <a:pt x="37" y="30"/>
                      </a:cubicBezTo>
                      <a:cubicBezTo>
                        <a:pt x="65" y="8"/>
                        <a:pt x="65" y="8"/>
                        <a:pt x="65" y="8"/>
                      </a:cubicBezTo>
                      <a:lnTo>
                        <a:pt x="9" y="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3231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22" name="Group 21"/>
              <p:cNvGrpSpPr/>
              <p:nvPr/>
            </p:nvGrpSpPr>
            <p:grpSpPr>
              <a:xfrm>
                <a:off x="6663292" y="4348091"/>
                <a:ext cx="615250" cy="632077"/>
                <a:chOff x="7710135" y="4895626"/>
                <a:chExt cx="664085" cy="682247"/>
              </a:xfrm>
            </p:grpSpPr>
            <p:sp>
              <p:nvSpPr>
                <p:cNvPr id="26" name="Oval 321"/>
                <p:cNvSpPr>
                  <a:spLocks noChangeArrowheads="1"/>
                </p:cNvSpPr>
                <p:nvPr/>
              </p:nvSpPr>
              <p:spPr bwMode="auto">
                <a:xfrm>
                  <a:off x="7760668" y="4932035"/>
                  <a:ext cx="563135" cy="565706"/>
                </a:xfrm>
                <a:prstGeom prst="ellipse">
                  <a:avLst/>
                </a:prstGeom>
                <a:solidFill>
                  <a:srgbClr val="EEECE1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555132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F3F3F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7" name="TextBox 26"/>
                <p:cNvSpPr txBox="1"/>
                <p:nvPr/>
              </p:nvSpPr>
              <p:spPr>
                <a:xfrm>
                  <a:off x="7710135" y="4895626"/>
                  <a:ext cx="664085" cy="68224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ctr" defTabSz="555132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chemeClr val="bg1">
                          <a:lumMod val="65000"/>
                        </a:schemeClr>
                      </a:solidFill>
                      <a:effectLst/>
                      <a:uLnTx/>
                      <a:uFillTx/>
                      <a:latin typeface="Segoe UI Semibold" panose="020B0702040204020203" pitchFamily="34" charset="0"/>
                      <a:cs typeface="Segoe UI Semibold" panose="020B0702040204020203" pitchFamily="34" charset="0"/>
                    </a:rPr>
                    <a:t>$</a:t>
                  </a:r>
                  <a:endPara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>
                        <a:lumMod val="65000"/>
                      </a:schemeClr>
                    </a:solidFill>
                    <a:effectLst/>
                    <a:uLnTx/>
                    <a:uFillTx/>
                    <a:latin typeface="Segoe UI Semibold" panose="020B0702040204020203" pitchFamily="34" charset="0"/>
                    <a:cs typeface="Segoe UI Semibold" panose="020B0702040204020203" pitchFamily="34" charset="0"/>
                  </a:endParaRPr>
                </a:p>
              </p:txBody>
            </p:sp>
          </p:grpSp>
          <p:grpSp>
            <p:nvGrpSpPr>
              <p:cNvPr id="23" name="Group 22"/>
              <p:cNvGrpSpPr/>
              <p:nvPr/>
            </p:nvGrpSpPr>
            <p:grpSpPr>
              <a:xfrm>
                <a:off x="9869740" y="4673840"/>
                <a:ext cx="423848" cy="426341"/>
                <a:chOff x="10539483" y="2361140"/>
                <a:chExt cx="269875" cy="271463"/>
              </a:xfrm>
            </p:grpSpPr>
            <p:sp>
              <p:nvSpPr>
                <p:cNvPr id="24" name="Oval 318"/>
                <p:cNvSpPr>
                  <a:spLocks noChangeArrowheads="1"/>
                </p:cNvSpPr>
                <p:nvPr/>
              </p:nvSpPr>
              <p:spPr bwMode="auto">
                <a:xfrm>
                  <a:off x="10539483" y="2361140"/>
                  <a:ext cx="269875" cy="271463"/>
                </a:xfrm>
                <a:prstGeom prst="ellipse">
                  <a:avLst/>
                </a:prstGeom>
                <a:solidFill>
                  <a:srgbClr val="00B0F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555132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F3F3F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5" name="Freeform 319"/>
                <p:cNvSpPr>
                  <a:spLocks noEditPoints="1"/>
                </p:cNvSpPr>
                <p:nvPr/>
              </p:nvSpPr>
              <p:spPr bwMode="auto">
                <a:xfrm>
                  <a:off x="10607746" y="2438927"/>
                  <a:ext cx="134938" cy="114300"/>
                </a:xfrm>
                <a:custGeom>
                  <a:avLst/>
                  <a:gdLst>
                    <a:gd name="T0" fmla="*/ 227 w 374"/>
                    <a:gd name="T1" fmla="*/ 158 h 319"/>
                    <a:gd name="T2" fmla="*/ 257 w 374"/>
                    <a:gd name="T3" fmla="*/ 162 h 319"/>
                    <a:gd name="T4" fmla="*/ 263 w 374"/>
                    <a:gd name="T5" fmla="*/ 148 h 319"/>
                    <a:gd name="T6" fmla="*/ 261 w 374"/>
                    <a:gd name="T7" fmla="*/ 140 h 319"/>
                    <a:gd name="T8" fmla="*/ 250 w 374"/>
                    <a:gd name="T9" fmla="*/ 142 h 319"/>
                    <a:gd name="T10" fmla="*/ 238 w 374"/>
                    <a:gd name="T11" fmla="*/ 127 h 319"/>
                    <a:gd name="T12" fmla="*/ 228 w 374"/>
                    <a:gd name="T13" fmla="*/ 138 h 319"/>
                    <a:gd name="T14" fmla="*/ 213 w 374"/>
                    <a:gd name="T15" fmla="*/ 139 h 319"/>
                    <a:gd name="T16" fmla="*/ 207 w 374"/>
                    <a:gd name="T17" fmla="*/ 146 h 319"/>
                    <a:gd name="T18" fmla="*/ 213 w 374"/>
                    <a:gd name="T19" fmla="*/ 158 h 319"/>
                    <a:gd name="T20" fmla="*/ 207 w 374"/>
                    <a:gd name="T21" fmla="*/ 170 h 319"/>
                    <a:gd name="T22" fmla="*/ 213 w 374"/>
                    <a:gd name="T23" fmla="*/ 177 h 319"/>
                    <a:gd name="T24" fmla="*/ 228 w 374"/>
                    <a:gd name="T25" fmla="*/ 178 h 319"/>
                    <a:gd name="T26" fmla="*/ 238 w 374"/>
                    <a:gd name="T27" fmla="*/ 188 h 319"/>
                    <a:gd name="T28" fmla="*/ 250 w 374"/>
                    <a:gd name="T29" fmla="*/ 174 h 319"/>
                    <a:gd name="T30" fmla="*/ 261 w 374"/>
                    <a:gd name="T31" fmla="*/ 175 h 319"/>
                    <a:gd name="T32" fmla="*/ 263 w 374"/>
                    <a:gd name="T33" fmla="*/ 168 h 319"/>
                    <a:gd name="T34" fmla="*/ 167 w 374"/>
                    <a:gd name="T35" fmla="*/ 188 h 319"/>
                    <a:gd name="T36" fmla="*/ 156 w 374"/>
                    <a:gd name="T37" fmla="*/ 197 h 319"/>
                    <a:gd name="T38" fmla="*/ 167 w 374"/>
                    <a:gd name="T39" fmla="*/ 220 h 319"/>
                    <a:gd name="T40" fmla="*/ 151 w 374"/>
                    <a:gd name="T41" fmla="*/ 182 h 319"/>
                    <a:gd name="T42" fmla="*/ 189 w 374"/>
                    <a:gd name="T43" fmla="*/ 197 h 319"/>
                    <a:gd name="T44" fmla="*/ 218 w 374"/>
                    <a:gd name="T45" fmla="*/ 181 h 319"/>
                    <a:gd name="T46" fmla="*/ 208 w 374"/>
                    <a:gd name="T47" fmla="*/ 162 h 319"/>
                    <a:gd name="T48" fmla="*/ 195 w 374"/>
                    <a:gd name="T49" fmla="*/ 151 h 319"/>
                    <a:gd name="T50" fmla="*/ 174 w 374"/>
                    <a:gd name="T51" fmla="*/ 142 h 319"/>
                    <a:gd name="T52" fmla="*/ 158 w 374"/>
                    <a:gd name="T53" fmla="*/ 142 h 319"/>
                    <a:gd name="T54" fmla="*/ 138 w 374"/>
                    <a:gd name="T55" fmla="*/ 151 h 319"/>
                    <a:gd name="T56" fmla="*/ 126 w 374"/>
                    <a:gd name="T57" fmla="*/ 162 h 319"/>
                    <a:gd name="T58" fmla="*/ 115 w 374"/>
                    <a:gd name="T59" fmla="*/ 181 h 319"/>
                    <a:gd name="T60" fmla="*/ 112 w 374"/>
                    <a:gd name="T61" fmla="*/ 196 h 319"/>
                    <a:gd name="T62" fmla="*/ 116 w 374"/>
                    <a:gd name="T63" fmla="*/ 218 h 319"/>
                    <a:gd name="T64" fmla="*/ 124 w 374"/>
                    <a:gd name="T65" fmla="*/ 231 h 319"/>
                    <a:gd name="T66" fmla="*/ 141 w 374"/>
                    <a:gd name="T67" fmla="*/ 246 h 319"/>
                    <a:gd name="T68" fmla="*/ 156 w 374"/>
                    <a:gd name="T69" fmla="*/ 251 h 319"/>
                    <a:gd name="T70" fmla="*/ 169 w 374"/>
                    <a:gd name="T71" fmla="*/ 237 h 319"/>
                    <a:gd name="T72" fmla="*/ 191 w 374"/>
                    <a:gd name="T73" fmla="*/ 248 h 319"/>
                    <a:gd name="T74" fmla="*/ 194 w 374"/>
                    <a:gd name="T75" fmla="*/ 227 h 319"/>
                    <a:gd name="T76" fmla="*/ 218 w 374"/>
                    <a:gd name="T77" fmla="*/ 222 h 319"/>
                    <a:gd name="T78" fmla="*/ 206 w 374"/>
                    <a:gd name="T79" fmla="*/ 203 h 319"/>
                    <a:gd name="T80" fmla="*/ 0 w 374"/>
                    <a:gd name="T81" fmla="*/ 0 h 319"/>
                    <a:gd name="T82" fmla="*/ 0 w 374"/>
                    <a:gd name="T83" fmla="*/ 38 h 319"/>
                    <a:gd name="T84" fmla="*/ 374 w 374"/>
                    <a:gd name="T85" fmla="*/ 57 h 319"/>
                    <a:gd name="T86" fmla="*/ 0 w 374"/>
                    <a:gd name="T87" fmla="*/ 57 h 319"/>
                    <a:gd name="T88" fmla="*/ 356 w 374"/>
                    <a:gd name="T89" fmla="*/ 76 h 3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374" h="319">
                      <a:moveTo>
                        <a:pt x="244" y="158"/>
                      </a:moveTo>
                      <a:cubicBezTo>
                        <a:pt x="244" y="162"/>
                        <a:pt x="240" y="166"/>
                        <a:pt x="235" y="166"/>
                      </a:cubicBezTo>
                      <a:cubicBezTo>
                        <a:pt x="231" y="166"/>
                        <a:pt x="227" y="162"/>
                        <a:pt x="227" y="158"/>
                      </a:cubicBezTo>
                      <a:cubicBezTo>
                        <a:pt x="227" y="153"/>
                        <a:pt x="231" y="149"/>
                        <a:pt x="235" y="149"/>
                      </a:cubicBezTo>
                      <a:cubicBezTo>
                        <a:pt x="240" y="149"/>
                        <a:pt x="244" y="153"/>
                        <a:pt x="244" y="158"/>
                      </a:cubicBezTo>
                      <a:moveTo>
                        <a:pt x="257" y="162"/>
                      </a:moveTo>
                      <a:cubicBezTo>
                        <a:pt x="257" y="161"/>
                        <a:pt x="257" y="159"/>
                        <a:pt x="257" y="158"/>
                      </a:cubicBezTo>
                      <a:cubicBezTo>
                        <a:pt x="257" y="156"/>
                        <a:pt x="257" y="155"/>
                        <a:pt x="257" y="154"/>
                      </a:cubicBezTo>
                      <a:lnTo>
                        <a:pt x="263" y="148"/>
                      </a:lnTo>
                      <a:cubicBezTo>
                        <a:pt x="264" y="148"/>
                        <a:pt x="264" y="147"/>
                        <a:pt x="264" y="146"/>
                      </a:cubicBezTo>
                      <a:lnTo>
                        <a:pt x="264" y="145"/>
                      </a:lnTo>
                      <a:lnTo>
                        <a:pt x="261" y="140"/>
                      </a:lnTo>
                      <a:cubicBezTo>
                        <a:pt x="260" y="140"/>
                        <a:pt x="259" y="139"/>
                        <a:pt x="258" y="139"/>
                      </a:cubicBezTo>
                      <a:lnTo>
                        <a:pt x="257" y="139"/>
                      </a:lnTo>
                      <a:lnTo>
                        <a:pt x="250" y="142"/>
                      </a:lnTo>
                      <a:cubicBezTo>
                        <a:pt x="248" y="140"/>
                        <a:pt x="245" y="138"/>
                        <a:pt x="243" y="138"/>
                      </a:cubicBezTo>
                      <a:lnTo>
                        <a:pt x="241" y="129"/>
                      </a:lnTo>
                      <a:cubicBezTo>
                        <a:pt x="241" y="129"/>
                        <a:pt x="239" y="127"/>
                        <a:pt x="238" y="127"/>
                      </a:cubicBezTo>
                      <a:lnTo>
                        <a:pt x="233" y="127"/>
                      </a:lnTo>
                      <a:cubicBezTo>
                        <a:pt x="232" y="127"/>
                        <a:pt x="230" y="129"/>
                        <a:pt x="230" y="129"/>
                      </a:cubicBezTo>
                      <a:lnTo>
                        <a:pt x="228" y="138"/>
                      </a:lnTo>
                      <a:cubicBezTo>
                        <a:pt x="226" y="138"/>
                        <a:pt x="223" y="140"/>
                        <a:pt x="221" y="142"/>
                      </a:cubicBezTo>
                      <a:lnTo>
                        <a:pt x="213" y="139"/>
                      </a:lnTo>
                      <a:lnTo>
                        <a:pt x="213" y="139"/>
                      </a:lnTo>
                      <a:cubicBezTo>
                        <a:pt x="211" y="139"/>
                        <a:pt x="211" y="140"/>
                        <a:pt x="210" y="140"/>
                      </a:cubicBezTo>
                      <a:lnTo>
                        <a:pt x="208" y="145"/>
                      </a:lnTo>
                      <a:cubicBezTo>
                        <a:pt x="207" y="145"/>
                        <a:pt x="207" y="146"/>
                        <a:pt x="207" y="146"/>
                      </a:cubicBezTo>
                      <a:cubicBezTo>
                        <a:pt x="207" y="147"/>
                        <a:pt x="208" y="148"/>
                        <a:pt x="208" y="148"/>
                      </a:cubicBezTo>
                      <a:lnTo>
                        <a:pt x="215" y="154"/>
                      </a:lnTo>
                      <a:cubicBezTo>
                        <a:pt x="214" y="155"/>
                        <a:pt x="213" y="156"/>
                        <a:pt x="213" y="158"/>
                      </a:cubicBezTo>
                      <a:cubicBezTo>
                        <a:pt x="213" y="159"/>
                        <a:pt x="214" y="160"/>
                        <a:pt x="215" y="162"/>
                      </a:cubicBezTo>
                      <a:lnTo>
                        <a:pt x="208" y="168"/>
                      </a:lnTo>
                      <a:cubicBezTo>
                        <a:pt x="208" y="168"/>
                        <a:pt x="207" y="169"/>
                        <a:pt x="207" y="170"/>
                      </a:cubicBezTo>
                      <a:cubicBezTo>
                        <a:pt x="207" y="170"/>
                        <a:pt x="207" y="170"/>
                        <a:pt x="208" y="171"/>
                      </a:cubicBezTo>
                      <a:lnTo>
                        <a:pt x="210" y="175"/>
                      </a:lnTo>
                      <a:cubicBezTo>
                        <a:pt x="211" y="177"/>
                        <a:pt x="211" y="177"/>
                        <a:pt x="213" y="177"/>
                      </a:cubicBezTo>
                      <a:lnTo>
                        <a:pt x="213" y="177"/>
                      </a:lnTo>
                      <a:lnTo>
                        <a:pt x="221" y="174"/>
                      </a:lnTo>
                      <a:cubicBezTo>
                        <a:pt x="223" y="176"/>
                        <a:pt x="226" y="177"/>
                        <a:pt x="228" y="178"/>
                      </a:cubicBezTo>
                      <a:lnTo>
                        <a:pt x="230" y="186"/>
                      </a:lnTo>
                      <a:cubicBezTo>
                        <a:pt x="230" y="188"/>
                        <a:pt x="232" y="188"/>
                        <a:pt x="233" y="188"/>
                      </a:cubicBezTo>
                      <a:lnTo>
                        <a:pt x="238" y="188"/>
                      </a:lnTo>
                      <a:cubicBezTo>
                        <a:pt x="239" y="188"/>
                        <a:pt x="241" y="188"/>
                        <a:pt x="241" y="186"/>
                      </a:cubicBezTo>
                      <a:lnTo>
                        <a:pt x="243" y="179"/>
                      </a:lnTo>
                      <a:cubicBezTo>
                        <a:pt x="245" y="177"/>
                        <a:pt x="248" y="176"/>
                        <a:pt x="250" y="174"/>
                      </a:cubicBezTo>
                      <a:lnTo>
                        <a:pt x="257" y="177"/>
                      </a:lnTo>
                      <a:lnTo>
                        <a:pt x="258" y="177"/>
                      </a:lnTo>
                      <a:cubicBezTo>
                        <a:pt x="259" y="177"/>
                        <a:pt x="260" y="177"/>
                        <a:pt x="261" y="175"/>
                      </a:cubicBezTo>
                      <a:lnTo>
                        <a:pt x="264" y="171"/>
                      </a:lnTo>
                      <a:lnTo>
                        <a:pt x="264" y="170"/>
                      </a:lnTo>
                      <a:cubicBezTo>
                        <a:pt x="264" y="169"/>
                        <a:pt x="264" y="168"/>
                        <a:pt x="263" y="168"/>
                      </a:cubicBezTo>
                      <a:lnTo>
                        <a:pt x="257" y="162"/>
                      </a:lnTo>
                      <a:close/>
                      <a:moveTo>
                        <a:pt x="156" y="197"/>
                      </a:moveTo>
                      <a:cubicBezTo>
                        <a:pt x="156" y="192"/>
                        <a:pt x="161" y="188"/>
                        <a:pt x="167" y="188"/>
                      </a:cubicBezTo>
                      <a:cubicBezTo>
                        <a:pt x="172" y="188"/>
                        <a:pt x="177" y="192"/>
                        <a:pt x="177" y="197"/>
                      </a:cubicBezTo>
                      <a:cubicBezTo>
                        <a:pt x="177" y="203"/>
                        <a:pt x="172" y="208"/>
                        <a:pt x="167" y="208"/>
                      </a:cubicBezTo>
                      <a:cubicBezTo>
                        <a:pt x="161" y="208"/>
                        <a:pt x="156" y="203"/>
                        <a:pt x="156" y="197"/>
                      </a:cubicBezTo>
                      <a:moveTo>
                        <a:pt x="189" y="197"/>
                      </a:moveTo>
                      <a:cubicBezTo>
                        <a:pt x="189" y="204"/>
                        <a:pt x="186" y="209"/>
                        <a:pt x="182" y="214"/>
                      </a:cubicBezTo>
                      <a:cubicBezTo>
                        <a:pt x="178" y="218"/>
                        <a:pt x="172" y="220"/>
                        <a:pt x="167" y="220"/>
                      </a:cubicBezTo>
                      <a:cubicBezTo>
                        <a:pt x="160" y="220"/>
                        <a:pt x="155" y="218"/>
                        <a:pt x="151" y="214"/>
                      </a:cubicBezTo>
                      <a:cubicBezTo>
                        <a:pt x="147" y="209"/>
                        <a:pt x="145" y="204"/>
                        <a:pt x="145" y="197"/>
                      </a:cubicBezTo>
                      <a:cubicBezTo>
                        <a:pt x="145" y="192"/>
                        <a:pt x="147" y="186"/>
                        <a:pt x="151" y="182"/>
                      </a:cubicBezTo>
                      <a:cubicBezTo>
                        <a:pt x="155" y="178"/>
                        <a:pt x="160" y="175"/>
                        <a:pt x="167" y="175"/>
                      </a:cubicBezTo>
                      <a:cubicBezTo>
                        <a:pt x="172" y="175"/>
                        <a:pt x="178" y="178"/>
                        <a:pt x="182" y="182"/>
                      </a:cubicBezTo>
                      <a:cubicBezTo>
                        <a:pt x="186" y="186"/>
                        <a:pt x="189" y="192"/>
                        <a:pt x="189" y="197"/>
                      </a:cubicBezTo>
                      <a:moveTo>
                        <a:pt x="222" y="193"/>
                      </a:moveTo>
                      <a:lnTo>
                        <a:pt x="220" y="183"/>
                      </a:lnTo>
                      <a:cubicBezTo>
                        <a:pt x="220" y="182"/>
                        <a:pt x="220" y="181"/>
                        <a:pt x="218" y="181"/>
                      </a:cubicBezTo>
                      <a:lnTo>
                        <a:pt x="202" y="180"/>
                      </a:lnTo>
                      <a:cubicBezTo>
                        <a:pt x="202" y="179"/>
                        <a:pt x="201" y="177"/>
                        <a:pt x="200" y="176"/>
                      </a:cubicBezTo>
                      <a:lnTo>
                        <a:pt x="208" y="162"/>
                      </a:lnTo>
                      <a:cubicBezTo>
                        <a:pt x="208" y="160"/>
                        <a:pt x="208" y="159"/>
                        <a:pt x="206" y="158"/>
                      </a:cubicBezTo>
                      <a:lnTo>
                        <a:pt x="198" y="152"/>
                      </a:lnTo>
                      <a:cubicBezTo>
                        <a:pt x="198" y="151"/>
                        <a:pt x="196" y="151"/>
                        <a:pt x="195" y="151"/>
                      </a:cubicBezTo>
                      <a:lnTo>
                        <a:pt x="182" y="161"/>
                      </a:lnTo>
                      <a:cubicBezTo>
                        <a:pt x="181" y="160"/>
                        <a:pt x="180" y="160"/>
                        <a:pt x="178" y="160"/>
                      </a:cubicBezTo>
                      <a:lnTo>
                        <a:pt x="174" y="142"/>
                      </a:lnTo>
                      <a:cubicBezTo>
                        <a:pt x="174" y="140"/>
                        <a:pt x="173" y="140"/>
                        <a:pt x="172" y="140"/>
                      </a:cubicBezTo>
                      <a:lnTo>
                        <a:pt x="161" y="140"/>
                      </a:lnTo>
                      <a:cubicBezTo>
                        <a:pt x="160" y="140"/>
                        <a:pt x="159" y="140"/>
                        <a:pt x="158" y="142"/>
                      </a:cubicBezTo>
                      <a:lnTo>
                        <a:pt x="155" y="160"/>
                      </a:lnTo>
                      <a:cubicBezTo>
                        <a:pt x="153" y="160"/>
                        <a:pt x="152" y="160"/>
                        <a:pt x="151" y="161"/>
                      </a:cubicBezTo>
                      <a:lnTo>
                        <a:pt x="138" y="151"/>
                      </a:lnTo>
                      <a:cubicBezTo>
                        <a:pt x="137" y="151"/>
                        <a:pt x="135" y="151"/>
                        <a:pt x="135" y="151"/>
                      </a:cubicBezTo>
                      <a:lnTo>
                        <a:pt x="126" y="158"/>
                      </a:lnTo>
                      <a:cubicBezTo>
                        <a:pt x="126" y="159"/>
                        <a:pt x="126" y="160"/>
                        <a:pt x="126" y="162"/>
                      </a:cubicBezTo>
                      <a:lnTo>
                        <a:pt x="133" y="176"/>
                      </a:lnTo>
                      <a:cubicBezTo>
                        <a:pt x="132" y="177"/>
                        <a:pt x="131" y="179"/>
                        <a:pt x="131" y="180"/>
                      </a:cubicBezTo>
                      <a:lnTo>
                        <a:pt x="115" y="181"/>
                      </a:lnTo>
                      <a:cubicBezTo>
                        <a:pt x="113" y="181"/>
                        <a:pt x="113" y="182"/>
                        <a:pt x="112" y="183"/>
                      </a:cubicBezTo>
                      <a:lnTo>
                        <a:pt x="110" y="193"/>
                      </a:lnTo>
                      <a:cubicBezTo>
                        <a:pt x="110" y="194"/>
                        <a:pt x="111" y="195"/>
                        <a:pt x="112" y="196"/>
                      </a:cubicBezTo>
                      <a:lnTo>
                        <a:pt x="127" y="203"/>
                      </a:lnTo>
                      <a:cubicBezTo>
                        <a:pt x="127" y="204"/>
                        <a:pt x="127" y="205"/>
                        <a:pt x="128" y="207"/>
                      </a:cubicBezTo>
                      <a:lnTo>
                        <a:pt x="116" y="218"/>
                      </a:lnTo>
                      <a:cubicBezTo>
                        <a:pt x="115" y="218"/>
                        <a:pt x="115" y="220"/>
                        <a:pt x="115" y="222"/>
                      </a:cubicBezTo>
                      <a:lnTo>
                        <a:pt x="120" y="231"/>
                      </a:lnTo>
                      <a:cubicBezTo>
                        <a:pt x="121" y="231"/>
                        <a:pt x="122" y="232"/>
                        <a:pt x="124" y="231"/>
                      </a:cubicBezTo>
                      <a:lnTo>
                        <a:pt x="139" y="227"/>
                      </a:lnTo>
                      <a:cubicBezTo>
                        <a:pt x="141" y="228"/>
                        <a:pt x="141" y="229"/>
                        <a:pt x="143" y="230"/>
                      </a:cubicBezTo>
                      <a:lnTo>
                        <a:pt x="141" y="246"/>
                      </a:lnTo>
                      <a:cubicBezTo>
                        <a:pt x="141" y="247"/>
                        <a:pt x="141" y="248"/>
                        <a:pt x="143" y="248"/>
                      </a:cubicBezTo>
                      <a:lnTo>
                        <a:pt x="152" y="252"/>
                      </a:lnTo>
                      <a:cubicBezTo>
                        <a:pt x="154" y="252"/>
                        <a:pt x="155" y="252"/>
                        <a:pt x="156" y="251"/>
                      </a:cubicBezTo>
                      <a:lnTo>
                        <a:pt x="164" y="237"/>
                      </a:lnTo>
                      <a:cubicBezTo>
                        <a:pt x="165" y="237"/>
                        <a:pt x="166" y="238"/>
                        <a:pt x="167" y="238"/>
                      </a:cubicBezTo>
                      <a:cubicBezTo>
                        <a:pt x="167" y="238"/>
                        <a:pt x="168" y="237"/>
                        <a:pt x="169" y="237"/>
                      </a:cubicBezTo>
                      <a:lnTo>
                        <a:pt x="177" y="251"/>
                      </a:lnTo>
                      <a:cubicBezTo>
                        <a:pt x="178" y="252"/>
                        <a:pt x="180" y="252"/>
                        <a:pt x="181" y="252"/>
                      </a:cubicBezTo>
                      <a:lnTo>
                        <a:pt x="191" y="248"/>
                      </a:lnTo>
                      <a:cubicBezTo>
                        <a:pt x="192" y="248"/>
                        <a:pt x="193" y="247"/>
                        <a:pt x="193" y="246"/>
                      </a:cubicBezTo>
                      <a:lnTo>
                        <a:pt x="191" y="230"/>
                      </a:lnTo>
                      <a:cubicBezTo>
                        <a:pt x="191" y="229"/>
                        <a:pt x="193" y="228"/>
                        <a:pt x="194" y="227"/>
                      </a:cubicBezTo>
                      <a:lnTo>
                        <a:pt x="209" y="231"/>
                      </a:lnTo>
                      <a:cubicBezTo>
                        <a:pt x="210" y="232"/>
                        <a:pt x="212" y="231"/>
                        <a:pt x="212" y="231"/>
                      </a:cubicBezTo>
                      <a:lnTo>
                        <a:pt x="218" y="222"/>
                      </a:lnTo>
                      <a:cubicBezTo>
                        <a:pt x="219" y="220"/>
                        <a:pt x="218" y="218"/>
                        <a:pt x="217" y="218"/>
                      </a:cubicBezTo>
                      <a:lnTo>
                        <a:pt x="206" y="207"/>
                      </a:lnTo>
                      <a:cubicBezTo>
                        <a:pt x="206" y="205"/>
                        <a:pt x="206" y="204"/>
                        <a:pt x="206" y="203"/>
                      </a:cubicBezTo>
                      <a:lnTo>
                        <a:pt x="221" y="196"/>
                      </a:lnTo>
                      <a:cubicBezTo>
                        <a:pt x="222" y="195"/>
                        <a:pt x="222" y="195"/>
                        <a:pt x="222" y="193"/>
                      </a:cubicBezTo>
                      <a:moveTo>
                        <a:pt x="0" y="0"/>
                      </a:moveTo>
                      <a:lnTo>
                        <a:pt x="374" y="0"/>
                      </a:lnTo>
                      <a:lnTo>
                        <a:pt x="374" y="38"/>
                      </a:lnTo>
                      <a:lnTo>
                        <a:pt x="0" y="38"/>
                      </a:lnTo>
                      <a:lnTo>
                        <a:pt x="0" y="0"/>
                      </a:lnTo>
                      <a:close/>
                      <a:moveTo>
                        <a:pt x="0" y="57"/>
                      </a:moveTo>
                      <a:lnTo>
                        <a:pt x="374" y="57"/>
                      </a:lnTo>
                      <a:lnTo>
                        <a:pt x="374" y="319"/>
                      </a:lnTo>
                      <a:lnTo>
                        <a:pt x="0" y="319"/>
                      </a:lnTo>
                      <a:lnTo>
                        <a:pt x="0" y="57"/>
                      </a:lnTo>
                      <a:close/>
                      <a:moveTo>
                        <a:pt x="19" y="300"/>
                      </a:moveTo>
                      <a:lnTo>
                        <a:pt x="356" y="300"/>
                      </a:lnTo>
                      <a:lnTo>
                        <a:pt x="356" y="76"/>
                      </a:lnTo>
                      <a:lnTo>
                        <a:pt x="19" y="76"/>
                      </a:lnTo>
                      <a:lnTo>
                        <a:pt x="19" y="300"/>
                      </a:lnTo>
                      <a:close/>
                    </a:path>
                  </a:pathLst>
                </a:custGeom>
                <a:solidFill>
                  <a:srgbClr val="F5F5F5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555132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F3F3F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sp>
          <p:nvSpPr>
            <p:cNvPr id="15" name="TextBox 14"/>
            <p:cNvSpPr txBox="1"/>
            <p:nvPr/>
          </p:nvSpPr>
          <p:spPr>
            <a:xfrm>
              <a:off x="4418773" y="1849879"/>
              <a:ext cx="3936112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 smtClean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icrosoft Led Events</a:t>
              </a:r>
            </a:p>
            <a:p>
              <a:r>
                <a:rPr lang="en-US" sz="2000" b="1" dirty="0" smtClean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tay Compliant</a:t>
              </a:r>
              <a:endParaRPr lang="en-US" b="1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172" name="Group 171"/>
          <p:cNvGrpSpPr/>
          <p:nvPr/>
        </p:nvGrpSpPr>
        <p:grpSpPr>
          <a:xfrm>
            <a:off x="672184" y="1705974"/>
            <a:ext cx="6667500" cy="1564628"/>
            <a:chOff x="5210452" y="4474328"/>
            <a:chExt cx="6667500" cy="1564628"/>
          </a:xfrm>
        </p:grpSpPr>
        <p:sp>
          <p:nvSpPr>
            <p:cNvPr id="71" name="Rectangle 70"/>
            <p:cNvSpPr/>
            <p:nvPr/>
          </p:nvSpPr>
          <p:spPr>
            <a:xfrm>
              <a:off x="5210452" y="4474328"/>
              <a:ext cx="6667500" cy="1564628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91440" rtlCol="0" anchor="b"/>
            <a:lstStyle/>
            <a:p>
              <a:r>
                <a:rPr lang="en-US" sz="1400" dirty="0" smtClean="0">
                  <a:latin typeface="Segoe UI Light" panose="020B0502040204020203" pitchFamily="34" charset="0"/>
                  <a:cs typeface="Segoe UI Light" panose="020B0502040204020203" pitchFamily="34" charset="0"/>
                </a:rPr>
                <a:t>Microsoft Virtual Event Series</a:t>
              </a:r>
            </a:p>
            <a:p>
              <a:r>
                <a:rPr lang="en-US" sz="2000" dirty="0" smtClean="0">
                  <a:latin typeface="Segoe UI Light" panose="020B0502040204020203" pitchFamily="34" charset="0"/>
                  <a:cs typeface="Segoe UI Light" panose="020B0502040204020203" pitchFamily="34" charset="0"/>
                </a:rPr>
                <a:t>The Transformative Power of the Cloud</a:t>
              </a:r>
              <a:endParaRPr lang="en-US" sz="20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72" name="Rectangle 71"/>
            <p:cNvSpPr/>
            <p:nvPr/>
          </p:nvSpPr>
          <p:spPr>
            <a:xfrm>
              <a:off x="5210453" y="4474328"/>
              <a:ext cx="1069298" cy="894073"/>
            </a:xfrm>
            <a:prstGeom prst="rect">
              <a:avLst/>
            </a:prstGeom>
            <a:solidFill>
              <a:srgbClr val="5C2D9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1200" dirty="0" smtClean="0">
                  <a:latin typeface="Segoe UI" panose="020B0502040204020203" pitchFamily="34" charset="0"/>
                  <a:cs typeface="Segoe UI" panose="020B0502040204020203" pitchFamily="34" charset="0"/>
                </a:rPr>
                <a:t>Microsoft Technology Centers</a:t>
              </a: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6261138" y="4553714"/>
              <a:ext cx="1730084" cy="4739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dirty="0" smtClean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tudios</a:t>
              </a:r>
              <a:endParaRPr lang="en-US" sz="24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grpSp>
          <p:nvGrpSpPr>
            <p:cNvPr id="6" name="Group 5"/>
            <p:cNvGrpSpPr/>
            <p:nvPr/>
          </p:nvGrpSpPr>
          <p:grpSpPr>
            <a:xfrm>
              <a:off x="9401764" y="4553714"/>
              <a:ext cx="2346430" cy="1485242"/>
              <a:chOff x="1201193" y="4178743"/>
              <a:chExt cx="2346430" cy="1485242"/>
            </a:xfrm>
          </p:grpSpPr>
          <p:sp>
            <p:nvSpPr>
              <p:cNvPr id="76" name="Freeform 5"/>
              <p:cNvSpPr>
                <a:spLocks/>
              </p:cNvSpPr>
              <p:nvPr/>
            </p:nvSpPr>
            <p:spPr bwMode="auto">
              <a:xfrm>
                <a:off x="3175662" y="4505521"/>
                <a:ext cx="274076" cy="156018"/>
              </a:xfrm>
              <a:custGeom>
                <a:avLst/>
                <a:gdLst>
                  <a:gd name="T0" fmla="*/ 118 w 140"/>
                  <a:gd name="T1" fmla="*/ 40 h 91"/>
                  <a:gd name="T2" fmla="*/ 118 w 140"/>
                  <a:gd name="T3" fmla="*/ 38 h 91"/>
                  <a:gd name="T4" fmla="*/ 79 w 140"/>
                  <a:gd name="T5" fmla="*/ 0 h 91"/>
                  <a:gd name="T6" fmla="*/ 47 w 140"/>
                  <a:gd name="T7" fmla="*/ 17 h 91"/>
                  <a:gd name="T8" fmla="*/ 37 w 140"/>
                  <a:gd name="T9" fmla="*/ 14 h 91"/>
                  <a:gd name="T10" fmla="*/ 24 w 140"/>
                  <a:gd name="T11" fmla="*/ 18 h 91"/>
                  <a:gd name="T12" fmla="*/ 14 w 140"/>
                  <a:gd name="T13" fmla="*/ 36 h 91"/>
                  <a:gd name="T14" fmla="*/ 0 w 140"/>
                  <a:gd name="T15" fmla="*/ 61 h 91"/>
                  <a:gd name="T16" fmla="*/ 27 w 140"/>
                  <a:gd name="T17" fmla="*/ 91 h 91"/>
                  <a:gd name="T18" fmla="*/ 31 w 140"/>
                  <a:gd name="T19" fmla="*/ 91 h 91"/>
                  <a:gd name="T20" fmla="*/ 34 w 140"/>
                  <a:gd name="T21" fmla="*/ 91 h 91"/>
                  <a:gd name="T22" fmla="*/ 97 w 140"/>
                  <a:gd name="T23" fmla="*/ 91 h 91"/>
                  <a:gd name="T24" fmla="*/ 98 w 140"/>
                  <a:gd name="T25" fmla="*/ 91 h 91"/>
                  <a:gd name="T26" fmla="*/ 99 w 140"/>
                  <a:gd name="T27" fmla="*/ 91 h 91"/>
                  <a:gd name="T28" fmla="*/ 104 w 140"/>
                  <a:gd name="T29" fmla="*/ 91 h 91"/>
                  <a:gd name="T30" fmla="*/ 114 w 140"/>
                  <a:gd name="T31" fmla="*/ 91 h 91"/>
                  <a:gd name="T32" fmla="*/ 140 w 140"/>
                  <a:gd name="T33" fmla="*/ 66 h 91"/>
                  <a:gd name="T34" fmla="*/ 118 w 140"/>
                  <a:gd name="T35" fmla="*/ 4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91">
                    <a:moveTo>
                      <a:pt x="118" y="40"/>
                    </a:moveTo>
                    <a:cubicBezTo>
                      <a:pt x="118" y="39"/>
                      <a:pt x="118" y="39"/>
                      <a:pt x="118" y="38"/>
                    </a:cubicBezTo>
                    <a:cubicBezTo>
                      <a:pt x="118" y="17"/>
                      <a:pt x="100" y="0"/>
                      <a:pt x="79" y="0"/>
                    </a:cubicBezTo>
                    <a:cubicBezTo>
                      <a:pt x="66" y="0"/>
                      <a:pt x="54" y="7"/>
                      <a:pt x="47" y="17"/>
                    </a:cubicBezTo>
                    <a:cubicBezTo>
                      <a:pt x="44" y="15"/>
                      <a:pt x="40" y="14"/>
                      <a:pt x="37" y="14"/>
                    </a:cubicBezTo>
                    <a:cubicBezTo>
                      <a:pt x="32" y="14"/>
                      <a:pt x="28" y="15"/>
                      <a:pt x="24" y="18"/>
                    </a:cubicBezTo>
                    <a:cubicBezTo>
                      <a:pt x="18" y="22"/>
                      <a:pt x="14" y="28"/>
                      <a:pt x="14" y="36"/>
                    </a:cubicBezTo>
                    <a:cubicBezTo>
                      <a:pt x="6" y="41"/>
                      <a:pt x="0" y="51"/>
                      <a:pt x="0" y="61"/>
                    </a:cubicBezTo>
                    <a:cubicBezTo>
                      <a:pt x="0" y="77"/>
                      <a:pt x="12" y="90"/>
                      <a:pt x="27" y="91"/>
                    </a:cubicBezTo>
                    <a:cubicBezTo>
                      <a:pt x="28" y="91"/>
                      <a:pt x="30" y="91"/>
                      <a:pt x="31" y="91"/>
                    </a:cubicBezTo>
                    <a:cubicBezTo>
                      <a:pt x="32" y="91"/>
                      <a:pt x="33" y="91"/>
                      <a:pt x="34" y="91"/>
                    </a:cubicBezTo>
                    <a:cubicBezTo>
                      <a:pt x="48" y="91"/>
                      <a:pt x="81" y="91"/>
                      <a:pt x="97" y="91"/>
                    </a:cubicBezTo>
                    <a:cubicBezTo>
                      <a:pt x="97" y="91"/>
                      <a:pt x="97" y="91"/>
                      <a:pt x="98" y="91"/>
                    </a:cubicBezTo>
                    <a:cubicBezTo>
                      <a:pt x="99" y="91"/>
                      <a:pt x="99" y="91"/>
                      <a:pt x="99" y="91"/>
                    </a:cubicBezTo>
                    <a:cubicBezTo>
                      <a:pt x="100" y="91"/>
                      <a:pt x="102" y="91"/>
                      <a:pt x="104" y="91"/>
                    </a:cubicBezTo>
                    <a:cubicBezTo>
                      <a:pt x="114" y="91"/>
                      <a:pt x="114" y="91"/>
                      <a:pt x="114" y="91"/>
                    </a:cubicBezTo>
                    <a:cubicBezTo>
                      <a:pt x="128" y="91"/>
                      <a:pt x="140" y="80"/>
                      <a:pt x="140" y="66"/>
                    </a:cubicBezTo>
                    <a:cubicBezTo>
                      <a:pt x="140" y="53"/>
                      <a:pt x="130" y="42"/>
                      <a:pt x="118" y="40"/>
                    </a:cubicBez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6"/>
              <p:cNvSpPr>
                <a:spLocks/>
              </p:cNvSpPr>
              <p:nvPr/>
            </p:nvSpPr>
            <p:spPr bwMode="auto">
              <a:xfrm>
                <a:off x="2303092" y="5280697"/>
                <a:ext cx="515991" cy="383288"/>
              </a:xfrm>
              <a:custGeom>
                <a:avLst/>
                <a:gdLst>
                  <a:gd name="T0" fmla="*/ 166 w 369"/>
                  <a:gd name="T1" fmla="*/ 53 h 312"/>
                  <a:gd name="T2" fmla="*/ 166 w 369"/>
                  <a:gd name="T3" fmla="*/ 0 h 312"/>
                  <a:gd name="T4" fmla="*/ 126 w 369"/>
                  <a:gd name="T5" fmla="*/ 0 h 312"/>
                  <a:gd name="T6" fmla="*/ 126 w 369"/>
                  <a:gd name="T7" fmla="*/ 53 h 312"/>
                  <a:gd name="T8" fmla="*/ 112 w 369"/>
                  <a:gd name="T9" fmla="*/ 53 h 312"/>
                  <a:gd name="T10" fmla="*/ 112 w 369"/>
                  <a:gd name="T11" fmla="*/ 0 h 312"/>
                  <a:gd name="T12" fmla="*/ 71 w 369"/>
                  <a:gd name="T13" fmla="*/ 0 h 312"/>
                  <a:gd name="T14" fmla="*/ 71 w 369"/>
                  <a:gd name="T15" fmla="*/ 53 h 312"/>
                  <a:gd name="T16" fmla="*/ 0 w 369"/>
                  <a:gd name="T17" fmla="*/ 53 h 312"/>
                  <a:gd name="T18" fmla="*/ 0 w 369"/>
                  <a:gd name="T19" fmla="*/ 66 h 312"/>
                  <a:gd name="T20" fmla="*/ 17 w 369"/>
                  <a:gd name="T21" fmla="*/ 66 h 312"/>
                  <a:gd name="T22" fmla="*/ 17 w 369"/>
                  <a:gd name="T23" fmla="*/ 312 h 312"/>
                  <a:gd name="T24" fmla="*/ 352 w 369"/>
                  <a:gd name="T25" fmla="*/ 312 h 312"/>
                  <a:gd name="T26" fmla="*/ 352 w 369"/>
                  <a:gd name="T27" fmla="*/ 66 h 312"/>
                  <a:gd name="T28" fmla="*/ 369 w 369"/>
                  <a:gd name="T29" fmla="*/ 66 h 312"/>
                  <a:gd name="T30" fmla="*/ 369 w 369"/>
                  <a:gd name="T31" fmla="*/ 53 h 312"/>
                  <a:gd name="T32" fmla="*/ 166 w 369"/>
                  <a:gd name="T33" fmla="*/ 53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69" h="312">
                    <a:moveTo>
                      <a:pt x="166" y="53"/>
                    </a:moveTo>
                    <a:lnTo>
                      <a:pt x="166" y="0"/>
                    </a:lnTo>
                    <a:lnTo>
                      <a:pt x="126" y="0"/>
                    </a:lnTo>
                    <a:lnTo>
                      <a:pt x="126" y="53"/>
                    </a:lnTo>
                    <a:lnTo>
                      <a:pt x="112" y="53"/>
                    </a:lnTo>
                    <a:lnTo>
                      <a:pt x="112" y="0"/>
                    </a:lnTo>
                    <a:lnTo>
                      <a:pt x="71" y="0"/>
                    </a:lnTo>
                    <a:lnTo>
                      <a:pt x="71" y="53"/>
                    </a:lnTo>
                    <a:lnTo>
                      <a:pt x="0" y="53"/>
                    </a:lnTo>
                    <a:lnTo>
                      <a:pt x="0" y="66"/>
                    </a:lnTo>
                    <a:lnTo>
                      <a:pt x="17" y="66"/>
                    </a:lnTo>
                    <a:lnTo>
                      <a:pt x="17" y="312"/>
                    </a:lnTo>
                    <a:lnTo>
                      <a:pt x="352" y="312"/>
                    </a:lnTo>
                    <a:lnTo>
                      <a:pt x="352" y="66"/>
                    </a:lnTo>
                    <a:lnTo>
                      <a:pt x="369" y="66"/>
                    </a:lnTo>
                    <a:lnTo>
                      <a:pt x="369" y="53"/>
                    </a:lnTo>
                    <a:lnTo>
                      <a:pt x="166" y="53"/>
                    </a:lnTo>
                    <a:close/>
                  </a:path>
                </a:pathLst>
              </a:cu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7"/>
              <p:cNvSpPr>
                <a:spLocks/>
              </p:cNvSpPr>
              <p:nvPr/>
            </p:nvSpPr>
            <p:spPr bwMode="auto">
              <a:xfrm>
                <a:off x="2574372" y="5280697"/>
                <a:ext cx="517389" cy="383288"/>
              </a:xfrm>
              <a:custGeom>
                <a:avLst/>
                <a:gdLst>
                  <a:gd name="T0" fmla="*/ 167 w 370"/>
                  <a:gd name="T1" fmla="*/ 53 h 312"/>
                  <a:gd name="T2" fmla="*/ 167 w 370"/>
                  <a:gd name="T3" fmla="*/ 0 h 312"/>
                  <a:gd name="T4" fmla="*/ 126 w 370"/>
                  <a:gd name="T5" fmla="*/ 0 h 312"/>
                  <a:gd name="T6" fmla="*/ 126 w 370"/>
                  <a:gd name="T7" fmla="*/ 53 h 312"/>
                  <a:gd name="T8" fmla="*/ 112 w 370"/>
                  <a:gd name="T9" fmla="*/ 53 h 312"/>
                  <a:gd name="T10" fmla="*/ 112 w 370"/>
                  <a:gd name="T11" fmla="*/ 0 h 312"/>
                  <a:gd name="T12" fmla="*/ 73 w 370"/>
                  <a:gd name="T13" fmla="*/ 0 h 312"/>
                  <a:gd name="T14" fmla="*/ 73 w 370"/>
                  <a:gd name="T15" fmla="*/ 53 h 312"/>
                  <a:gd name="T16" fmla="*/ 0 w 370"/>
                  <a:gd name="T17" fmla="*/ 53 h 312"/>
                  <a:gd name="T18" fmla="*/ 0 w 370"/>
                  <a:gd name="T19" fmla="*/ 66 h 312"/>
                  <a:gd name="T20" fmla="*/ 17 w 370"/>
                  <a:gd name="T21" fmla="*/ 66 h 312"/>
                  <a:gd name="T22" fmla="*/ 17 w 370"/>
                  <a:gd name="T23" fmla="*/ 312 h 312"/>
                  <a:gd name="T24" fmla="*/ 353 w 370"/>
                  <a:gd name="T25" fmla="*/ 312 h 312"/>
                  <a:gd name="T26" fmla="*/ 353 w 370"/>
                  <a:gd name="T27" fmla="*/ 66 h 312"/>
                  <a:gd name="T28" fmla="*/ 370 w 370"/>
                  <a:gd name="T29" fmla="*/ 66 h 312"/>
                  <a:gd name="T30" fmla="*/ 370 w 370"/>
                  <a:gd name="T31" fmla="*/ 53 h 312"/>
                  <a:gd name="T32" fmla="*/ 167 w 370"/>
                  <a:gd name="T33" fmla="*/ 53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70" h="312">
                    <a:moveTo>
                      <a:pt x="167" y="53"/>
                    </a:moveTo>
                    <a:lnTo>
                      <a:pt x="167" y="0"/>
                    </a:lnTo>
                    <a:lnTo>
                      <a:pt x="126" y="0"/>
                    </a:lnTo>
                    <a:lnTo>
                      <a:pt x="126" y="53"/>
                    </a:lnTo>
                    <a:lnTo>
                      <a:pt x="112" y="53"/>
                    </a:lnTo>
                    <a:lnTo>
                      <a:pt x="112" y="0"/>
                    </a:lnTo>
                    <a:lnTo>
                      <a:pt x="73" y="0"/>
                    </a:lnTo>
                    <a:lnTo>
                      <a:pt x="73" y="53"/>
                    </a:lnTo>
                    <a:lnTo>
                      <a:pt x="0" y="53"/>
                    </a:lnTo>
                    <a:lnTo>
                      <a:pt x="0" y="66"/>
                    </a:lnTo>
                    <a:lnTo>
                      <a:pt x="17" y="66"/>
                    </a:lnTo>
                    <a:lnTo>
                      <a:pt x="17" y="312"/>
                    </a:lnTo>
                    <a:lnTo>
                      <a:pt x="353" y="312"/>
                    </a:lnTo>
                    <a:lnTo>
                      <a:pt x="353" y="66"/>
                    </a:lnTo>
                    <a:lnTo>
                      <a:pt x="370" y="66"/>
                    </a:lnTo>
                    <a:lnTo>
                      <a:pt x="370" y="53"/>
                    </a:lnTo>
                    <a:lnTo>
                      <a:pt x="167" y="53"/>
                    </a:lnTo>
                    <a:close/>
                  </a:path>
                </a:pathLst>
              </a:cu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8"/>
              <p:cNvSpPr>
                <a:spLocks/>
              </p:cNvSpPr>
              <p:nvPr/>
            </p:nvSpPr>
            <p:spPr bwMode="auto">
              <a:xfrm>
                <a:off x="1201193" y="4505521"/>
                <a:ext cx="272678" cy="156018"/>
              </a:xfrm>
              <a:custGeom>
                <a:avLst/>
                <a:gdLst>
                  <a:gd name="T0" fmla="*/ 117 w 139"/>
                  <a:gd name="T1" fmla="*/ 40 h 91"/>
                  <a:gd name="T2" fmla="*/ 117 w 139"/>
                  <a:gd name="T3" fmla="*/ 38 h 91"/>
                  <a:gd name="T4" fmla="*/ 79 w 139"/>
                  <a:gd name="T5" fmla="*/ 0 h 91"/>
                  <a:gd name="T6" fmla="*/ 47 w 139"/>
                  <a:gd name="T7" fmla="*/ 17 h 91"/>
                  <a:gd name="T8" fmla="*/ 36 w 139"/>
                  <a:gd name="T9" fmla="*/ 14 h 91"/>
                  <a:gd name="T10" fmla="*/ 24 w 139"/>
                  <a:gd name="T11" fmla="*/ 18 h 91"/>
                  <a:gd name="T12" fmla="*/ 14 w 139"/>
                  <a:gd name="T13" fmla="*/ 36 h 91"/>
                  <a:gd name="T14" fmla="*/ 0 w 139"/>
                  <a:gd name="T15" fmla="*/ 61 h 91"/>
                  <a:gd name="T16" fmla="*/ 27 w 139"/>
                  <a:gd name="T17" fmla="*/ 91 h 91"/>
                  <a:gd name="T18" fmla="*/ 30 w 139"/>
                  <a:gd name="T19" fmla="*/ 91 h 91"/>
                  <a:gd name="T20" fmla="*/ 33 w 139"/>
                  <a:gd name="T21" fmla="*/ 91 h 91"/>
                  <a:gd name="T22" fmla="*/ 96 w 139"/>
                  <a:gd name="T23" fmla="*/ 91 h 91"/>
                  <a:gd name="T24" fmla="*/ 97 w 139"/>
                  <a:gd name="T25" fmla="*/ 91 h 91"/>
                  <a:gd name="T26" fmla="*/ 99 w 139"/>
                  <a:gd name="T27" fmla="*/ 91 h 91"/>
                  <a:gd name="T28" fmla="*/ 103 w 139"/>
                  <a:gd name="T29" fmla="*/ 91 h 91"/>
                  <a:gd name="T30" fmla="*/ 113 w 139"/>
                  <a:gd name="T31" fmla="*/ 91 h 91"/>
                  <a:gd name="T32" fmla="*/ 139 w 139"/>
                  <a:gd name="T33" fmla="*/ 66 h 91"/>
                  <a:gd name="T34" fmla="*/ 117 w 139"/>
                  <a:gd name="T35" fmla="*/ 4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9" h="91">
                    <a:moveTo>
                      <a:pt x="117" y="40"/>
                    </a:moveTo>
                    <a:cubicBezTo>
                      <a:pt x="117" y="39"/>
                      <a:pt x="117" y="39"/>
                      <a:pt x="117" y="38"/>
                    </a:cubicBezTo>
                    <a:cubicBezTo>
                      <a:pt x="117" y="17"/>
                      <a:pt x="100" y="0"/>
                      <a:pt x="79" y="0"/>
                    </a:cubicBezTo>
                    <a:cubicBezTo>
                      <a:pt x="65" y="0"/>
                      <a:pt x="53" y="7"/>
                      <a:pt x="47" y="17"/>
                    </a:cubicBezTo>
                    <a:cubicBezTo>
                      <a:pt x="43" y="15"/>
                      <a:pt x="40" y="14"/>
                      <a:pt x="36" y="14"/>
                    </a:cubicBezTo>
                    <a:cubicBezTo>
                      <a:pt x="31" y="14"/>
                      <a:pt x="27" y="15"/>
                      <a:pt x="24" y="18"/>
                    </a:cubicBezTo>
                    <a:cubicBezTo>
                      <a:pt x="18" y="22"/>
                      <a:pt x="14" y="28"/>
                      <a:pt x="14" y="36"/>
                    </a:cubicBezTo>
                    <a:cubicBezTo>
                      <a:pt x="6" y="41"/>
                      <a:pt x="0" y="51"/>
                      <a:pt x="0" y="61"/>
                    </a:cubicBezTo>
                    <a:cubicBezTo>
                      <a:pt x="0" y="77"/>
                      <a:pt x="12" y="90"/>
                      <a:pt x="27" y="91"/>
                    </a:cubicBezTo>
                    <a:cubicBezTo>
                      <a:pt x="28" y="91"/>
                      <a:pt x="29" y="91"/>
                      <a:pt x="30" y="91"/>
                    </a:cubicBezTo>
                    <a:cubicBezTo>
                      <a:pt x="31" y="91"/>
                      <a:pt x="32" y="91"/>
                      <a:pt x="33" y="91"/>
                    </a:cubicBezTo>
                    <a:cubicBezTo>
                      <a:pt x="47" y="91"/>
                      <a:pt x="80" y="91"/>
                      <a:pt x="96" y="91"/>
                    </a:cubicBezTo>
                    <a:cubicBezTo>
                      <a:pt x="97" y="91"/>
                      <a:pt x="97" y="91"/>
                      <a:pt x="97" y="91"/>
                    </a:cubicBezTo>
                    <a:cubicBezTo>
                      <a:pt x="99" y="91"/>
                      <a:pt x="99" y="91"/>
                      <a:pt x="99" y="91"/>
                    </a:cubicBezTo>
                    <a:cubicBezTo>
                      <a:pt x="100" y="91"/>
                      <a:pt x="102" y="91"/>
                      <a:pt x="103" y="91"/>
                    </a:cubicBezTo>
                    <a:cubicBezTo>
                      <a:pt x="113" y="91"/>
                      <a:pt x="113" y="91"/>
                      <a:pt x="113" y="91"/>
                    </a:cubicBezTo>
                    <a:cubicBezTo>
                      <a:pt x="128" y="91"/>
                      <a:pt x="139" y="80"/>
                      <a:pt x="139" y="66"/>
                    </a:cubicBezTo>
                    <a:cubicBezTo>
                      <a:pt x="139" y="53"/>
                      <a:pt x="130" y="42"/>
                      <a:pt x="117" y="40"/>
                    </a:cubicBez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9"/>
              <p:cNvSpPr>
                <a:spLocks noChangeArrowheads="1"/>
              </p:cNvSpPr>
              <p:nvPr/>
            </p:nvSpPr>
            <p:spPr bwMode="auto">
              <a:xfrm>
                <a:off x="1974480" y="5146792"/>
                <a:ext cx="467049" cy="517193"/>
              </a:xfrm>
              <a:prstGeom prst="rect">
                <a:avLst/>
              </a:prstGeom>
              <a:solidFill>
                <a:srgbClr val="9B4F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10"/>
              <p:cNvSpPr>
                <a:spLocks noChangeArrowheads="1"/>
              </p:cNvSpPr>
              <p:nvPr/>
            </p:nvSpPr>
            <p:spPr bwMode="auto">
              <a:xfrm>
                <a:off x="1950708" y="5130821"/>
                <a:ext cx="514593" cy="1597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11"/>
              <p:cNvSpPr>
                <a:spLocks noChangeArrowheads="1"/>
              </p:cNvSpPr>
              <p:nvPr/>
            </p:nvSpPr>
            <p:spPr bwMode="auto">
              <a:xfrm>
                <a:off x="2017829" y="5193474"/>
                <a:ext cx="60129" cy="54053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12"/>
              <p:cNvSpPr>
                <a:spLocks noChangeArrowheads="1"/>
              </p:cNvSpPr>
              <p:nvPr/>
            </p:nvSpPr>
            <p:spPr bwMode="auto">
              <a:xfrm>
                <a:off x="2017829" y="5193474"/>
                <a:ext cx="60129" cy="27027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13"/>
              <p:cNvSpPr>
                <a:spLocks noChangeArrowheads="1"/>
              </p:cNvSpPr>
              <p:nvPr/>
            </p:nvSpPr>
            <p:spPr bwMode="auto">
              <a:xfrm>
                <a:off x="2122705" y="5193474"/>
                <a:ext cx="61527" cy="54053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14"/>
              <p:cNvSpPr>
                <a:spLocks noChangeArrowheads="1"/>
              </p:cNvSpPr>
              <p:nvPr/>
            </p:nvSpPr>
            <p:spPr bwMode="auto">
              <a:xfrm>
                <a:off x="2228980" y="5193474"/>
                <a:ext cx="62926" cy="5405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15"/>
              <p:cNvSpPr>
                <a:spLocks noChangeArrowheads="1"/>
              </p:cNvSpPr>
              <p:nvPr/>
            </p:nvSpPr>
            <p:spPr bwMode="auto">
              <a:xfrm>
                <a:off x="2122705" y="5559564"/>
                <a:ext cx="61527" cy="104421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16"/>
              <p:cNvSpPr>
                <a:spLocks noChangeArrowheads="1"/>
              </p:cNvSpPr>
              <p:nvPr/>
            </p:nvSpPr>
            <p:spPr bwMode="auto">
              <a:xfrm>
                <a:off x="2228980" y="5559564"/>
                <a:ext cx="62926" cy="104421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17"/>
              <p:cNvSpPr>
                <a:spLocks noChangeArrowheads="1"/>
              </p:cNvSpPr>
              <p:nvPr/>
            </p:nvSpPr>
            <p:spPr bwMode="auto">
              <a:xfrm>
                <a:off x="2336653" y="5193474"/>
                <a:ext cx="60129" cy="54053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18"/>
              <p:cNvSpPr>
                <a:spLocks noChangeArrowheads="1"/>
              </p:cNvSpPr>
              <p:nvPr/>
            </p:nvSpPr>
            <p:spPr bwMode="auto">
              <a:xfrm>
                <a:off x="2017829" y="5285611"/>
                <a:ext cx="60129" cy="55282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19"/>
              <p:cNvSpPr>
                <a:spLocks noChangeArrowheads="1"/>
              </p:cNvSpPr>
              <p:nvPr/>
            </p:nvSpPr>
            <p:spPr bwMode="auto">
              <a:xfrm>
                <a:off x="2122705" y="5285611"/>
                <a:ext cx="61527" cy="55282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20"/>
              <p:cNvSpPr>
                <a:spLocks noChangeArrowheads="1"/>
              </p:cNvSpPr>
              <p:nvPr/>
            </p:nvSpPr>
            <p:spPr bwMode="auto">
              <a:xfrm>
                <a:off x="2228980" y="5285611"/>
                <a:ext cx="62926" cy="55282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21"/>
              <p:cNvSpPr>
                <a:spLocks noChangeArrowheads="1"/>
              </p:cNvSpPr>
              <p:nvPr/>
            </p:nvSpPr>
            <p:spPr bwMode="auto">
              <a:xfrm>
                <a:off x="2336653" y="5285611"/>
                <a:ext cx="60129" cy="55282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22"/>
              <p:cNvSpPr>
                <a:spLocks noChangeArrowheads="1"/>
              </p:cNvSpPr>
              <p:nvPr/>
            </p:nvSpPr>
            <p:spPr bwMode="auto">
              <a:xfrm>
                <a:off x="2017829" y="5380204"/>
                <a:ext cx="60129" cy="52825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23"/>
              <p:cNvSpPr>
                <a:spLocks noChangeArrowheads="1"/>
              </p:cNvSpPr>
              <p:nvPr/>
            </p:nvSpPr>
            <p:spPr bwMode="auto">
              <a:xfrm>
                <a:off x="2122705" y="5380204"/>
                <a:ext cx="61527" cy="528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24"/>
              <p:cNvSpPr>
                <a:spLocks noChangeArrowheads="1"/>
              </p:cNvSpPr>
              <p:nvPr/>
            </p:nvSpPr>
            <p:spPr bwMode="auto">
              <a:xfrm>
                <a:off x="2228980" y="5380204"/>
                <a:ext cx="62926" cy="52825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25"/>
              <p:cNvSpPr>
                <a:spLocks noChangeArrowheads="1"/>
              </p:cNvSpPr>
              <p:nvPr/>
            </p:nvSpPr>
            <p:spPr bwMode="auto">
              <a:xfrm>
                <a:off x="2336653" y="5380204"/>
                <a:ext cx="60129" cy="52825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26"/>
              <p:cNvSpPr>
                <a:spLocks noChangeArrowheads="1"/>
              </p:cNvSpPr>
              <p:nvPr/>
            </p:nvSpPr>
            <p:spPr bwMode="auto">
              <a:xfrm>
                <a:off x="2017829" y="5473569"/>
                <a:ext cx="60129" cy="52825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Rectangle 27"/>
              <p:cNvSpPr>
                <a:spLocks noChangeArrowheads="1"/>
              </p:cNvSpPr>
              <p:nvPr/>
            </p:nvSpPr>
            <p:spPr bwMode="auto">
              <a:xfrm>
                <a:off x="2122705" y="5473569"/>
                <a:ext cx="61527" cy="528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Rectangle 28"/>
              <p:cNvSpPr>
                <a:spLocks noChangeArrowheads="1"/>
              </p:cNvSpPr>
              <p:nvPr/>
            </p:nvSpPr>
            <p:spPr bwMode="auto">
              <a:xfrm>
                <a:off x="2228980" y="5473569"/>
                <a:ext cx="62926" cy="528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Rectangle 29"/>
              <p:cNvSpPr>
                <a:spLocks noChangeArrowheads="1"/>
              </p:cNvSpPr>
              <p:nvPr/>
            </p:nvSpPr>
            <p:spPr bwMode="auto">
              <a:xfrm>
                <a:off x="2336653" y="5473569"/>
                <a:ext cx="60129" cy="52825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0"/>
              <p:cNvSpPr>
                <a:spLocks noChangeArrowheads="1"/>
              </p:cNvSpPr>
              <p:nvPr/>
            </p:nvSpPr>
            <p:spPr bwMode="auto">
              <a:xfrm>
                <a:off x="2017829" y="5380204"/>
                <a:ext cx="60129" cy="25798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1"/>
              <p:cNvSpPr>
                <a:spLocks noChangeArrowheads="1"/>
              </p:cNvSpPr>
              <p:nvPr/>
            </p:nvSpPr>
            <p:spPr bwMode="auto">
              <a:xfrm>
                <a:off x="2336653" y="5380204"/>
                <a:ext cx="60129" cy="25798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2"/>
              <p:cNvSpPr>
                <a:spLocks noChangeArrowheads="1"/>
              </p:cNvSpPr>
              <p:nvPr/>
            </p:nvSpPr>
            <p:spPr bwMode="auto">
              <a:xfrm>
                <a:off x="2336653" y="5285611"/>
                <a:ext cx="60129" cy="27027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3"/>
              <p:cNvSpPr>
                <a:spLocks noChangeArrowheads="1"/>
              </p:cNvSpPr>
              <p:nvPr/>
            </p:nvSpPr>
            <p:spPr bwMode="auto">
              <a:xfrm>
                <a:off x="1301874" y="5638187"/>
                <a:ext cx="672606" cy="25798"/>
              </a:xfrm>
              <a:prstGeom prst="rect">
                <a:avLst/>
              </a:prstGeom>
              <a:solidFill>
                <a:srgbClr val="7FB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Rectangle 34"/>
              <p:cNvSpPr>
                <a:spLocks noChangeArrowheads="1"/>
              </p:cNvSpPr>
              <p:nvPr/>
            </p:nvSpPr>
            <p:spPr bwMode="auto">
              <a:xfrm>
                <a:off x="1671038" y="5548507"/>
                <a:ext cx="27967" cy="89680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Oval 35"/>
              <p:cNvSpPr>
                <a:spLocks noChangeArrowheads="1"/>
              </p:cNvSpPr>
              <p:nvPr/>
            </p:nvSpPr>
            <p:spPr bwMode="auto">
              <a:xfrm>
                <a:off x="1616503" y="5469884"/>
                <a:ext cx="135640" cy="117935"/>
              </a:xfrm>
              <a:prstGeom prst="ellipse">
                <a:avLst/>
              </a:prstGeom>
              <a:solidFill>
                <a:srgbClr val="7FB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Oval 36"/>
              <p:cNvSpPr>
                <a:spLocks noChangeArrowheads="1"/>
              </p:cNvSpPr>
              <p:nvPr/>
            </p:nvSpPr>
            <p:spPr bwMode="auto">
              <a:xfrm>
                <a:off x="1634681" y="5409688"/>
                <a:ext cx="99283" cy="85994"/>
              </a:xfrm>
              <a:prstGeom prst="ellipse">
                <a:avLst/>
              </a:prstGeom>
              <a:solidFill>
                <a:srgbClr val="7FB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37"/>
              <p:cNvSpPr>
                <a:spLocks noChangeArrowheads="1"/>
              </p:cNvSpPr>
              <p:nvPr/>
            </p:nvSpPr>
            <p:spPr bwMode="auto">
              <a:xfrm>
                <a:off x="1847230" y="5548507"/>
                <a:ext cx="27967" cy="89680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Oval 38"/>
              <p:cNvSpPr>
                <a:spLocks noChangeArrowheads="1"/>
              </p:cNvSpPr>
              <p:nvPr/>
            </p:nvSpPr>
            <p:spPr bwMode="auto">
              <a:xfrm>
                <a:off x="1792695" y="5469884"/>
                <a:ext cx="134242" cy="117935"/>
              </a:xfrm>
              <a:prstGeom prst="ellipse">
                <a:avLst/>
              </a:prstGeom>
              <a:solidFill>
                <a:srgbClr val="7FB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Oval 39"/>
              <p:cNvSpPr>
                <a:spLocks noChangeArrowheads="1"/>
              </p:cNvSpPr>
              <p:nvPr/>
            </p:nvSpPr>
            <p:spPr bwMode="auto">
              <a:xfrm>
                <a:off x="1809475" y="5409688"/>
                <a:ext cx="100681" cy="85994"/>
              </a:xfrm>
              <a:prstGeom prst="ellipse">
                <a:avLst/>
              </a:prstGeom>
              <a:solidFill>
                <a:srgbClr val="7FB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40"/>
              <p:cNvSpPr>
                <a:spLocks noChangeArrowheads="1"/>
              </p:cNvSpPr>
              <p:nvPr/>
            </p:nvSpPr>
            <p:spPr bwMode="auto">
              <a:xfrm>
                <a:off x="2184233" y="5065711"/>
                <a:ext cx="181785" cy="65110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41"/>
              <p:cNvSpPr>
                <a:spLocks noChangeArrowheads="1"/>
              </p:cNvSpPr>
              <p:nvPr/>
            </p:nvSpPr>
            <p:spPr bwMode="auto">
              <a:xfrm>
                <a:off x="3121126" y="5335979"/>
                <a:ext cx="426497" cy="328006"/>
              </a:xfrm>
              <a:prstGeom prst="rect">
                <a:avLst/>
              </a:pr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Rectangle 42"/>
              <p:cNvSpPr>
                <a:spLocks noChangeArrowheads="1"/>
              </p:cNvSpPr>
              <p:nvPr/>
            </p:nvSpPr>
            <p:spPr bwMode="auto">
              <a:xfrm>
                <a:off x="3097355" y="5320008"/>
                <a:ext cx="450268" cy="15970"/>
              </a:xfrm>
              <a:prstGeom prst="rect">
                <a:avLst/>
              </a:prstGeom>
              <a:solidFill>
                <a:srgbClr val="0072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Rectangle 43"/>
              <p:cNvSpPr>
                <a:spLocks noChangeArrowheads="1"/>
              </p:cNvSpPr>
              <p:nvPr/>
            </p:nvSpPr>
            <p:spPr bwMode="auto">
              <a:xfrm>
                <a:off x="3269352" y="5559564"/>
                <a:ext cx="62926" cy="104421"/>
              </a:xfrm>
              <a:prstGeom prst="rect">
                <a:avLst/>
              </a:prstGeom>
              <a:solidFill>
                <a:srgbClr val="0072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Rectangle 44"/>
              <p:cNvSpPr>
                <a:spLocks noChangeArrowheads="1"/>
              </p:cNvSpPr>
              <p:nvPr/>
            </p:nvSpPr>
            <p:spPr bwMode="auto">
              <a:xfrm>
                <a:off x="3374228" y="5559564"/>
                <a:ext cx="62926" cy="104421"/>
              </a:xfrm>
              <a:prstGeom prst="rect">
                <a:avLst/>
              </a:prstGeom>
              <a:solidFill>
                <a:srgbClr val="0072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Rectangle 45"/>
              <p:cNvSpPr>
                <a:spLocks noChangeArrowheads="1"/>
              </p:cNvSpPr>
              <p:nvPr/>
            </p:nvSpPr>
            <p:spPr bwMode="auto">
              <a:xfrm>
                <a:off x="3163077" y="5380204"/>
                <a:ext cx="61527" cy="52825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Rectangle 46"/>
              <p:cNvSpPr>
                <a:spLocks noChangeArrowheads="1"/>
              </p:cNvSpPr>
              <p:nvPr/>
            </p:nvSpPr>
            <p:spPr bwMode="auto">
              <a:xfrm>
                <a:off x="3269352" y="5380204"/>
                <a:ext cx="62926" cy="528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Rectangle 47"/>
              <p:cNvSpPr>
                <a:spLocks noChangeArrowheads="1"/>
              </p:cNvSpPr>
              <p:nvPr/>
            </p:nvSpPr>
            <p:spPr bwMode="auto">
              <a:xfrm>
                <a:off x="3374228" y="5380204"/>
                <a:ext cx="62926" cy="52825"/>
              </a:xfrm>
              <a:prstGeom prst="rect">
                <a:avLst/>
              </a:prstGeom>
              <a:solidFill>
                <a:srgbClr val="0072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Rectangle 48"/>
              <p:cNvSpPr>
                <a:spLocks noChangeArrowheads="1"/>
              </p:cNvSpPr>
              <p:nvPr/>
            </p:nvSpPr>
            <p:spPr bwMode="auto">
              <a:xfrm>
                <a:off x="3481901" y="5380204"/>
                <a:ext cx="61527" cy="52825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Rectangle 49"/>
              <p:cNvSpPr>
                <a:spLocks noChangeArrowheads="1"/>
              </p:cNvSpPr>
              <p:nvPr/>
            </p:nvSpPr>
            <p:spPr bwMode="auto">
              <a:xfrm>
                <a:off x="3163077" y="5473569"/>
                <a:ext cx="61527" cy="52825"/>
              </a:xfrm>
              <a:prstGeom prst="rect">
                <a:avLst/>
              </a:prstGeom>
              <a:solidFill>
                <a:srgbClr val="0072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Rectangle 50"/>
              <p:cNvSpPr>
                <a:spLocks noChangeArrowheads="1"/>
              </p:cNvSpPr>
              <p:nvPr/>
            </p:nvSpPr>
            <p:spPr bwMode="auto">
              <a:xfrm>
                <a:off x="3269352" y="5473569"/>
                <a:ext cx="62926" cy="528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Rectangle 51"/>
              <p:cNvSpPr>
                <a:spLocks noChangeArrowheads="1"/>
              </p:cNvSpPr>
              <p:nvPr/>
            </p:nvSpPr>
            <p:spPr bwMode="auto">
              <a:xfrm>
                <a:off x="3374228" y="5473569"/>
                <a:ext cx="62926" cy="528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Rectangle 52"/>
              <p:cNvSpPr>
                <a:spLocks noChangeArrowheads="1"/>
              </p:cNvSpPr>
              <p:nvPr/>
            </p:nvSpPr>
            <p:spPr bwMode="auto">
              <a:xfrm>
                <a:off x="3481901" y="5473569"/>
                <a:ext cx="61527" cy="52825"/>
              </a:xfrm>
              <a:prstGeom prst="rect">
                <a:avLst/>
              </a:prstGeom>
              <a:solidFill>
                <a:srgbClr val="0072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Rectangle 53"/>
              <p:cNvSpPr>
                <a:spLocks noChangeArrowheads="1"/>
              </p:cNvSpPr>
              <p:nvPr/>
            </p:nvSpPr>
            <p:spPr bwMode="auto">
              <a:xfrm>
                <a:off x="3163077" y="5380204"/>
                <a:ext cx="61527" cy="25798"/>
              </a:xfrm>
              <a:prstGeom prst="rect">
                <a:avLst/>
              </a:prstGeom>
              <a:solidFill>
                <a:srgbClr val="0072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Rectangle 54"/>
              <p:cNvSpPr>
                <a:spLocks noChangeArrowheads="1"/>
              </p:cNvSpPr>
              <p:nvPr/>
            </p:nvSpPr>
            <p:spPr bwMode="auto">
              <a:xfrm>
                <a:off x="3481901" y="5380204"/>
                <a:ext cx="61527" cy="25798"/>
              </a:xfrm>
              <a:prstGeom prst="rect">
                <a:avLst/>
              </a:prstGeom>
              <a:solidFill>
                <a:srgbClr val="0072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Rectangle 55"/>
              <p:cNvSpPr>
                <a:spLocks noChangeArrowheads="1"/>
              </p:cNvSpPr>
              <p:nvPr/>
            </p:nvSpPr>
            <p:spPr bwMode="auto">
              <a:xfrm>
                <a:off x="3332277" y="5254898"/>
                <a:ext cx="178989" cy="65110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Rectangle 56"/>
              <p:cNvSpPr>
                <a:spLocks noChangeArrowheads="1"/>
              </p:cNvSpPr>
              <p:nvPr/>
            </p:nvSpPr>
            <p:spPr bwMode="auto">
              <a:xfrm>
                <a:off x="2547803" y="4962518"/>
                <a:ext cx="467049" cy="701467"/>
              </a:xfrm>
              <a:prstGeom prst="rect">
                <a:avLst/>
              </a:prstGeom>
              <a:solidFill>
                <a:srgbClr val="0072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Rectangle 57"/>
              <p:cNvSpPr>
                <a:spLocks noChangeArrowheads="1"/>
              </p:cNvSpPr>
              <p:nvPr/>
            </p:nvSpPr>
            <p:spPr bwMode="auto">
              <a:xfrm>
                <a:off x="2524031" y="4945320"/>
                <a:ext cx="514593" cy="17199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Rectangle 58"/>
              <p:cNvSpPr>
                <a:spLocks noChangeArrowheads="1"/>
              </p:cNvSpPr>
              <p:nvPr/>
            </p:nvSpPr>
            <p:spPr bwMode="auto">
              <a:xfrm>
                <a:off x="2591152" y="5193474"/>
                <a:ext cx="60129" cy="54053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Rectangle 59"/>
              <p:cNvSpPr>
                <a:spLocks noChangeArrowheads="1"/>
              </p:cNvSpPr>
              <p:nvPr/>
            </p:nvSpPr>
            <p:spPr bwMode="auto">
              <a:xfrm>
                <a:off x="2591152" y="5193474"/>
                <a:ext cx="60129" cy="27027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Rectangle 60"/>
              <p:cNvSpPr>
                <a:spLocks noChangeArrowheads="1"/>
              </p:cNvSpPr>
              <p:nvPr/>
            </p:nvSpPr>
            <p:spPr bwMode="auto">
              <a:xfrm>
                <a:off x="2696028" y="5193474"/>
                <a:ext cx="60129" cy="54053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Rectangle 61"/>
              <p:cNvSpPr>
                <a:spLocks noChangeArrowheads="1"/>
              </p:cNvSpPr>
              <p:nvPr/>
            </p:nvSpPr>
            <p:spPr bwMode="auto">
              <a:xfrm>
                <a:off x="2802303" y="5193474"/>
                <a:ext cx="61527" cy="5405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Rectangle 62"/>
              <p:cNvSpPr>
                <a:spLocks noChangeArrowheads="1"/>
              </p:cNvSpPr>
              <p:nvPr/>
            </p:nvSpPr>
            <p:spPr bwMode="auto">
              <a:xfrm>
                <a:off x="2696028" y="5559564"/>
                <a:ext cx="60129" cy="104421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63"/>
              <p:cNvSpPr>
                <a:spLocks noChangeArrowheads="1"/>
              </p:cNvSpPr>
              <p:nvPr/>
            </p:nvSpPr>
            <p:spPr bwMode="auto">
              <a:xfrm>
                <a:off x="2802303" y="5559564"/>
                <a:ext cx="61527" cy="104421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Rectangle 64"/>
              <p:cNvSpPr>
                <a:spLocks noChangeArrowheads="1"/>
              </p:cNvSpPr>
              <p:nvPr/>
            </p:nvSpPr>
            <p:spPr bwMode="auto">
              <a:xfrm>
                <a:off x="2909976" y="5193474"/>
                <a:ext cx="60129" cy="54053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Rectangle 65"/>
              <p:cNvSpPr>
                <a:spLocks noChangeArrowheads="1"/>
              </p:cNvSpPr>
              <p:nvPr/>
            </p:nvSpPr>
            <p:spPr bwMode="auto">
              <a:xfrm>
                <a:off x="2591152" y="5285611"/>
                <a:ext cx="60129" cy="55282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66"/>
              <p:cNvSpPr>
                <a:spLocks noChangeArrowheads="1"/>
              </p:cNvSpPr>
              <p:nvPr/>
            </p:nvSpPr>
            <p:spPr bwMode="auto">
              <a:xfrm>
                <a:off x="2696028" y="5285611"/>
                <a:ext cx="60129" cy="55282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67"/>
              <p:cNvSpPr>
                <a:spLocks noChangeArrowheads="1"/>
              </p:cNvSpPr>
              <p:nvPr/>
            </p:nvSpPr>
            <p:spPr bwMode="auto">
              <a:xfrm>
                <a:off x="2802303" y="5285611"/>
                <a:ext cx="61527" cy="55282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68"/>
              <p:cNvSpPr>
                <a:spLocks noChangeArrowheads="1"/>
              </p:cNvSpPr>
              <p:nvPr/>
            </p:nvSpPr>
            <p:spPr bwMode="auto">
              <a:xfrm>
                <a:off x="2909976" y="5285611"/>
                <a:ext cx="60129" cy="55282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Rectangle 69"/>
              <p:cNvSpPr>
                <a:spLocks noChangeArrowheads="1"/>
              </p:cNvSpPr>
              <p:nvPr/>
            </p:nvSpPr>
            <p:spPr bwMode="auto">
              <a:xfrm>
                <a:off x="2591152" y="5380204"/>
                <a:ext cx="60129" cy="52825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1" name="Rectangle 70"/>
              <p:cNvSpPr>
                <a:spLocks noChangeArrowheads="1"/>
              </p:cNvSpPr>
              <p:nvPr/>
            </p:nvSpPr>
            <p:spPr bwMode="auto">
              <a:xfrm>
                <a:off x="2696028" y="5380204"/>
                <a:ext cx="60129" cy="528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2" name="Rectangle 71"/>
              <p:cNvSpPr>
                <a:spLocks noChangeArrowheads="1"/>
              </p:cNvSpPr>
              <p:nvPr/>
            </p:nvSpPr>
            <p:spPr bwMode="auto">
              <a:xfrm>
                <a:off x="2802303" y="5380204"/>
                <a:ext cx="61527" cy="52825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3" name="Rectangle 72"/>
              <p:cNvSpPr>
                <a:spLocks noChangeArrowheads="1"/>
              </p:cNvSpPr>
              <p:nvPr/>
            </p:nvSpPr>
            <p:spPr bwMode="auto">
              <a:xfrm>
                <a:off x="2909976" y="5380204"/>
                <a:ext cx="60129" cy="52825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4" name="Rectangle 73"/>
              <p:cNvSpPr>
                <a:spLocks noChangeArrowheads="1"/>
              </p:cNvSpPr>
              <p:nvPr/>
            </p:nvSpPr>
            <p:spPr bwMode="auto">
              <a:xfrm>
                <a:off x="2591152" y="5473569"/>
                <a:ext cx="60129" cy="52825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5" name="Rectangle 74"/>
              <p:cNvSpPr>
                <a:spLocks noChangeArrowheads="1"/>
              </p:cNvSpPr>
              <p:nvPr/>
            </p:nvSpPr>
            <p:spPr bwMode="auto">
              <a:xfrm>
                <a:off x="2696028" y="5473569"/>
                <a:ext cx="60129" cy="52825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6" name="Rectangle 75"/>
              <p:cNvSpPr>
                <a:spLocks noChangeArrowheads="1"/>
              </p:cNvSpPr>
              <p:nvPr/>
            </p:nvSpPr>
            <p:spPr bwMode="auto">
              <a:xfrm>
                <a:off x="2802303" y="5473569"/>
                <a:ext cx="61527" cy="528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7" name="Rectangle 76"/>
              <p:cNvSpPr>
                <a:spLocks noChangeArrowheads="1"/>
              </p:cNvSpPr>
              <p:nvPr/>
            </p:nvSpPr>
            <p:spPr bwMode="auto">
              <a:xfrm>
                <a:off x="2909976" y="5473569"/>
                <a:ext cx="60129" cy="52825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8" name="Rectangle 77"/>
              <p:cNvSpPr>
                <a:spLocks noChangeArrowheads="1"/>
              </p:cNvSpPr>
              <p:nvPr/>
            </p:nvSpPr>
            <p:spPr bwMode="auto">
              <a:xfrm>
                <a:off x="2591152" y="5380204"/>
                <a:ext cx="60129" cy="2579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9" name="Rectangle 78"/>
              <p:cNvSpPr>
                <a:spLocks noChangeArrowheads="1"/>
              </p:cNvSpPr>
              <p:nvPr/>
            </p:nvSpPr>
            <p:spPr bwMode="auto">
              <a:xfrm>
                <a:off x="2909976" y="5380204"/>
                <a:ext cx="60129" cy="2579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0" name="Rectangle 79"/>
              <p:cNvSpPr>
                <a:spLocks noChangeArrowheads="1"/>
              </p:cNvSpPr>
              <p:nvPr/>
            </p:nvSpPr>
            <p:spPr bwMode="auto">
              <a:xfrm>
                <a:off x="2909976" y="5285611"/>
                <a:ext cx="60129" cy="27027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1" name="Rectangle 80"/>
              <p:cNvSpPr>
                <a:spLocks noChangeArrowheads="1"/>
              </p:cNvSpPr>
              <p:nvPr/>
            </p:nvSpPr>
            <p:spPr bwMode="auto">
              <a:xfrm>
                <a:off x="2591152" y="5006744"/>
                <a:ext cx="60129" cy="54053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" name="Rectangle 81"/>
              <p:cNvSpPr>
                <a:spLocks noChangeArrowheads="1"/>
              </p:cNvSpPr>
              <p:nvPr/>
            </p:nvSpPr>
            <p:spPr bwMode="auto">
              <a:xfrm>
                <a:off x="2591152" y="5006744"/>
                <a:ext cx="60129" cy="28255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3" name="Rectangle 82"/>
              <p:cNvSpPr>
                <a:spLocks noChangeArrowheads="1"/>
              </p:cNvSpPr>
              <p:nvPr/>
            </p:nvSpPr>
            <p:spPr bwMode="auto">
              <a:xfrm>
                <a:off x="2696028" y="5006744"/>
                <a:ext cx="60129" cy="54053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4" name="Rectangle 83"/>
              <p:cNvSpPr>
                <a:spLocks noChangeArrowheads="1"/>
              </p:cNvSpPr>
              <p:nvPr/>
            </p:nvSpPr>
            <p:spPr bwMode="auto">
              <a:xfrm>
                <a:off x="2802303" y="5006744"/>
                <a:ext cx="61527" cy="5405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5" name="Rectangle 84"/>
              <p:cNvSpPr>
                <a:spLocks noChangeArrowheads="1"/>
              </p:cNvSpPr>
              <p:nvPr/>
            </p:nvSpPr>
            <p:spPr bwMode="auto">
              <a:xfrm>
                <a:off x="2909976" y="5006744"/>
                <a:ext cx="60129" cy="54053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6" name="Rectangle 85"/>
              <p:cNvSpPr>
                <a:spLocks noChangeArrowheads="1"/>
              </p:cNvSpPr>
              <p:nvPr/>
            </p:nvSpPr>
            <p:spPr bwMode="auto">
              <a:xfrm>
                <a:off x="2591152" y="5100109"/>
                <a:ext cx="60129" cy="528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7" name="Rectangle 86"/>
              <p:cNvSpPr>
                <a:spLocks noChangeArrowheads="1"/>
              </p:cNvSpPr>
              <p:nvPr/>
            </p:nvSpPr>
            <p:spPr bwMode="auto">
              <a:xfrm>
                <a:off x="2696028" y="5100109"/>
                <a:ext cx="60129" cy="52825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8" name="Rectangle 87"/>
              <p:cNvSpPr>
                <a:spLocks noChangeArrowheads="1"/>
              </p:cNvSpPr>
              <p:nvPr/>
            </p:nvSpPr>
            <p:spPr bwMode="auto">
              <a:xfrm>
                <a:off x="2802303" y="5100109"/>
                <a:ext cx="61527" cy="52825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9" name="Rectangle 88"/>
              <p:cNvSpPr>
                <a:spLocks noChangeArrowheads="1"/>
              </p:cNvSpPr>
              <p:nvPr/>
            </p:nvSpPr>
            <p:spPr bwMode="auto">
              <a:xfrm>
                <a:off x="2909976" y="5100109"/>
                <a:ext cx="60129" cy="52825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0" name="Rectangle 89"/>
              <p:cNvSpPr>
                <a:spLocks noChangeArrowheads="1"/>
              </p:cNvSpPr>
              <p:nvPr/>
            </p:nvSpPr>
            <p:spPr bwMode="auto">
              <a:xfrm>
                <a:off x="2909976" y="5100109"/>
                <a:ext cx="60129" cy="27027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1" name="Rectangle 90"/>
              <p:cNvSpPr>
                <a:spLocks noChangeArrowheads="1"/>
              </p:cNvSpPr>
              <p:nvPr/>
            </p:nvSpPr>
            <p:spPr bwMode="auto">
              <a:xfrm>
                <a:off x="2623314" y="4881438"/>
                <a:ext cx="57332" cy="63881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2" name="Rectangle 91"/>
              <p:cNvSpPr>
                <a:spLocks noChangeArrowheads="1"/>
              </p:cNvSpPr>
              <p:nvPr/>
            </p:nvSpPr>
            <p:spPr bwMode="auto">
              <a:xfrm>
                <a:off x="2700223" y="4881438"/>
                <a:ext cx="54536" cy="63881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3" name="Rectangle 92"/>
              <p:cNvSpPr>
                <a:spLocks noChangeArrowheads="1"/>
              </p:cNvSpPr>
              <p:nvPr/>
            </p:nvSpPr>
            <p:spPr bwMode="auto">
              <a:xfrm>
                <a:off x="2406570" y="5638187"/>
                <a:ext cx="176192" cy="25798"/>
              </a:xfrm>
              <a:prstGeom prst="rect">
                <a:avLst/>
              </a:prstGeom>
              <a:solidFill>
                <a:srgbClr val="7FB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" name="Rectangle 93"/>
              <p:cNvSpPr>
                <a:spLocks noChangeArrowheads="1"/>
              </p:cNvSpPr>
              <p:nvPr/>
            </p:nvSpPr>
            <p:spPr bwMode="auto">
              <a:xfrm>
                <a:off x="2909976" y="5638187"/>
                <a:ext cx="253101" cy="25798"/>
              </a:xfrm>
              <a:prstGeom prst="rect">
                <a:avLst/>
              </a:prstGeom>
              <a:solidFill>
                <a:srgbClr val="7FB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5" name="Freeform 94"/>
              <p:cNvSpPr>
                <a:spLocks/>
              </p:cNvSpPr>
              <p:nvPr/>
            </p:nvSpPr>
            <p:spPr bwMode="auto">
              <a:xfrm>
                <a:off x="1647266" y="4188571"/>
                <a:ext cx="900537" cy="520879"/>
              </a:xfrm>
              <a:custGeom>
                <a:avLst/>
                <a:gdLst>
                  <a:gd name="T0" fmla="*/ 387 w 460"/>
                  <a:gd name="T1" fmla="*/ 133 h 303"/>
                  <a:gd name="T2" fmla="*/ 387 w 460"/>
                  <a:gd name="T3" fmla="*/ 127 h 303"/>
                  <a:gd name="T4" fmla="*/ 260 w 460"/>
                  <a:gd name="T5" fmla="*/ 0 h 303"/>
                  <a:gd name="T6" fmla="*/ 154 w 460"/>
                  <a:gd name="T7" fmla="*/ 57 h 303"/>
                  <a:gd name="T8" fmla="*/ 119 w 460"/>
                  <a:gd name="T9" fmla="*/ 47 h 303"/>
                  <a:gd name="T10" fmla="*/ 78 w 460"/>
                  <a:gd name="T11" fmla="*/ 60 h 303"/>
                  <a:gd name="T12" fmla="*/ 46 w 460"/>
                  <a:gd name="T13" fmla="*/ 119 h 303"/>
                  <a:gd name="T14" fmla="*/ 0 w 460"/>
                  <a:gd name="T15" fmla="*/ 203 h 303"/>
                  <a:gd name="T16" fmla="*/ 89 w 460"/>
                  <a:gd name="T17" fmla="*/ 303 h 303"/>
                  <a:gd name="T18" fmla="*/ 100 w 460"/>
                  <a:gd name="T19" fmla="*/ 303 h 303"/>
                  <a:gd name="T20" fmla="*/ 110 w 460"/>
                  <a:gd name="T21" fmla="*/ 303 h 303"/>
                  <a:gd name="T22" fmla="*/ 317 w 460"/>
                  <a:gd name="T23" fmla="*/ 303 h 303"/>
                  <a:gd name="T24" fmla="*/ 321 w 460"/>
                  <a:gd name="T25" fmla="*/ 303 h 303"/>
                  <a:gd name="T26" fmla="*/ 327 w 460"/>
                  <a:gd name="T27" fmla="*/ 303 h 303"/>
                  <a:gd name="T28" fmla="*/ 342 w 460"/>
                  <a:gd name="T29" fmla="*/ 303 h 303"/>
                  <a:gd name="T30" fmla="*/ 375 w 460"/>
                  <a:gd name="T31" fmla="*/ 303 h 303"/>
                  <a:gd name="T32" fmla="*/ 460 w 460"/>
                  <a:gd name="T33" fmla="*/ 217 h 303"/>
                  <a:gd name="T34" fmla="*/ 387 w 460"/>
                  <a:gd name="T35" fmla="*/ 133 h 3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60" h="303">
                    <a:moveTo>
                      <a:pt x="387" y="133"/>
                    </a:moveTo>
                    <a:cubicBezTo>
                      <a:pt x="387" y="131"/>
                      <a:pt x="387" y="128"/>
                      <a:pt x="387" y="127"/>
                    </a:cubicBezTo>
                    <a:cubicBezTo>
                      <a:pt x="387" y="57"/>
                      <a:pt x="330" y="0"/>
                      <a:pt x="260" y="0"/>
                    </a:cubicBezTo>
                    <a:cubicBezTo>
                      <a:pt x="216" y="0"/>
                      <a:pt x="177" y="23"/>
                      <a:pt x="154" y="57"/>
                    </a:cubicBezTo>
                    <a:cubicBezTo>
                      <a:pt x="144" y="51"/>
                      <a:pt x="132" y="47"/>
                      <a:pt x="119" y="47"/>
                    </a:cubicBezTo>
                    <a:cubicBezTo>
                      <a:pt x="104" y="47"/>
                      <a:pt x="90" y="52"/>
                      <a:pt x="78" y="60"/>
                    </a:cubicBezTo>
                    <a:cubicBezTo>
                      <a:pt x="59" y="73"/>
                      <a:pt x="46" y="94"/>
                      <a:pt x="46" y="119"/>
                    </a:cubicBezTo>
                    <a:cubicBezTo>
                      <a:pt x="19" y="137"/>
                      <a:pt x="0" y="168"/>
                      <a:pt x="0" y="203"/>
                    </a:cubicBezTo>
                    <a:cubicBezTo>
                      <a:pt x="0" y="254"/>
                      <a:pt x="39" y="297"/>
                      <a:pt x="89" y="303"/>
                    </a:cubicBezTo>
                    <a:cubicBezTo>
                      <a:pt x="92" y="303"/>
                      <a:pt x="97" y="303"/>
                      <a:pt x="100" y="303"/>
                    </a:cubicBezTo>
                    <a:cubicBezTo>
                      <a:pt x="103" y="303"/>
                      <a:pt x="107" y="303"/>
                      <a:pt x="110" y="303"/>
                    </a:cubicBezTo>
                    <a:cubicBezTo>
                      <a:pt x="157" y="303"/>
                      <a:pt x="266" y="303"/>
                      <a:pt x="317" y="303"/>
                    </a:cubicBezTo>
                    <a:cubicBezTo>
                      <a:pt x="319" y="303"/>
                      <a:pt x="320" y="303"/>
                      <a:pt x="321" y="303"/>
                    </a:cubicBezTo>
                    <a:cubicBezTo>
                      <a:pt x="327" y="303"/>
                      <a:pt x="327" y="303"/>
                      <a:pt x="327" y="303"/>
                    </a:cubicBezTo>
                    <a:cubicBezTo>
                      <a:pt x="329" y="303"/>
                      <a:pt x="337" y="303"/>
                      <a:pt x="342" y="303"/>
                    </a:cubicBezTo>
                    <a:cubicBezTo>
                      <a:pt x="375" y="303"/>
                      <a:pt x="375" y="303"/>
                      <a:pt x="375" y="303"/>
                    </a:cubicBezTo>
                    <a:cubicBezTo>
                      <a:pt x="422" y="302"/>
                      <a:pt x="460" y="264"/>
                      <a:pt x="460" y="217"/>
                    </a:cubicBezTo>
                    <a:cubicBezTo>
                      <a:pt x="460" y="174"/>
                      <a:pt x="428" y="139"/>
                      <a:pt x="387" y="133"/>
                    </a:cubicBezTo>
                    <a:close/>
                  </a:path>
                </a:pathLst>
              </a:custGeom>
              <a:solidFill>
                <a:srgbClr val="6DC2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6" name="Freeform 95"/>
              <p:cNvSpPr>
                <a:spLocks/>
              </p:cNvSpPr>
              <p:nvPr/>
            </p:nvSpPr>
            <p:spPr bwMode="auto">
              <a:xfrm>
                <a:off x="1634681" y="4535005"/>
                <a:ext cx="1096306" cy="979105"/>
              </a:xfrm>
              <a:custGeom>
                <a:avLst/>
                <a:gdLst>
                  <a:gd name="T0" fmla="*/ 557 w 561"/>
                  <a:gd name="T1" fmla="*/ 563 h 570"/>
                  <a:gd name="T2" fmla="*/ 443 w 561"/>
                  <a:gd name="T3" fmla="*/ 409 h 570"/>
                  <a:gd name="T4" fmla="*/ 395 w 561"/>
                  <a:gd name="T5" fmla="*/ 32 h 570"/>
                  <a:gd name="T6" fmla="*/ 402 w 561"/>
                  <a:gd name="T7" fmla="*/ 31 h 570"/>
                  <a:gd name="T8" fmla="*/ 473 w 561"/>
                  <a:gd name="T9" fmla="*/ 4 h 570"/>
                  <a:gd name="T10" fmla="*/ 470 w 561"/>
                  <a:gd name="T11" fmla="*/ 0 h 570"/>
                  <a:gd name="T12" fmla="*/ 466 w 561"/>
                  <a:gd name="T13" fmla="*/ 4 h 570"/>
                  <a:gd name="T14" fmla="*/ 401 w 561"/>
                  <a:gd name="T15" fmla="*/ 23 h 570"/>
                  <a:gd name="T16" fmla="*/ 237 w 561"/>
                  <a:gd name="T17" fmla="*/ 33 h 570"/>
                  <a:gd name="T18" fmla="*/ 73 w 561"/>
                  <a:gd name="T19" fmla="*/ 23 h 570"/>
                  <a:gd name="T20" fmla="*/ 8 w 561"/>
                  <a:gd name="T21" fmla="*/ 4 h 570"/>
                  <a:gd name="T22" fmla="*/ 4 w 561"/>
                  <a:gd name="T23" fmla="*/ 0 h 570"/>
                  <a:gd name="T24" fmla="*/ 0 w 561"/>
                  <a:gd name="T25" fmla="*/ 4 h 570"/>
                  <a:gd name="T26" fmla="*/ 72 w 561"/>
                  <a:gd name="T27" fmla="*/ 31 h 570"/>
                  <a:gd name="T28" fmla="*/ 237 w 561"/>
                  <a:gd name="T29" fmla="*/ 40 h 570"/>
                  <a:gd name="T30" fmla="*/ 387 w 561"/>
                  <a:gd name="T31" fmla="*/ 33 h 570"/>
                  <a:gd name="T32" fmla="*/ 436 w 561"/>
                  <a:gd name="T33" fmla="*/ 411 h 570"/>
                  <a:gd name="T34" fmla="*/ 557 w 561"/>
                  <a:gd name="T35" fmla="*/ 570 h 570"/>
                  <a:gd name="T36" fmla="*/ 561 w 561"/>
                  <a:gd name="T37" fmla="*/ 567 h 570"/>
                  <a:gd name="T38" fmla="*/ 557 w 561"/>
                  <a:gd name="T39" fmla="*/ 563 h 5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61" h="570">
                    <a:moveTo>
                      <a:pt x="557" y="563"/>
                    </a:moveTo>
                    <a:cubicBezTo>
                      <a:pt x="515" y="563"/>
                      <a:pt x="474" y="507"/>
                      <a:pt x="443" y="409"/>
                    </a:cubicBezTo>
                    <a:cubicBezTo>
                      <a:pt x="412" y="308"/>
                      <a:pt x="395" y="174"/>
                      <a:pt x="395" y="32"/>
                    </a:cubicBezTo>
                    <a:cubicBezTo>
                      <a:pt x="397" y="31"/>
                      <a:pt x="400" y="31"/>
                      <a:pt x="402" y="31"/>
                    </a:cubicBezTo>
                    <a:cubicBezTo>
                      <a:pt x="473" y="21"/>
                      <a:pt x="473" y="8"/>
                      <a:pt x="473" y="4"/>
                    </a:cubicBezTo>
                    <a:cubicBezTo>
                      <a:pt x="473" y="2"/>
                      <a:pt x="472" y="0"/>
                      <a:pt x="470" y="0"/>
                    </a:cubicBezTo>
                    <a:cubicBezTo>
                      <a:pt x="468" y="0"/>
                      <a:pt x="466" y="2"/>
                      <a:pt x="466" y="4"/>
                    </a:cubicBezTo>
                    <a:cubicBezTo>
                      <a:pt x="466" y="4"/>
                      <a:pt x="465" y="14"/>
                      <a:pt x="401" y="23"/>
                    </a:cubicBezTo>
                    <a:cubicBezTo>
                      <a:pt x="357" y="30"/>
                      <a:pt x="299" y="33"/>
                      <a:pt x="237" y="33"/>
                    </a:cubicBezTo>
                    <a:cubicBezTo>
                      <a:pt x="175" y="33"/>
                      <a:pt x="117" y="30"/>
                      <a:pt x="73" y="23"/>
                    </a:cubicBezTo>
                    <a:cubicBezTo>
                      <a:pt x="9" y="14"/>
                      <a:pt x="8" y="4"/>
                      <a:pt x="8" y="4"/>
                    </a:cubicBezTo>
                    <a:cubicBezTo>
                      <a:pt x="8" y="2"/>
                      <a:pt x="6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8"/>
                      <a:pt x="0" y="21"/>
                      <a:pt x="72" y="31"/>
                    </a:cubicBezTo>
                    <a:cubicBezTo>
                      <a:pt x="116" y="37"/>
                      <a:pt x="175" y="40"/>
                      <a:pt x="237" y="40"/>
                    </a:cubicBezTo>
                    <a:cubicBezTo>
                      <a:pt x="293" y="40"/>
                      <a:pt x="345" y="38"/>
                      <a:pt x="387" y="33"/>
                    </a:cubicBezTo>
                    <a:cubicBezTo>
                      <a:pt x="387" y="176"/>
                      <a:pt x="405" y="310"/>
                      <a:pt x="436" y="411"/>
                    </a:cubicBezTo>
                    <a:cubicBezTo>
                      <a:pt x="468" y="514"/>
                      <a:pt x="511" y="570"/>
                      <a:pt x="557" y="570"/>
                    </a:cubicBezTo>
                    <a:cubicBezTo>
                      <a:pt x="559" y="570"/>
                      <a:pt x="561" y="569"/>
                      <a:pt x="561" y="567"/>
                    </a:cubicBezTo>
                    <a:cubicBezTo>
                      <a:pt x="561" y="565"/>
                      <a:pt x="559" y="563"/>
                      <a:pt x="557" y="563"/>
                    </a:cubicBez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7" name="Freeform 96"/>
              <p:cNvSpPr>
                <a:spLocks/>
              </p:cNvSpPr>
              <p:nvPr/>
            </p:nvSpPr>
            <p:spPr bwMode="auto">
              <a:xfrm>
                <a:off x="2600941" y="4178743"/>
                <a:ext cx="584510" cy="339063"/>
              </a:xfrm>
              <a:custGeom>
                <a:avLst/>
                <a:gdLst>
                  <a:gd name="T0" fmla="*/ 251 w 299"/>
                  <a:gd name="T1" fmla="*/ 87 h 197"/>
                  <a:gd name="T2" fmla="*/ 251 w 299"/>
                  <a:gd name="T3" fmla="*/ 83 h 197"/>
                  <a:gd name="T4" fmla="*/ 169 w 299"/>
                  <a:gd name="T5" fmla="*/ 0 h 197"/>
                  <a:gd name="T6" fmla="*/ 100 w 299"/>
                  <a:gd name="T7" fmla="*/ 37 h 197"/>
                  <a:gd name="T8" fmla="*/ 78 w 299"/>
                  <a:gd name="T9" fmla="*/ 31 h 197"/>
                  <a:gd name="T10" fmla="*/ 51 w 299"/>
                  <a:gd name="T11" fmla="*/ 39 h 197"/>
                  <a:gd name="T12" fmla="*/ 30 w 299"/>
                  <a:gd name="T13" fmla="*/ 78 h 197"/>
                  <a:gd name="T14" fmla="*/ 0 w 299"/>
                  <a:gd name="T15" fmla="*/ 132 h 197"/>
                  <a:gd name="T16" fmla="*/ 58 w 299"/>
                  <a:gd name="T17" fmla="*/ 197 h 197"/>
                  <a:gd name="T18" fmla="*/ 65 w 299"/>
                  <a:gd name="T19" fmla="*/ 197 h 197"/>
                  <a:gd name="T20" fmla="*/ 72 w 299"/>
                  <a:gd name="T21" fmla="*/ 197 h 197"/>
                  <a:gd name="T22" fmla="*/ 206 w 299"/>
                  <a:gd name="T23" fmla="*/ 197 h 197"/>
                  <a:gd name="T24" fmla="*/ 209 w 299"/>
                  <a:gd name="T25" fmla="*/ 197 h 197"/>
                  <a:gd name="T26" fmla="*/ 212 w 299"/>
                  <a:gd name="T27" fmla="*/ 197 h 197"/>
                  <a:gd name="T28" fmla="*/ 222 w 299"/>
                  <a:gd name="T29" fmla="*/ 197 h 197"/>
                  <a:gd name="T30" fmla="*/ 244 w 299"/>
                  <a:gd name="T31" fmla="*/ 197 h 197"/>
                  <a:gd name="T32" fmla="*/ 299 w 299"/>
                  <a:gd name="T33" fmla="*/ 142 h 197"/>
                  <a:gd name="T34" fmla="*/ 251 w 299"/>
                  <a:gd name="T35" fmla="*/ 87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99" h="197">
                    <a:moveTo>
                      <a:pt x="251" y="87"/>
                    </a:moveTo>
                    <a:cubicBezTo>
                      <a:pt x="251" y="86"/>
                      <a:pt x="251" y="84"/>
                      <a:pt x="251" y="83"/>
                    </a:cubicBezTo>
                    <a:cubicBezTo>
                      <a:pt x="251" y="37"/>
                      <a:pt x="215" y="0"/>
                      <a:pt x="169" y="0"/>
                    </a:cubicBezTo>
                    <a:cubicBezTo>
                      <a:pt x="140" y="0"/>
                      <a:pt x="115" y="15"/>
                      <a:pt x="100" y="37"/>
                    </a:cubicBezTo>
                    <a:cubicBezTo>
                      <a:pt x="94" y="33"/>
                      <a:pt x="86" y="31"/>
                      <a:pt x="78" y="31"/>
                    </a:cubicBezTo>
                    <a:cubicBezTo>
                      <a:pt x="68" y="31"/>
                      <a:pt x="58" y="34"/>
                      <a:pt x="51" y="39"/>
                    </a:cubicBezTo>
                    <a:cubicBezTo>
                      <a:pt x="38" y="48"/>
                      <a:pt x="30" y="62"/>
                      <a:pt x="30" y="78"/>
                    </a:cubicBezTo>
                    <a:cubicBezTo>
                      <a:pt x="12" y="89"/>
                      <a:pt x="0" y="110"/>
                      <a:pt x="0" y="132"/>
                    </a:cubicBezTo>
                    <a:cubicBezTo>
                      <a:pt x="0" y="166"/>
                      <a:pt x="25" y="193"/>
                      <a:pt x="58" y="197"/>
                    </a:cubicBezTo>
                    <a:cubicBezTo>
                      <a:pt x="60" y="197"/>
                      <a:pt x="63" y="197"/>
                      <a:pt x="65" y="197"/>
                    </a:cubicBezTo>
                    <a:cubicBezTo>
                      <a:pt x="67" y="197"/>
                      <a:pt x="69" y="197"/>
                      <a:pt x="72" y="197"/>
                    </a:cubicBezTo>
                    <a:cubicBezTo>
                      <a:pt x="102" y="197"/>
                      <a:pt x="173" y="197"/>
                      <a:pt x="206" y="197"/>
                    </a:cubicBezTo>
                    <a:cubicBezTo>
                      <a:pt x="207" y="197"/>
                      <a:pt x="208" y="197"/>
                      <a:pt x="209" y="197"/>
                    </a:cubicBezTo>
                    <a:cubicBezTo>
                      <a:pt x="212" y="197"/>
                      <a:pt x="212" y="197"/>
                      <a:pt x="212" y="197"/>
                    </a:cubicBezTo>
                    <a:cubicBezTo>
                      <a:pt x="214" y="197"/>
                      <a:pt x="219" y="197"/>
                      <a:pt x="222" y="197"/>
                    </a:cubicBezTo>
                    <a:cubicBezTo>
                      <a:pt x="244" y="197"/>
                      <a:pt x="244" y="197"/>
                      <a:pt x="244" y="197"/>
                    </a:cubicBezTo>
                    <a:cubicBezTo>
                      <a:pt x="275" y="197"/>
                      <a:pt x="299" y="172"/>
                      <a:pt x="299" y="142"/>
                    </a:cubicBezTo>
                    <a:cubicBezTo>
                      <a:pt x="299" y="114"/>
                      <a:pt x="278" y="91"/>
                      <a:pt x="251" y="87"/>
                    </a:cubicBezTo>
                    <a:close/>
                  </a:path>
                </a:pathLst>
              </a:custGeom>
              <a:solidFill>
                <a:srgbClr val="6DC2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8" name="Freeform 97"/>
              <p:cNvSpPr>
                <a:spLocks/>
              </p:cNvSpPr>
              <p:nvPr/>
            </p:nvSpPr>
            <p:spPr bwMode="auto">
              <a:xfrm>
                <a:off x="2588355" y="4406013"/>
                <a:ext cx="608282" cy="1108096"/>
              </a:xfrm>
              <a:custGeom>
                <a:avLst/>
                <a:gdLst>
                  <a:gd name="T0" fmla="*/ 308 w 311"/>
                  <a:gd name="T1" fmla="*/ 638 h 645"/>
                  <a:gd name="T2" fmla="*/ 166 w 311"/>
                  <a:gd name="T3" fmla="*/ 460 h 645"/>
                  <a:gd name="T4" fmla="*/ 106 w 311"/>
                  <a:gd name="T5" fmla="*/ 28 h 645"/>
                  <a:gd name="T6" fmla="*/ 156 w 311"/>
                  <a:gd name="T7" fmla="*/ 29 h 645"/>
                  <a:gd name="T8" fmla="*/ 311 w 311"/>
                  <a:gd name="T9" fmla="*/ 4 h 645"/>
                  <a:gd name="T10" fmla="*/ 308 w 311"/>
                  <a:gd name="T11" fmla="*/ 0 h 645"/>
                  <a:gd name="T12" fmla="*/ 304 w 311"/>
                  <a:gd name="T13" fmla="*/ 4 h 645"/>
                  <a:gd name="T14" fmla="*/ 156 w 311"/>
                  <a:gd name="T15" fmla="*/ 21 h 645"/>
                  <a:gd name="T16" fmla="*/ 7 w 311"/>
                  <a:gd name="T17" fmla="*/ 4 h 645"/>
                  <a:gd name="T18" fmla="*/ 3 w 311"/>
                  <a:gd name="T19" fmla="*/ 0 h 645"/>
                  <a:gd name="T20" fmla="*/ 0 w 311"/>
                  <a:gd name="T21" fmla="*/ 4 h 645"/>
                  <a:gd name="T22" fmla="*/ 99 w 311"/>
                  <a:gd name="T23" fmla="*/ 27 h 645"/>
                  <a:gd name="T24" fmla="*/ 159 w 311"/>
                  <a:gd name="T25" fmla="*/ 462 h 645"/>
                  <a:gd name="T26" fmla="*/ 308 w 311"/>
                  <a:gd name="T27" fmla="*/ 645 h 645"/>
                  <a:gd name="T28" fmla="*/ 311 w 311"/>
                  <a:gd name="T29" fmla="*/ 642 h 645"/>
                  <a:gd name="T30" fmla="*/ 308 w 311"/>
                  <a:gd name="T31" fmla="*/ 638 h 6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11" h="645">
                    <a:moveTo>
                      <a:pt x="308" y="638"/>
                    </a:moveTo>
                    <a:cubicBezTo>
                      <a:pt x="255" y="638"/>
                      <a:pt x="204" y="575"/>
                      <a:pt x="166" y="460"/>
                    </a:cubicBezTo>
                    <a:cubicBezTo>
                      <a:pt x="128" y="345"/>
                      <a:pt x="106" y="191"/>
                      <a:pt x="106" y="28"/>
                    </a:cubicBezTo>
                    <a:cubicBezTo>
                      <a:pt x="132" y="29"/>
                      <a:pt x="153" y="29"/>
                      <a:pt x="156" y="29"/>
                    </a:cubicBezTo>
                    <a:cubicBezTo>
                      <a:pt x="162" y="29"/>
                      <a:pt x="311" y="29"/>
                      <a:pt x="311" y="4"/>
                    </a:cubicBezTo>
                    <a:cubicBezTo>
                      <a:pt x="311" y="2"/>
                      <a:pt x="310" y="0"/>
                      <a:pt x="308" y="0"/>
                    </a:cubicBezTo>
                    <a:cubicBezTo>
                      <a:pt x="306" y="0"/>
                      <a:pt x="304" y="1"/>
                      <a:pt x="304" y="4"/>
                    </a:cubicBezTo>
                    <a:cubicBezTo>
                      <a:pt x="302" y="10"/>
                      <a:pt x="250" y="21"/>
                      <a:pt x="156" y="21"/>
                    </a:cubicBezTo>
                    <a:cubicBezTo>
                      <a:pt x="61" y="21"/>
                      <a:pt x="10" y="10"/>
                      <a:pt x="7" y="4"/>
                    </a:cubicBezTo>
                    <a:cubicBezTo>
                      <a:pt x="7" y="2"/>
                      <a:pt x="5" y="0"/>
                      <a:pt x="3" y="0"/>
                    </a:cubicBezTo>
                    <a:cubicBezTo>
                      <a:pt x="1" y="0"/>
                      <a:pt x="0" y="2"/>
                      <a:pt x="0" y="4"/>
                    </a:cubicBezTo>
                    <a:cubicBezTo>
                      <a:pt x="0" y="19"/>
                      <a:pt x="54" y="25"/>
                      <a:pt x="99" y="27"/>
                    </a:cubicBezTo>
                    <a:cubicBezTo>
                      <a:pt x="99" y="192"/>
                      <a:pt x="120" y="346"/>
                      <a:pt x="159" y="462"/>
                    </a:cubicBezTo>
                    <a:cubicBezTo>
                      <a:pt x="198" y="580"/>
                      <a:pt x="251" y="645"/>
                      <a:pt x="308" y="645"/>
                    </a:cubicBezTo>
                    <a:cubicBezTo>
                      <a:pt x="310" y="645"/>
                      <a:pt x="311" y="644"/>
                      <a:pt x="311" y="642"/>
                    </a:cubicBezTo>
                    <a:cubicBezTo>
                      <a:pt x="311" y="640"/>
                      <a:pt x="310" y="638"/>
                      <a:pt x="308" y="638"/>
                    </a:cubicBez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pic>
          <p:nvPicPr>
            <p:cNvPr id="75" name="Picture 74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93762" y="4572686"/>
              <a:ext cx="642773" cy="436029"/>
            </a:xfrm>
            <a:prstGeom prst="rect">
              <a:avLst/>
            </a:prstGeom>
          </p:spPr>
        </p:pic>
      </p:grpSp>
      <p:grpSp>
        <p:nvGrpSpPr>
          <p:cNvPr id="178" name="Group 177"/>
          <p:cNvGrpSpPr/>
          <p:nvPr/>
        </p:nvGrpSpPr>
        <p:grpSpPr>
          <a:xfrm>
            <a:off x="4153857" y="4250559"/>
            <a:ext cx="6667501" cy="1564628"/>
            <a:chOff x="3032143" y="4474328"/>
            <a:chExt cx="6667501" cy="1564628"/>
          </a:xfrm>
        </p:grpSpPr>
        <p:sp>
          <p:nvSpPr>
            <p:cNvPr id="174" name="Rectangle 173"/>
            <p:cNvSpPr/>
            <p:nvPr/>
          </p:nvSpPr>
          <p:spPr>
            <a:xfrm>
              <a:off x="3032143" y="4474328"/>
              <a:ext cx="6667500" cy="1564628"/>
            </a:xfrm>
            <a:prstGeom prst="rect">
              <a:avLst/>
            </a:prstGeom>
            <a:solidFill>
              <a:srgbClr val="DC3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82880" bIns="91440" rtlCol="0" anchor="t"/>
            <a:lstStyle/>
            <a:p>
              <a:r>
                <a:rPr lang="en-US" sz="2800" dirty="0" smtClean="0">
                  <a:latin typeface="Segoe UI Light" panose="020B0502040204020203" pitchFamily="34" charset="0"/>
                  <a:cs typeface="Segoe UI Light" panose="020B0502040204020203" pitchFamily="34" charset="0"/>
                </a:rPr>
                <a:t>Tips &amp; Tricks</a:t>
              </a:r>
            </a:p>
          </p:txBody>
        </p:sp>
        <p:pic>
          <p:nvPicPr>
            <p:cNvPr id="173" name="Picture 172" descr="cid:image007.jpg@01D0AF49.2A5DFB20"/>
            <p:cNvPicPr/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380" r="15489"/>
            <a:stretch/>
          </p:blipFill>
          <p:spPr bwMode="auto">
            <a:xfrm>
              <a:off x="5196288" y="4474328"/>
              <a:ext cx="4503356" cy="1564628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77" name="Rectangle 176"/>
            <p:cNvSpPr/>
            <p:nvPr/>
          </p:nvSpPr>
          <p:spPr>
            <a:xfrm>
              <a:off x="3077863" y="5144883"/>
              <a:ext cx="1721240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>
                  <a:solidFill>
                    <a:srgbClr val="FFFFFF"/>
                  </a:solidFill>
                  <a:latin typeface="Segoe UI Light" panose="020B05020402040202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for the Modern </a:t>
              </a:r>
              <a:endParaRPr lang="en-US" dirty="0" smtClean="0">
                <a:solidFill>
                  <a:srgbClr val="FFFFFF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r>
                <a:rPr lang="en-US" dirty="0" smtClean="0">
                  <a:solidFill>
                    <a:srgbClr val="FFFFFF"/>
                  </a:solidFill>
                  <a:latin typeface="Segoe UI Light" panose="020B05020402040202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Workplace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51505527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175658" y="702129"/>
            <a:ext cx="2533650" cy="1895475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10000">
                <a:schemeClr val="tx1"/>
              </a:gs>
              <a:gs pos="100000">
                <a:srgbClr val="008080"/>
              </a:gs>
            </a:gsLst>
            <a:path path="circle">
              <a:fillToRect l="50000" t="-80000" r="50000" b="18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dirty="0" smtClean="0">
                <a:latin typeface="Segoe UI" panose="020B0502040204020203" pitchFamily="34" charset="0"/>
                <a:cs typeface="Segoe UI" panose="020B0502040204020203" pitchFamily="34" charset="0"/>
              </a:rPr>
              <a:t>Partner Network TV</a:t>
            </a:r>
            <a:endParaRPr lang="en-US" sz="40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175658" y="3222172"/>
            <a:ext cx="2533650" cy="1895475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10000">
                <a:schemeClr val="tx1"/>
              </a:gs>
              <a:gs pos="100000">
                <a:schemeClr val="accent2"/>
              </a:gs>
            </a:gsLst>
            <a:path path="circle">
              <a:fillToRect l="50000" t="-80000" r="50000" b="18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dirty="0" smtClean="0">
                <a:latin typeface="Segoe UI" panose="020B0502040204020203" pitchFamily="34" charset="0"/>
                <a:cs typeface="Segoe UI" panose="020B0502040204020203" pitchFamily="34" charset="0"/>
              </a:rPr>
              <a:t>SMB TV</a:t>
            </a:r>
            <a:endParaRPr lang="en-US" sz="40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430487" y="1023257"/>
            <a:ext cx="2533650" cy="1895475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10000">
                <a:schemeClr val="tx1"/>
              </a:gs>
              <a:gs pos="100000">
                <a:srgbClr val="5C2D91"/>
              </a:gs>
            </a:gsLst>
            <a:path path="circle">
              <a:fillToRect l="50000" t="-80000" r="50000" b="18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dirty="0" smtClean="0">
                <a:latin typeface="Segoe UI" panose="020B0502040204020203" pitchFamily="34" charset="0"/>
                <a:cs typeface="Segoe UI" panose="020B0502040204020203" pitchFamily="34" charset="0"/>
              </a:rPr>
              <a:t>Other </a:t>
            </a:r>
          </a:p>
          <a:p>
            <a:pPr algn="ctr"/>
            <a:r>
              <a:rPr lang="en-US" sz="4000" dirty="0" smtClean="0">
                <a:latin typeface="Segoe UI" panose="020B0502040204020203" pitchFamily="34" charset="0"/>
                <a:cs typeface="Segoe UI" panose="020B0502040204020203" pitchFamily="34" charset="0"/>
              </a:rPr>
              <a:t>Content</a:t>
            </a:r>
            <a:endParaRPr lang="en-US" sz="40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424448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Rectangle 113"/>
          <p:cNvSpPr/>
          <p:nvPr/>
        </p:nvSpPr>
        <p:spPr>
          <a:xfrm>
            <a:off x="4539429" y="4288659"/>
            <a:ext cx="6667500" cy="1564628"/>
          </a:xfrm>
          <a:prstGeom prst="rect">
            <a:avLst/>
          </a:prstGeom>
          <a:solidFill>
            <a:srgbClr val="0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bIns="91440" rtlCol="0" anchor="t"/>
          <a:lstStyle/>
          <a:p>
            <a:r>
              <a:rPr lang="en-US" sz="2800" dirty="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Grow Your </a:t>
            </a:r>
          </a:p>
          <a:p>
            <a:r>
              <a:rPr lang="en-US" sz="2800" dirty="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Business</a:t>
            </a:r>
          </a:p>
          <a:p>
            <a:r>
              <a:rPr lang="en-US" sz="2800" dirty="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Series</a:t>
            </a:r>
          </a:p>
        </p:txBody>
      </p:sp>
      <p:pic>
        <p:nvPicPr>
          <p:cNvPr id="120" name="Picture 11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60" t="3639" r="5861" b="49583"/>
          <a:stretch/>
        </p:blipFill>
        <p:spPr>
          <a:xfrm>
            <a:off x="6703573" y="4288659"/>
            <a:ext cx="4503356" cy="1564628"/>
          </a:xfrm>
          <a:prstGeom prst="rect">
            <a:avLst/>
          </a:prstGeom>
        </p:spPr>
      </p:pic>
      <p:grpSp>
        <p:nvGrpSpPr>
          <p:cNvPr id="123" name="Group 122"/>
          <p:cNvGrpSpPr/>
          <p:nvPr/>
        </p:nvGrpSpPr>
        <p:grpSpPr>
          <a:xfrm>
            <a:off x="306915" y="2530985"/>
            <a:ext cx="6662928" cy="1566672"/>
            <a:chOff x="938880" y="3505323"/>
            <a:chExt cx="6662928" cy="1566672"/>
          </a:xfrm>
        </p:grpSpPr>
        <p:pic>
          <p:nvPicPr>
            <p:cNvPr id="121" name="Picture 120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880" y="3505323"/>
              <a:ext cx="6662928" cy="1566672"/>
            </a:xfrm>
            <a:prstGeom prst="rect">
              <a:avLst/>
            </a:prstGeom>
          </p:spPr>
        </p:pic>
        <p:pic>
          <p:nvPicPr>
            <p:cNvPr id="122" name="Picture 121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083604" y="3608228"/>
              <a:ext cx="546101" cy="414345"/>
            </a:xfrm>
            <a:prstGeom prst="rect">
              <a:avLst/>
            </a:prstGeom>
          </p:spPr>
        </p:pic>
      </p:grpSp>
      <p:grpSp>
        <p:nvGrpSpPr>
          <p:cNvPr id="136" name="Group 135"/>
          <p:cNvGrpSpPr/>
          <p:nvPr/>
        </p:nvGrpSpPr>
        <p:grpSpPr>
          <a:xfrm>
            <a:off x="5276106" y="722977"/>
            <a:ext cx="6667500" cy="1564628"/>
            <a:chOff x="5276106" y="722977"/>
            <a:chExt cx="6667500" cy="1564628"/>
          </a:xfrm>
        </p:grpSpPr>
        <p:grpSp>
          <p:nvGrpSpPr>
            <p:cNvPr id="112" name="Group 111"/>
            <p:cNvGrpSpPr/>
            <p:nvPr/>
          </p:nvGrpSpPr>
          <p:grpSpPr>
            <a:xfrm>
              <a:off x="5276106" y="722977"/>
              <a:ext cx="6667500" cy="1564628"/>
              <a:chOff x="4606635" y="1897273"/>
              <a:chExt cx="6667500" cy="1564628"/>
            </a:xfrm>
          </p:grpSpPr>
          <p:grpSp>
            <p:nvGrpSpPr>
              <p:cNvPr id="108" name="Group 107"/>
              <p:cNvGrpSpPr/>
              <p:nvPr/>
            </p:nvGrpSpPr>
            <p:grpSpPr>
              <a:xfrm>
                <a:off x="4606635" y="1897273"/>
                <a:ext cx="6667500" cy="1564628"/>
                <a:chOff x="4606635" y="1897273"/>
                <a:chExt cx="6667500" cy="1564628"/>
              </a:xfrm>
            </p:grpSpPr>
            <p:sp>
              <p:nvSpPr>
                <p:cNvPr id="8" name="Rectangle 7"/>
                <p:cNvSpPr/>
                <p:nvPr/>
              </p:nvSpPr>
              <p:spPr>
                <a:xfrm>
                  <a:off x="4606635" y="1897273"/>
                  <a:ext cx="6667500" cy="1564628"/>
                </a:xfrm>
                <a:prstGeom prst="rect">
                  <a:avLst/>
                </a:prstGeom>
                <a:solidFill>
                  <a:srgbClr val="5F298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bIns="91440" rtlCol="0" anchor="b"/>
                <a:lstStyle/>
                <a:p>
                  <a:r>
                    <a:rPr lang="en-US" sz="1400" dirty="0" smtClean="0"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Microsoft Virtual Event Series</a:t>
                  </a:r>
                </a:p>
                <a:p>
                  <a:r>
                    <a:rPr lang="en-US" sz="2000" dirty="0" smtClean="0"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The Trusted Cloud</a:t>
                  </a:r>
                  <a:endParaRPr lang="en-US" sz="2000" dirty="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9" name="Rectangle 8"/>
                <p:cNvSpPr/>
                <p:nvPr/>
              </p:nvSpPr>
              <p:spPr>
                <a:xfrm>
                  <a:off x="4606636" y="1897273"/>
                  <a:ext cx="1069298" cy="894073"/>
                </a:xfrm>
                <a:prstGeom prst="rect">
                  <a:avLst/>
                </a:prstGeom>
                <a:solidFill>
                  <a:srgbClr val="0070C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/>
                <a:lstStyle/>
                <a:p>
                  <a:r>
                    <a:rPr lang="en-US" sz="1200" dirty="0" smtClean="0">
                      <a:latin typeface="Segoe UI" panose="020B0502040204020203" pitchFamily="34" charset="0"/>
                      <a:cs typeface="Segoe UI" panose="020B0502040204020203" pitchFamily="34" charset="0"/>
                    </a:rPr>
                    <a:t>Microsoft Technology Centers</a:t>
                  </a:r>
                </a:p>
              </p:txBody>
            </p:sp>
            <p:sp>
              <p:nvSpPr>
                <p:cNvPr id="10" name="TextBox 9"/>
                <p:cNvSpPr txBox="1"/>
                <p:nvPr/>
              </p:nvSpPr>
              <p:spPr>
                <a:xfrm>
                  <a:off x="5657321" y="1976659"/>
                  <a:ext cx="1730084" cy="47397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2400" dirty="0" smtClean="0">
                      <a:solidFill>
                        <a:schemeClr val="bg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Studios</a:t>
                  </a:r>
                  <a:endParaRPr lang="en-US" sz="2400" dirty="0">
                    <a:solidFill>
                      <a:schemeClr val="bg1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  <p:pic>
            <p:nvPicPr>
              <p:cNvPr id="107" name="Picture 106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6753224" y="1992305"/>
                <a:ext cx="546101" cy="414345"/>
              </a:xfrm>
              <a:prstGeom prst="rect">
                <a:avLst/>
              </a:prstGeom>
            </p:spPr>
          </p:pic>
        </p:grpSp>
        <p:grpSp>
          <p:nvGrpSpPr>
            <p:cNvPr id="135" name="Group 134"/>
            <p:cNvGrpSpPr/>
            <p:nvPr/>
          </p:nvGrpSpPr>
          <p:grpSpPr>
            <a:xfrm>
              <a:off x="9338187" y="892603"/>
              <a:ext cx="2333114" cy="1237901"/>
              <a:chOff x="9443751" y="1088170"/>
              <a:chExt cx="1935449" cy="1026908"/>
            </a:xfrm>
          </p:grpSpPr>
          <p:pic>
            <p:nvPicPr>
              <p:cNvPr id="126" name="Picture 125"/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9515916" y="1088170"/>
                <a:ext cx="1791118" cy="1026908"/>
              </a:xfrm>
              <a:prstGeom prst="rect">
                <a:avLst/>
              </a:prstGeom>
            </p:spPr>
          </p:pic>
          <p:pic>
            <p:nvPicPr>
              <p:cNvPr id="125" name="Picture 124"/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9443751" y="1700707"/>
                <a:ext cx="1935449" cy="270692"/>
              </a:xfrm>
              <a:prstGeom prst="rect">
                <a:avLst/>
              </a:prstGeom>
            </p:spPr>
          </p:pic>
          <p:grpSp>
            <p:nvGrpSpPr>
              <p:cNvPr id="128" name="Group 4"/>
              <p:cNvGrpSpPr>
                <a:grpSpLocks noChangeAspect="1"/>
              </p:cNvGrpSpPr>
              <p:nvPr/>
            </p:nvGrpSpPr>
            <p:grpSpPr bwMode="auto">
              <a:xfrm>
                <a:off x="10238270" y="1117720"/>
                <a:ext cx="346945" cy="564455"/>
                <a:chOff x="2747" y="2764"/>
                <a:chExt cx="453" cy="737"/>
              </a:xfrm>
            </p:grpSpPr>
            <p:sp>
              <p:nvSpPr>
                <p:cNvPr id="130" name="Freeform 5"/>
                <p:cNvSpPr>
                  <a:spLocks/>
                </p:cNvSpPr>
                <p:nvPr/>
              </p:nvSpPr>
              <p:spPr bwMode="auto">
                <a:xfrm>
                  <a:off x="2834" y="2764"/>
                  <a:ext cx="280" cy="321"/>
                </a:xfrm>
                <a:custGeom>
                  <a:avLst/>
                  <a:gdLst>
                    <a:gd name="T0" fmla="*/ 200 w 200"/>
                    <a:gd name="T1" fmla="*/ 229 h 229"/>
                    <a:gd name="T2" fmla="*/ 156 w 200"/>
                    <a:gd name="T3" fmla="*/ 229 h 229"/>
                    <a:gd name="T4" fmla="*/ 156 w 200"/>
                    <a:gd name="T5" fmla="*/ 100 h 229"/>
                    <a:gd name="T6" fmla="*/ 100 w 200"/>
                    <a:gd name="T7" fmla="*/ 44 h 229"/>
                    <a:gd name="T8" fmla="*/ 44 w 200"/>
                    <a:gd name="T9" fmla="*/ 100 h 229"/>
                    <a:gd name="T10" fmla="*/ 44 w 200"/>
                    <a:gd name="T11" fmla="*/ 229 h 229"/>
                    <a:gd name="T12" fmla="*/ 0 w 200"/>
                    <a:gd name="T13" fmla="*/ 229 h 229"/>
                    <a:gd name="T14" fmla="*/ 0 w 200"/>
                    <a:gd name="T15" fmla="*/ 100 h 229"/>
                    <a:gd name="T16" fmla="*/ 100 w 200"/>
                    <a:gd name="T17" fmla="*/ 0 h 229"/>
                    <a:gd name="T18" fmla="*/ 200 w 200"/>
                    <a:gd name="T19" fmla="*/ 100 h 229"/>
                    <a:gd name="T20" fmla="*/ 200 w 200"/>
                    <a:gd name="T21" fmla="*/ 229 h 2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00" h="229">
                      <a:moveTo>
                        <a:pt x="200" y="229"/>
                      </a:moveTo>
                      <a:cubicBezTo>
                        <a:pt x="156" y="229"/>
                        <a:pt x="156" y="229"/>
                        <a:pt x="156" y="229"/>
                      </a:cubicBezTo>
                      <a:cubicBezTo>
                        <a:pt x="156" y="100"/>
                        <a:pt x="156" y="100"/>
                        <a:pt x="156" y="100"/>
                      </a:cubicBezTo>
                      <a:cubicBezTo>
                        <a:pt x="156" y="69"/>
                        <a:pt x="131" y="44"/>
                        <a:pt x="100" y="44"/>
                      </a:cubicBezTo>
                      <a:cubicBezTo>
                        <a:pt x="69" y="44"/>
                        <a:pt x="44" y="69"/>
                        <a:pt x="44" y="100"/>
                      </a:cubicBezTo>
                      <a:cubicBezTo>
                        <a:pt x="44" y="229"/>
                        <a:pt x="44" y="229"/>
                        <a:pt x="44" y="229"/>
                      </a:cubicBezTo>
                      <a:cubicBezTo>
                        <a:pt x="0" y="229"/>
                        <a:pt x="0" y="229"/>
                        <a:pt x="0" y="229"/>
                      </a:cubicBezTo>
                      <a:cubicBezTo>
                        <a:pt x="0" y="100"/>
                        <a:pt x="0" y="100"/>
                        <a:pt x="0" y="100"/>
                      </a:cubicBezTo>
                      <a:cubicBezTo>
                        <a:pt x="0" y="45"/>
                        <a:pt x="45" y="0"/>
                        <a:pt x="100" y="0"/>
                      </a:cubicBezTo>
                      <a:cubicBezTo>
                        <a:pt x="155" y="0"/>
                        <a:pt x="200" y="45"/>
                        <a:pt x="200" y="100"/>
                      </a:cubicBezTo>
                      <a:lnTo>
                        <a:pt x="200" y="229"/>
                      </a:lnTo>
                      <a:close/>
                    </a:path>
                  </a:pathLst>
                </a:custGeom>
                <a:solidFill>
                  <a:srgbClr val="EB3C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1" name="Rectangle 6"/>
                <p:cNvSpPr>
                  <a:spLocks noChangeArrowheads="1"/>
                </p:cNvSpPr>
                <p:nvPr/>
              </p:nvSpPr>
              <p:spPr bwMode="auto">
                <a:xfrm>
                  <a:off x="2747" y="3074"/>
                  <a:ext cx="453" cy="427"/>
                </a:xfrm>
                <a:prstGeom prst="rect">
                  <a:avLst/>
                </a:prstGeom>
                <a:solidFill>
                  <a:srgbClr val="FFB9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2" name="Rectangle 7"/>
                <p:cNvSpPr>
                  <a:spLocks noChangeArrowheads="1"/>
                </p:cNvSpPr>
                <p:nvPr/>
              </p:nvSpPr>
              <p:spPr bwMode="auto">
                <a:xfrm>
                  <a:off x="2747" y="3074"/>
                  <a:ext cx="117" cy="427"/>
                </a:xfrm>
                <a:prstGeom prst="rect">
                  <a:avLst/>
                </a:prstGeom>
                <a:solidFill>
                  <a:srgbClr val="FF8C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3" name="Freeform 8"/>
                <p:cNvSpPr>
                  <a:spLocks/>
                </p:cNvSpPr>
                <p:nvPr/>
              </p:nvSpPr>
              <p:spPr bwMode="auto">
                <a:xfrm>
                  <a:off x="2927" y="3211"/>
                  <a:ext cx="93" cy="162"/>
                </a:xfrm>
                <a:custGeom>
                  <a:avLst/>
                  <a:gdLst>
                    <a:gd name="T0" fmla="*/ 66 w 66"/>
                    <a:gd name="T1" fmla="*/ 33 h 116"/>
                    <a:gd name="T2" fmla="*/ 33 w 66"/>
                    <a:gd name="T3" fmla="*/ 0 h 116"/>
                    <a:gd name="T4" fmla="*/ 0 w 66"/>
                    <a:gd name="T5" fmla="*/ 33 h 116"/>
                    <a:gd name="T6" fmla="*/ 22 w 66"/>
                    <a:gd name="T7" fmla="*/ 64 h 116"/>
                    <a:gd name="T8" fmla="*/ 22 w 66"/>
                    <a:gd name="T9" fmla="*/ 116 h 116"/>
                    <a:gd name="T10" fmla="*/ 44 w 66"/>
                    <a:gd name="T11" fmla="*/ 116 h 116"/>
                    <a:gd name="T12" fmla="*/ 44 w 66"/>
                    <a:gd name="T13" fmla="*/ 64 h 116"/>
                    <a:gd name="T14" fmla="*/ 66 w 66"/>
                    <a:gd name="T15" fmla="*/ 33 h 1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6" h="116">
                      <a:moveTo>
                        <a:pt x="66" y="33"/>
                      </a:moveTo>
                      <a:cubicBezTo>
                        <a:pt x="66" y="15"/>
                        <a:pt x="51" y="0"/>
                        <a:pt x="33" y="0"/>
                      </a:cubicBezTo>
                      <a:cubicBezTo>
                        <a:pt x="15" y="0"/>
                        <a:pt x="0" y="15"/>
                        <a:pt x="0" y="33"/>
                      </a:cubicBezTo>
                      <a:cubicBezTo>
                        <a:pt x="0" y="47"/>
                        <a:pt x="9" y="60"/>
                        <a:pt x="22" y="64"/>
                      </a:cubicBezTo>
                      <a:cubicBezTo>
                        <a:pt x="22" y="116"/>
                        <a:pt x="22" y="116"/>
                        <a:pt x="22" y="116"/>
                      </a:cubicBezTo>
                      <a:cubicBezTo>
                        <a:pt x="44" y="116"/>
                        <a:pt x="44" y="116"/>
                        <a:pt x="44" y="116"/>
                      </a:cubicBezTo>
                      <a:cubicBezTo>
                        <a:pt x="44" y="64"/>
                        <a:pt x="44" y="64"/>
                        <a:pt x="44" y="64"/>
                      </a:cubicBezTo>
                      <a:cubicBezTo>
                        <a:pt x="57" y="60"/>
                        <a:pt x="66" y="47"/>
                        <a:pt x="66" y="3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139" name="Group 138"/>
          <p:cNvGrpSpPr/>
          <p:nvPr/>
        </p:nvGrpSpPr>
        <p:grpSpPr>
          <a:xfrm>
            <a:off x="319809" y="606535"/>
            <a:ext cx="6667500" cy="1568986"/>
            <a:chOff x="319809" y="606535"/>
            <a:chExt cx="6667500" cy="1568986"/>
          </a:xfrm>
        </p:grpSpPr>
        <p:sp>
          <p:nvSpPr>
            <p:cNvPr id="138" name="Rectangle 137"/>
            <p:cNvSpPr/>
            <p:nvPr/>
          </p:nvSpPr>
          <p:spPr>
            <a:xfrm>
              <a:off x="319809" y="610893"/>
              <a:ext cx="6667500" cy="1564628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82880" bIns="91440" rtlCol="0" anchor="t"/>
            <a:lstStyle/>
            <a:p>
              <a:r>
                <a:rPr lang="en-US" sz="2800" dirty="0" smtClean="0">
                  <a:latin typeface="Segoe UI Light" panose="020B0502040204020203" pitchFamily="34" charset="0"/>
                  <a:cs typeface="Segoe UI Light" panose="020B0502040204020203" pitchFamily="34" charset="0"/>
                </a:rPr>
                <a:t>Webcasts for</a:t>
              </a:r>
            </a:p>
            <a:p>
              <a:r>
                <a:rPr lang="en-US" sz="2800" dirty="0" smtClean="0">
                  <a:latin typeface="Segoe UI Light" panose="020B0502040204020203" pitchFamily="34" charset="0"/>
                  <a:cs typeface="Segoe UI Light" panose="020B0502040204020203" pitchFamily="34" charset="0"/>
                </a:rPr>
                <a:t>Education</a:t>
              </a:r>
            </a:p>
          </p:txBody>
        </p:sp>
        <p:pic>
          <p:nvPicPr>
            <p:cNvPr id="137" name="Picture 136"/>
            <p:cNvPicPr/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589"/>
            <a:stretch/>
          </p:blipFill>
          <p:spPr bwMode="auto">
            <a:xfrm>
              <a:off x="2451639" y="606535"/>
              <a:ext cx="4535670" cy="1568986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128252534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8013" y="391860"/>
            <a:ext cx="5715000" cy="2857500"/>
          </a:xfrm>
          <a:prstGeom prst="rect">
            <a:avLst/>
          </a:prstGeom>
        </p:spPr>
      </p:pic>
      <p:grpSp>
        <p:nvGrpSpPr>
          <p:cNvPr id="9" name="Group 8"/>
          <p:cNvGrpSpPr/>
          <p:nvPr/>
        </p:nvGrpSpPr>
        <p:grpSpPr>
          <a:xfrm>
            <a:off x="3924190" y="251955"/>
            <a:ext cx="7364186" cy="3014672"/>
            <a:chOff x="3918598" y="3004454"/>
            <a:chExt cx="7364186" cy="3014672"/>
          </a:xfrm>
        </p:grpSpPr>
        <p:grpSp>
          <p:nvGrpSpPr>
            <p:cNvPr id="7" name="Group 6"/>
            <p:cNvGrpSpPr/>
            <p:nvPr/>
          </p:nvGrpSpPr>
          <p:grpSpPr>
            <a:xfrm>
              <a:off x="3918598" y="3004457"/>
              <a:ext cx="7364186" cy="3014669"/>
              <a:chOff x="5727114" y="2638879"/>
              <a:chExt cx="5715000" cy="2339544"/>
            </a:xfrm>
          </p:grpSpPr>
          <p:sp>
            <p:nvSpPr>
              <p:cNvPr id="4" name="Rectangle 3"/>
              <p:cNvSpPr/>
              <p:nvPr/>
            </p:nvSpPr>
            <p:spPr>
              <a:xfrm>
                <a:off x="5727114" y="2638879"/>
                <a:ext cx="5715000" cy="2339544"/>
              </a:xfrm>
              <a:prstGeom prst="rect">
                <a:avLst/>
              </a:prstGeom>
              <a:solidFill>
                <a:srgbClr val="28282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5" name="Rectangle 4"/>
              <p:cNvSpPr/>
              <p:nvPr/>
            </p:nvSpPr>
            <p:spPr>
              <a:xfrm>
                <a:off x="5727114" y="2638879"/>
                <a:ext cx="2603045" cy="2339544"/>
              </a:xfrm>
              <a:prstGeom prst="rect">
                <a:avLst/>
              </a:prstGeom>
              <a:solidFill>
                <a:srgbClr val="28282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marL="91440"/>
                <a:endParaRPr lang="en-US" sz="2000" dirty="0" smtClean="0">
                  <a:latin typeface="Segoe UI Semibold" panose="020B0702040204020203" pitchFamily="34" charset="0"/>
                  <a:cs typeface="Segoe UI Semibold" panose="020B0702040204020203" pitchFamily="34" charset="0"/>
                </a:endParaRPr>
              </a:p>
              <a:p>
                <a:pPr marL="91440"/>
                <a:r>
                  <a:rPr lang="en-US" sz="2400" dirty="0" smtClean="0"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Assess Your Tech and Licensing Needs with Resources from Microsoft</a:t>
                </a:r>
                <a:endParaRPr lang="en-US" sz="2400" dirty="0">
                  <a:latin typeface="Segoe UI Semibold" panose="020B0702040204020203" pitchFamily="34" charset="0"/>
                  <a:cs typeface="Segoe UI Semibold" panose="020B0702040204020203" pitchFamily="34" charset="0"/>
                </a:endParaRPr>
              </a:p>
            </p:txBody>
          </p:sp>
          <p:sp>
            <p:nvSpPr>
              <p:cNvPr id="6" name="Rounded Rectangle 5"/>
              <p:cNvSpPr/>
              <p:nvPr/>
            </p:nvSpPr>
            <p:spPr>
              <a:xfrm>
                <a:off x="6217558" y="4307886"/>
                <a:ext cx="1436914" cy="391886"/>
              </a:xfrm>
              <a:prstGeom prst="roundRect">
                <a:avLst/>
              </a:prstGeom>
              <a:solidFill>
                <a:srgbClr val="99CC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 b="1" dirty="0" smtClean="0">
                    <a:solidFill>
                      <a:srgbClr val="282828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Register Now</a:t>
                </a:r>
                <a:endParaRPr lang="en-US" sz="1600" b="1" dirty="0">
                  <a:solidFill>
                    <a:srgbClr val="282828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260" r="5861"/>
            <a:stretch/>
          </p:blipFill>
          <p:spPr>
            <a:xfrm>
              <a:off x="7272808" y="3004454"/>
              <a:ext cx="4009976" cy="2999232"/>
            </a:xfrm>
            <a:prstGeom prst="rect">
              <a:avLst/>
            </a:prstGeom>
          </p:spPr>
        </p:pic>
      </p:grpSp>
      <p:grpSp>
        <p:nvGrpSpPr>
          <p:cNvPr id="496" name="Group 495"/>
          <p:cNvGrpSpPr/>
          <p:nvPr/>
        </p:nvGrpSpPr>
        <p:grpSpPr>
          <a:xfrm>
            <a:off x="3219351" y="3887791"/>
            <a:ext cx="7364185" cy="2588585"/>
            <a:chOff x="3219351" y="3887791"/>
            <a:chExt cx="7364185" cy="2588585"/>
          </a:xfrm>
        </p:grpSpPr>
        <p:grpSp>
          <p:nvGrpSpPr>
            <p:cNvPr id="491" name="Group 490"/>
            <p:cNvGrpSpPr/>
            <p:nvPr/>
          </p:nvGrpSpPr>
          <p:grpSpPr>
            <a:xfrm>
              <a:off x="3219351" y="3887791"/>
              <a:ext cx="7364185" cy="2588585"/>
              <a:chOff x="3219351" y="3887791"/>
              <a:chExt cx="7364185" cy="2588585"/>
            </a:xfrm>
          </p:grpSpPr>
          <p:sp>
            <p:nvSpPr>
              <p:cNvPr id="490" name="Rectangle 489"/>
              <p:cNvSpPr/>
              <p:nvPr/>
            </p:nvSpPr>
            <p:spPr>
              <a:xfrm>
                <a:off x="5628242" y="3887791"/>
                <a:ext cx="4955294" cy="2588584"/>
              </a:xfrm>
              <a:prstGeom prst="rect">
                <a:avLst/>
              </a:prstGeom>
              <a:solidFill>
                <a:srgbClr val="44235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1"/>
                <a:r>
                  <a:rPr lang="en-US" sz="3600" b="1" dirty="0">
                    <a:solidFill>
                      <a:schemeClr val="bg1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Opportunity abounds in server licensing.</a:t>
                </a:r>
              </a:p>
            </p:txBody>
          </p:sp>
          <p:grpSp>
            <p:nvGrpSpPr>
              <p:cNvPr id="11" name="Group 10"/>
              <p:cNvGrpSpPr/>
              <p:nvPr/>
            </p:nvGrpSpPr>
            <p:grpSpPr>
              <a:xfrm>
                <a:off x="3219351" y="3887792"/>
                <a:ext cx="2593823" cy="2588584"/>
                <a:chOff x="9671504" y="3749280"/>
                <a:chExt cx="2593823" cy="2588584"/>
              </a:xfrm>
            </p:grpSpPr>
            <p:sp>
              <p:nvSpPr>
                <p:cNvPr id="12" name="Rectangle 11"/>
                <p:cNvSpPr/>
                <p:nvPr/>
              </p:nvSpPr>
              <p:spPr>
                <a:xfrm>
                  <a:off x="9671504" y="3749280"/>
                  <a:ext cx="2593823" cy="2588584"/>
                </a:xfrm>
                <a:prstGeom prst="rect">
                  <a:avLst/>
                </a:prstGeom>
                <a:solidFill>
                  <a:srgbClr val="44235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182880">
                    <a:lnSpc>
                      <a:spcPct val="150000"/>
                    </a:lnSpc>
                  </a:pPr>
                  <a:endParaRPr lang="en-US" sz="2000" dirty="0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grpSp>
              <p:nvGrpSpPr>
                <p:cNvPr id="13" name="Group 12"/>
                <p:cNvGrpSpPr/>
                <p:nvPr/>
              </p:nvGrpSpPr>
              <p:grpSpPr>
                <a:xfrm>
                  <a:off x="9801903" y="3835087"/>
                  <a:ext cx="2317533" cy="2391675"/>
                  <a:chOff x="7842076" y="3694301"/>
                  <a:chExt cx="2317533" cy="2391675"/>
                </a:xfrm>
              </p:grpSpPr>
              <p:sp>
                <p:nvSpPr>
                  <p:cNvPr id="14" name="Rectangle 31"/>
                  <p:cNvSpPr>
                    <a:spLocks noChangeArrowheads="1"/>
                  </p:cNvSpPr>
                  <p:nvPr/>
                </p:nvSpPr>
                <p:spPr bwMode="auto">
                  <a:xfrm>
                    <a:off x="7842076" y="4902785"/>
                    <a:ext cx="547780" cy="1183190"/>
                  </a:xfrm>
                  <a:prstGeom prst="rect">
                    <a:avLst/>
                  </a:pr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5" name="Rectangle 32"/>
                  <p:cNvSpPr>
                    <a:spLocks noChangeArrowheads="1"/>
                  </p:cNvSpPr>
                  <p:nvPr/>
                </p:nvSpPr>
                <p:spPr bwMode="auto">
                  <a:xfrm>
                    <a:off x="7985724" y="4502008"/>
                    <a:ext cx="674192" cy="1583967"/>
                  </a:xfrm>
                  <a:prstGeom prst="rect">
                    <a:avLst/>
                  </a:pr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6" name="Rectangle 33"/>
                  <p:cNvSpPr>
                    <a:spLocks noChangeArrowheads="1"/>
                  </p:cNvSpPr>
                  <p:nvPr/>
                </p:nvSpPr>
                <p:spPr bwMode="auto">
                  <a:xfrm>
                    <a:off x="8516267" y="4729931"/>
                    <a:ext cx="1643342" cy="1356045"/>
                  </a:xfrm>
                  <a:prstGeom prst="rect">
                    <a:avLst/>
                  </a:pr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7" name="Rectangle 34"/>
                  <p:cNvSpPr>
                    <a:spLocks noChangeArrowheads="1"/>
                  </p:cNvSpPr>
                  <p:nvPr/>
                </p:nvSpPr>
                <p:spPr bwMode="auto">
                  <a:xfrm>
                    <a:off x="7922097" y="5050633"/>
                    <a:ext cx="494419" cy="1035343"/>
                  </a:xfrm>
                  <a:prstGeom prst="rect">
                    <a:avLst/>
                  </a:prstGeom>
                  <a:solidFill>
                    <a:srgbClr val="68217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8" name="Rectangle 35"/>
                  <p:cNvSpPr>
                    <a:spLocks noChangeArrowheads="1"/>
                  </p:cNvSpPr>
                  <p:nvPr/>
                </p:nvSpPr>
                <p:spPr bwMode="auto">
                  <a:xfrm>
                    <a:off x="7966153" y="5102032"/>
                    <a:ext cx="401410" cy="898276"/>
                  </a:xfrm>
                  <a:prstGeom prst="rect">
                    <a:avLst/>
                  </a:prstGeom>
                  <a:solidFill>
                    <a:srgbClr val="96969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9" name="Rectangle 36"/>
                  <p:cNvSpPr>
                    <a:spLocks noChangeArrowheads="1"/>
                  </p:cNvSpPr>
                  <p:nvPr/>
                </p:nvSpPr>
                <p:spPr bwMode="auto">
                  <a:xfrm>
                    <a:off x="7990631" y="5131405"/>
                    <a:ext cx="357352" cy="90563"/>
                  </a:xfrm>
                  <a:prstGeom prst="rect">
                    <a:avLst/>
                  </a:pr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0" name="Rectangle 37"/>
                  <p:cNvSpPr>
                    <a:spLocks noChangeArrowheads="1"/>
                  </p:cNvSpPr>
                  <p:nvPr/>
                </p:nvSpPr>
                <p:spPr bwMode="auto">
                  <a:xfrm>
                    <a:off x="8005314" y="5143641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1" name="Rectangle 38"/>
                  <p:cNvSpPr>
                    <a:spLocks noChangeArrowheads="1"/>
                  </p:cNvSpPr>
                  <p:nvPr/>
                </p:nvSpPr>
                <p:spPr bwMode="auto">
                  <a:xfrm>
                    <a:off x="8024896" y="5143641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2" name="Rectangle 39"/>
                  <p:cNvSpPr>
                    <a:spLocks noChangeArrowheads="1"/>
                  </p:cNvSpPr>
                  <p:nvPr/>
                </p:nvSpPr>
                <p:spPr bwMode="auto">
                  <a:xfrm>
                    <a:off x="8044477" y="5143641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3" name="Rectangle 40"/>
                  <p:cNvSpPr>
                    <a:spLocks noChangeArrowheads="1"/>
                  </p:cNvSpPr>
                  <p:nvPr/>
                </p:nvSpPr>
                <p:spPr bwMode="auto">
                  <a:xfrm>
                    <a:off x="8066506" y="5143641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4" name="Rectangle 41"/>
                  <p:cNvSpPr>
                    <a:spLocks noChangeArrowheads="1"/>
                  </p:cNvSpPr>
                  <p:nvPr/>
                </p:nvSpPr>
                <p:spPr bwMode="auto">
                  <a:xfrm>
                    <a:off x="8086087" y="5143641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5" name="Rectangle 42"/>
                  <p:cNvSpPr>
                    <a:spLocks noChangeArrowheads="1"/>
                  </p:cNvSpPr>
                  <p:nvPr/>
                </p:nvSpPr>
                <p:spPr bwMode="auto">
                  <a:xfrm>
                    <a:off x="8108115" y="5143641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6" name="Oval 43"/>
                  <p:cNvSpPr>
                    <a:spLocks noChangeArrowheads="1"/>
                  </p:cNvSpPr>
                  <p:nvPr/>
                </p:nvSpPr>
                <p:spPr bwMode="auto">
                  <a:xfrm>
                    <a:off x="8291687" y="5165671"/>
                    <a:ext cx="24475" cy="22029"/>
                  </a:xfrm>
                  <a:prstGeom prst="ellipse">
                    <a:avLst/>
                  </a:prstGeom>
                  <a:solidFill>
                    <a:srgbClr val="009E4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7" name="Rectangle 44"/>
                  <p:cNvSpPr>
                    <a:spLocks noChangeArrowheads="1"/>
                  </p:cNvSpPr>
                  <p:nvPr/>
                </p:nvSpPr>
                <p:spPr bwMode="auto">
                  <a:xfrm>
                    <a:off x="7990631" y="5246442"/>
                    <a:ext cx="357352" cy="93009"/>
                  </a:xfrm>
                  <a:prstGeom prst="rect">
                    <a:avLst/>
                  </a:pr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8" name="Rectangle 45"/>
                  <p:cNvSpPr>
                    <a:spLocks noChangeArrowheads="1"/>
                  </p:cNvSpPr>
                  <p:nvPr/>
                </p:nvSpPr>
                <p:spPr bwMode="auto">
                  <a:xfrm>
                    <a:off x="8005314" y="5261126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9" name="Rectangle 46"/>
                  <p:cNvSpPr>
                    <a:spLocks noChangeArrowheads="1"/>
                  </p:cNvSpPr>
                  <p:nvPr/>
                </p:nvSpPr>
                <p:spPr bwMode="auto">
                  <a:xfrm>
                    <a:off x="8024896" y="5261126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0" name="Rectangle 47"/>
                  <p:cNvSpPr>
                    <a:spLocks noChangeArrowheads="1"/>
                  </p:cNvSpPr>
                  <p:nvPr/>
                </p:nvSpPr>
                <p:spPr bwMode="auto">
                  <a:xfrm>
                    <a:off x="8044477" y="5261126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1" name="Rectangle 48"/>
                  <p:cNvSpPr>
                    <a:spLocks noChangeArrowheads="1"/>
                  </p:cNvSpPr>
                  <p:nvPr/>
                </p:nvSpPr>
                <p:spPr bwMode="auto">
                  <a:xfrm>
                    <a:off x="8066506" y="5261126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2" name="Rectangle 49"/>
                  <p:cNvSpPr>
                    <a:spLocks noChangeArrowheads="1"/>
                  </p:cNvSpPr>
                  <p:nvPr/>
                </p:nvSpPr>
                <p:spPr bwMode="auto">
                  <a:xfrm>
                    <a:off x="8086087" y="5261126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3" name="Rectangle 50"/>
                  <p:cNvSpPr>
                    <a:spLocks noChangeArrowheads="1"/>
                  </p:cNvSpPr>
                  <p:nvPr/>
                </p:nvSpPr>
                <p:spPr bwMode="auto">
                  <a:xfrm>
                    <a:off x="8108115" y="5261126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4" name="Oval 51"/>
                  <p:cNvSpPr>
                    <a:spLocks noChangeArrowheads="1"/>
                  </p:cNvSpPr>
                  <p:nvPr/>
                </p:nvSpPr>
                <p:spPr bwMode="auto">
                  <a:xfrm>
                    <a:off x="8291687" y="5280709"/>
                    <a:ext cx="24475" cy="24475"/>
                  </a:xfrm>
                  <a:prstGeom prst="ellipse">
                    <a:avLst/>
                  </a:prstGeom>
                  <a:solidFill>
                    <a:srgbClr val="009E4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5" name="Rectangle 52"/>
                  <p:cNvSpPr>
                    <a:spLocks noChangeArrowheads="1"/>
                  </p:cNvSpPr>
                  <p:nvPr/>
                </p:nvSpPr>
                <p:spPr bwMode="auto">
                  <a:xfrm>
                    <a:off x="7990631" y="5363927"/>
                    <a:ext cx="357352" cy="93009"/>
                  </a:xfrm>
                  <a:prstGeom prst="rect">
                    <a:avLst/>
                  </a:pr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6" name="Rectangle 53"/>
                  <p:cNvSpPr>
                    <a:spLocks noChangeArrowheads="1"/>
                  </p:cNvSpPr>
                  <p:nvPr/>
                </p:nvSpPr>
                <p:spPr bwMode="auto">
                  <a:xfrm>
                    <a:off x="8005314" y="5376167"/>
                    <a:ext cx="9790" cy="63637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7" name="Rectangle 54"/>
                  <p:cNvSpPr>
                    <a:spLocks noChangeArrowheads="1"/>
                  </p:cNvSpPr>
                  <p:nvPr/>
                </p:nvSpPr>
                <p:spPr bwMode="auto">
                  <a:xfrm>
                    <a:off x="8024896" y="5376167"/>
                    <a:ext cx="9790" cy="63637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8" name="Rectangle 55"/>
                  <p:cNvSpPr>
                    <a:spLocks noChangeArrowheads="1"/>
                  </p:cNvSpPr>
                  <p:nvPr/>
                </p:nvSpPr>
                <p:spPr bwMode="auto">
                  <a:xfrm>
                    <a:off x="8044477" y="5376167"/>
                    <a:ext cx="12238" cy="63637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9" name="Rectangle 56"/>
                  <p:cNvSpPr>
                    <a:spLocks noChangeArrowheads="1"/>
                  </p:cNvSpPr>
                  <p:nvPr/>
                </p:nvSpPr>
                <p:spPr bwMode="auto">
                  <a:xfrm>
                    <a:off x="8066506" y="5376167"/>
                    <a:ext cx="9790" cy="63637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0" name="Rectangle 57"/>
                  <p:cNvSpPr>
                    <a:spLocks noChangeArrowheads="1"/>
                  </p:cNvSpPr>
                  <p:nvPr/>
                </p:nvSpPr>
                <p:spPr bwMode="auto">
                  <a:xfrm>
                    <a:off x="8086087" y="5376167"/>
                    <a:ext cx="9790" cy="63637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1" name="Rectangle 58"/>
                  <p:cNvSpPr>
                    <a:spLocks noChangeArrowheads="1"/>
                  </p:cNvSpPr>
                  <p:nvPr/>
                </p:nvSpPr>
                <p:spPr bwMode="auto">
                  <a:xfrm>
                    <a:off x="8108115" y="5376167"/>
                    <a:ext cx="9790" cy="63637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2" name="Oval 59"/>
                  <p:cNvSpPr>
                    <a:spLocks noChangeArrowheads="1"/>
                  </p:cNvSpPr>
                  <p:nvPr/>
                </p:nvSpPr>
                <p:spPr bwMode="auto">
                  <a:xfrm>
                    <a:off x="8291687" y="5398193"/>
                    <a:ext cx="24475" cy="24475"/>
                  </a:xfrm>
                  <a:prstGeom prst="ellipse">
                    <a:avLst/>
                  </a:prstGeom>
                  <a:solidFill>
                    <a:srgbClr val="009E4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3" name="Rectangle 60"/>
                  <p:cNvSpPr>
                    <a:spLocks noChangeArrowheads="1"/>
                  </p:cNvSpPr>
                  <p:nvPr/>
                </p:nvSpPr>
                <p:spPr bwMode="auto">
                  <a:xfrm>
                    <a:off x="7990631" y="5478965"/>
                    <a:ext cx="357352" cy="93009"/>
                  </a:xfrm>
                  <a:prstGeom prst="rect">
                    <a:avLst/>
                  </a:pr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4" name="Rectangle 61"/>
                  <p:cNvSpPr>
                    <a:spLocks noChangeArrowheads="1"/>
                  </p:cNvSpPr>
                  <p:nvPr/>
                </p:nvSpPr>
                <p:spPr bwMode="auto">
                  <a:xfrm>
                    <a:off x="8005314" y="5493652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5" name="Rectangle 62"/>
                  <p:cNvSpPr>
                    <a:spLocks noChangeArrowheads="1"/>
                  </p:cNvSpPr>
                  <p:nvPr/>
                </p:nvSpPr>
                <p:spPr bwMode="auto">
                  <a:xfrm>
                    <a:off x="8024896" y="5493652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6" name="Rectangle 63"/>
                  <p:cNvSpPr>
                    <a:spLocks noChangeArrowheads="1"/>
                  </p:cNvSpPr>
                  <p:nvPr/>
                </p:nvSpPr>
                <p:spPr bwMode="auto">
                  <a:xfrm>
                    <a:off x="8044477" y="5493652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7" name="Rectangle 64"/>
                  <p:cNvSpPr>
                    <a:spLocks noChangeArrowheads="1"/>
                  </p:cNvSpPr>
                  <p:nvPr/>
                </p:nvSpPr>
                <p:spPr bwMode="auto">
                  <a:xfrm>
                    <a:off x="8066506" y="5493652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8" name="Rectangle 65"/>
                  <p:cNvSpPr>
                    <a:spLocks noChangeArrowheads="1"/>
                  </p:cNvSpPr>
                  <p:nvPr/>
                </p:nvSpPr>
                <p:spPr bwMode="auto">
                  <a:xfrm>
                    <a:off x="8086087" y="5493652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9" name="Rectangle 66"/>
                  <p:cNvSpPr>
                    <a:spLocks noChangeArrowheads="1"/>
                  </p:cNvSpPr>
                  <p:nvPr/>
                </p:nvSpPr>
                <p:spPr bwMode="auto">
                  <a:xfrm>
                    <a:off x="8108115" y="5493652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50" name="Oval 67"/>
                  <p:cNvSpPr>
                    <a:spLocks noChangeArrowheads="1"/>
                  </p:cNvSpPr>
                  <p:nvPr/>
                </p:nvSpPr>
                <p:spPr bwMode="auto">
                  <a:xfrm>
                    <a:off x="8291687" y="5513234"/>
                    <a:ext cx="24475" cy="22029"/>
                  </a:xfrm>
                  <a:prstGeom prst="ellipse">
                    <a:avLst/>
                  </a:prstGeom>
                  <a:solidFill>
                    <a:srgbClr val="009E4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51" name="Rectangle 68"/>
                  <p:cNvSpPr>
                    <a:spLocks noChangeArrowheads="1"/>
                  </p:cNvSpPr>
                  <p:nvPr/>
                </p:nvSpPr>
                <p:spPr bwMode="auto">
                  <a:xfrm>
                    <a:off x="7990631" y="5596451"/>
                    <a:ext cx="357352" cy="93009"/>
                  </a:xfrm>
                  <a:prstGeom prst="rect">
                    <a:avLst/>
                  </a:pr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52" name="Rectangle 69"/>
                  <p:cNvSpPr>
                    <a:spLocks noChangeArrowheads="1"/>
                  </p:cNvSpPr>
                  <p:nvPr/>
                </p:nvSpPr>
                <p:spPr bwMode="auto">
                  <a:xfrm>
                    <a:off x="8005314" y="5611137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53" name="Rectangle 70"/>
                  <p:cNvSpPr>
                    <a:spLocks noChangeArrowheads="1"/>
                  </p:cNvSpPr>
                  <p:nvPr/>
                </p:nvSpPr>
                <p:spPr bwMode="auto">
                  <a:xfrm>
                    <a:off x="8024896" y="5611137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54" name="Rectangle 71"/>
                  <p:cNvSpPr>
                    <a:spLocks noChangeArrowheads="1"/>
                  </p:cNvSpPr>
                  <p:nvPr/>
                </p:nvSpPr>
                <p:spPr bwMode="auto">
                  <a:xfrm>
                    <a:off x="8044477" y="5611137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55" name="Rectangle 72"/>
                  <p:cNvSpPr>
                    <a:spLocks noChangeArrowheads="1"/>
                  </p:cNvSpPr>
                  <p:nvPr/>
                </p:nvSpPr>
                <p:spPr bwMode="auto">
                  <a:xfrm>
                    <a:off x="8066506" y="5611137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56" name="Rectangle 73"/>
                  <p:cNvSpPr>
                    <a:spLocks noChangeArrowheads="1"/>
                  </p:cNvSpPr>
                  <p:nvPr/>
                </p:nvSpPr>
                <p:spPr bwMode="auto">
                  <a:xfrm>
                    <a:off x="8086087" y="5611137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57" name="Rectangle 74"/>
                  <p:cNvSpPr>
                    <a:spLocks noChangeArrowheads="1"/>
                  </p:cNvSpPr>
                  <p:nvPr/>
                </p:nvSpPr>
                <p:spPr bwMode="auto">
                  <a:xfrm>
                    <a:off x="8108115" y="5611137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58" name="Oval 75"/>
                  <p:cNvSpPr>
                    <a:spLocks noChangeArrowheads="1"/>
                  </p:cNvSpPr>
                  <p:nvPr/>
                </p:nvSpPr>
                <p:spPr bwMode="auto">
                  <a:xfrm>
                    <a:off x="8291687" y="5630720"/>
                    <a:ext cx="24475" cy="19581"/>
                  </a:xfrm>
                  <a:prstGeom prst="ellipse">
                    <a:avLst/>
                  </a:prstGeom>
                  <a:solidFill>
                    <a:srgbClr val="009E4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59" name="Rectangle 76"/>
                  <p:cNvSpPr>
                    <a:spLocks noChangeArrowheads="1"/>
                  </p:cNvSpPr>
                  <p:nvPr/>
                </p:nvSpPr>
                <p:spPr bwMode="auto">
                  <a:xfrm>
                    <a:off x="7990631" y="5713937"/>
                    <a:ext cx="357352" cy="90563"/>
                  </a:xfrm>
                  <a:prstGeom prst="rect">
                    <a:avLst/>
                  </a:pr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60" name="Rectangle 77"/>
                  <p:cNvSpPr>
                    <a:spLocks noChangeArrowheads="1"/>
                  </p:cNvSpPr>
                  <p:nvPr/>
                </p:nvSpPr>
                <p:spPr bwMode="auto">
                  <a:xfrm>
                    <a:off x="8005314" y="5726175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61" name="Rectangle 78"/>
                  <p:cNvSpPr>
                    <a:spLocks noChangeArrowheads="1"/>
                  </p:cNvSpPr>
                  <p:nvPr/>
                </p:nvSpPr>
                <p:spPr bwMode="auto">
                  <a:xfrm>
                    <a:off x="8024896" y="5726175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62" name="Rectangle 79"/>
                  <p:cNvSpPr>
                    <a:spLocks noChangeArrowheads="1"/>
                  </p:cNvSpPr>
                  <p:nvPr/>
                </p:nvSpPr>
                <p:spPr bwMode="auto">
                  <a:xfrm>
                    <a:off x="8044477" y="5726175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63" name="Rectangle 80"/>
                  <p:cNvSpPr>
                    <a:spLocks noChangeArrowheads="1"/>
                  </p:cNvSpPr>
                  <p:nvPr/>
                </p:nvSpPr>
                <p:spPr bwMode="auto">
                  <a:xfrm>
                    <a:off x="8066506" y="5726175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64" name="Rectangle 81"/>
                  <p:cNvSpPr>
                    <a:spLocks noChangeArrowheads="1"/>
                  </p:cNvSpPr>
                  <p:nvPr/>
                </p:nvSpPr>
                <p:spPr bwMode="auto">
                  <a:xfrm>
                    <a:off x="8086087" y="5726175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65" name="Rectangle 82"/>
                  <p:cNvSpPr>
                    <a:spLocks noChangeArrowheads="1"/>
                  </p:cNvSpPr>
                  <p:nvPr/>
                </p:nvSpPr>
                <p:spPr bwMode="auto">
                  <a:xfrm>
                    <a:off x="8108115" y="5726175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66" name="Oval 83"/>
                  <p:cNvSpPr>
                    <a:spLocks noChangeArrowheads="1"/>
                  </p:cNvSpPr>
                  <p:nvPr/>
                </p:nvSpPr>
                <p:spPr bwMode="auto">
                  <a:xfrm>
                    <a:off x="8291687" y="5748204"/>
                    <a:ext cx="24475" cy="19581"/>
                  </a:xfrm>
                  <a:prstGeom prst="ellipse">
                    <a:avLst/>
                  </a:prstGeom>
                  <a:solidFill>
                    <a:srgbClr val="009E4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67" name="Rectangle 84"/>
                  <p:cNvSpPr>
                    <a:spLocks noChangeArrowheads="1"/>
                  </p:cNvSpPr>
                  <p:nvPr/>
                </p:nvSpPr>
                <p:spPr bwMode="auto">
                  <a:xfrm>
                    <a:off x="7990631" y="5828975"/>
                    <a:ext cx="357352" cy="88115"/>
                  </a:xfrm>
                  <a:prstGeom prst="rect">
                    <a:avLst/>
                  </a:pr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68" name="Rectangle 85"/>
                  <p:cNvSpPr>
                    <a:spLocks noChangeArrowheads="1"/>
                  </p:cNvSpPr>
                  <p:nvPr/>
                </p:nvSpPr>
                <p:spPr bwMode="auto">
                  <a:xfrm>
                    <a:off x="8005314" y="5843661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69" name="Rectangle 86"/>
                  <p:cNvSpPr>
                    <a:spLocks noChangeArrowheads="1"/>
                  </p:cNvSpPr>
                  <p:nvPr/>
                </p:nvSpPr>
                <p:spPr bwMode="auto">
                  <a:xfrm>
                    <a:off x="8024896" y="5843661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70" name="Rectangle 87"/>
                  <p:cNvSpPr>
                    <a:spLocks noChangeArrowheads="1"/>
                  </p:cNvSpPr>
                  <p:nvPr/>
                </p:nvSpPr>
                <p:spPr bwMode="auto">
                  <a:xfrm>
                    <a:off x="8044477" y="5843661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71" name="Rectangle 88"/>
                  <p:cNvSpPr>
                    <a:spLocks noChangeArrowheads="1"/>
                  </p:cNvSpPr>
                  <p:nvPr/>
                </p:nvSpPr>
                <p:spPr bwMode="auto">
                  <a:xfrm>
                    <a:off x="8066506" y="5843661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72" name="Rectangle 89"/>
                  <p:cNvSpPr>
                    <a:spLocks noChangeArrowheads="1"/>
                  </p:cNvSpPr>
                  <p:nvPr/>
                </p:nvSpPr>
                <p:spPr bwMode="auto">
                  <a:xfrm>
                    <a:off x="8086087" y="5843661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73" name="Rectangle 90"/>
                  <p:cNvSpPr>
                    <a:spLocks noChangeArrowheads="1"/>
                  </p:cNvSpPr>
                  <p:nvPr/>
                </p:nvSpPr>
                <p:spPr bwMode="auto">
                  <a:xfrm>
                    <a:off x="8108115" y="5843661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74" name="Oval 91"/>
                  <p:cNvSpPr>
                    <a:spLocks noChangeArrowheads="1"/>
                  </p:cNvSpPr>
                  <p:nvPr/>
                </p:nvSpPr>
                <p:spPr bwMode="auto">
                  <a:xfrm>
                    <a:off x="8291687" y="5863242"/>
                    <a:ext cx="24475" cy="19581"/>
                  </a:xfrm>
                  <a:prstGeom prst="ellipse">
                    <a:avLst/>
                  </a:prstGeom>
                  <a:solidFill>
                    <a:srgbClr val="009E4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75" name="Rectangle 92"/>
                  <p:cNvSpPr>
                    <a:spLocks noChangeArrowheads="1"/>
                  </p:cNvSpPr>
                  <p:nvPr/>
                </p:nvSpPr>
                <p:spPr bwMode="auto">
                  <a:xfrm>
                    <a:off x="7922097" y="5050633"/>
                    <a:ext cx="494419" cy="1035343"/>
                  </a:xfrm>
                  <a:prstGeom prst="rect">
                    <a:avLst/>
                  </a:prstGeom>
                  <a:solidFill>
                    <a:srgbClr val="68217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76" name="Rectangle 93"/>
                  <p:cNvSpPr>
                    <a:spLocks noChangeArrowheads="1"/>
                  </p:cNvSpPr>
                  <p:nvPr/>
                </p:nvSpPr>
                <p:spPr bwMode="auto">
                  <a:xfrm>
                    <a:off x="7966153" y="5102032"/>
                    <a:ext cx="401410" cy="898276"/>
                  </a:xfrm>
                  <a:prstGeom prst="rect">
                    <a:avLst/>
                  </a:prstGeom>
                  <a:solidFill>
                    <a:srgbClr val="96969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77" name="Rectangle 94"/>
                  <p:cNvSpPr>
                    <a:spLocks noChangeArrowheads="1"/>
                  </p:cNvSpPr>
                  <p:nvPr/>
                </p:nvSpPr>
                <p:spPr bwMode="auto">
                  <a:xfrm>
                    <a:off x="7990631" y="5131405"/>
                    <a:ext cx="357352" cy="90563"/>
                  </a:xfrm>
                  <a:prstGeom prst="rect">
                    <a:avLst/>
                  </a:pr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78" name="Rectangle 95"/>
                  <p:cNvSpPr>
                    <a:spLocks noChangeArrowheads="1"/>
                  </p:cNvSpPr>
                  <p:nvPr/>
                </p:nvSpPr>
                <p:spPr bwMode="auto">
                  <a:xfrm>
                    <a:off x="8005314" y="5143641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79" name="Rectangle 96"/>
                  <p:cNvSpPr>
                    <a:spLocks noChangeArrowheads="1"/>
                  </p:cNvSpPr>
                  <p:nvPr/>
                </p:nvSpPr>
                <p:spPr bwMode="auto">
                  <a:xfrm>
                    <a:off x="8024896" y="5143641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80" name="Rectangle 97"/>
                  <p:cNvSpPr>
                    <a:spLocks noChangeArrowheads="1"/>
                  </p:cNvSpPr>
                  <p:nvPr/>
                </p:nvSpPr>
                <p:spPr bwMode="auto">
                  <a:xfrm>
                    <a:off x="8044477" y="5143641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81" name="Rectangle 98"/>
                  <p:cNvSpPr>
                    <a:spLocks noChangeArrowheads="1"/>
                  </p:cNvSpPr>
                  <p:nvPr/>
                </p:nvSpPr>
                <p:spPr bwMode="auto">
                  <a:xfrm>
                    <a:off x="8066506" y="5143641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82" name="Rectangle 99"/>
                  <p:cNvSpPr>
                    <a:spLocks noChangeArrowheads="1"/>
                  </p:cNvSpPr>
                  <p:nvPr/>
                </p:nvSpPr>
                <p:spPr bwMode="auto">
                  <a:xfrm>
                    <a:off x="8086087" y="5143641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83" name="Rectangle 100"/>
                  <p:cNvSpPr>
                    <a:spLocks noChangeArrowheads="1"/>
                  </p:cNvSpPr>
                  <p:nvPr/>
                </p:nvSpPr>
                <p:spPr bwMode="auto">
                  <a:xfrm>
                    <a:off x="8108115" y="5143641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84" name="Oval 101"/>
                  <p:cNvSpPr>
                    <a:spLocks noChangeArrowheads="1"/>
                  </p:cNvSpPr>
                  <p:nvPr/>
                </p:nvSpPr>
                <p:spPr bwMode="auto">
                  <a:xfrm>
                    <a:off x="8291687" y="5165671"/>
                    <a:ext cx="24475" cy="22029"/>
                  </a:xfrm>
                  <a:prstGeom prst="ellipse">
                    <a:avLst/>
                  </a:prstGeom>
                  <a:solidFill>
                    <a:srgbClr val="009E4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85" name="Rectangle 102"/>
                  <p:cNvSpPr>
                    <a:spLocks noChangeArrowheads="1"/>
                  </p:cNvSpPr>
                  <p:nvPr/>
                </p:nvSpPr>
                <p:spPr bwMode="auto">
                  <a:xfrm>
                    <a:off x="7990631" y="5246442"/>
                    <a:ext cx="357352" cy="93009"/>
                  </a:xfrm>
                  <a:prstGeom prst="rect">
                    <a:avLst/>
                  </a:pr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86" name="Rectangle 103"/>
                  <p:cNvSpPr>
                    <a:spLocks noChangeArrowheads="1"/>
                  </p:cNvSpPr>
                  <p:nvPr/>
                </p:nvSpPr>
                <p:spPr bwMode="auto">
                  <a:xfrm>
                    <a:off x="8005314" y="5261126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87" name="Rectangle 104"/>
                  <p:cNvSpPr>
                    <a:spLocks noChangeArrowheads="1"/>
                  </p:cNvSpPr>
                  <p:nvPr/>
                </p:nvSpPr>
                <p:spPr bwMode="auto">
                  <a:xfrm>
                    <a:off x="8024896" y="5261126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88" name="Rectangle 105"/>
                  <p:cNvSpPr>
                    <a:spLocks noChangeArrowheads="1"/>
                  </p:cNvSpPr>
                  <p:nvPr/>
                </p:nvSpPr>
                <p:spPr bwMode="auto">
                  <a:xfrm>
                    <a:off x="8044477" y="5261126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89" name="Rectangle 106"/>
                  <p:cNvSpPr>
                    <a:spLocks noChangeArrowheads="1"/>
                  </p:cNvSpPr>
                  <p:nvPr/>
                </p:nvSpPr>
                <p:spPr bwMode="auto">
                  <a:xfrm>
                    <a:off x="8066506" y="5261126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90" name="Rectangle 107"/>
                  <p:cNvSpPr>
                    <a:spLocks noChangeArrowheads="1"/>
                  </p:cNvSpPr>
                  <p:nvPr/>
                </p:nvSpPr>
                <p:spPr bwMode="auto">
                  <a:xfrm>
                    <a:off x="8086087" y="5261126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91" name="Rectangle 108"/>
                  <p:cNvSpPr>
                    <a:spLocks noChangeArrowheads="1"/>
                  </p:cNvSpPr>
                  <p:nvPr/>
                </p:nvSpPr>
                <p:spPr bwMode="auto">
                  <a:xfrm>
                    <a:off x="8108115" y="5261126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92" name="Oval 109"/>
                  <p:cNvSpPr>
                    <a:spLocks noChangeArrowheads="1"/>
                  </p:cNvSpPr>
                  <p:nvPr/>
                </p:nvSpPr>
                <p:spPr bwMode="auto">
                  <a:xfrm>
                    <a:off x="8291687" y="5280709"/>
                    <a:ext cx="24475" cy="24475"/>
                  </a:xfrm>
                  <a:prstGeom prst="ellipse">
                    <a:avLst/>
                  </a:prstGeom>
                  <a:solidFill>
                    <a:srgbClr val="009E4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93" name="Rectangle 110"/>
                  <p:cNvSpPr>
                    <a:spLocks noChangeArrowheads="1"/>
                  </p:cNvSpPr>
                  <p:nvPr/>
                </p:nvSpPr>
                <p:spPr bwMode="auto">
                  <a:xfrm>
                    <a:off x="7990631" y="5363927"/>
                    <a:ext cx="357352" cy="93009"/>
                  </a:xfrm>
                  <a:prstGeom prst="rect">
                    <a:avLst/>
                  </a:pr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94" name="Rectangle 111"/>
                  <p:cNvSpPr>
                    <a:spLocks noChangeArrowheads="1"/>
                  </p:cNvSpPr>
                  <p:nvPr/>
                </p:nvSpPr>
                <p:spPr bwMode="auto">
                  <a:xfrm>
                    <a:off x="8005314" y="5376167"/>
                    <a:ext cx="9790" cy="63637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95" name="Rectangle 112"/>
                  <p:cNvSpPr>
                    <a:spLocks noChangeArrowheads="1"/>
                  </p:cNvSpPr>
                  <p:nvPr/>
                </p:nvSpPr>
                <p:spPr bwMode="auto">
                  <a:xfrm>
                    <a:off x="8024896" y="5376167"/>
                    <a:ext cx="9790" cy="63637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96" name="Rectangle 113"/>
                  <p:cNvSpPr>
                    <a:spLocks noChangeArrowheads="1"/>
                  </p:cNvSpPr>
                  <p:nvPr/>
                </p:nvSpPr>
                <p:spPr bwMode="auto">
                  <a:xfrm>
                    <a:off x="8044477" y="5376167"/>
                    <a:ext cx="12238" cy="63637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97" name="Rectangle 114"/>
                  <p:cNvSpPr>
                    <a:spLocks noChangeArrowheads="1"/>
                  </p:cNvSpPr>
                  <p:nvPr/>
                </p:nvSpPr>
                <p:spPr bwMode="auto">
                  <a:xfrm>
                    <a:off x="8066506" y="5376167"/>
                    <a:ext cx="9790" cy="63637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98" name="Rectangle 115"/>
                  <p:cNvSpPr>
                    <a:spLocks noChangeArrowheads="1"/>
                  </p:cNvSpPr>
                  <p:nvPr/>
                </p:nvSpPr>
                <p:spPr bwMode="auto">
                  <a:xfrm>
                    <a:off x="8086087" y="5376167"/>
                    <a:ext cx="9790" cy="63637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99" name="Rectangle 116"/>
                  <p:cNvSpPr>
                    <a:spLocks noChangeArrowheads="1"/>
                  </p:cNvSpPr>
                  <p:nvPr/>
                </p:nvSpPr>
                <p:spPr bwMode="auto">
                  <a:xfrm>
                    <a:off x="8108115" y="5376167"/>
                    <a:ext cx="9790" cy="63637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00" name="Oval 117"/>
                  <p:cNvSpPr>
                    <a:spLocks noChangeArrowheads="1"/>
                  </p:cNvSpPr>
                  <p:nvPr/>
                </p:nvSpPr>
                <p:spPr bwMode="auto">
                  <a:xfrm>
                    <a:off x="8291687" y="5398193"/>
                    <a:ext cx="24475" cy="24475"/>
                  </a:xfrm>
                  <a:prstGeom prst="ellipse">
                    <a:avLst/>
                  </a:prstGeom>
                  <a:solidFill>
                    <a:srgbClr val="009E4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01" name="Rectangle 118"/>
                  <p:cNvSpPr>
                    <a:spLocks noChangeArrowheads="1"/>
                  </p:cNvSpPr>
                  <p:nvPr/>
                </p:nvSpPr>
                <p:spPr bwMode="auto">
                  <a:xfrm>
                    <a:off x="7990631" y="5478965"/>
                    <a:ext cx="357352" cy="93009"/>
                  </a:xfrm>
                  <a:prstGeom prst="rect">
                    <a:avLst/>
                  </a:pr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02" name="Rectangle 119"/>
                  <p:cNvSpPr>
                    <a:spLocks noChangeArrowheads="1"/>
                  </p:cNvSpPr>
                  <p:nvPr/>
                </p:nvSpPr>
                <p:spPr bwMode="auto">
                  <a:xfrm>
                    <a:off x="8005314" y="5493652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03" name="Rectangle 120"/>
                  <p:cNvSpPr>
                    <a:spLocks noChangeArrowheads="1"/>
                  </p:cNvSpPr>
                  <p:nvPr/>
                </p:nvSpPr>
                <p:spPr bwMode="auto">
                  <a:xfrm>
                    <a:off x="8024896" y="5493652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04" name="Rectangle 121"/>
                  <p:cNvSpPr>
                    <a:spLocks noChangeArrowheads="1"/>
                  </p:cNvSpPr>
                  <p:nvPr/>
                </p:nvSpPr>
                <p:spPr bwMode="auto">
                  <a:xfrm>
                    <a:off x="8044477" y="5493652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05" name="Rectangle 122"/>
                  <p:cNvSpPr>
                    <a:spLocks noChangeArrowheads="1"/>
                  </p:cNvSpPr>
                  <p:nvPr/>
                </p:nvSpPr>
                <p:spPr bwMode="auto">
                  <a:xfrm>
                    <a:off x="8066506" y="5493652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06" name="Rectangle 123"/>
                  <p:cNvSpPr>
                    <a:spLocks noChangeArrowheads="1"/>
                  </p:cNvSpPr>
                  <p:nvPr/>
                </p:nvSpPr>
                <p:spPr bwMode="auto">
                  <a:xfrm>
                    <a:off x="8086087" y="5493652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07" name="Rectangle 124"/>
                  <p:cNvSpPr>
                    <a:spLocks noChangeArrowheads="1"/>
                  </p:cNvSpPr>
                  <p:nvPr/>
                </p:nvSpPr>
                <p:spPr bwMode="auto">
                  <a:xfrm>
                    <a:off x="8108115" y="5493652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08" name="Oval 125"/>
                  <p:cNvSpPr>
                    <a:spLocks noChangeArrowheads="1"/>
                  </p:cNvSpPr>
                  <p:nvPr/>
                </p:nvSpPr>
                <p:spPr bwMode="auto">
                  <a:xfrm>
                    <a:off x="8291687" y="5513234"/>
                    <a:ext cx="24475" cy="22029"/>
                  </a:xfrm>
                  <a:prstGeom prst="ellipse">
                    <a:avLst/>
                  </a:prstGeom>
                  <a:solidFill>
                    <a:srgbClr val="009E4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09" name="Rectangle 126"/>
                  <p:cNvSpPr>
                    <a:spLocks noChangeArrowheads="1"/>
                  </p:cNvSpPr>
                  <p:nvPr/>
                </p:nvSpPr>
                <p:spPr bwMode="auto">
                  <a:xfrm>
                    <a:off x="7990631" y="5596451"/>
                    <a:ext cx="357352" cy="93009"/>
                  </a:xfrm>
                  <a:prstGeom prst="rect">
                    <a:avLst/>
                  </a:pr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0" name="Rectangle 127"/>
                  <p:cNvSpPr>
                    <a:spLocks noChangeArrowheads="1"/>
                  </p:cNvSpPr>
                  <p:nvPr/>
                </p:nvSpPr>
                <p:spPr bwMode="auto">
                  <a:xfrm>
                    <a:off x="8005314" y="5611137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1" name="Rectangle 128"/>
                  <p:cNvSpPr>
                    <a:spLocks noChangeArrowheads="1"/>
                  </p:cNvSpPr>
                  <p:nvPr/>
                </p:nvSpPr>
                <p:spPr bwMode="auto">
                  <a:xfrm>
                    <a:off x="8024896" y="5611137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2" name="Rectangle 129"/>
                  <p:cNvSpPr>
                    <a:spLocks noChangeArrowheads="1"/>
                  </p:cNvSpPr>
                  <p:nvPr/>
                </p:nvSpPr>
                <p:spPr bwMode="auto">
                  <a:xfrm>
                    <a:off x="8044477" y="5611137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3" name="Rectangle 130"/>
                  <p:cNvSpPr>
                    <a:spLocks noChangeArrowheads="1"/>
                  </p:cNvSpPr>
                  <p:nvPr/>
                </p:nvSpPr>
                <p:spPr bwMode="auto">
                  <a:xfrm>
                    <a:off x="8066506" y="5611137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4" name="Rectangle 131"/>
                  <p:cNvSpPr>
                    <a:spLocks noChangeArrowheads="1"/>
                  </p:cNvSpPr>
                  <p:nvPr/>
                </p:nvSpPr>
                <p:spPr bwMode="auto">
                  <a:xfrm>
                    <a:off x="8086087" y="5611137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5" name="Rectangle 132"/>
                  <p:cNvSpPr>
                    <a:spLocks noChangeArrowheads="1"/>
                  </p:cNvSpPr>
                  <p:nvPr/>
                </p:nvSpPr>
                <p:spPr bwMode="auto">
                  <a:xfrm>
                    <a:off x="8108115" y="5611137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6" name="Oval 133"/>
                  <p:cNvSpPr>
                    <a:spLocks noChangeArrowheads="1"/>
                  </p:cNvSpPr>
                  <p:nvPr/>
                </p:nvSpPr>
                <p:spPr bwMode="auto">
                  <a:xfrm>
                    <a:off x="8291687" y="5630720"/>
                    <a:ext cx="24475" cy="19581"/>
                  </a:xfrm>
                  <a:prstGeom prst="ellipse">
                    <a:avLst/>
                  </a:prstGeom>
                  <a:solidFill>
                    <a:srgbClr val="009E4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7" name="Rectangle 134"/>
                  <p:cNvSpPr>
                    <a:spLocks noChangeArrowheads="1"/>
                  </p:cNvSpPr>
                  <p:nvPr/>
                </p:nvSpPr>
                <p:spPr bwMode="auto">
                  <a:xfrm>
                    <a:off x="7990631" y="5713937"/>
                    <a:ext cx="357352" cy="90563"/>
                  </a:xfrm>
                  <a:prstGeom prst="rect">
                    <a:avLst/>
                  </a:pr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8" name="Rectangle 135"/>
                  <p:cNvSpPr>
                    <a:spLocks noChangeArrowheads="1"/>
                  </p:cNvSpPr>
                  <p:nvPr/>
                </p:nvSpPr>
                <p:spPr bwMode="auto">
                  <a:xfrm>
                    <a:off x="8005314" y="5726175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9" name="Rectangle 136"/>
                  <p:cNvSpPr>
                    <a:spLocks noChangeArrowheads="1"/>
                  </p:cNvSpPr>
                  <p:nvPr/>
                </p:nvSpPr>
                <p:spPr bwMode="auto">
                  <a:xfrm>
                    <a:off x="8024896" y="5726175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20" name="Rectangle 137"/>
                  <p:cNvSpPr>
                    <a:spLocks noChangeArrowheads="1"/>
                  </p:cNvSpPr>
                  <p:nvPr/>
                </p:nvSpPr>
                <p:spPr bwMode="auto">
                  <a:xfrm>
                    <a:off x="8044477" y="5726175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21" name="Rectangle 138"/>
                  <p:cNvSpPr>
                    <a:spLocks noChangeArrowheads="1"/>
                  </p:cNvSpPr>
                  <p:nvPr/>
                </p:nvSpPr>
                <p:spPr bwMode="auto">
                  <a:xfrm>
                    <a:off x="8066506" y="5726175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22" name="Rectangle 139"/>
                  <p:cNvSpPr>
                    <a:spLocks noChangeArrowheads="1"/>
                  </p:cNvSpPr>
                  <p:nvPr/>
                </p:nvSpPr>
                <p:spPr bwMode="auto">
                  <a:xfrm>
                    <a:off x="8086087" y="5726175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23" name="Rectangle 140"/>
                  <p:cNvSpPr>
                    <a:spLocks noChangeArrowheads="1"/>
                  </p:cNvSpPr>
                  <p:nvPr/>
                </p:nvSpPr>
                <p:spPr bwMode="auto">
                  <a:xfrm>
                    <a:off x="8108115" y="5726175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24" name="Oval 141"/>
                  <p:cNvSpPr>
                    <a:spLocks noChangeArrowheads="1"/>
                  </p:cNvSpPr>
                  <p:nvPr/>
                </p:nvSpPr>
                <p:spPr bwMode="auto">
                  <a:xfrm>
                    <a:off x="8291687" y="5748204"/>
                    <a:ext cx="24475" cy="19581"/>
                  </a:xfrm>
                  <a:prstGeom prst="ellipse">
                    <a:avLst/>
                  </a:prstGeom>
                  <a:solidFill>
                    <a:srgbClr val="009E4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25" name="Rectangle 142"/>
                  <p:cNvSpPr>
                    <a:spLocks noChangeArrowheads="1"/>
                  </p:cNvSpPr>
                  <p:nvPr/>
                </p:nvSpPr>
                <p:spPr bwMode="auto">
                  <a:xfrm>
                    <a:off x="7990631" y="5828975"/>
                    <a:ext cx="357352" cy="88115"/>
                  </a:xfrm>
                  <a:prstGeom prst="rect">
                    <a:avLst/>
                  </a:pr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26" name="Rectangle 143"/>
                  <p:cNvSpPr>
                    <a:spLocks noChangeArrowheads="1"/>
                  </p:cNvSpPr>
                  <p:nvPr/>
                </p:nvSpPr>
                <p:spPr bwMode="auto">
                  <a:xfrm>
                    <a:off x="8005314" y="5843661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27" name="Rectangle 144"/>
                  <p:cNvSpPr>
                    <a:spLocks noChangeArrowheads="1"/>
                  </p:cNvSpPr>
                  <p:nvPr/>
                </p:nvSpPr>
                <p:spPr bwMode="auto">
                  <a:xfrm>
                    <a:off x="8024896" y="5843661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28" name="Rectangle 145"/>
                  <p:cNvSpPr>
                    <a:spLocks noChangeArrowheads="1"/>
                  </p:cNvSpPr>
                  <p:nvPr/>
                </p:nvSpPr>
                <p:spPr bwMode="auto">
                  <a:xfrm>
                    <a:off x="8044477" y="5843661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29" name="Rectangle 146"/>
                  <p:cNvSpPr>
                    <a:spLocks noChangeArrowheads="1"/>
                  </p:cNvSpPr>
                  <p:nvPr/>
                </p:nvSpPr>
                <p:spPr bwMode="auto">
                  <a:xfrm>
                    <a:off x="8066506" y="5843661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30" name="Rectangle 147"/>
                  <p:cNvSpPr>
                    <a:spLocks noChangeArrowheads="1"/>
                  </p:cNvSpPr>
                  <p:nvPr/>
                </p:nvSpPr>
                <p:spPr bwMode="auto">
                  <a:xfrm>
                    <a:off x="8086087" y="5843661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31" name="Rectangle 148"/>
                  <p:cNvSpPr>
                    <a:spLocks noChangeArrowheads="1"/>
                  </p:cNvSpPr>
                  <p:nvPr/>
                </p:nvSpPr>
                <p:spPr bwMode="auto">
                  <a:xfrm>
                    <a:off x="8108115" y="5843661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32" name="Oval 149"/>
                  <p:cNvSpPr>
                    <a:spLocks noChangeArrowheads="1"/>
                  </p:cNvSpPr>
                  <p:nvPr/>
                </p:nvSpPr>
                <p:spPr bwMode="auto">
                  <a:xfrm>
                    <a:off x="8291687" y="5863242"/>
                    <a:ext cx="24475" cy="19581"/>
                  </a:xfrm>
                  <a:prstGeom prst="ellipse">
                    <a:avLst/>
                  </a:prstGeom>
                  <a:solidFill>
                    <a:srgbClr val="009E4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33" name="Rectangle 150"/>
                  <p:cNvSpPr>
                    <a:spLocks noChangeArrowheads="1"/>
                  </p:cNvSpPr>
                  <p:nvPr/>
                </p:nvSpPr>
                <p:spPr bwMode="auto">
                  <a:xfrm>
                    <a:off x="8477706" y="5050633"/>
                    <a:ext cx="491972" cy="1035343"/>
                  </a:xfrm>
                  <a:prstGeom prst="rect">
                    <a:avLst/>
                  </a:prstGeom>
                  <a:solidFill>
                    <a:srgbClr val="68217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34" name="Rectangle 151"/>
                  <p:cNvSpPr>
                    <a:spLocks noChangeArrowheads="1"/>
                  </p:cNvSpPr>
                  <p:nvPr/>
                </p:nvSpPr>
                <p:spPr bwMode="auto">
                  <a:xfrm>
                    <a:off x="8524210" y="5102032"/>
                    <a:ext cx="401410" cy="898276"/>
                  </a:xfrm>
                  <a:prstGeom prst="rect">
                    <a:avLst/>
                  </a:prstGeom>
                  <a:solidFill>
                    <a:srgbClr val="96969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35" name="Rectangle 152"/>
                  <p:cNvSpPr>
                    <a:spLocks noChangeArrowheads="1"/>
                  </p:cNvSpPr>
                  <p:nvPr/>
                </p:nvSpPr>
                <p:spPr bwMode="auto">
                  <a:xfrm>
                    <a:off x="8546240" y="5131405"/>
                    <a:ext cx="354906" cy="90563"/>
                  </a:xfrm>
                  <a:prstGeom prst="rect">
                    <a:avLst/>
                  </a:pr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36" name="Rectangle 153"/>
                  <p:cNvSpPr>
                    <a:spLocks noChangeArrowheads="1"/>
                  </p:cNvSpPr>
                  <p:nvPr/>
                </p:nvSpPr>
                <p:spPr bwMode="auto">
                  <a:xfrm>
                    <a:off x="8563373" y="5143641"/>
                    <a:ext cx="7342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37" name="Rectangle 154"/>
                  <p:cNvSpPr>
                    <a:spLocks noChangeArrowheads="1"/>
                  </p:cNvSpPr>
                  <p:nvPr/>
                </p:nvSpPr>
                <p:spPr bwMode="auto">
                  <a:xfrm>
                    <a:off x="8580505" y="5143641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38" name="Rectangle 155"/>
                  <p:cNvSpPr>
                    <a:spLocks noChangeArrowheads="1"/>
                  </p:cNvSpPr>
                  <p:nvPr/>
                </p:nvSpPr>
                <p:spPr bwMode="auto">
                  <a:xfrm>
                    <a:off x="8600086" y="5143641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39" name="Rectangle 156"/>
                  <p:cNvSpPr>
                    <a:spLocks noChangeArrowheads="1"/>
                  </p:cNvSpPr>
                  <p:nvPr/>
                </p:nvSpPr>
                <p:spPr bwMode="auto">
                  <a:xfrm>
                    <a:off x="8622115" y="5143641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40" name="Rectangle 157"/>
                  <p:cNvSpPr>
                    <a:spLocks noChangeArrowheads="1"/>
                  </p:cNvSpPr>
                  <p:nvPr/>
                </p:nvSpPr>
                <p:spPr bwMode="auto">
                  <a:xfrm>
                    <a:off x="8641696" y="5143641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41" name="Rectangle 158"/>
                  <p:cNvSpPr>
                    <a:spLocks noChangeArrowheads="1"/>
                  </p:cNvSpPr>
                  <p:nvPr/>
                </p:nvSpPr>
                <p:spPr bwMode="auto">
                  <a:xfrm>
                    <a:off x="8661276" y="5143641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42" name="Oval 159"/>
                  <p:cNvSpPr>
                    <a:spLocks noChangeArrowheads="1"/>
                  </p:cNvSpPr>
                  <p:nvPr/>
                </p:nvSpPr>
                <p:spPr bwMode="auto">
                  <a:xfrm>
                    <a:off x="8847296" y="5165671"/>
                    <a:ext cx="24475" cy="22029"/>
                  </a:xfrm>
                  <a:prstGeom prst="ellipse">
                    <a:avLst/>
                  </a:prstGeom>
                  <a:solidFill>
                    <a:srgbClr val="009E4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43" name="Rectangle 160"/>
                  <p:cNvSpPr>
                    <a:spLocks noChangeArrowheads="1"/>
                  </p:cNvSpPr>
                  <p:nvPr/>
                </p:nvSpPr>
                <p:spPr bwMode="auto">
                  <a:xfrm>
                    <a:off x="8546240" y="5246442"/>
                    <a:ext cx="354906" cy="93009"/>
                  </a:xfrm>
                  <a:prstGeom prst="rect">
                    <a:avLst/>
                  </a:pr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44" name="Rectangle 161"/>
                  <p:cNvSpPr>
                    <a:spLocks noChangeArrowheads="1"/>
                  </p:cNvSpPr>
                  <p:nvPr/>
                </p:nvSpPr>
                <p:spPr bwMode="auto">
                  <a:xfrm>
                    <a:off x="8563373" y="5261126"/>
                    <a:ext cx="7342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45" name="Rectangle 162"/>
                  <p:cNvSpPr>
                    <a:spLocks noChangeArrowheads="1"/>
                  </p:cNvSpPr>
                  <p:nvPr/>
                </p:nvSpPr>
                <p:spPr bwMode="auto">
                  <a:xfrm>
                    <a:off x="8580505" y="5261126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46" name="Rectangle 163"/>
                  <p:cNvSpPr>
                    <a:spLocks noChangeArrowheads="1"/>
                  </p:cNvSpPr>
                  <p:nvPr/>
                </p:nvSpPr>
                <p:spPr bwMode="auto">
                  <a:xfrm>
                    <a:off x="8600086" y="5261126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47" name="Rectangle 164"/>
                  <p:cNvSpPr>
                    <a:spLocks noChangeArrowheads="1"/>
                  </p:cNvSpPr>
                  <p:nvPr/>
                </p:nvSpPr>
                <p:spPr bwMode="auto">
                  <a:xfrm>
                    <a:off x="8622115" y="5261126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48" name="Rectangle 165"/>
                  <p:cNvSpPr>
                    <a:spLocks noChangeArrowheads="1"/>
                  </p:cNvSpPr>
                  <p:nvPr/>
                </p:nvSpPr>
                <p:spPr bwMode="auto">
                  <a:xfrm>
                    <a:off x="8641696" y="5261126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49" name="Rectangle 166"/>
                  <p:cNvSpPr>
                    <a:spLocks noChangeArrowheads="1"/>
                  </p:cNvSpPr>
                  <p:nvPr/>
                </p:nvSpPr>
                <p:spPr bwMode="auto">
                  <a:xfrm>
                    <a:off x="8661276" y="5261126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50" name="Oval 167"/>
                  <p:cNvSpPr>
                    <a:spLocks noChangeArrowheads="1"/>
                  </p:cNvSpPr>
                  <p:nvPr/>
                </p:nvSpPr>
                <p:spPr bwMode="auto">
                  <a:xfrm>
                    <a:off x="8847296" y="5280709"/>
                    <a:ext cx="24475" cy="24475"/>
                  </a:xfrm>
                  <a:prstGeom prst="ellipse">
                    <a:avLst/>
                  </a:prstGeom>
                  <a:solidFill>
                    <a:srgbClr val="009E4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51" name="Rectangle 168"/>
                  <p:cNvSpPr>
                    <a:spLocks noChangeArrowheads="1"/>
                  </p:cNvSpPr>
                  <p:nvPr/>
                </p:nvSpPr>
                <p:spPr bwMode="auto">
                  <a:xfrm>
                    <a:off x="8546240" y="5363927"/>
                    <a:ext cx="354906" cy="93009"/>
                  </a:xfrm>
                  <a:prstGeom prst="rect">
                    <a:avLst/>
                  </a:pr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52" name="Rectangle 169"/>
                  <p:cNvSpPr>
                    <a:spLocks noChangeArrowheads="1"/>
                  </p:cNvSpPr>
                  <p:nvPr/>
                </p:nvSpPr>
                <p:spPr bwMode="auto">
                  <a:xfrm>
                    <a:off x="8563373" y="5376167"/>
                    <a:ext cx="7342" cy="63637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53" name="Rectangle 170"/>
                  <p:cNvSpPr>
                    <a:spLocks noChangeArrowheads="1"/>
                  </p:cNvSpPr>
                  <p:nvPr/>
                </p:nvSpPr>
                <p:spPr bwMode="auto">
                  <a:xfrm>
                    <a:off x="8580505" y="5376167"/>
                    <a:ext cx="9790" cy="63637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54" name="Rectangle 171"/>
                  <p:cNvSpPr>
                    <a:spLocks noChangeArrowheads="1"/>
                  </p:cNvSpPr>
                  <p:nvPr/>
                </p:nvSpPr>
                <p:spPr bwMode="auto">
                  <a:xfrm>
                    <a:off x="8600086" y="5376167"/>
                    <a:ext cx="9790" cy="63637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55" name="Rectangle 172"/>
                  <p:cNvSpPr>
                    <a:spLocks noChangeArrowheads="1"/>
                  </p:cNvSpPr>
                  <p:nvPr/>
                </p:nvSpPr>
                <p:spPr bwMode="auto">
                  <a:xfrm>
                    <a:off x="8622115" y="5376167"/>
                    <a:ext cx="9790" cy="63637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56" name="Rectangle 173"/>
                  <p:cNvSpPr>
                    <a:spLocks noChangeArrowheads="1"/>
                  </p:cNvSpPr>
                  <p:nvPr/>
                </p:nvSpPr>
                <p:spPr bwMode="auto">
                  <a:xfrm>
                    <a:off x="8641696" y="5376167"/>
                    <a:ext cx="9790" cy="63637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57" name="Rectangle 174"/>
                  <p:cNvSpPr>
                    <a:spLocks noChangeArrowheads="1"/>
                  </p:cNvSpPr>
                  <p:nvPr/>
                </p:nvSpPr>
                <p:spPr bwMode="auto">
                  <a:xfrm>
                    <a:off x="8661276" y="5376167"/>
                    <a:ext cx="12238" cy="63637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58" name="Oval 175"/>
                  <p:cNvSpPr>
                    <a:spLocks noChangeArrowheads="1"/>
                  </p:cNvSpPr>
                  <p:nvPr/>
                </p:nvSpPr>
                <p:spPr bwMode="auto">
                  <a:xfrm>
                    <a:off x="8847296" y="5398193"/>
                    <a:ext cx="24475" cy="24475"/>
                  </a:xfrm>
                  <a:prstGeom prst="ellipse">
                    <a:avLst/>
                  </a:prstGeom>
                  <a:solidFill>
                    <a:srgbClr val="009E4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59" name="Rectangle 176"/>
                  <p:cNvSpPr>
                    <a:spLocks noChangeArrowheads="1"/>
                  </p:cNvSpPr>
                  <p:nvPr/>
                </p:nvSpPr>
                <p:spPr bwMode="auto">
                  <a:xfrm>
                    <a:off x="8546240" y="5478965"/>
                    <a:ext cx="354906" cy="93009"/>
                  </a:xfrm>
                  <a:prstGeom prst="rect">
                    <a:avLst/>
                  </a:pr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60" name="Rectangle 177"/>
                  <p:cNvSpPr>
                    <a:spLocks noChangeArrowheads="1"/>
                  </p:cNvSpPr>
                  <p:nvPr/>
                </p:nvSpPr>
                <p:spPr bwMode="auto">
                  <a:xfrm>
                    <a:off x="8563373" y="5493652"/>
                    <a:ext cx="7342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61" name="Rectangle 178"/>
                  <p:cNvSpPr>
                    <a:spLocks noChangeArrowheads="1"/>
                  </p:cNvSpPr>
                  <p:nvPr/>
                </p:nvSpPr>
                <p:spPr bwMode="auto">
                  <a:xfrm>
                    <a:off x="8580505" y="5493652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62" name="Rectangle 179"/>
                  <p:cNvSpPr>
                    <a:spLocks noChangeArrowheads="1"/>
                  </p:cNvSpPr>
                  <p:nvPr/>
                </p:nvSpPr>
                <p:spPr bwMode="auto">
                  <a:xfrm>
                    <a:off x="8600086" y="5493652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63" name="Rectangle 180"/>
                  <p:cNvSpPr>
                    <a:spLocks noChangeArrowheads="1"/>
                  </p:cNvSpPr>
                  <p:nvPr/>
                </p:nvSpPr>
                <p:spPr bwMode="auto">
                  <a:xfrm>
                    <a:off x="8622115" y="5493652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64" name="Rectangle 181"/>
                  <p:cNvSpPr>
                    <a:spLocks noChangeArrowheads="1"/>
                  </p:cNvSpPr>
                  <p:nvPr/>
                </p:nvSpPr>
                <p:spPr bwMode="auto">
                  <a:xfrm>
                    <a:off x="8641696" y="5493652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65" name="Rectangle 182"/>
                  <p:cNvSpPr>
                    <a:spLocks noChangeArrowheads="1"/>
                  </p:cNvSpPr>
                  <p:nvPr/>
                </p:nvSpPr>
                <p:spPr bwMode="auto">
                  <a:xfrm>
                    <a:off x="8661276" y="5493652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66" name="Oval 183"/>
                  <p:cNvSpPr>
                    <a:spLocks noChangeArrowheads="1"/>
                  </p:cNvSpPr>
                  <p:nvPr/>
                </p:nvSpPr>
                <p:spPr bwMode="auto">
                  <a:xfrm>
                    <a:off x="8847296" y="5513234"/>
                    <a:ext cx="24475" cy="22029"/>
                  </a:xfrm>
                  <a:prstGeom prst="ellipse">
                    <a:avLst/>
                  </a:prstGeom>
                  <a:solidFill>
                    <a:srgbClr val="009E4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67" name="Rectangle 184"/>
                  <p:cNvSpPr>
                    <a:spLocks noChangeArrowheads="1"/>
                  </p:cNvSpPr>
                  <p:nvPr/>
                </p:nvSpPr>
                <p:spPr bwMode="auto">
                  <a:xfrm>
                    <a:off x="8546240" y="5596451"/>
                    <a:ext cx="354906" cy="93009"/>
                  </a:xfrm>
                  <a:prstGeom prst="rect">
                    <a:avLst/>
                  </a:pr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68" name="Rectangle 185"/>
                  <p:cNvSpPr>
                    <a:spLocks noChangeArrowheads="1"/>
                  </p:cNvSpPr>
                  <p:nvPr/>
                </p:nvSpPr>
                <p:spPr bwMode="auto">
                  <a:xfrm>
                    <a:off x="8563373" y="5611137"/>
                    <a:ext cx="7342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69" name="Rectangle 186"/>
                  <p:cNvSpPr>
                    <a:spLocks noChangeArrowheads="1"/>
                  </p:cNvSpPr>
                  <p:nvPr/>
                </p:nvSpPr>
                <p:spPr bwMode="auto">
                  <a:xfrm>
                    <a:off x="8580505" y="5611137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70" name="Rectangle 187"/>
                  <p:cNvSpPr>
                    <a:spLocks noChangeArrowheads="1"/>
                  </p:cNvSpPr>
                  <p:nvPr/>
                </p:nvSpPr>
                <p:spPr bwMode="auto">
                  <a:xfrm>
                    <a:off x="8600086" y="5611137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71" name="Rectangle 188"/>
                  <p:cNvSpPr>
                    <a:spLocks noChangeArrowheads="1"/>
                  </p:cNvSpPr>
                  <p:nvPr/>
                </p:nvSpPr>
                <p:spPr bwMode="auto">
                  <a:xfrm>
                    <a:off x="8622115" y="5611137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72" name="Rectangle 189"/>
                  <p:cNvSpPr>
                    <a:spLocks noChangeArrowheads="1"/>
                  </p:cNvSpPr>
                  <p:nvPr/>
                </p:nvSpPr>
                <p:spPr bwMode="auto">
                  <a:xfrm>
                    <a:off x="8641696" y="5611137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73" name="Rectangle 190"/>
                  <p:cNvSpPr>
                    <a:spLocks noChangeArrowheads="1"/>
                  </p:cNvSpPr>
                  <p:nvPr/>
                </p:nvSpPr>
                <p:spPr bwMode="auto">
                  <a:xfrm>
                    <a:off x="8661276" y="5611137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74" name="Oval 191"/>
                  <p:cNvSpPr>
                    <a:spLocks noChangeArrowheads="1"/>
                  </p:cNvSpPr>
                  <p:nvPr/>
                </p:nvSpPr>
                <p:spPr bwMode="auto">
                  <a:xfrm>
                    <a:off x="8847296" y="5630720"/>
                    <a:ext cx="24475" cy="19581"/>
                  </a:xfrm>
                  <a:prstGeom prst="ellipse">
                    <a:avLst/>
                  </a:prstGeom>
                  <a:solidFill>
                    <a:srgbClr val="009E4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75" name="Rectangle 192"/>
                  <p:cNvSpPr>
                    <a:spLocks noChangeArrowheads="1"/>
                  </p:cNvSpPr>
                  <p:nvPr/>
                </p:nvSpPr>
                <p:spPr bwMode="auto">
                  <a:xfrm>
                    <a:off x="8546240" y="5713937"/>
                    <a:ext cx="354906" cy="90563"/>
                  </a:xfrm>
                  <a:prstGeom prst="rect">
                    <a:avLst/>
                  </a:pr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76" name="Rectangle 193"/>
                  <p:cNvSpPr>
                    <a:spLocks noChangeArrowheads="1"/>
                  </p:cNvSpPr>
                  <p:nvPr/>
                </p:nvSpPr>
                <p:spPr bwMode="auto">
                  <a:xfrm>
                    <a:off x="8563373" y="5726175"/>
                    <a:ext cx="7342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77" name="Rectangle 194"/>
                  <p:cNvSpPr>
                    <a:spLocks noChangeArrowheads="1"/>
                  </p:cNvSpPr>
                  <p:nvPr/>
                </p:nvSpPr>
                <p:spPr bwMode="auto">
                  <a:xfrm>
                    <a:off x="8580505" y="5726175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78" name="Rectangle 195"/>
                  <p:cNvSpPr>
                    <a:spLocks noChangeArrowheads="1"/>
                  </p:cNvSpPr>
                  <p:nvPr/>
                </p:nvSpPr>
                <p:spPr bwMode="auto">
                  <a:xfrm>
                    <a:off x="8600086" y="5726175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79" name="Rectangle 196"/>
                  <p:cNvSpPr>
                    <a:spLocks noChangeArrowheads="1"/>
                  </p:cNvSpPr>
                  <p:nvPr/>
                </p:nvSpPr>
                <p:spPr bwMode="auto">
                  <a:xfrm>
                    <a:off x="8622115" y="5726175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80" name="Rectangle 197"/>
                  <p:cNvSpPr>
                    <a:spLocks noChangeArrowheads="1"/>
                  </p:cNvSpPr>
                  <p:nvPr/>
                </p:nvSpPr>
                <p:spPr bwMode="auto">
                  <a:xfrm>
                    <a:off x="8641696" y="5726175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81" name="Rectangle 198"/>
                  <p:cNvSpPr>
                    <a:spLocks noChangeArrowheads="1"/>
                  </p:cNvSpPr>
                  <p:nvPr/>
                </p:nvSpPr>
                <p:spPr bwMode="auto">
                  <a:xfrm>
                    <a:off x="8661276" y="5726175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82" name="Oval 199"/>
                  <p:cNvSpPr>
                    <a:spLocks noChangeArrowheads="1"/>
                  </p:cNvSpPr>
                  <p:nvPr/>
                </p:nvSpPr>
                <p:spPr bwMode="auto">
                  <a:xfrm>
                    <a:off x="8847296" y="5748204"/>
                    <a:ext cx="24475" cy="19581"/>
                  </a:xfrm>
                  <a:prstGeom prst="ellipse">
                    <a:avLst/>
                  </a:prstGeom>
                  <a:solidFill>
                    <a:srgbClr val="009E4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83" name="Rectangle 200"/>
                  <p:cNvSpPr>
                    <a:spLocks noChangeArrowheads="1"/>
                  </p:cNvSpPr>
                  <p:nvPr/>
                </p:nvSpPr>
                <p:spPr bwMode="auto">
                  <a:xfrm>
                    <a:off x="8546240" y="5828975"/>
                    <a:ext cx="354906" cy="88115"/>
                  </a:xfrm>
                  <a:prstGeom prst="rect">
                    <a:avLst/>
                  </a:pr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84" name="Rectangle 201"/>
                  <p:cNvSpPr>
                    <a:spLocks noChangeArrowheads="1"/>
                  </p:cNvSpPr>
                  <p:nvPr/>
                </p:nvSpPr>
                <p:spPr bwMode="auto">
                  <a:xfrm>
                    <a:off x="8563373" y="5843661"/>
                    <a:ext cx="7342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85" name="Rectangle 202"/>
                  <p:cNvSpPr>
                    <a:spLocks noChangeArrowheads="1"/>
                  </p:cNvSpPr>
                  <p:nvPr/>
                </p:nvSpPr>
                <p:spPr bwMode="auto">
                  <a:xfrm>
                    <a:off x="8580505" y="5843661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86" name="Rectangle 203"/>
                  <p:cNvSpPr>
                    <a:spLocks noChangeArrowheads="1"/>
                  </p:cNvSpPr>
                  <p:nvPr/>
                </p:nvSpPr>
                <p:spPr bwMode="auto">
                  <a:xfrm>
                    <a:off x="8600086" y="5843661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87" name="Rectangle 204"/>
                  <p:cNvSpPr>
                    <a:spLocks noChangeArrowheads="1"/>
                  </p:cNvSpPr>
                  <p:nvPr/>
                </p:nvSpPr>
                <p:spPr bwMode="auto">
                  <a:xfrm>
                    <a:off x="8622115" y="5843661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88" name="Rectangle 205"/>
                  <p:cNvSpPr>
                    <a:spLocks noChangeArrowheads="1"/>
                  </p:cNvSpPr>
                  <p:nvPr/>
                </p:nvSpPr>
                <p:spPr bwMode="auto">
                  <a:xfrm>
                    <a:off x="8641696" y="5843661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89" name="Rectangle 206"/>
                  <p:cNvSpPr>
                    <a:spLocks noChangeArrowheads="1"/>
                  </p:cNvSpPr>
                  <p:nvPr/>
                </p:nvSpPr>
                <p:spPr bwMode="auto">
                  <a:xfrm>
                    <a:off x="8661276" y="5843661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90" name="Oval 207"/>
                  <p:cNvSpPr>
                    <a:spLocks noChangeArrowheads="1"/>
                  </p:cNvSpPr>
                  <p:nvPr/>
                </p:nvSpPr>
                <p:spPr bwMode="auto">
                  <a:xfrm>
                    <a:off x="8847296" y="5863242"/>
                    <a:ext cx="24475" cy="19581"/>
                  </a:xfrm>
                  <a:prstGeom prst="ellipse">
                    <a:avLst/>
                  </a:prstGeom>
                  <a:solidFill>
                    <a:srgbClr val="009E4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91" name="Rectangle 208"/>
                  <p:cNvSpPr>
                    <a:spLocks noChangeArrowheads="1"/>
                  </p:cNvSpPr>
                  <p:nvPr/>
                </p:nvSpPr>
                <p:spPr bwMode="auto">
                  <a:xfrm>
                    <a:off x="8477706" y="5050633"/>
                    <a:ext cx="491972" cy="1035343"/>
                  </a:xfrm>
                  <a:prstGeom prst="rect">
                    <a:avLst/>
                  </a:prstGeom>
                  <a:solidFill>
                    <a:srgbClr val="68217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92" name="Rectangle 209"/>
                  <p:cNvSpPr>
                    <a:spLocks noChangeArrowheads="1"/>
                  </p:cNvSpPr>
                  <p:nvPr/>
                </p:nvSpPr>
                <p:spPr bwMode="auto">
                  <a:xfrm>
                    <a:off x="8524210" y="5102032"/>
                    <a:ext cx="401410" cy="898276"/>
                  </a:xfrm>
                  <a:prstGeom prst="rect">
                    <a:avLst/>
                  </a:prstGeom>
                  <a:solidFill>
                    <a:srgbClr val="96969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93" name="Rectangle 210"/>
                  <p:cNvSpPr>
                    <a:spLocks noChangeArrowheads="1"/>
                  </p:cNvSpPr>
                  <p:nvPr/>
                </p:nvSpPr>
                <p:spPr bwMode="auto">
                  <a:xfrm>
                    <a:off x="8546240" y="5131405"/>
                    <a:ext cx="354906" cy="90563"/>
                  </a:xfrm>
                  <a:prstGeom prst="rect">
                    <a:avLst/>
                  </a:pr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94" name="Rectangle 211"/>
                  <p:cNvSpPr>
                    <a:spLocks noChangeArrowheads="1"/>
                  </p:cNvSpPr>
                  <p:nvPr/>
                </p:nvSpPr>
                <p:spPr bwMode="auto">
                  <a:xfrm>
                    <a:off x="8563373" y="5143641"/>
                    <a:ext cx="7342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95" name="Rectangle 212"/>
                  <p:cNvSpPr>
                    <a:spLocks noChangeArrowheads="1"/>
                  </p:cNvSpPr>
                  <p:nvPr/>
                </p:nvSpPr>
                <p:spPr bwMode="auto">
                  <a:xfrm>
                    <a:off x="8580505" y="5143641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96" name="Rectangle 213"/>
                  <p:cNvSpPr>
                    <a:spLocks noChangeArrowheads="1"/>
                  </p:cNvSpPr>
                  <p:nvPr/>
                </p:nvSpPr>
                <p:spPr bwMode="auto">
                  <a:xfrm>
                    <a:off x="8600086" y="5143641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97" name="Rectangle 214"/>
                  <p:cNvSpPr>
                    <a:spLocks noChangeArrowheads="1"/>
                  </p:cNvSpPr>
                  <p:nvPr/>
                </p:nvSpPr>
                <p:spPr bwMode="auto">
                  <a:xfrm>
                    <a:off x="8622115" y="5143641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98" name="Rectangle 215"/>
                  <p:cNvSpPr>
                    <a:spLocks noChangeArrowheads="1"/>
                  </p:cNvSpPr>
                  <p:nvPr/>
                </p:nvSpPr>
                <p:spPr bwMode="auto">
                  <a:xfrm>
                    <a:off x="8641696" y="5143641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99" name="Rectangle 216"/>
                  <p:cNvSpPr>
                    <a:spLocks noChangeArrowheads="1"/>
                  </p:cNvSpPr>
                  <p:nvPr/>
                </p:nvSpPr>
                <p:spPr bwMode="auto">
                  <a:xfrm>
                    <a:off x="8661276" y="5143641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00" name="Oval 217"/>
                  <p:cNvSpPr>
                    <a:spLocks noChangeArrowheads="1"/>
                  </p:cNvSpPr>
                  <p:nvPr/>
                </p:nvSpPr>
                <p:spPr bwMode="auto">
                  <a:xfrm>
                    <a:off x="8847296" y="5165671"/>
                    <a:ext cx="24475" cy="22029"/>
                  </a:xfrm>
                  <a:prstGeom prst="ellipse">
                    <a:avLst/>
                  </a:prstGeom>
                  <a:solidFill>
                    <a:srgbClr val="009E4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01" name="Rectangle 218"/>
                  <p:cNvSpPr>
                    <a:spLocks noChangeArrowheads="1"/>
                  </p:cNvSpPr>
                  <p:nvPr/>
                </p:nvSpPr>
                <p:spPr bwMode="auto">
                  <a:xfrm>
                    <a:off x="8546240" y="5246442"/>
                    <a:ext cx="354906" cy="93009"/>
                  </a:xfrm>
                  <a:prstGeom prst="rect">
                    <a:avLst/>
                  </a:pr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02" name="Rectangle 219"/>
                  <p:cNvSpPr>
                    <a:spLocks noChangeArrowheads="1"/>
                  </p:cNvSpPr>
                  <p:nvPr/>
                </p:nvSpPr>
                <p:spPr bwMode="auto">
                  <a:xfrm>
                    <a:off x="8563373" y="5261126"/>
                    <a:ext cx="7342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03" name="Rectangle 220"/>
                  <p:cNvSpPr>
                    <a:spLocks noChangeArrowheads="1"/>
                  </p:cNvSpPr>
                  <p:nvPr/>
                </p:nvSpPr>
                <p:spPr bwMode="auto">
                  <a:xfrm>
                    <a:off x="8580505" y="5261126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04" name="Rectangle 221"/>
                  <p:cNvSpPr>
                    <a:spLocks noChangeArrowheads="1"/>
                  </p:cNvSpPr>
                  <p:nvPr/>
                </p:nvSpPr>
                <p:spPr bwMode="auto">
                  <a:xfrm>
                    <a:off x="8600086" y="5261126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05" name="Rectangle 222"/>
                  <p:cNvSpPr>
                    <a:spLocks noChangeArrowheads="1"/>
                  </p:cNvSpPr>
                  <p:nvPr/>
                </p:nvSpPr>
                <p:spPr bwMode="auto">
                  <a:xfrm>
                    <a:off x="8622115" y="5261126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06" name="Rectangle 223"/>
                  <p:cNvSpPr>
                    <a:spLocks noChangeArrowheads="1"/>
                  </p:cNvSpPr>
                  <p:nvPr/>
                </p:nvSpPr>
                <p:spPr bwMode="auto">
                  <a:xfrm>
                    <a:off x="8641696" y="5261126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07" name="Rectangle 224"/>
                  <p:cNvSpPr>
                    <a:spLocks noChangeArrowheads="1"/>
                  </p:cNvSpPr>
                  <p:nvPr/>
                </p:nvSpPr>
                <p:spPr bwMode="auto">
                  <a:xfrm>
                    <a:off x="8661276" y="5261126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08" name="Oval 225"/>
                  <p:cNvSpPr>
                    <a:spLocks noChangeArrowheads="1"/>
                  </p:cNvSpPr>
                  <p:nvPr/>
                </p:nvSpPr>
                <p:spPr bwMode="auto">
                  <a:xfrm>
                    <a:off x="8847296" y="5280709"/>
                    <a:ext cx="24475" cy="24475"/>
                  </a:xfrm>
                  <a:prstGeom prst="ellipse">
                    <a:avLst/>
                  </a:prstGeom>
                  <a:solidFill>
                    <a:srgbClr val="009E4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09" name="Rectangle 226"/>
                  <p:cNvSpPr>
                    <a:spLocks noChangeArrowheads="1"/>
                  </p:cNvSpPr>
                  <p:nvPr/>
                </p:nvSpPr>
                <p:spPr bwMode="auto">
                  <a:xfrm>
                    <a:off x="8546240" y="5363927"/>
                    <a:ext cx="354906" cy="93009"/>
                  </a:xfrm>
                  <a:prstGeom prst="rect">
                    <a:avLst/>
                  </a:pr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10" name="Rectangle 227"/>
                  <p:cNvSpPr>
                    <a:spLocks noChangeArrowheads="1"/>
                  </p:cNvSpPr>
                  <p:nvPr/>
                </p:nvSpPr>
                <p:spPr bwMode="auto">
                  <a:xfrm>
                    <a:off x="8563373" y="5376167"/>
                    <a:ext cx="7342" cy="63637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11" name="Rectangle 228"/>
                  <p:cNvSpPr>
                    <a:spLocks noChangeArrowheads="1"/>
                  </p:cNvSpPr>
                  <p:nvPr/>
                </p:nvSpPr>
                <p:spPr bwMode="auto">
                  <a:xfrm>
                    <a:off x="8580505" y="5376167"/>
                    <a:ext cx="9790" cy="63637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12" name="Rectangle 229"/>
                  <p:cNvSpPr>
                    <a:spLocks noChangeArrowheads="1"/>
                  </p:cNvSpPr>
                  <p:nvPr/>
                </p:nvSpPr>
                <p:spPr bwMode="auto">
                  <a:xfrm>
                    <a:off x="8600086" y="5376167"/>
                    <a:ext cx="9790" cy="63637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13" name="Rectangle 230"/>
                  <p:cNvSpPr>
                    <a:spLocks noChangeArrowheads="1"/>
                  </p:cNvSpPr>
                  <p:nvPr/>
                </p:nvSpPr>
                <p:spPr bwMode="auto">
                  <a:xfrm>
                    <a:off x="8622115" y="5376167"/>
                    <a:ext cx="9790" cy="63637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14" name="Rectangle 232"/>
                  <p:cNvSpPr>
                    <a:spLocks noChangeArrowheads="1"/>
                  </p:cNvSpPr>
                  <p:nvPr/>
                </p:nvSpPr>
                <p:spPr bwMode="auto">
                  <a:xfrm>
                    <a:off x="8641696" y="5376167"/>
                    <a:ext cx="9790" cy="63637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15" name="Rectangle 233"/>
                  <p:cNvSpPr>
                    <a:spLocks noChangeArrowheads="1"/>
                  </p:cNvSpPr>
                  <p:nvPr/>
                </p:nvSpPr>
                <p:spPr bwMode="auto">
                  <a:xfrm>
                    <a:off x="8661276" y="5376167"/>
                    <a:ext cx="12238" cy="63637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16" name="Oval 234"/>
                  <p:cNvSpPr>
                    <a:spLocks noChangeArrowheads="1"/>
                  </p:cNvSpPr>
                  <p:nvPr/>
                </p:nvSpPr>
                <p:spPr bwMode="auto">
                  <a:xfrm>
                    <a:off x="8847296" y="5398193"/>
                    <a:ext cx="24475" cy="24475"/>
                  </a:xfrm>
                  <a:prstGeom prst="ellipse">
                    <a:avLst/>
                  </a:prstGeom>
                  <a:solidFill>
                    <a:srgbClr val="009E4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17" name="Rectangle 235"/>
                  <p:cNvSpPr>
                    <a:spLocks noChangeArrowheads="1"/>
                  </p:cNvSpPr>
                  <p:nvPr/>
                </p:nvSpPr>
                <p:spPr bwMode="auto">
                  <a:xfrm>
                    <a:off x="8546240" y="5478965"/>
                    <a:ext cx="354906" cy="93009"/>
                  </a:xfrm>
                  <a:prstGeom prst="rect">
                    <a:avLst/>
                  </a:pr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18" name="Rectangle 236"/>
                  <p:cNvSpPr>
                    <a:spLocks noChangeArrowheads="1"/>
                  </p:cNvSpPr>
                  <p:nvPr/>
                </p:nvSpPr>
                <p:spPr bwMode="auto">
                  <a:xfrm>
                    <a:off x="8563373" y="5493652"/>
                    <a:ext cx="7342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19" name="Rectangle 237"/>
                  <p:cNvSpPr>
                    <a:spLocks noChangeArrowheads="1"/>
                  </p:cNvSpPr>
                  <p:nvPr/>
                </p:nvSpPr>
                <p:spPr bwMode="auto">
                  <a:xfrm>
                    <a:off x="8580505" y="5493652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20" name="Rectangle 238"/>
                  <p:cNvSpPr>
                    <a:spLocks noChangeArrowheads="1"/>
                  </p:cNvSpPr>
                  <p:nvPr/>
                </p:nvSpPr>
                <p:spPr bwMode="auto">
                  <a:xfrm>
                    <a:off x="8600086" y="5493652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21" name="Rectangle 239"/>
                  <p:cNvSpPr>
                    <a:spLocks noChangeArrowheads="1"/>
                  </p:cNvSpPr>
                  <p:nvPr/>
                </p:nvSpPr>
                <p:spPr bwMode="auto">
                  <a:xfrm>
                    <a:off x="8622115" y="5493652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22" name="Rectangle 240"/>
                  <p:cNvSpPr>
                    <a:spLocks noChangeArrowheads="1"/>
                  </p:cNvSpPr>
                  <p:nvPr/>
                </p:nvSpPr>
                <p:spPr bwMode="auto">
                  <a:xfrm>
                    <a:off x="8641696" y="5493652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23" name="Rectangle 241"/>
                  <p:cNvSpPr>
                    <a:spLocks noChangeArrowheads="1"/>
                  </p:cNvSpPr>
                  <p:nvPr/>
                </p:nvSpPr>
                <p:spPr bwMode="auto">
                  <a:xfrm>
                    <a:off x="8661276" y="5493652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24" name="Oval 242"/>
                  <p:cNvSpPr>
                    <a:spLocks noChangeArrowheads="1"/>
                  </p:cNvSpPr>
                  <p:nvPr/>
                </p:nvSpPr>
                <p:spPr bwMode="auto">
                  <a:xfrm>
                    <a:off x="8847296" y="5513234"/>
                    <a:ext cx="24475" cy="22029"/>
                  </a:xfrm>
                  <a:prstGeom prst="ellipse">
                    <a:avLst/>
                  </a:prstGeom>
                  <a:solidFill>
                    <a:srgbClr val="009E4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25" name="Rectangle 243"/>
                  <p:cNvSpPr>
                    <a:spLocks noChangeArrowheads="1"/>
                  </p:cNvSpPr>
                  <p:nvPr/>
                </p:nvSpPr>
                <p:spPr bwMode="auto">
                  <a:xfrm>
                    <a:off x="8546240" y="5596451"/>
                    <a:ext cx="354906" cy="93009"/>
                  </a:xfrm>
                  <a:prstGeom prst="rect">
                    <a:avLst/>
                  </a:pr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26" name="Rectangle 244"/>
                  <p:cNvSpPr>
                    <a:spLocks noChangeArrowheads="1"/>
                  </p:cNvSpPr>
                  <p:nvPr/>
                </p:nvSpPr>
                <p:spPr bwMode="auto">
                  <a:xfrm>
                    <a:off x="8563373" y="5611137"/>
                    <a:ext cx="7342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27" name="Rectangle 245"/>
                  <p:cNvSpPr>
                    <a:spLocks noChangeArrowheads="1"/>
                  </p:cNvSpPr>
                  <p:nvPr/>
                </p:nvSpPr>
                <p:spPr bwMode="auto">
                  <a:xfrm>
                    <a:off x="8580505" y="5611137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28" name="Rectangle 246"/>
                  <p:cNvSpPr>
                    <a:spLocks noChangeArrowheads="1"/>
                  </p:cNvSpPr>
                  <p:nvPr/>
                </p:nvSpPr>
                <p:spPr bwMode="auto">
                  <a:xfrm>
                    <a:off x="8600086" y="5611137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29" name="Rectangle 247"/>
                  <p:cNvSpPr>
                    <a:spLocks noChangeArrowheads="1"/>
                  </p:cNvSpPr>
                  <p:nvPr/>
                </p:nvSpPr>
                <p:spPr bwMode="auto">
                  <a:xfrm>
                    <a:off x="8622115" y="5611137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30" name="Rectangle 248"/>
                  <p:cNvSpPr>
                    <a:spLocks noChangeArrowheads="1"/>
                  </p:cNvSpPr>
                  <p:nvPr/>
                </p:nvSpPr>
                <p:spPr bwMode="auto">
                  <a:xfrm>
                    <a:off x="8641696" y="5611137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31" name="Rectangle 249"/>
                  <p:cNvSpPr>
                    <a:spLocks noChangeArrowheads="1"/>
                  </p:cNvSpPr>
                  <p:nvPr/>
                </p:nvSpPr>
                <p:spPr bwMode="auto">
                  <a:xfrm>
                    <a:off x="8661276" y="5611137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32" name="Oval 250"/>
                  <p:cNvSpPr>
                    <a:spLocks noChangeArrowheads="1"/>
                  </p:cNvSpPr>
                  <p:nvPr/>
                </p:nvSpPr>
                <p:spPr bwMode="auto">
                  <a:xfrm>
                    <a:off x="8847296" y="5630720"/>
                    <a:ext cx="24475" cy="19581"/>
                  </a:xfrm>
                  <a:prstGeom prst="ellipse">
                    <a:avLst/>
                  </a:prstGeom>
                  <a:solidFill>
                    <a:srgbClr val="009E4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33" name="Rectangle 251"/>
                  <p:cNvSpPr>
                    <a:spLocks noChangeArrowheads="1"/>
                  </p:cNvSpPr>
                  <p:nvPr/>
                </p:nvSpPr>
                <p:spPr bwMode="auto">
                  <a:xfrm>
                    <a:off x="8546240" y="5713937"/>
                    <a:ext cx="354906" cy="90563"/>
                  </a:xfrm>
                  <a:prstGeom prst="rect">
                    <a:avLst/>
                  </a:pr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34" name="Rectangle 252"/>
                  <p:cNvSpPr>
                    <a:spLocks noChangeArrowheads="1"/>
                  </p:cNvSpPr>
                  <p:nvPr/>
                </p:nvSpPr>
                <p:spPr bwMode="auto">
                  <a:xfrm>
                    <a:off x="8563373" y="5726175"/>
                    <a:ext cx="7342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35" name="Rectangle 253"/>
                  <p:cNvSpPr>
                    <a:spLocks noChangeArrowheads="1"/>
                  </p:cNvSpPr>
                  <p:nvPr/>
                </p:nvSpPr>
                <p:spPr bwMode="auto">
                  <a:xfrm>
                    <a:off x="8580505" y="5726175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36" name="Rectangle 254"/>
                  <p:cNvSpPr>
                    <a:spLocks noChangeArrowheads="1"/>
                  </p:cNvSpPr>
                  <p:nvPr/>
                </p:nvSpPr>
                <p:spPr bwMode="auto">
                  <a:xfrm>
                    <a:off x="8600086" y="5726175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37" name="Rectangle 255"/>
                  <p:cNvSpPr>
                    <a:spLocks noChangeArrowheads="1"/>
                  </p:cNvSpPr>
                  <p:nvPr/>
                </p:nvSpPr>
                <p:spPr bwMode="auto">
                  <a:xfrm>
                    <a:off x="8622115" y="5726175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38" name="Rectangle 256"/>
                  <p:cNvSpPr>
                    <a:spLocks noChangeArrowheads="1"/>
                  </p:cNvSpPr>
                  <p:nvPr/>
                </p:nvSpPr>
                <p:spPr bwMode="auto">
                  <a:xfrm>
                    <a:off x="8641696" y="5726175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39" name="Rectangle 257"/>
                  <p:cNvSpPr>
                    <a:spLocks noChangeArrowheads="1"/>
                  </p:cNvSpPr>
                  <p:nvPr/>
                </p:nvSpPr>
                <p:spPr bwMode="auto">
                  <a:xfrm>
                    <a:off x="8661276" y="5726175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40" name="Oval 258"/>
                  <p:cNvSpPr>
                    <a:spLocks noChangeArrowheads="1"/>
                  </p:cNvSpPr>
                  <p:nvPr/>
                </p:nvSpPr>
                <p:spPr bwMode="auto">
                  <a:xfrm>
                    <a:off x="8847296" y="5748204"/>
                    <a:ext cx="24475" cy="19581"/>
                  </a:xfrm>
                  <a:prstGeom prst="ellipse">
                    <a:avLst/>
                  </a:prstGeom>
                  <a:solidFill>
                    <a:srgbClr val="009E4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41" name="Rectangle 259"/>
                  <p:cNvSpPr>
                    <a:spLocks noChangeArrowheads="1"/>
                  </p:cNvSpPr>
                  <p:nvPr/>
                </p:nvSpPr>
                <p:spPr bwMode="auto">
                  <a:xfrm>
                    <a:off x="8546240" y="5828975"/>
                    <a:ext cx="354906" cy="88115"/>
                  </a:xfrm>
                  <a:prstGeom prst="rect">
                    <a:avLst/>
                  </a:pr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42" name="Rectangle 260"/>
                  <p:cNvSpPr>
                    <a:spLocks noChangeArrowheads="1"/>
                  </p:cNvSpPr>
                  <p:nvPr/>
                </p:nvSpPr>
                <p:spPr bwMode="auto">
                  <a:xfrm>
                    <a:off x="8563373" y="5843661"/>
                    <a:ext cx="7342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43" name="Rectangle 261"/>
                  <p:cNvSpPr>
                    <a:spLocks noChangeArrowheads="1"/>
                  </p:cNvSpPr>
                  <p:nvPr/>
                </p:nvSpPr>
                <p:spPr bwMode="auto">
                  <a:xfrm>
                    <a:off x="8580505" y="5843661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44" name="Rectangle 262"/>
                  <p:cNvSpPr>
                    <a:spLocks noChangeArrowheads="1"/>
                  </p:cNvSpPr>
                  <p:nvPr/>
                </p:nvSpPr>
                <p:spPr bwMode="auto">
                  <a:xfrm>
                    <a:off x="8600086" y="5843661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45" name="Rectangle 263"/>
                  <p:cNvSpPr>
                    <a:spLocks noChangeArrowheads="1"/>
                  </p:cNvSpPr>
                  <p:nvPr/>
                </p:nvSpPr>
                <p:spPr bwMode="auto">
                  <a:xfrm>
                    <a:off x="8622115" y="5843661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46" name="Rectangle 264"/>
                  <p:cNvSpPr>
                    <a:spLocks noChangeArrowheads="1"/>
                  </p:cNvSpPr>
                  <p:nvPr/>
                </p:nvSpPr>
                <p:spPr bwMode="auto">
                  <a:xfrm>
                    <a:off x="8641696" y="5843661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47" name="Rectangle 265"/>
                  <p:cNvSpPr>
                    <a:spLocks noChangeArrowheads="1"/>
                  </p:cNvSpPr>
                  <p:nvPr/>
                </p:nvSpPr>
                <p:spPr bwMode="auto">
                  <a:xfrm>
                    <a:off x="8661276" y="5843661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48" name="Oval 266"/>
                  <p:cNvSpPr>
                    <a:spLocks noChangeArrowheads="1"/>
                  </p:cNvSpPr>
                  <p:nvPr/>
                </p:nvSpPr>
                <p:spPr bwMode="auto">
                  <a:xfrm>
                    <a:off x="8847296" y="5863242"/>
                    <a:ext cx="24475" cy="19581"/>
                  </a:xfrm>
                  <a:prstGeom prst="ellipse">
                    <a:avLst/>
                  </a:prstGeom>
                  <a:solidFill>
                    <a:srgbClr val="009E4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49" name="Rectangle 267"/>
                  <p:cNvSpPr>
                    <a:spLocks noChangeArrowheads="1"/>
                  </p:cNvSpPr>
                  <p:nvPr/>
                </p:nvSpPr>
                <p:spPr bwMode="auto">
                  <a:xfrm>
                    <a:off x="9033315" y="5050633"/>
                    <a:ext cx="496867" cy="1035343"/>
                  </a:xfrm>
                  <a:prstGeom prst="rect">
                    <a:avLst/>
                  </a:prstGeom>
                  <a:solidFill>
                    <a:srgbClr val="68217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50" name="Rectangle 268"/>
                  <p:cNvSpPr>
                    <a:spLocks noChangeArrowheads="1"/>
                  </p:cNvSpPr>
                  <p:nvPr/>
                </p:nvSpPr>
                <p:spPr bwMode="auto">
                  <a:xfrm>
                    <a:off x="9079820" y="5102032"/>
                    <a:ext cx="401410" cy="898276"/>
                  </a:xfrm>
                  <a:prstGeom prst="rect">
                    <a:avLst/>
                  </a:prstGeom>
                  <a:solidFill>
                    <a:srgbClr val="96969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51" name="Rectangle 269"/>
                  <p:cNvSpPr>
                    <a:spLocks noChangeArrowheads="1"/>
                  </p:cNvSpPr>
                  <p:nvPr/>
                </p:nvSpPr>
                <p:spPr bwMode="auto">
                  <a:xfrm>
                    <a:off x="9104297" y="5131405"/>
                    <a:ext cx="352458" cy="90563"/>
                  </a:xfrm>
                  <a:prstGeom prst="rect">
                    <a:avLst/>
                  </a:pr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52" name="Rectangle 270"/>
                  <p:cNvSpPr>
                    <a:spLocks noChangeArrowheads="1"/>
                  </p:cNvSpPr>
                  <p:nvPr/>
                </p:nvSpPr>
                <p:spPr bwMode="auto">
                  <a:xfrm>
                    <a:off x="9118982" y="5143641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53" name="Rectangle 271"/>
                  <p:cNvSpPr>
                    <a:spLocks noChangeArrowheads="1"/>
                  </p:cNvSpPr>
                  <p:nvPr/>
                </p:nvSpPr>
                <p:spPr bwMode="auto">
                  <a:xfrm>
                    <a:off x="9138562" y="5143641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54" name="Rectangle 272"/>
                  <p:cNvSpPr>
                    <a:spLocks noChangeArrowheads="1"/>
                  </p:cNvSpPr>
                  <p:nvPr/>
                </p:nvSpPr>
                <p:spPr bwMode="auto">
                  <a:xfrm>
                    <a:off x="9158143" y="5143641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55" name="Rectangle 273"/>
                  <p:cNvSpPr>
                    <a:spLocks noChangeArrowheads="1"/>
                  </p:cNvSpPr>
                  <p:nvPr/>
                </p:nvSpPr>
                <p:spPr bwMode="auto">
                  <a:xfrm>
                    <a:off x="9175276" y="5143641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56" name="Rectangle 274"/>
                  <p:cNvSpPr>
                    <a:spLocks noChangeArrowheads="1"/>
                  </p:cNvSpPr>
                  <p:nvPr/>
                </p:nvSpPr>
                <p:spPr bwMode="auto">
                  <a:xfrm>
                    <a:off x="9197305" y="5143641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57" name="Rectangle 275"/>
                  <p:cNvSpPr>
                    <a:spLocks noChangeArrowheads="1"/>
                  </p:cNvSpPr>
                  <p:nvPr/>
                </p:nvSpPr>
                <p:spPr bwMode="auto">
                  <a:xfrm>
                    <a:off x="9216887" y="5143641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58" name="Oval 276"/>
                  <p:cNvSpPr>
                    <a:spLocks noChangeArrowheads="1"/>
                  </p:cNvSpPr>
                  <p:nvPr/>
                </p:nvSpPr>
                <p:spPr bwMode="auto">
                  <a:xfrm>
                    <a:off x="9405353" y="5165671"/>
                    <a:ext cx="22029" cy="22029"/>
                  </a:xfrm>
                  <a:prstGeom prst="ellipse">
                    <a:avLst/>
                  </a:prstGeom>
                  <a:solidFill>
                    <a:srgbClr val="009E4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59" name="Rectangle 277"/>
                  <p:cNvSpPr>
                    <a:spLocks noChangeArrowheads="1"/>
                  </p:cNvSpPr>
                  <p:nvPr/>
                </p:nvSpPr>
                <p:spPr bwMode="auto">
                  <a:xfrm>
                    <a:off x="9104297" y="5246442"/>
                    <a:ext cx="352458" cy="93009"/>
                  </a:xfrm>
                  <a:prstGeom prst="rect">
                    <a:avLst/>
                  </a:pr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60" name="Rectangle 278"/>
                  <p:cNvSpPr>
                    <a:spLocks noChangeArrowheads="1"/>
                  </p:cNvSpPr>
                  <p:nvPr/>
                </p:nvSpPr>
                <p:spPr bwMode="auto">
                  <a:xfrm>
                    <a:off x="9118982" y="5261126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61" name="Rectangle 279"/>
                  <p:cNvSpPr>
                    <a:spLocks noChangeArrowheads="1"/>
                  </p:cNvSpPr>
                  <p:nvPr/>
                </p:nvSpPr>
                <p:spPr bwMode="auto">
                  <a:xfrm>
                    <a:off x="9138562" y="5261126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62" name="Rectangle 280"/>
                  <p:cNvSpPr>
                    <a:spLocks noChangeArrowheads="1"/>
                  </p:cNvSpPr>
                  <p:nvPr/>
                </p:nvSpPr>
                <p:spPr bwMode="auto">
                  <a:xfrm>
                    <a:off x="9158143" y="5261126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63" name="Rectangle 281"/>
                  <p:cNvSpPr>
                    <a:spLocks noChangeArrowheads="1"/>
                  </p:cNvSpPr>
                  <p:nvPr/>
                </p:nvSpPr>
                <p:spPr bwMode="auto">
                  <a:xfrm>
                    <a:off x="9175276" y="5261126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64" name="Rectangle 282"/>
                  <p:cNvSpPr>
                    <a:spLocks noChangeArrowheads="1"/>
                  </p:cNvSpPr>
                  <p:nvPr/>
                </p:nvSpPr>
                <p:spPr bwMode="auto">
                  <a:xfrm>
                    <a:off x="9197305" y="5261126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65" name="Rectangle 283"/>
                  <p:cNvSpPr>
                    <a:spLocks noChangeArrowheads="1"/>
                  </p:cNvSpPr>
                  <p:nvPr/>
                </p:nvSpPr>
                <p:spPr bwMode="auto">
                  <a:xfrm>
                    <a:off x="9216887" y="5261126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66" name="Oval 284"/>
                  <p:cNvSpPr>
                    <a:spLocks noChangeArrowheads="1"/>
                  </p:cNvSpPr>
                  <p:nvPr/>
                </p:nvSpPr>
                <p:spPr bwMode="auto">
                  <a:xfrm>
                    <a:off x="9405353" y="5280709"/>
                    <a:ext cx="22029" cy="24475"/>
                  </a:xfrm>
                  <a:prstGeom prst="ellipse">
                    <a:avLst/>
                  </a:prstGeom>
                  <a:solidFill>
                    <a:srgbClr val="009E4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67" name="Rectangle 285"/>
                  <p:cNvSpPr>
                    <a:spLocks noChangeArrowheads="1"/>
                  </p:cNvSpPr>
                  <p:nvPr/>
                </p:nvSpPr>
                <p:spPr bwMode="auto">
                  <a:xfrm>
                    <a:off x="9104297" y="5363927"/>
                    <a:ext cx="352458" cy="93009"/>
                  </a:xfrm>
                  <a:prstGeom prst="rect">
                    <a:avLst/>
                  </a:pr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68" name="Rectangle 286"/>
                  <p:cNvSpPr>
                    <a:spLocks noChangeArrowheads="1"/>
                  </p:cNvSpPr>
                  <p:nvPr/>
                </p:nvSpPr>
                <p:spPr bwMode="auto">
                  <a:xfrm>
                    <a:off x="9118982" y="5376167"/>
                    <a:ext cx="9790" cy="63637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69" name="Rectangle 287"/>
                  <p:cNvSpPr>
                    <a:spLocks noChangeArrowheads="1"/>
                  </p:cNvSpPr>
                  <p:nvPr/>
                </p:nvSpPr>
                <p:spPr bwMode="auto">
                  <a:xfrm>
                    <a:off x="9138562" y="5376167"/>
                    <a:ext cx="9790" cy="63637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70" name="Rectangle 288"/>
                  <p:cNvSpPr>
                    <a:spLocks noChangeArrowheads="1"/>
                  </p:cNvSpPr>
                  <p:nvPr/>
                </p:nvSpPr>
                <p:spPr bwMode="auto">
                  <a:xfrm>
                    <a:off x="9158143" y="5376167"/>
                    <a:ext cx="12238" cy="63637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71" name="Rectangle 289"/>
                  <p:cNvSpPr>
                    <a:spLocks noChangeArrowheads="1"/>
                  </p:cNvSpPr>
                  <p:nvPr/>
                </p:nvSpPr>
                <p:spPr bwMode="auto">
                  <a:xfrm>
                    <a:off x="9175276" y="5376167"/>
                    <a:ext cx="12238" cy="63637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72" name="Rectangle 290"/>
                  <p:cNvSpPr>
                    <a:spLocks noChangeArrowheads="1"/>
                  </p:cNvSpPr>
                  <p:nvPr/>
                </p:nvSpPr>
                <p:spPr bwMode="auto">
                  <a:xfrm>
                    <a:off x="9197305" y="5376167"/>
                    <a:ext cx="9790" cy="63637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73" name="Rectangle 291"/>
                  <p:cNvSpPr>
                    <a:spLocks noChangeArrowheads="1"/>
                  </p:cNvSpPr>
                  <p:nvPr/>
                </p:nvSpPr>
                <p:spPr bwMode="auto">
                  <a:xfrm>
                    <a:off x="9216887" y="5376167"/>
                    <a:ext cx="9790" cy="63637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74" name="Oval 292"/>
                  <p:cNvSpPr>
                    <a:spLocks noChangeArrowheads="1"/>
                  </p:cNvSpPr>
                  <p:nvPr/>
                </p:nvSpPr>
                <p:spPr bwMode="auto">
                  <a:xfrm>
                    <a:off x="9405353" y="5398193"/>
                    <a:ext cx="22029" cy="24475"/>
                  </a:xfrm>
                  <a:prstGeom prst="ellipse">
                    <a:avLst/>
                  </a:prstGeom>
                  <a:solidFill>
                    <a:srgbClr val="009E4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75" name="Rectangle 293"/>
                  <p:cNvSpPr>
                    <a:spLocks noChangeArrowheads="1"/>
                  </p:cNvSpPr>
                  <p:nvPr/>
                </p:nvSpPr>
                <p:spPr bwMode="auto">
                  <a:xfrm>
                    <a:off x="9104297" y="5478965"/>
                    <a:ext cx="352458" cy="93009"/>
                  </a:xfrm>
                  <a:prstGeom prst="rect">
                    <a:avLst/>
                  </a:pr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76" name="Rectangle 294"/>
                  <p:cNvSpPr>
                    <a:spLocks noChangeArrowheads="1"/>
                  </p:cNvSpPr>
                  <p:nvPr/>
                </p:nvSpPr>
                <p:spPr bwMode="auto">
                  <a:xfrm>
                    <a:off x="9118982" y="5493652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77" name="Rectangle 295"/>
                  <p:cNvSpPr>
                    <a:spLocks noChangeArrowheads="1"/>
                  </p:cNvSpPr>
                  <p:nvPr/>
                </p:nvSpPr>
                <p:spPr bwMode="auto">
                  <a:xfrm>
                    <a:off x="9138562" y="5493652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78" name="Rectangle 296"/>
                  <p:cNvSpPr>
                    <a:spLocks noChangeArrowheads="1"/>
                  </p:cNvSpPr>
                  <p:nvPr/>
                </p:nvSpPr>
                <p:spPr bwMode="auto">
                  <a:xfrm>
                    <a:off x="9158143" y="5493652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79" name="Rectangle 297"/>
                  <p:cNvSpPr>
                    <a:spLocks noChangeArrowheads="1"/>
                  </p:cNvSpPr>
                  <p:nvPr/>
                </p:nvSpPr>
                <p:spPr bwMode="auto">
                  <a:xfrm>
                    <a:off x="9175276" y="5493652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80" name="Rectangle 298"/>
                  <p:cNvSpPr>
                    <a:spLocks noChangeArrowheads="1"/>
                  </p:cNvSpPr>
                  <p:nvPr/>
                </p:nvSpPr>
                <p:spPr bwMode="auto">
                  <a:xfrm>
                    <a:off x="9197305" y="5493652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81" name="Rectangle 299"/>
                  <p:cNvSpPr>
                    <a:spLocks noChangeArrowheads="1"/>
                  </p:cNvSpPr>
                  <p:nvPr/>
                </p:nvSpPr>
                <p:spPr bwMode="auto">
                  <a:xfrm>
                    <a:off x="9216887" y="5493652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82" name="Oval 300"/>
                  <p:cNvSpPr>
                    <a:spLocks noChangeArrowheads="1"/>
                  </p:cNvSpPr>
                  <p:nvPr/>
                </p:nvSpPr>
                <p:spPr bwMode="auto">
                  <a:xfrm>
                    <a:off x="9405353" y="5513234"/>
                    <a:ext cx="22029" cy="22029"/>
                  </a:xfrm>
                  <a:prstGeom prst="ellipse">
                    <a:avLst/>
                  </a:prstGeom>
                  <a:solidFill>
                    <a:srgbClr val="009E4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83" name="Rectangle 301"/>
                  <p:cNvSpPr>
                    <a:spLocks noChangeArrowheads="1"/>
                  </p:cNvSpPr>
                  <p:nvPr/>
                </p:nvSpPr>
                <p:spPr bwMode="auto">
                  <a:xfrm>
                    <a:off x="9104297" y="5596451"/>
                    <a:ext cx="352458" cy="93009"/>
                  </a:xfrm>
                  <a:prstGeom prst="rect">
                    <a:avLst/>
                  </a:pr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84" name="Rectangle 302"/>
                  <p:cNvSpPr>
                    <a:spLocks noChangeArrowheads="1"/>
                  </p:cNvSpPr>
                  <p:nvPr/>
                </p:nvSpPr>
                <p:spPr bwMode="auto">
                  <a:xfrm>
                    <a:off x="9118982" y="5611137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85" name="Rectangle 303"/>
                  <p:cNvSpPr>
                    <a:spLocks noChangeArrowheads="1"/>
                  </p:cNvSpPr>
                  <p:nvPr/>
                </p:nvSpPr>
                <p:spPr bwMode="auto">
                  <a:xfrm>
                    <a:off x="9138562" y="5611137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86" name="Rectangle 304"/>
                  <p:cNvSpPr>
                    <a:spLocks noChangeArrowheads="1"/>
                  </p:cNvSpPr>
                  <p:nvPr/>
                </p:nvSpPr>
                <p:spPr bwMode="auto">
                  <a:xfrm>
                    <a:off x="9158143" y="5611137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87" name="Rectangle 305"/>
                  <p:cNvSpPr>
                    <a:spLocks noChangeArrowheads="1"/>
                  </p:cNvSpPr>
                  <p:nvPr/>
                </p:nvSpPr>
                <p:spPr bwMode="auto">
                  <a:xfrm>
                    <a:off x="9175276" y="5611137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88" name="Rectangle 306"/>
                  <p:cNvSpPr>
                    <a:spLocks noChangeArrowheads="1"/>
                  </p:cNvSpPr>
                  <p:nvPr/>
                </p:nvSpPr>
                <p:spPr bwMode="auto">
                  <a:xfrm>
                    <a:off x="9197305" y="5611137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89" name="Rectangle 307"/>
                  <p:cNvSpPr>
                    <a:spLocks noChangeArrowheads="1"/>
                  </p:cNvSpPr>
                  <p:nvPr/>
                </p:nvSpPr>
                <p:spPr bwMode="auto">
                  <a:xfrm>
                    <a:off x="9216887" y="5611137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90" name="Oval 308"/>
                  <p:cNvSpPr>
                    <a:spLocks noChangeArrowheads="1"/>
                  </p:cNvSpPr>
                  <p:nvPr/>
                </p:nvSpPr>
                <p:spPr bwMode="auto">
                  <a:xfrm>
                    <a:off x="9405353" y="5630720"/>
                    <a:ext cx="22029" cy="19581"/>
                  </a:xfrm>
                  <a:prstGeom prst="ellipse">
                    <a:avLst/>
                  </a:prstGeom>
                  <a:solidFill>
                    <a:srgbClr val="009E4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91" name="Rectangle 309"/>
                  <p:cNvSpPr>
                    <a:spLocks noChangeArrowheads="1"/>
                  </p:cNvSpPr>
                  <p:nvPr/>
                </p:nvSpPr>
                <p:spPr bwMode="auto">
                  <a:xfrm>
                    <a:off x="9104297" y="5713937"/>
                    <a:ext cx="352458" cy="90563"/>
                  </a:xfrm>
                  <a:prstGeom prst="rect">
                    <a:avLst/>
                  </a:pr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92" name="Rectangle 310"/>
                  <p:cNvSpPr>
                    <a:spLocks noChangeArrowheads="1"/>
                  </p:cNvSpPr>
                  <p:nvPr/>
                </p:nvSpPr>
                <p:spPr bwMode="auto">
                  <a:xfrm>
                    <a:off x="9118982" y="5726175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93" name="Rectangle 311"/>
                  <p:cNvSpPr>
                    <a:spLocks noChangeArrowheads="1"/>
                  </p:cNvSpPr>
                  <p:nvPr/>
                </p:nvSpPr>
                <p:spPr bwMode="auto">
                  <a:xfrm>
                    <a:off x="9138562" y="5726175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94" name="Rectangle 312"/>
                  <p:cNvSpPr>
                    <a:spLocks noChangeArrowheads="1"/>
                  </p:cNvSpPr>
                  <p:nvPr/>
                </p:nvSpPr>
                <p:spPr bwMode="auto">
                  <a:xfrm>
                    <a:off x="9158143" y="5726175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95" name="Rectangle 313"/>
                  <p:cNvSpPr>
                    <a:spLocks noChangeArrowheads="1"/>
                  </p:cNvSpPr>
                  <p:nvPr/>
                </p:nvSpPr>
                <p:spPr bwMode="auto">
                  <a:xfrm>
                    <a:off x="9175276" y="5726175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96" name="Rectangle 314"/>
                  <p:cNvSpPr>
                    <a:spLocks noChangeArrowheads="1"/>
                  </p:cNvSpPr>
                  <p:nvPr/>
                </p:nvSpPr>
                <p:spPr bwMode="auto">
                  <a:xfrm>
                    <a:off x="9197305" y="5726175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97" name="Rectangle 315"/>
                  <p:cNvSpPr>
                    <a:spLocks noChangeArrowheads="1"/>
                  </p:cNvSpPr>
                  <p:nvPr/>
                </p:nvSpPr>
                <p:spPr bwMode="auto">
                  <a:xfrm>
                    <a:off x="9216887" y="5726175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98" name="Oval 316"/>
                  <p:cNvSpPr>
                    <a:spLocks noChangeArrowheads="1"/>
                  </p:cNvSpPr>
                  <p:nvPr/>
                </p:nvSpPr>
                <p:spPr bwMode="auto">
                  <a:xfrm>
                    <a:off x="9405353" y="5748204"/>
                    <a:ext cx="22029" cy="19581"/>
                  </a:xfrm>
                  <a:prstGeom prst="ellipse">
                    <a:avLst/>
                  </a:prstGeom>
                  <a:solidFill>
                    <a:srgbClr val="009E4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99" name="Rectangle 317"/>
                  <p:cNvSpPr>
                    <a:spLocks noChangeArrowheads="1"/>
                  </p:cNvSpPr>
                  <p:nvPr/>
                </p:nvSpPr>
                <p:spPr bwMode="auto">
                  <a:xfrm>
                    <a:off x="9104297" y="5828975"/>
                    <a:ext cx="352458" cy="88115"/>
                  </a:xfrm>
                  <a:prstGeom prst="rect">
                    <a:avLst/>
                  </a:pr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00" name="Rectangle 318"/>
                  <p:cNvSpPr>
                    <a:spLocks noChangeArrowheads="1"/>
                  </p:cNvSpPr>
                  <p:nvPr/>
                </p:nvSpPr>
                <p:spPr bwMode="auto">
                  <a:xfrm>
                    <a:off x="9118982" y="5843661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01" name="Rectangle 319"/>
                  <p:cNvSpPr>
                    <a:spLocks noChangeArrowheads="1"/>
                  </p:cNvSpPr>
                  <p:nvPr/>
                </p:nvSpPr>
                <p:spPr bwMode="auto">
                  <a:xfrm>
                    <a:off x="9138562" y="5843661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02" name="Rectangle 320"/>
                  <p:cNvSpPr>
                    <a:spLocks noChangeArrowheads="1"/>
                  </p:cNvSpPr>
                  <p:nvPr/>
                </p:nvSpPr>
                <p:spPr bwMode="auto">
                  <a:xfrm>
                    <a:off x="9158143" y="5843661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03" name="Rectangle 321"/>
                  <p:cNvSpPr>
                    <a:spLocks noChangeArrowheads="1"/>
                  </p:cNvSpPr>
                  <p:nvPr/>
                </p:nvSpPr>
                <p:spPr bwMode="auto">
                  <a:xfrm>
                    <a:off x="9175276" y="5843661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04" name="Rectangle 322"/>
                  <p:cNvSpPr>
                    <a:spLocks noChangeArrowheads="1"/>
                  </p:cNvSpPr>
                  <p:nvPr/>
                </p:nvSpPr>
                <p:spPr bwMode="auto">
                  <a:xfrm>
                    <a:off x="9197305" y="5843661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05" name="Rectangle 323"/>
                  <p:cNvSpPr>
                    <a:spLocks noChangeArrowheads="1"/>
                  </p:cNvSpPr>
                  <p:nvPr/>
                </p:nvSpPr>
                <p:spPr bwMode="auto">
                  <a:xfrm>
                    <a:off x="9216887" y="5843661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06" name="Oval 324"/>
                  <p:cNvSpPr>
                    <a:spLocks noChangeArrowheads="1"/>
                  </p:cNvSpPr>
                  <p:nvPr/>
                </p:nvSpPr>
                <p:spPr bwMode="auto">
                  <a:xfrm>
                    <a:off x="9405353" y="5863242"/>
                    <a:ext cx="22029" cy="19581"/>
                  </a:xfrm>
                  <a:prstGeom prst="ellipse">
                    <a:avLst/>
                  </a:prstGeom>
                  <a:solidFill>
                    <a:srgbClr val="009E4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07" name="Rectangle 325"/>
                  <p:cNvSpPr>
                    <a:spLocks noChangeArrowheads="1"/>
                  </p:cNvSpPr>
                  <p:nvPr/>
                </p:nvSpPr>
                <p:spPr bwMode="auto">
                  <a:xfrm>
                    <a:off x="9033315" y="5050633"/>
                    <a:ext cx="496867" cy="1035343"/>
                  </a:xfrm>
                  <a:prstGeom prst="rect">
                    <a:avLst/>
                  </a:prstGeom>
                  <a:solidFill>
                    <a:srgbClr val="68217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08" name="Rectangle 326"/>
                  <p:cNvSpPr>
                    <a:spLocks noChangeArrowheads="1"/>
                  </p:cNvSpPr>
                  <p:nvPr/>
                </p:nvSpPr>
                <p:spPr bwMode="auto">
                  <a:xfrm>
                    <a:off x="9079820" y="5102032"/>
                    <a:ext cx="401410" cy="898276"/>
                  </a:xfrm>
                  <a:prstGeom prst="rect">
                    <a:avLst/>
                  </a:prstGeom>
                  <a:solidFill>
                    <a:srgbClr val="96969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09" name="Rectangle 327"/>
                  <p:cNvSpPr>
                    <a:spLocks noChangeArrowheads="1"/>
                  </p:cNvSpPr>
                  <p:nvPr/>
                </p:nvSpPr>
                <p:spPr bwMode="auto">
                  <a:xfrm>
                    <a:off x="9104297" y="5131405"/>
                    <a:ext cx="352458" cy="90563"/>
                  </a:xfrm>
                  <a:prstGeom prst="rect">
                    <a:avLst/>
                  </a:pr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10" name="Rectangle 328"/>
                  <p:cNvSpPr>
                    <a:spLocks noChangeArrowheads="1"/>
                  </p:cNvSpPr>
                  <p:nvPr/>
                </p:nvSpPr>
                <p:spPr bwMode="auto">
                  <a:xfrm>
                    <a:off x="9118982" y="5143641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11" name="Rectangle 329"/>
                  <p:cNvSpPr>
                    <a:spLocks noChangeArrowheads="1"/>
                  </p:cNvSpPr>
                  <p:nvPr/>
                </p:nvSpPr>
                <p:spPr bwMode="auto">
                  <a:xfrm>
                    <a:off x="9138562" y="5143641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12" name="Rectangle 330"/>
                  <p:cNvSpPr>
                    <a:spLocks noChangeArrowheads="1"/>
                  </p:cNvSpPr>
                  <p:nvPr/>
                </p:nvSpPr>
                <p:spPr bwMode="auto">
                  <a:xfrm>
                    <a:off x="9158143" y="5143641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13" name="Rectangle 331"/>
                  <p:cNvSpPr>
                    <a:spLocks noChangeArrowheads="1"/>
                  </p:cNvSpPr>
                  <p:nvPr/>
                </p:nvSpPr>
                <p:spPr bwMode="auto">
                  <a:xfrm>
                    <a:off x="9175276" y="5143641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14" name="Rectangle 332"/>
                  <p:cNvSpPr>
                    <a:spLocks noChangeArrowheads="1"/>
                  </p:cNvSpPr>
                  <p:nvPr/>
                </p:nvSpPr>
                <p:spPr bwMode="auto">
                  <a:xfrm>
                    <a:off x="9197305" y="5143641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15" name="Rectangle 333"/>
                  <p:cNvSpPr>
                    <a:spLocks noChangeArrowheads="1"/>
                  </p:cNvSpPr>
                  <p:nvPr/>
                </p:nvSpPr>
                <p:spPr bwMode="auto">
                  <a:xfrm>
                    <a:off x="9216887" y="5143641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16" name="Oval 334"/>
                  <p:cNvSpPr>
                    <a:spLocks noChangeArrowheads="1"/>
                  </p:cNvSpPr>
                  <p:nvPr/>
                </p:nvSpPr>
                <p:spPr bwMode="auto">
                  <a:xfrm>
                    <a:off x="9405353" y="5165671"/>
                    <a:ext cx="22029" cy="22029"/>
                  </a:xfrm>
                  <a:prstGeom prst="ellipse">
                    <a:avLst/>
                  </a:prstGeom>
                  <a:solidFill>
                    <a:srgbClr val="009E4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17" name="Rectangle 335"/>
                  <p:cNvSpPr>
                    <a:spLocks noChangeArrowheads="1"/>
                  </p:cNvSpPr>
                  <p:nvPr/>
                </p:nvSpPr>
                <p:spPr bwMode="auto">
                  <a:xfrm>
                    <a:off x="9104297" y="5246442"/>
                    <a:ext cx="352458" cy="93009"/>
                  </a:xfrm>
                  <a:prstGeom prst="rect">
                    <a:avLst/>
                  </a:pr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18" name="Rectangle 336"/>
                  <p:cNvSpPr>
                    <a:spLocks noChangeArrowheads="1"/>
                  </p:cNvSpPr>
                  <p:nvPr/>
                </p:nvSpPr>
                <p:spPr bwMode="auto">
                  <a:xfrm>
                    <a:off x="9118982" y="5261126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19" name="Rectangle 337"/>
                  <p:cNvSpPr>
                    <a:spLocks noChangeArrowheads="1"/>
                  </p:cNvSpPr>
                  <p:nvPr/>
                </p:nvSpPr>
                <p:spPr bwMode="auto">
                  <a:xfrm>
                    <a:off x="9138562" y="5261126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20" name="Rectangle 338"/>
                  <p:cNvSpPr>
                    <a:spLocks noChangeArrowheads="1"/>
                  </p:cNvSpPr>
                  <p:nvPr/>
                </p:nvSpPr>
                <p:spPr bwMode="auto">
                  <a:xfrm>
                    <a:off x="9158143" y="5261126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21" name="Rectangle 339"/>
                  <p:cNvSpPr>
                    <a:spLocks noChangeArrowheads="1"/>
                  </p:cNvSpPr>
                  <p:nvPr/>
                </p:nvSpPr>
                <p:spPr bwMode="auto">
                  <a:xfrm>
                    <a:off x="9175276" y="5261126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22" name="Rectangle 340"/>
                  <p:cNvSpPr>
                    <a:spLocks noChangeArrowheads="1"/>
                  </p:cNvSpPr>
                  <p:nvPr/>
                </p:nvSpPr>
                <p:spPr bwMode="auto">
                  <a:xfrm>
                    <a:off x="9197305" y="5261126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23" name="Rectangle 341"/>
                  <p:cNvSpPr>
                    <a:spLocks noChangeArrowheads="1"/>
                  </p:cNvSpPr>
                  <p:nvPr/>
                </p:nvSpPr>
                <p:spPr bwMode="auto">
                  <a:xfrm>
                    <a:off x="9216887" y="5261126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24" name="Oval 342"/>
                  <p:cNvSpPr>
                    <a:spLocks noChangeArrowheads="1"/>
                  </p:cNvSpPr>
                  <p:nvPr/>
                </p:nvSpPr>
                <p:spPr bwMode="auto">
                  <a:xfrm>
                    <a:off x="9405353" y="5280709"/>
                    <a:ext cx="22029" cy="24475"/>
                  </a:xfrm>
                  <a:prstGeom prst="ellipse">
                    <a:avLst/>
                  </a:prstGeom>
                  <a:solidFill>
                    <a:srgbClr val="009E4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25" name="Rectangle 343"/>
                  <p:cNvSpPr>
                    <a:spLocks noChangeArrowheads="1"/>
                  </p:cNvSpPr>
                  <p:nvPr/>
                </p:nvSpPr>
                <p:spPr bwMode="auto">
                  <a:xfrm>
                    <a:off x="9104297" y="5363927"/>
                    <a:ext cx="352458" cy="93009"/>
                  </a:xfrm>
                  <a:prstGeom prst="rect">
                    <a:avLst/>
                  </a:pr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26" name="Rectangle 344"/>
                  <p:cNvSpPr>
                    <a:spLocks noChangeArrowheads="1"/>
                  </p:cNvSpPr>
                  <p:nvPr/>
                </p:nvSpPr>
                <p:spPr bwMode="auto">
                  <a:xfrm>
                    <a:off x="9118982" y="5376167"/>
                    <a:ext cx="9790" cy="63637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27" name="Rectangle 345"/>
                  <p:cNvSpPr>
                    <a:spLocks noChangeArrowheads="1"/>
                  </p:cNvSpPr>
                  <p:nvPr/>
                </p:nvSpPr>
                <p:spPr bwMode="auto">
                  <a:xfrm>
                    <a:off x="9138562" y="5376167"/>
                    <a:ext cx="9790" cy="63637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28" name="Rectangle 346"/>
                  <p:cNvSpPr>
                    <a:spLocks noChangeArrowheads="1"/>
                  </p:cNvSpPr>
                  <p:nvPr/>
                </p:nvSpPr>
                <p:spPr bwMode="auto">
                  <a:xfrm>
                    <a:off x="9158143" y="5376167"/>
                    <a:ext cx="12238" cy="63637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29" name="Rectangle 347"/>
                  <p:cNvSpPr>
                    <a:spLocks noChangeArrowheads="1"/>
                  </p:cNvSpPr>
                  <p:nvPr/>
                </p:nvSpPr>
                <p:spPr bwMode="auto">
                  <a:xfrm>
                    <a:off x="9175276" y="5376167"/>
                    <a:ext cx="12238" cy="63637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30" name="Rectangle 348"/>
                  <p:cNvSpPr>
                    <a:spLocks noChangeArrowheads="1"/>
                  </p:cNvSpPr>
                  <p:nvPr/>
                </p:nvSpPr>
                <p:spPr bwMode="auto">
                  <a:xfrm>
                    <a:off x="9197305" y="5376167"/>
                    <a:ext cx="9790" cy="63637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31" name="Rectangle 349"/>
                  <p:cNvSpPr>
                    <a:spLocks noChangeArrowheads="1"/>
                  </p:cNvSpPr>
                  <p:nvPr/>
                </p:nvSpPr>
                <p:spPr bwMode="auto">
                  <a:xfrm>
                    <a:off x="9216887" y="5376167"/>
                    <a:ext cx="9790" cy="63637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32" name="Oval 350"/>
                  <p:cNvSpPr>
                    <a:spLocks noChangeArrowheads="1"/>
                  </p:cNvSpPr>
                  <p:nvPr/>
                </p:nvSpPr>
                <p:spPr bwMode="auto">
                  <a:xfrm>
                    <a:off x="9405353" y="5398193"/>
                    <a:ext cx="22029" cy="24475"/>
                  </a:xfrm>
                  <a:prstGeom prst="ellipse">
                    <a:avLst/>
                  </a:prstGeom>
                  <a:solidFill>
                    <a:srgbClr val="009E4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33" name="Rectangle 351"/>
                  <p:cNvSpPr>
                    <a:spLocks noChangeArrowheads="1"/>
                  </p:cNvSpPr>
                  <p:nvPr/>
                </p:nvSpPr>
                <p:spPr bwMode="auto">
                  <a:xfrm>
                    <a:off x="9104297" y="5478965"/>
                    <a:ext cx="352458" cy="93009"/>
                  </a:xfrm>
                  <a:prstGeom prst="rect">
                    <a:avLst/>
                  </a:pr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34" name="Rectangle 352"/>
                  <p:cNvSpPr>
                    <a:spLocks noChangeArrowheads="1"/>
                  </p:cNvSpPr>
                  <p:nvPr/>
                </p:nvSpPr>
                <p:spPr bwMode="auto">
                  <a:xfrm>
                    <a:off x="9118982" y="5493652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35" name="Rectangle 353"/>
                  <p:cNvSpPr>
                    <a:spLocks noChangeArrowheads="1"/>
                  </p:cNvSpPr>
                  <p:nvPr/>
                </p:nvSpPr>
                <p:spPr bwMode="auto">
                  <a:xfrm>
                    <a:off x="9138562" y="5493652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36" name="Rectangle 354"/>
                  <p:cNvSpPr>
                    <a:spLocks noChangeArrowheads="1"/>
                  </p:cNvSpPr>
                  <p:nvPr/>
                </p:nvSpPr>
                <p:spPr bwMode="auto">
                  <a:xfrm>
                    <a:off x="9158143" y="5493652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37" name="Rectangle 355"/>
                  <p:cNvSpPr>
                    <a:spLocks noChangeArrowheads="1"/>
                  </p:cNvSpPr>
                  <p:nvPr/>
                </p:nvSpPr>
                <p:spPr bwMode="auto">
                  <a:xfrm>
                    <a:off x="9175276" y="5493652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38" name="Rectangle 356"/>
                  <p:cNvSpPr>
                    <a:spLocks noChangeArrowheads="1"/>
                  </p:cNvSpPr>
                  <p:nvPr/>
                </p:nvSpPr>
                <p:spPr bwMode="auto">
                  <a:xfrm>
                    <a:off x="9197305" y="5493652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39" name="Rectangle 357"/>
                  <p:cNvSpPr>
                    <a:spLocks noChangeArrowheads="1"/>
                  </p:cNvSpPr>
                  <p:nvPr/>
                </p:nvSpPr>
                <p:spPr bwMode="auto">
                  <a:xfrm>
                    <a:off x="9216887" y="5493652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40" name="Oval 358"/>
                  <p:cNvSpPr>
                    <a:spLocks noChangeArrowheads="1"/>
                  </p:cNvSpPr>
                  <p:nvPr/>
                </p:nvSpPr>
                <p:spPr bwMode="auto">
                  <a:xfrm>
                    <a:off x="9405353" y="5513234"/>
                    <a:ext cx="22029" cy="22029"/>
                  </a:xfrm>
                  <a:prstGeom prst="ellipse">
                    <a:avLst/>
                  </a:prstGeom>
                  <a:solidFill>
                    <a:srgbClr val="009E4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41" name="Rectangle 359"/>
                  <p:cNvSpPr>
                    <a:spLocks noChangeArrowheads="1"/>
                  </p:cNvSpPr>
                  <p:nvPr/>
                </p:nvSpPr>
                <p:spPr bwMode="auto">
                  <a:xfrm>
                    <a:off x="9104297" y="5596451"/>
                    <a:ext cx="352458" cy="93009"/>
                  </a:xfrm>
                  <a:prstGeom prst="rect">
                    <a:avLst/>
                  </a:pr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42" name="Rectangle 360"/>
                  <p:cNvSpPr>
                    <a:spLocks noChangeArrowheads="1"/>
                  </p:cNvSpPr>
                  <p:nvPr/>
                </p:nvSpPr>
                <p:spPr bwMode="auto">
                  <a:xfrm>
                    <a:off x="9118982" y="5611137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43" name="Rectangle 361"/>
                  <p:cNvSpPr>
                    <a:spLocks noChangeArrowheads="1"/>
                  </p:cNvSpPr>
                  <p:nvPr/>
                </p:nvSpPr>
                <p:spPr bwMode="auto">
                  <a:xfrm>
                    <a:off x="9138562" y="5611137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44" name="Rectangle 362"/>
                  <p:cNvSpPr>
                    <a:spLocks noChangeArrowheads="1"/>
                  </p:cNvSpPr>
                  <p:nvPr/>
                </p:nvSpPr>
                <p:spPr bwMode="auto">
                  <a:xfrm>
                    <a:off x="9158143" y="5611137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45" name="Rectangle 363"/>
                  <p:cNvSpPr>
                    <a:spLocks noChangeArrowheads="1"/>
                  </p:cNvSpPr>
                  <p:nvPr/>
                </p:nvSpPr>
                <p:spPr bwMode="auto">
                  <a:xfrm>
                    <a:off x="9175276" y="5611137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46" name="Rectangle 364"/>
                  <p:cNvSpPr>
                    <a:spLocks noChangeArrowheads="1"/>
                  </p:cNvSpPr>
                  <p:nvPr/>
                </p:nvSpPr>
                <p:spPr bwMode="auto">
                  <a:xfrm>
                    <a:off x="9197305" y="5611137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47" name="Rectangle 365"/>
                  <p:cNvSpPr>
                    <a:spLocks noChangeArrowheads="1"/>
                  </p:cNvSpPr>
                  <p:nvPr/>
                </p:nvSpPr>
                <p:spPr bwMode="auto">
                  <a:xfrm>
                    <a:off x="9216887" y="5611137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48" name="Oval 366"/>
                  <p:cNvSpPr>
                    <a:spLocks noChangeArrowheads="1"/>
                  </p:cNvSpPr>
                  <p:nvPr/>
                </p:nvSpPr>
                <p:spPr bwMode="auto">
                  <a:xfrm>
                    <a:off x="9405353" y="5630720"/>
                    <a:ext cx="22029" cy="19581"/>
                  </a:xfrm>
                  <a:prstGeom prst="ellipse">
                    <a:avLst/>
                  </a:prstGeom>
                  <a:solidFill>
                    <a:srgbClr val="009E4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49" name="Rectangle 367"/>
                  <p:cNvSpPr>
                    <a:spLocks noChangeArrowheads="1"/>
                  </p:cNvSpPr>
                  <p:nvPr/>
                </p:nvSpPr>
                <p:spPr bwMode="auto">
                  <a:xfrm>
                    <a:off x="9104297" y="5713937"/>
                    <a:ext cx="352458" cy="90563"/>
                  </a:xfrm>
                  <a:prstGeom prst="rect">
                    <a:avLst/>
                  </a:pr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50" name="Rectangle 368"/>
                  <p:cNvSpPr>
                    <a:spLocks noChangeArrowheads="1"/>
                  </p:cNvSpPr>
                  <p:nvPr/>
                </p:nvSpPr>
                <p:spPr bwMode="auto">
                  <a:xfrm>
                    <a:off x="9118982" y="5726175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51" name="Rectangle 369"/>
                  <p:cNvSpPr>
                    <a:spLocks noChangeArrowheads="1"/>
                  </p:cNvSpPr>
                  <p:nvPr/>
                </p:nvSpPr>
                <p:spPr bwMode="auto">
                  <a:xfrm>
                    <a:off x="9138562" y="5726175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52" name="Rectangle 370"/>
                  <p:cNvSpPr>
                    <a:spLocks noChangeArrowheads="1"/>
                  </p:cNvSpPr>
                  <p:nvPr/>
                </p:nvSpPr>
                <p:spPr bwMode="auto">
                  <a:xfrm>
                    <a:off x="9158143" y="5726175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53" name="Rectangle 371"/>
                  <p:cNvSpPr>
                    <a:spLocks noChangeArrowheads="1"/>
                  </p:cNvSpPr>
                  <p:nvPr/>
                </p:nvSpPr>
                <p:spPr bwMode="auto">
                  <a:xfrm>
                    <a:off x="9175276" y="5726175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54" name="Rectangle 372"/>
                  <p:cNvSpPr>
                    <a:spLocks noChangeArrowheads="1"/>
                  </p:cNvSpPr>
                  <p:nvPr/>
                </p:nvSpPr>
                <p:spPr bwMode="auto">
                  <a:xfrm>
                    <a:off x="9197305" y="5726175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55" name="Rectangle 373"/>
                  <p:cNvSpPr>
                    <a:spLocks noChangeArrowheads="1"/>
                  </p:cNvSpPr>
                  <p:nvPr/>
                </p:nvSpPr>
                <p:spPr bwMode="auto">
                  <a:xfrm>
                    <a:off x="9216887" y="5726175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56" name="Oval 374"/>
                  <p:cNvSpPr>
                    <a:spLocks noChangeArrowheads="1"/>
                  </p:cNvSpPr>
                  <p:nvPr/>
                </p:nvSpPr>
                <p:spPr bwMode="auto">
                  <a:xfrm>
                    <a:off x="9405353" y="5748204"/>
                    <a:ext cx="22029" cy="19581"/>
                  </a:xfrm>
                  <a:prstGeom prst="ellipse">
                    <a:avLst/>
                  </a:prstGeom>
                  <a:solidFill>
                    <a:srgbClr val="009E4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57" name="Rectangle 375"/>
                  <p:cNvSpPr>
                    <a:spLocks noChangeArrowheads="1"/>
                  </p:cNvSpPr>
                  <p:nvPr/>
                </p:nvSpPr>
                <p:spPr bwMode="auto">
                  <a:xfrm>
                    <a:off x="9104297" y="5828975"/>
                    <a:ext cx="352458" cy="88115"/>
                  </a:xfrm>
                  <a:prstGeom prst="rect">
                    <a:avLst/>
                  </a:pr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58" name="Rectangle 376"/>
                  <p:cNvSpPr>
                    <a:spLocks noChangeArrowheads="1"/>
                  </p:cNvSpPr>
                  <p:nvPr/>
                </p:nvSpPr>
                <p:spPr bwMode="auto">
                  <a:xfrm>
                    <a:off x="9118982" y="5843661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59" name="Rectangle 377"/>
                  <p:cNvSpPr>
                    <a:spLocks noChangeArrowheads="1"/>
                  </p:cNvSpPr>
                  <p:nvPr/>
                </p:nvSpPr>
                <p:spPr bwMode="auto">
                  <a:xfrm>
                    <a:off x="9138562" y="5843661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60" name="Rectangle 378"/>
                  <p:cNvSpPr>
                    <a:spLocks noChangeArrowheads="1"/>
                  </p:cNvSpPr>
                  <p:nvPr/>
                </p:nvSpPr>
                <p:spPr bwMode="auto">
                  <a:xfrm>
                    <a:off x="9158143" y="5843661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61" name="Rectangle 379"/>
                  <p:cNvSpPr>
                    <a:spLocks noChangeArrowheads="1"/>
                  </p:cNvSpPr>
                  <p:nvPr/>
                </p:nvSpPr>
                <p:spPr bwMode="auto">
                  <a:xfrm>
                    <a:off x="9175276" y="5843661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62" name="Rectangle 380"/>
                  <p:cNvSpPr>
                    <a:spLocks noChangeArrowheads="1"/>
                  </p:cNvSpPr>
                  <p:nvPr/>
                </p:nvSpPr>
                <p:spPr bwMode="auto">
                  <a:xfrm>
                    <a:off x="9197305" y="5843661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63" name="Rectangle 381"/>
                  <p:cNvSpPr>
                    <a:spLocks noChangeArrowheads="1"/>
                  </p:cNvSpPr>
                  <p:nvPr/>
                </p:nvSpPr>
                <p:spPr bwMode="auto">
                  <a:xfrm>
                    <a:off x="9216887" y="5843661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64" name="Oval 382"/>
                  <p:cNvSpPr>
                    <a:spLocks noChangeArrowheads="1"/>
                  </p:cNvSpPr>
                  <p:nvPr/>
                </p:nvSpPr>
                <p:spPr bwMode="auto">
                  <a:xfrm>
                    <a:off x="9405353" y="5863242"/>
                    <a:ext cx="22029" cy="19581"/>
                  </a:xfrm>
                  <a:prstGeom prst="ellipse">
                    <a:avLst/>
                  </a:prstGeom>
                  <a:solidFill>
                    <a:srgbClr val="009E4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65" name="Rectangle 383"/>
                  <p:cNvSpPr>
                    <a:spLocks noChangeArrowheads="1"/>
                  </p:cNvSpPr>
                  <p:nvPr/>
                </p:nvSpPr>
                <p:spPr bwMode="auto">
                  <a:xfrm>
                    <a:off x="9591372" y="5050633"/>
                    <a:ext cx="494419" cy="1035343"/>
                  </a:xfrm>
                  <a:prstGeom prst="rect">
                    <a:avLst/>
                  </a:prstGeom>
                  <a:solidFill>
                    <a:srgbClr val="68217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66" name="Rectangle 384"/>
                  <p:cNvSpPr>
                    <a:spLocks noChangeArrowheads="1"/>
                  </p:cNvSpPr>
                  <p:nvPr/>
                </p:nvSpPr>
                <p:spPr bwMode="auto">
                  <a:xfrm>
                    <a:off x="9635429" y="5102032"/>
                    <a:ext cx="401410" cy="898276"/>
                  </a:xfrm>
                  <a:prstGeom prst="rect">
                    <a:avLst/>
                  </a:prstGeom>
                  <a:solidFill>
                    <a:srgbClr val="96969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67" name="Rectangle 385"/>
                  <p:cNvSpPr>
                    <a:spLocks noChangeArrowheads="1"/>
                  </p:cNvSpPr>
                  <p:nvPr/>
                </p:nvSpPr>
                <p:spPr bwMode="auto">
                  <a:xfrm>
                    <a:off x="9659906" y="5131405"/>
                    <a:ext cx="357352" cy="90563"/>
                  </a:xfrm>
                  <a:prstGeom prst="rect">
                    <a:avLst/>
                  </a:pr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68" name="Rectangle 386"/>
                  <p:cNvSpPr>
                    <a:spLocks noChangeArrowheads="1"/>
                  </p:cNvSpPr>
                  <p:nvPr/>
                </p:nvSpPr>
                <p:spPr bwMode="auto">
                  <a:xfrm>
                    <a:off x="9672143" y="5143641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69" name="Rectangle 387"/>
                  <p:cNvSpPr>
                    <a:spLocks noChangeArrowheads="1"/>
                  </p:cNvSpPr>
                  <p:nvPr/>
                </p:nvSpPr>
                <p:spPr bwMode="auto">
                  <a:xfrm>
                    <a:off x="9694171" y="5143641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70" name="Rectangle 388"/>
                  <p:cNvSpPr>
                    <a:spLocks noChangeArrowheads="1"/>
                  </p:cNvSpPr>
                  <p:nvPr/>
                </p:nvSpPr>
                <p:spPr bwMode="auto">
                  <a:xfrm>
                    <a:off x="9713752" y="5143641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71" name="Rectangle 389"/>
                  <p:cNvSpPr>
                    <a:spLocks noChangeArrowheads="1"/>
                  </p:cNvSpPr>
                  <p:nvPr/>
                </p:nvSpPr>
                <p:spPr bwMode="auto">
                  <a:xfrm>
                    <a:off x="9735781" y="5143641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72" name="Rectangle 390"/>
                  <p:cNvSpPr>
                    <a:spLocks noChangeArrowheads="1"/>
                  </p:cNvSpPr>
                  <p:nvPr/>
                </p:nvSpPr>
                <p:spPr bwMode="auto">
                  <a:xfrm>
                    <a:off x="9755363" y="5143641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73" name="Rectangle 391"/>
                  <p:cNvSpPr>
                    <a:spLocks noChangeArrowheads="1"/>
                  </p:cNvSpPr>
                  <p:nvPr/>
                </p:nvSpPr>
                <p:spPr bwMode="auto">
                  <a:xfrm>
                    <a:off x="9777392" y="5143641"/>
                    <a:ext cx="4895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74" name="Oval 392"/>
                  <p:cNvSpPr>
                    <a:spLocks noChangeArrowheads="1"/>
                  </p:cNvSpPr>
                  <p:nvPr/>
                </p:nvSpPr>
                <p:spPr bwMode="auto">
                  <a:xfrm>
                    <a:off x="9960962" y="5165671"/>
                    <a:ext cx="24475" cy="22029"/>
                  </a:xfrm>
                  <a:prstGeom prst="ellipse">
                    <a:avLst/>
                  </a:prstGeom>
                  <a:solidFill>
                    <a:srgbClr val="009E4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75" name="Rectangle 393"/>
                  <p:cNvSpPr>
                    <a:spLocks noChangeArrowheads="1"/>
                  </p:cNvSpPr>
                  <p:nvPr/>
                </p:nvSpPr>
                <p:spPr bwMode="auto">
                  <a:xfrm>
                    <a:off x="9659906" y="5246442"/>
                    <a:ext cx="357352" cy="93009"/>
                  </a:xfrm>
                  <a:prstGeom prst="rect">
                    <a:avLst/>
                  </a:pr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76" name="Rectangle 394"/>
                  <p:cNvSpPr>
                    <a:spLocks noChangeArrowheads="1"/>
                  </p:cNvSpPr>
                  <p:nvPr/>
                </p:nvSpPr>
                <p:spPr bwMode="auto">
                  <a:xfrm>
                    <a:off x="9672143" y="5261126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77" name="Rectangle 395"/>
                  <p:cNvSpPr>
                    <a:spLocks noChangeArrowheads="1"/>
                  </p:cNvSpPr>
                  <p:nvPr/>
                </p:nvSpPr>
                <p:spPr bwMode="auto">
                  <a:xfrm>
                    <a:off x="9694171" y="5261126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78" name="Rectangle 396"/>
                  <p:cNvSpPr>
                    <a:spLocks noChangeArrowheads="1"/>
                  </p:cNvSpPr>
                  <p:nvPr/>
                </p:nvSpPr>
                <p:spPr bwMode="auto">
                  <a:xfrm>
                    <a:off x="9713752" y="5261126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79" name="Rectangle 397"/>
                  <p:cNvSpPr>
                    <a:spLocks noChangeArrowheads="1"/>
                  </p:cNvSpPr>
                  <p:nvPr/>
                </p:nvSpPr>
                <p:spPr bwMode="auto">
                  <a:xfrm>
                    <a:off x="9735781" y="5261126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80" name="Rectangle 398"/>
                  <p:cNvSpPr>
                    <a:spLocks noChangeArrowheads="1"/>
                  </p:cNvSpPr>
                  <p:nvPr/>
                </p:nvSpPr>
                <p:spPr bwMode="auto">
                  <a:xfrm>
                    <a:off x="9755363" y="5261126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81" name="Rectangle 399"/>
                  <p:cNvSpPr>
                    <a:spLocks noChangeArrowheads="1"/>
                  </p:cNvSpPr>
                  <p:nvPr/>
                </p:nvSpPr>
                <p:spPr bwMode="auto">
                  <a:xfrm>
                    <a:off x="9777392" y="5261126"/>
                    <a:ext cx="4895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82" name="Oval 400"/>
                  <p:cNvSpPr>
                    <a:spLocks noChangeArrowheads="1"/>
                  </p:cNvSpPr>
                  <p:nvPr/>
                </p:nvSpPr>
                <p:spPr bwMode="auto">
                  <a:xfrm>
                    <a:off x="9960962" y="5280709"/>
                    <a:ext cx="24475" cy="24475"/>
                  </a:xfrm>
                  <a:prstGeom prst="ellipse">
                    <a:avLst/>
                  </a:prstGeom>
                  <a:solidFill>
                    <a:srgbClr val="009E4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83" name="Rectangle 401"/>
                  <p:cNvSpPr>
                    <a:spLocks noChangeArrowheads="1"/>
                  </p:cNvSpPr>
                  <p:nvPr/>
                </p:nvSpPr>
                <p:spPr bwMode="auto">
                  <a:xfrm>
                    <a:off x="9659906" y="5363927"/>
                    <a:ext cx="357352" cy="93009"/>
                  </a:xfrm>
                  <a:prstGeom prst="rect">
                    <a:avLst/>
                  </a:pr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84" name="Rectangle 402"/>
                  <p:cNvSpPr>
                    <a:spLocks noChangeArrowheads="1"/>
                  </p:cNvSpPr>
                  <p:nvPr/>
                </p:nvSpPr>
                <p:spPr bwMode="auto">
                  <a:xfrm>
                    <a:off x="9672143" y="5376167"/>
                    <a:ext cx="12238" cy="63637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85" name="Rectangle 403"/>
                  <p:cNvSpPr>
                    <a:spLocks noChangeArrowheads="1"/>
                  </p:cNvSpPr>
                  <p:nvPr/>
                </p:nvSpPr>
                <p:spPr bwMode="auto">
                  <a:xfrm>
                    <a:off x="9694171" y="5376167"/>
                    <a:ext cx="9790" cy="63637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86" name="Rectangle 404"/>
                  <p:cNvSpPr>
                    <a:spLocks noChangeArrowheads="1"/>
                  </p:cNvSpPr>
                  <p:nvPr/>
                </p:nvSpPr>
                <p:spPr bwMode="auto">
                  <a:xfrm>
                    <a:off x="9713752" y="5376167"/>
                    <a:ext cx="12238" cy="63637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87" name="Rectangle 405"/>
                  <p:cNvSpPr>
                    <a:spLocks noChangeArrowheads="1"/>
                  </p:cNvSpPr>
                  <p:nvPr/>
                </p:nvSpPr>
                <p:spPr bwMode="auto">
                  <a:xfrm>
                    <a:off x="9735781" y="5376167"/>
                    <a:ext cx="9790" cy="63637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88" name="Rectangle 406"/>
                  <p:cNvSpPr>
                    <a:spLocks noChangeArrowheads="1"/>
                  </p:cNvSpPr>
                  <p:nvPr/>
                </p:nvSpPr>
                <p:spPr bwMode="auto">
                  <a:xfrm>
                    <a:off x="9755363" y="5376167"/>
                    <a:ext cx="9790" cy="63637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89" name="Rectangle 407"/>
                  <p:cNvSpPr>
                    <a:spLocks noChangeArrowheads="1"/>
                  </p:cNvSpPr>
                  <p:nvPr/>
                </p:nvSpPr>
                <p:spPr bwMode="auto">
                  <a:xfrm>
                    <a:off x="9777392" y="5376167"/>
                    <a:ext cx="4895" cy="63637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90" name="Oval 408"/>
                  <p:cNvSpPr>
                    <a:spLocks noChangeArrowheads="1"/>
                  </p:cNvSpPr>
                  <p:nvPr/>
                </p:nvSpPr>
                <p:spPr bwMode="auto">
                  <a:xfrm>
                    <a:off x="9960962" y="5398193"/>
                    <a:ext cx="24475" cy="24475"/>
                  </a:xfrm>
                  <a:prstGeom prst="ellipse">
                    <a:avLst/>
                  </a:prstGeom>
                  <a:solidFill>
                    <a:srgbClr val="009E4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91" name="Rectangle 409"/>
                  <p:cNvSpPr>
                    <a:spLocks noChangeArrowheads="1"/>
                  </p:cNvSpPr>
                  <p:nvPr/>
                </p:nvSpPr>
                <p:spPr bwMode="auto">
                  <a:xfrm>
                    <a:off x="9659906" y="5478965"/>
                    <a:ext cx="357352" cy="93009"/>
                  </a:xfrm>
                  <a:prstGeom prst="rect">
                    <a:avLst/>
                  </a:pr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92" name="Rectangle 410"/>
                  <p:cNvSpPr>
                    <a:spLocks noChangeArrowheads="1"/>
                  </p:cNvSpPr>
                  <p:nvPr/>
                </p:nvSpPr>
                <p:spPr bwMode="auto">
                  <a:xfrm>
                    <a:off x="9672143" y="5493652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93" name="Rectangle 411"/>
                  <p:cNvSpPr>
                    <a:spLocks noChangeArrowheads="1"/>
                  </p:cNvSpPr>
                  <p:nvPr/>
                </p:nvSpPr>
                <p:spPr bwMode="auto">
                  <a:xfrm>
                    <a:off x="9694171" y="5493652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94" name="Rectangle 412"/>
                  <p:cNvSpPr>
                    <a:spLocks noChangeArrowheads="1"/>
                  </p:cNvSpPr>
                  <p:nvPr/>
                </p:nvSpPr>
                <p:spPr bwMode="auto">
                  <a:xfrm>
                    <a:off x="9713752" y="5493652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95" name="Rectangle 413"/>
                  <p:cNvSpPr>
                    <a:spLocks noChangeArrowheads="1"/>
                  </p:cNvSpPr>
                  <p:nvPr/>
                </p:nvSpPr>
                <p:spPr bwMode="auto">
                  <a:xfrm>
                    <a:off x="9735781" y="5493652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96" name="Rectangle 414"/>
                  <p:cNvSpPr>
                    <a:spLocks noChangeArrowheads="1"/>
                  </p:cNvSpPr>
                  <p:nvPr/>
                </p:nvSpPr>
                <p:spPr bwMode="auto">
                  <a:xfrm>
                    <a:off x="9755363" y="5493652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97" name="Rectangle 415"/>
                  <p:cNvSpPr>
                    <a:spLocks noChangeArrowheads="1"/>
                  </p:cNvSpPr>
                  <p:nvPr/>
                </p:nvSpPr>
                <p:spPr bwMode="auto">
                  <a:xfrm>
                    <a:off x="9777392" y="5493652"/>
                    <a:ext cx="4895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98" name="Oval 416"/>
                  <p:cNvSpPr>
                    <a:spLocks noChangeArrowheads="1"/>
                  </p:cNvSpPr>
                  <p:nvPr/>
                </p:nvSpPr>
                <p:spPr bwMode="auto">
                  <a:xfrm>
                    <a:off x="9960962" y="5513234"/>
                    <a:ext cx="24475" cy="22029"/>
                  </a:xfrm>
                  <a:prstGeom prst="ellipse">
                    <a:avLst/>
                  </a:prstGeom>
                  <a:solidFill>
                    <a:srgbClr val="009E4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399" name="Rectangle 417"/>
                  <p:cNvSpPr>
                    <a:spLocks noChangeArrowheads="1"/>
                  </p:cNvSpPr>
                  <p:nvPr/>
                </p:nvSpPr>
                <p:spPr bwMode="auto">
                  <a:xfrm>
                    <a:off x="9659906" y="5596451"/>
                    <a:ext cx="357352" cy="93009"/>
                  </a:xfrm>
                  <a:prstGeom prst="rect">
                    <a:avLst/>
                  </a:pr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00" name="Rectangle 418"/>
                  <p:cNvSpPr>
                    <a:spLocks noChangeArrowheads="1"/>
                  </p:cNvSpPr>
                  <p:nvPr/>
                </p:nvSpPr>
                <p:spPr bwMode="auto">
                  <a:xfrm>
                    <a:off x="9672143" y="5611137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01" name="Rectangle 419"/>
                  <p:cNvSpPr>
                    <a:spLocks noChangeArrowheads="1"/>
                  </p:cNvSpPr>
                  <p:nvPr/>
                </p:nvSpPr>
                <p:spPr bwMode="auto">
                  <a:xfrm>
                    <a:off x="9694171" y="5611137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02" name="Rectangle 420"/>
                  <p:cNvSpPr>
                    <a:spLocks noChangeArrowheads="1"/>
                  </p:cNvSpPr>
                  <p:nvPr/>
                </p:nvSpPr>
                <p:spPr bwMode="auto">
                  <a:xfrm>
                    <a:off x="9713752" y="5611137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03" name="Rectangle 421"/>
                  <p:cNvSpPr>
                    <a:spLocks noChangeArrowheads="1"/>
                  </p:cNvSpPr>
                  <p:nvPr/>
                </p:nvSpPr>
                <p:spPr bwMode="auto">
                  <a:xfrm>
                    <a:off x="9735781" y="5611137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04" name="Rectangle 422"/>
                  <p:cNvSpPr>
                    <a:spLocks noChangeArrowheads="1"/>
                  </p:cNvSpPr>
                  <p:nvPr/>
                </p:nvSpPr>
                <p:spPr bwMode="auto">
                  <a:xfrm>
                    <a:off x="9755363" y="5611137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05" name="Rectangle 423"/>
                  <p:cNvSpPr>
                    <a:spLocks noChangeArrowheads="1"/>
                  </p:cNvSpPr>
                  <p:nvPr/>
                </p:nvSpPr>
                <p:spPr bwMode="auto">
                  <a:xfrm>
                    <a:off x="9777392" y="5611137"/>
                    <a:ext cx="4895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06" name="Oval 424"/>
                  <p:cNvSpPr>
                    <a:spLocks noChangeArrowheads="1"/>
                  </p:cNvSpPr>
                  <p:nvPr/>
                </p:nvSpPr>
                <p:spPr bwMode="auto">
                  <a:xfrm>
                    <a:off x="9960962" y="5630720"/>
                    <a:ext cx="24475" cy="19581"/>
                  </a:xfrm>
                  <a:prstGeom prst="ellipse">
                    <a:avLst/>
                  </a:prstGeom>
                  <a:solidFill>
                    <a:srgbClr val="009E4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07" name="Rectangle 425"/>
                  <p:cNvSpPr>
                    <a:spLocks noChangeArrowheads="1"/>
                  </p:cNvSpPr>
                  <p:nvPr/>
                </p:nvSpPr>
                <p:spPr bwMode="auto">
                  <a:xfrm>
                    <a:off x="9659906" y="5713937"/>
                    <a:ext cx="357352" cy="90563"/>
                  </a:xfrm>
                  <a:prstGeom prst="rect">
                    <a:avLst/>
                  </a:pr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08" name="Rectangle 426"/>
                  <p:cNvSpPr>
                    <a:spLocks noChangeArrowheads="1"/>
                  </p:cNvSpPr>
                  <p:nvPr/>
                </p:nvSpPr>
                <p:spPr bwMode="auto">
                  <a:xfrm>
                    <a:off x="9672143" y="5726175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09" name="Rectangle 427"/>
                  <p:cNvSpPr>
                    <a:spLocks noChangeArrowheads="1"/>
                  </p:cNvSpPr>
                  <p:nvPr/>
                </p:nvSpPr>
                <p:spPr bwMode="auto">
                  <a:xfrm>
                    <a:off x="9694171" y="5726175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10" name="Rectangle 428"/>
                  <p:cNvSpPr>
                    <a:spLocks noChangeArrowheads="1"/>
                  </p:cNvSpPr>
                  <p:nvPr/>
                </p:nvSpPr>
                <p:spPr bwMode="auto">
                  <a:xfrm>
                    <a:off x="9713752" y="5726175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11" name="Rectangle 429"/>
                  <p:cNvSpPr>
                    <a:spLocks noChangeArrowheads="1"/>
                  </p:cNvSpPr>
                  <p:nvPr/>
                </p:nvSpPr>
                <p:spPr bwMode="auto">
                  <a:xfrm>
                    <a:off x="9735781" y="5726175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12" name="Rectangle 430"/>
                  <p:cNvSpPr>
                    <a:spLocks noChangeArrowheads="1"/>
                  </p:cNvSpPr>
                  <p:nvPr/>
                </p:nvSpPr>
                <p:spPr bwMode="auto">
                  <a:xfrm>
                    <a:off x="9755363" y="5726175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13" name="Rectangle 431"/>
                  <p:cNvSpPr>
                    <a:spLocks noChangeArrowheads="1"/>
                  </p:cNvSpPr>
                  <p:nvPr/>
                </p:nvSpPr>
                <p:spPr bwMode="auto">
                  <a:xfrm>
                    <a:off x="9777392" y="5726175"/>
                    <a:ext cx="4895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14" name="Oval 413"/>
                  <p:cNvSpPr>
                    <a:spLocks noChangeArrowheads="1"/>
                  </p:cNvSpPr>
                  <p:nvPr/>
                </p:nvSpPr>
                <p:spPr bwMode="auto">
                  <a:xfrm>
                    <a:off x="9960962" y="5748204"/>
                    <a:ext cx="24475" cy="19581"/>
                  </a:xfrm>
                  <a:prstGeom prst="ellipse">
                    <a:avLst/>
                  </a:prstGeom>
                  <a:solidFill>
                    <a:srgbClr val="009E4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15" name="Rectangle 414"/>
                  <p:cNvSpPr>
                    <a:spLocks noChangeArrowheads="1"/>
                  </p:cNvSpPr>
                  <p:nvPr/>
                </p:nvSpPr>
                <p:spPr bwMode="auto">
                  <a:xfrm>
                    <a:off x="9659906" y="5828975"/>
                    <a:ext cx="357352" cy="88115"/>
                  </a:xfrm>
                  <a:prstGeom prst="rect">
                    <a:avLst/>
                  </a:pr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16" name="Rectangle 415"/>
                  <p:cNvSpPr>
                    <a:spLocks noChangeArrowheads="1"/>
                  </p:cNvSpPr>
                  <p:nvPr/>
                </p:nvSpPr>
                <p:spPr bwMode="auto">
                  <a:xfrm>
                    <a:off x="9672144" y="5843661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17" name="Rectangle 416"/>
                  <p:cNvSpPr>
                    <a:spLocks noChangeArrowheads="1"/>
                  </p:cNvSpPr>
                  <p:nvPr/>
                </p:nvSpPr>
                <p:spPr bwMode="auto">
                  <a:xfrm>
                    <a:off x="9694171" y="5843661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18" name="Rectangle 417"/>
                  <p:cNvSpPr>
                    <a:spLocks noChangeArrowheads="1"/>
                  </p:cNvSpPr>
                  <p:nvPr/>
                </p:nvSpPr>
                <p:spPr bwMode="auto">
                  <a:xfrm>
                    <a:off x="9713752" y="5843661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19" name="Rectangle 418"/>
                  <p:cNvSpPr>
                    <a:spLocks noChangeArrowheads="1"/>
                  </p:cNvSpPr>
                  <p:nvPr/>
                </p:nvSpPr>
                <p:spPr bwMode="auto">
                  <a:xfrm>
                    <a:off x="9735781" y="5843661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20" name="Rectangle 419"/>
                  <p:cNvSpPr>
                    <a:spLocks noChangeArrowheads="1"/>
                  </p:cNvSpPr>
                  <p:nvPr/>
                </p:nvSpPr>
                <p:spPr bwMode="auto">
                  <a:xfrm>
                    <a:off x="9755363" y="5843661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21" name="Rectangle 420"/>
                  <p:cNvSpPr>
                    <a:spLocks noChangeArrowheads="1"/>
                  </p:cNvSpPr>
                  <p:nvPr/>
                </p:nvSpPr>
                <p:spPr bwMode="auto">
                  <a:xfrm>
                    <a:off x="9777392" y="5843661"/>
                    <a:ext cx="4895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22" name="Oval 421"/>
                  <p:cNvSpPr>
                    <a:spLocks noChangeArrowheads="1"/>
                  </p:cNvSpPr>
                  <p:nvPr/>
                </p:nvSpPr>
                <p:spPr bwMode="auto">
                  <a:xfrm>
                    <a:off x="9960962" y="5863242"/>
                    <a:ext cx="24475" cy="19581"/>
                  </a:xfrm>
                  <a:prstGeom prst="ellipse">
                    <a:avLst/>
                  </a:prstGeom>
                  <a:solidFill>
                    <a:srgbClr val="009E4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23" name="Rectangle 422"/>
                  <p:cNvSpPr>
                    <a:spLocks noChangeArrowheads="1"/>
                  </p:cNvSpPr>
                  <p:nvPr/>
                </p:nvSpPr>
                <p:spPr bwMode="auto">
                  <a:xfrm>
                    <a:off x="9591372" y="5050633"/>
                    <a:ext cx="494419" cy="1035343"/>
                  </a:xfrm>
                  <a:prstGeom prst="rect">
                    <a:avLst/>
                  </a:prstGeom>
                  <a:solidFill>
                    <a:srgbClr val="68217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24" name="Rectangle 423"/>
                  <p:cNvSpPr>
                    <a:spLocks noChangeArrowheads="1"/>
                  </p:cNvSpPr>
                  <p:nvPr/>
                </p:nvSpPr>
                <p:spPr bwMode="auto">
                  <a:xfrm>
                    <a:off x="9635429" y="5102032"/>
                    <a:ext cx="401410" cy="898276"/>
                  </a:xfrm>
                  <a:prstGeom prst="rect">
                    <a:avLst/>
                  </a:prstGeom>
                  <a:solidFill>
                    <a:srgbClr val="96969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25" name="Rectangle 424"/>
                  <p:cNvSpPr>
                    <a:spLocks noChangeArrowheads="1"/>
                  </p:cNvSpPr>
                  <p:nvPr/>
                </p:nvSpPr>
                <p:spPr bwMode="auto">
                  <a:xfrm>
                    <a:off x="9659906" y="5131405"/>
                    <a:ext cx="357352" cy="90563"/>
                  </a:xfrm>
                  <a:prstGeom prst="rect">
                    <a:avLst/>
                  </a:pr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26" name="Rectangle 425"/>
                  <p:cNvSpPr>
                    <a:spLocks noChangeArrowheads="1"/>
                  </p:cNvSpPr>
                  <p:nvPr/>
                </p:nvSpPr>
                <p:spPr bwMode="auto">
                  <a:xfrm>
                    <a:off x="9672144" y="5143641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27" name="Rectangle 426"/>
                  <p:cNvSpPr>
                    <a:spLocks noChangeArrowheads="1"/>
                  </p:cNvSpPr>
                  <p:nvPr/>
                </p:nvSpPr>
                <p:spPr bwMode="auto">
                  <a:xfrm>
                    <a:off x="9694171" y="5143641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28" name="Rectangle 427"/>
                  <p:cNvSpPr>
                    <a:spLocks noChangeArrowheads="1"/>
                  </p:cNvSpPr>
                  <p:nvPr/>
                </p:nvSpPr>
                <p:spPr bwMode="auto">
                  <a:xfrm>
                    <a:off x="9713752" y="5143641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29" name="Rectangle 428"/>
                  <p:cNvSpPr>
                    <a:spLocks noChangeArrowheads="1"/>
                  </p:cNvSpPr>
                  <p:nvPr/>
                </p:nvSpPr>
                <p:spPr bwMode="auto">
                  <a:xfrm>
                    <a:off x="9735781" y="5143641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30" name="Rectangle 429"/>
                  <p:cNvSpPr>
                    <a:spLocks noChangeArrowheads="1"/>
                  </p:cNvSpPr>
                  <p:nvPr/>
                </p:nvSpPr>
                <p:spPr bwMode="auto">
                  <a:xfrm>
                    <a:off x="9755363" y="5143641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31" name="Rectangle 430"/>
                  <p:cNvSpPr>
                    <a:spLocks noChangeArrowheads="1"/>
                  </p:cNvSpPr>
                  <p:nvPr/>
                </p:nvSpPr>
                <p:spPr bwMode="auto">
                  <a:xfrm>
                    <a:off x="9777392" y="5143641"/>
                    <a:ext cx="4895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32" name="Oval 431"/>
                  <p:cNvSpPr>
                    <a:spLocks noChangeArrowheads="1"/>
                  </p:cNvSpPr>
                  <p:nvPr/>
                </p:nvSpPr>
                <p:spPr bwMode="auto">
                  <a:xfrm>
                    <a:off x="9960962" y="5165671"/>
                    <a:ext cx="24475" cy="22029"/>
                  </a:xfrm>
                  <a:prstGeom prst="ellipse">
                    <a:avLst/>
                  </a:prstGeom>
                  <a:solidFill>
                    <a:srgbClr val="009E4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33" name="Rectangle 432"/>
                  <p:cNvSpPr>
                    <a:spLocks noChangeArrowheads="1"/>
                  </p:cNvSpPr>
                  <p:nvPr/>
                </p:nvSpPr>
                <p:spPr bwMode="auto">
                  <a:xfrm>
                    <a:off x="9659906" y="5246442"/>
                    <a:ext cx="357352" cy="93009"/>
                  </a:xfrm>
                  <a:prstGeom prst="rect">
                    <a:avLst/>
                  </a:pr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34" name="Rectangle 433"/>
                  <p:cNvSpPr>
                    <a:spLocks noChangeArrowheads="1"/>
                  </p:cNvSpPr>
                  <p:nvPr/>
                </p:nvSpPr>
                <p:spPr bwMode="auto">
                  <a:xfrm>
                    <a:off x="9672144" y="5261126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35" name="Rectangle 434"/>
                  <p:cNvSpPr>
                    <a:spLocks noChangeArrowheads="1"/>
                  </p:cNvSpPr>
                  <p:nvPr/>
                </p:nvSpPr>
                <p:spPr bwMode="auto">
                  <a:xfrm>
                    <a:off x="9694171" y="5261126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36" name="Rectangle 435"/>
                  <p:cNvSpPr>
                    <a:spLocks noChangeArrowheads="1"/>
                  </p:cNvSpPr>
                  <p:nvPr/>
                </p:nvSpPr>
                <p:spPr bwMode="auto">
                  <a:xfrm>
                    <a:off x="9713752" y="5261126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37" name="Rectangle 436"/>
                  <p:cNvSpPr>
                    <a:spLocks noChangeArrowheads="1"/>
                  </p:cNvSpPr>
                  <p:nvPr/>
                </p:nvSpPr>
                <p:spPr bwMode="auto">
                  <a:xfrm>
                    <a:off x="9735781" y="5261126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38" name="Rectangle 437"/>
                  <p:cNvSpPr>
                    <a:spLocks noChangeArrowheads="1"/>
                  </p:cNvSpPr>
                  <p:nvPr/>
                </p:nvSpPr>
                <p:spPr bwMode="auto">
                  <a:xfrm>
                    <a:off x="9755363" y="5261126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39" name="Rectangle 438"/>
                  <p:cNvSpPr>
                    <a:spLocks noChangeArrowheads="1"/>
                  </p:cNvSpPr>
                  <p:nvPr/>
                </p:nvSpPr>
                <p:spPr bwMode="auto">
                  <a:xfrm>
                    <a:off x="9777392" y="5261126"/>
                    <a:ext cx="4895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40" name="Oval 439"/>
                  <p:cNvSpPr>
                    <a:spLocks noChangeArrowheads="1"/>
                  </p:cNvSpPr>
                  <p:nvPr/>
                </p:nvSpPr>
                <p:spPr bwMode="auto">
                  <a:xfrm>
                    <a:off x="9960962" y="5280709"/>
                    <a:ext cx="24475" cy="24475"/>
                  </a:xfrm>
                  <a:prstGeom prst="ellipse">
                    <a:avLst/>
                  </a:prstGeom>
                  <a:solidFill>
                    <a:srgbClr val="009E4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41" name="Rectangle 440"/>
                  <p:cNvSpPr>
                    <a:spLocks noChangeArrowheads="1"/>
                  </p:cNvSpPr>
                  <p:nvPr/>
                </p:nvSpPr>
                <p:spPr bwMode="auto">
                  <a:xfrm>
                    <a:off x="9659906" y="5363927"/>
                    <a:ext cx="357352" cy="93009"/>
                  </a:xfrm>
                  <a:prstGeom prst="rect">
                    <a:avLst/>
                  </a:pr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42" name="Rectangle 441"/>
                  <p:cNvSpPr>
                    <a:spLocks noChangeArrowheads="1"/>
                  </p:cNvSpPr>
                  <p:nvPr/>
                </p:nvSpPr>
                <p:spPr bwMode="auto">
                  <a:xfrm>
                    <a:off x="9672144" y="5376167"/>
                    <a:ext cx="12238" cy="63637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43" name="Rectangle 442"/>
                  <p:cNvSpPr>
                    <a:spLocks noChangeArrowheads="1"/>
                  </p:cNvSpPr>
                  <p:nvPr/>
                </p:nvSpPr>
                <p:spPr bwMode="auto">
                  <a:xfrm>
                    <a:off x="9694171" y="5376167"/>
                    <a:ext cx="9790" cy="63637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44" name="Rectangle 443"/>
                  <p:cNvSpPr>
                    <a:spLocks noChangeArrowheads="1"/>
                  </p:cNvSpPr>
                  <p:nvPr/>
                </p:nvSpPr>
                <p:spPr bwMode="auto">
                  <a:xfrm>
                    <a:off x="9713752" y="5376167"/>
                    <a:ext cx="12238" cy="63637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45" name="Rectangle 444"/>
                  <p:cNvSpPr>
                    <a:spLocks noChangeArrowheads="1"/>
                  </p:cNvSpPr>
                  <p:nvPr/>
                </p:nvSpPr>
                <p:spPr bwMode="auto">
                  <a:xfrm>
                    <a:off x="9735781" y="5376167"/>
                    <a:ext cx="9790" cy="63637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46" name="Rectangle 445"/>
                  <p:cNvSpPr>
                    <a:spLocks noChangeArrowheads="1"/>
                  </p:cNvSpPr>
                  <p:nvPr/>
                </p:nvSpPr>
                <p:spPr bwMode="auto">
                  <a:xfrm>
                    <a:off x="9755363" y="5376167"/>
                    <a:ext cx="9790" cy="63637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47" name="Rectangle 446"/>
                  <p:cNvSpPr>
                    <a:spLocks noChangeArrowheads="1"/>
                  </p:cNvSpPr>
                  <p:nvPr/>
                </p:nvSpPr>
                <p:spPr bwMode="auto">
                  <a:xfrm>
                    <a:off x="9777392" y="5376167"/>
                    <a:ext cx="4895" cy="63637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48" name="Oval 447"/>
                  <p:cNvSpPr>
                    <a:spLocks noChangeArrowheads="1"/>
                  </p:cNvSpPr>
                  <p:nvPr/>
                </p:nvSpPr>
                <p:spPr bwMode="auto">
                  <a:xfrm>
                    <a:off x="9960962" y="5398193"/>
                    <a:ext cx="24475" cy="24475"/>
                  </a:xfrm>
                  <a:prstGeom prst="ellipse">
                    <a:avLst/>
                  </a:prstGeom>
                  <a:solidFill>
                    <a:srgbClr val="009E4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49" name="Rectangle 448"/>
                  <p:cNvSpPr>
                    <a:spLocks noChangeArrowheads="1"/>
                  </p:cNvSpPr>
                  <p:nvPr/>
                </p:nvSpPr>
                <p:spPr bwMode="auto">
                  <a:xfrm>
                    <a:off x="9659906" y="5478965"/>
                    <a:ext cx="357352" cy="93009"/>
                  </a:xfrm>
                  <a:prstGeom prst="rect">
                    <a:avLst/>
                  </a:pr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50" name="Rectangle 449"/>
                  <p:cNvSpPr>
                    <a:spLocks noChangeArrowheads="1"/>
                  </p:cNvSpPr>
                  <p:nvPr/>
                </p:nvSpPr>
                <p:spPr bwMode="auto">
                  <a:xfrm>
                    <a:off x="9672144" y="5493652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51" name="Rectangle 450"/>
                  <p:cNvSpPr>
                    <a:spLocks noChangeArrowheads="1"/>
                  </p:cNvSpPr>
                  <p:nvPr/>
                </p:nvSpPr>
                <p:spPr bwMode="auto">
                  <a:xfrm>
                    <a:off x="9694171" y="5493652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52" name="Rectangle 451"/>
                  <p:cNvSpPr>
                    <a:spLocks noChangeArrowheads="1"/>
                  </p:cNvSpPr>
                  <p:nvPr/>
                </p:nvSpPr>
                <p:spPr bwMode="auto">
                  <a:xfrm>
                    <a:off x="9713752" y="5493652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53" name="Rectangle 452"/>
                  <p:cNvSpPr>
                    <a:spLocks noChangeArrowheads="1"/>
                  </p:cNvSpPr>
                  <p:nvPr/>
                </p:nvSpPr>
                <p:spPr bwMode="auto">
                  <a:xfrm>
                    <a:off x="9735781" y="5493652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54" name="Rectangle 453"/>
                  <p:cNvSpPr>
                    <a:spLocks noChangeArrowheads="1"/>
                  </p:cNvSpPr>
                  <p:nvPr/>
                </p:nvSpPr>
                <p:spPr bwMode="auto">
                  <a:xfrm>
                    <a:off x="9755363" y="5493652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55" name="Rectangle 454"/>
                  <p:cNvSpPr>
                    <a:spLocks noChangeArrowheads="1"/>
                  </p:cNvSpPr>
                  <p:nvPr/>
                </p:nvSpPr>
                <p:spPr bwMode="auto">
                  <a:xfrm>
                    <a:off x="9777392" y="5493652"/>
                    <a:ext cx="4895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56" name="Oval 455"/>
                  <p:cNvSpPr>
                    <a:spLocks noChangeArrowheads="1"/>
                  </p:cNvSpPr>
                  <p:nvPr/>
                </p:nvSpPr>
                <p:spPr bwMode="auto">
                  <a:xfrm>
                    <a:off x="9960962" y="5513234"/>
                    <a:ext cx="24475" cy="22029"/>
                  </a:xfrm>
                  <a:prstGeom prst="ellipse">
                    <a:avLst/>
                  </a:prstGeom>
                  <a:solidFill>
                    <a:srgbClr val="009E4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57" name="Rectangle 456"/>
                  <p:cNvSpPr>
                    <a:spLocks noChangeArrowheads="1"/>
                  </p:cNvSpPr>
                  <p:nvPr/>
                </p:nvSpPr>
                <p:spPr bwMode="auto">
                  <a:xfrm>
                    <a:off x="9659906" y="5596451"/>
                    <a:ext cx="357352" cy="93009"/>
                  </a:xfrm>
                  <a:prstGeom prst="rect">
                    <a:avLst/>
                  </a:pr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58" name="Rectangle 457"/>
                  <p:cNvSpPr>
                    <a:spLocks noChangeArrowheads="1"/>
                  </p:cNvSpPr>
                  <p:nvPr/>
                </p:nvSpPr>
                <p:spPr bwMode="auto">
                  <a:xfrm>
                    <a:off x="9672144" y="5611137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59" name="Rectangle 458"/>
                  <p:cNvSpPr>
                    <a:spLocks noChangeArrowheads="1"/>
                  </p:cNvSpPr>
                  <p:nvPr/>
                </p:nvSpPr>
                <p:spPr bwMode="auto">
                  <a:xfrm>
                    <a:off x="9694171" y="5611137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60" name="Rectangle 459"/>
                  <p:cNvSpPr>
                    <a:spLocks noChangeArrowheads="1"/>
                  </p:cNvSpPr>
                  <p:nvPr/>
                </p:nvSpPr>
                <p:spPr bwMode="auto">
                  <a:xfrm>
                    <a:off x="9713752" y="5611137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61" name="Rectangle 460"/>
                  <p:cNvSpPr>
                    <a:spLocks noChangeArrowheads="1"/>
                  </p:cNvSpPr>
                  <p:nvPr/>
                </p:nvSpPr>
                <p:spPr bwMode="auto">
                  <a:xfrm>
                    <a:off x="9735781" y="5611137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62" name="Rectangle 461"/>
                  <p:cNvSpPr>
                    <a:spLocks noChangeArrowheads="1"/>
                  </p:cNvSpPr>
                  <p:nvPr/>
                </p:nvSpPr>
                <p:spPr bwMode="auto">
                  <a:xfrm>
                    <a:off x="9755363" y="5611137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63" name="Rectangle 462"/>
                  <p:cNvSpPr>
                    <a:spLocks noChangeArrowheads="1"/>
                  </p:cNvSpPr>
                  <p:nvPr/>
                </p:nvSpPr>
                <p:spPr bwMode="auto">
                  <a:xfrm>
                    <a:off x="9777392" y="5611137"/>
                    <a:ext cx="4895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64" name="Oval 463"/>
                  <p:cNvSpPr>
                    <a:spLocks noChangeArrowheads="1"/>
                  </p:cNvSpPr>
                  <p:nvPr/>
                </p:nvSpPr>
                <p:spPr bwMode="auto">
                  <a:xfrm>
                    <a:off x="9960962" y="5630720"/>
                    <a:ext cx="24475" cy="19581"/>
                  </a:xfrm>
                  <a:prstGeom prst="ellipse">
                    <a:avLst/>
                  </a:prstGeom>
                  <a:solidFill>
                    <a:srgbClr val="009E4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65" name="Rectangle 464"/>
                  <p:cNvSpPr>
                    <a:spLocks noChangeArrowheads="1"/>
                  </p:cNvSpPr>
                  <p:nvPr/>
                </p:nvSpPr>
                <p:spPr bwMode="auto">
                  <a:xfrm>
                    <a:off x="9659906" y="5713937"/>
                    <a:ext cx="357352" cy="90563"/>
                  </a:xfrm>
                  <a:prstGeom prst="rect">
                    <a:avLst/>
                  </a:pr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66" name="Rectangle 465"/>
                  <p:cNvSpPr>
                    <a:spLocks noChangeArrowheads="1"/>
                  </p:cNvSpPr>
                  <p:nvPr/>
                </p:nvSpPr>
                <p:spPr bwMode="auto">
                  <a:xfrm>
                    <a:off x="9672144" y="5726175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67" name="Rectangle 466"/>
                  <p:cNvSpPr>
                    <a:spLocks noChangeArrowheads="1"/>
                  </p:cNvSpPr>
                  <p:nvPr/>
                </p:nvSpPr>
                <p:spPr bwMode="auto">
                  <a:xfrm>
                    <a:off x="9694171" y="5726175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68" name="Rectangle 467"/>
                  <p:cNvSpPr>
                    <a:spLocks noChangeArrowheads="1"/>
                  </p:cNvSpPr>
                  <p:nvPr/>
                </p:nvSpPr>
                <p:spPr bwMode="auto">
                  <a:xfrm>
                    <a:off x="9713752" y="5726175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69" name="Rectangle 468"/>
                  <p:cNvSpPr>
                    <a:spLocks noChangeArrowheads="1"/>
                  </p:cNvSpPr>
                  <p:nvPr/>
                </p:nvSpPr>
                <p:spPr bwMode="auto">
                  <a:xfrm>
                    <a:off x="9735781" y="5726175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70" name="Rectangle 469"/>
                  <p:cNvSpPr>
                    <a:spLocks noChangeArrowheads="1"/>
                  </p:cNvSpPr>
                  <p:nvPr/>
                </p:nvSpPr>
                <p:spPr bwMode="auto">
                  <a:xfrm>
                    <a:off x="9755363" y="5726175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71" name="Rectangle 470"/>
                  <p:cNvSpPr>
                    <a:spLocks noChangeArrowheads="1"/>
                  </p:cNvSpPr>
                  <p:nvPr/>
                </p:nvSpPr>
                <p:spPr bwMode="auto">
                  <a:xfrm>
                    <a:off x="9777392" y="5726175"/>
                    <a:ext cx="4895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72" name="Oval 471"/>
                  <p:cNvSpPr>
                    <a:spLocks noChangeArrowheads="1"/>
                  </p:cNvSpPr>
                  <p:nvPr/>
                </p:nvSpPr>
                <p:spPr bwMode="auto">
                  <a:xfrm>
                    <a:off x="9960962" y="5748204"/>
                    <a:ext cx="24475" cy="19581"/>
                  </a:xfrm>
                  <a:prstGeom prst="ellipse">
                    <a:avLst/>
                  </a:prstGeom>
                  <a:solidFill>
                    <a:srgbClr val="009E4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73" name="Rectangle 472"/>
                  <p:cNvSpPr>
                    <a:spLocks noChangeArrowheads="1"/>
                  </p:cNvSpPr>
                  <p:nvPr/>
                </p:nvSpPr>
                <p:spPr bwMode="auto">
                  <a:xfrm>
                    <a:off x="9659906" y="5828975"/>
                    <a:ext cx="357352" cy="88115"/>
                  </a:xfrm>
                  <a:prstGeom prst="rect">
                    <a:avLst/>
                  </a:pr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74" name="Rectangle 473"/>
                  <p:cNvSpPr>
                    <a:spLocks noChangeArrowheads="1"/>
                  </p:cNvSpPr>
                  <p:nvPr/>
                </p:nvSpPr>
                <p:spPr bwMode="auto">
                  <a:xfrm>
                    <a:off x="9672144" y="5843661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75" name="Rectangle 474"/>
                  <p:cNvSpPr>
                    <a:spLocks noChangeArrowheads="1"/>
                  </p:cNvSpPr>
                  <p:nvPr/>
                </p:nvSpPr>
                <p:spPr bwMode="auto">
                  <a:xfrm>
                    <a:off x="9694171" y="5843661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76" name="Rectangle 475"/>
                  <p:cNvSpPr>
                    <a:spLocks noChangeArrowheads="1"/>
                  </p:cNvSpPr>
                  <p:nvPr/>
                </p:nvSpPr>
                <p:spPr bwMode="auto">
                  <a:xfrm>
                    <a:off x="9713752" y="5843661"/>
                    <a:ext cx="12238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77" name="Rectangle 476"/>
                  <p:cNvSpPr>
                    <a:spLocks noChangeArrowheads="1"/>
                  </p:cNvSpPr>
                  <p:nvPr/>
                </p:nvSpPr>
                <p:spPr bwMode="auto">
                  <a:xfrm>
                    <a:off x="9735781" y="5843661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78" name="Rectangle 477"/>
                  <p:cNvSpPr>
                    <a:spLocks noChangeArrowheads="1"/>
                  </p:cNvSpPr>
                  <p:nvPr/>
                </p:nvSpPr>
                <p:spPr bwMode="auto">
                  <a:xfrm>
                    <a:off x="9755363" y="5843661"/>
                    <a:ext cx="9790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79" name="Rectangle 478"/>
                  <p:cNvSpPr>
                    <a:spLocks noChangeArrowheads="1"/>
                  </p:cNvSpPr>
                  <p:nvPr/>
                </p:nvSpPr>
                <p:spPr bwMode="auto">
                  <a:xfrm>
                    <a:off x="9777392" y="5843661"/>
                    <a:ext cx="4895" cy="61192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80" name="Oval 479"/>
                  <p:cNvSpPr>
                    <a:spLocks noChangeArrowheads="1"/>
                  </p:cNvSpPr>
                  <p:nvPr/>
                </p:nvSpPr>
                <p:spPr bwMode="auto">
                  <a:xfrm>
                    <a:off x="9960962" y="5863242"/>
                    <a:ext cx="24475" cy="19581"/>
                  </a:xfrm>
                  <a:prstGeom prst="ellipse">
                    <a:avLst/>
                  </a:prstGeom>
                  <a:solidFill>
                    <a:srgbClr val="009E4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grpSp>
                <p:nvGrpSpPr>
                  <p:cNvPr id="481" name="Group 480"/>
                  <p:cNvGrpSpPr/>
                  <p:nvPr/>
                </p:nvGrpSpPr>
                <p:grpSpPr>
                  <a:xfrm>
                    <a:off x="8106570" y="3935906"/>
                    <a:ext cx="1022202" cy="1018989"/>
                    <a:chOff x="1788763" y="2298419"/>
                    <a:chExt cx="576142" cy="574331"/>
                  </a:xfrm>
                </p:grpSpPr>
                <p:sp>
                  <p:nvSpPr>
                    <p:cNvPr id="486" name="Oval 61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788763" y="2298419"/>
                      <a:ext cx="576142" cy="574331"/>
                    </a:xfrm>
                    <a:prstGeom prst="ellipse">
                      <a:avLst/>
                    </a:prstGeom>
                    <a:solidFill>
                      <a:srgbClr val="6821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87" name="Freeform 617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933705" y="2465102"/>
                      <a:ext cx="286259" cy="244589"/>
                    </a:xfrm>
                    <a:custGeom>
                      <a:avLst/>
                      <a:gdLst>
                        <a:gd name="T0" fmla="*/ 108 w 113"/>
                        <a:gd name="T1" fmla="*/ 90 h 96"/>
                        <a:gd name="T2" fmla="*/ 0 w 113"/>
                        <a:gd name="T3" fmla="*/ 17 h 96"/>
                        <a:gd name="T4" fmla="*/ 0 w 113"/>
                        <a:gd name="T5" fmla="*/ 96 h 96"/>
                        <a:gd name="T6" fmla="*/ 113 w 113"/>
                        <a:gd name="T7" fmla="*/ 0 h 96"/>
                        <a:gd name="T8" fmla="*/ 0 w 113"/>
                        <a:gd name="T9" fmla="*/ 0 h 96"/>
                        <a:gd name="T10" fmla="*/ 66 w 113"/>
                        <a:gd name="T11" fmla="*/ 54 h 96"/>
                        <a:gd name="T12" fmla="*/ 63 w 113"/>
                        <a:gd name="T13" fmla="*/ 48 h 96"/>
                        <a:gd name="T14" fmla="*/ 59 w 113"/>
                        <a:gd name="T15" fmla="*/ 45 h 96"/>
                        <a:gd name="T16" fmla="*/ 53 w 113"/>
                        <a:gd name="T17" fmla="*/ 42 h 96"/>
                        <a:gd name="T18" fmla="*/ 48 w 113"/>
                        <a:gd name="T19" fmla="*/ 42 h 96"/>
                        <a:gd name="T20" fmla="*/ 42 w 113"/>
                        <a:gd name="T21" fmla="*/ 45 h 96"/>
                        <a:gd name="T22" fmla="*/ 38 w 113"/>
                        <a:gd name="T23" fmla="*/ 48 h 96"/>
                        <a:gd name="T24" fmla="*/ 35 w 113"/>
                        <a:gd name="T25" fmla="*/ 54 h 96"/>
                        <a:gd name="T26" fmla="*/ 34 w 113"/>
                        <a:gd name="T27" fmla="*/ 59 h 96"/>
                        <a:gd name="T28" fmla="*/ 35 w 113"/>
                        <a:gd name="T29" fmla="*/ 65 h 96"/>
                        <a:gd name="T30" fmla="*/ 38 w 113"/>
                        <a:gd name="T31" fmla="*/ 70 h 96"/>
                        <a:gd name="T32" fmla="*/ 43 w 113"/>
                        <a:gd name="T33" fmla="*/ 74 h 96"/>
                        <a:gd name="T34" fmla="*/ 47 w 113"/>
                        <a:gd name="T35" fmla="*/ 76 h 96"/>
                        <a:gd name="T36" fmla="*/ 51 w 113"/>
                        <a:gd name="T37" fmla="*/ 71 h 96"/>
                        <a:gd name="T38" fmla="*/ 58 w 113"/>
                        <a:gd name="T39" fmla="*/ 75 h 96"/>
                        <a:gd name="T40" fmla="*/ 59 w 113"/>
                        <a:gd name="T41" fmla="*/ 68 h 96"/>
                        <a:gd name="T42" fmla="*/ 66 w 113"/>
                        <a:gd name="T43" fmla="*/ 67 h 96"/>
                        <a:gd name="T44" fmla="*/ 63 w 113"/>
                        <a:gd name="T45" fmla="*/ 61 h 96"/>
                        <a:gd name="T46" fmla="*/ 57 w 113"/>
                        <a:gd name="T47" fmla="*/ 59 h 96"/>
                        <a:gd name="T48" fmla="*/ 46 w 113"/>
                        <a:gd name="T49" fmla="*/ 64 h 96"/>
                        <a:gd name="T50" fmla="*/ 51 w 113"/>
                        <a:gd name="T51" fmla="*/ 53 h 96"/>
                        <a:gd name="T52" fmla="*/ 47 w 113"/>
                        <a:gd name="T53" fmla="*/ 59 h 96"/>
                        <a:gd name="T54" fmla="*/ 51 w 113"/>
                        <a:gd name="T55" fmla="*/ 62 h 96"/>
                        <a:gd name="T56" fmla="*/ 78 w 113"/>
                        <a:gd name="T57" fmla="*/ 47 h 96"/>
                        <a:gd name="T58" fmla="*/ 80 w 113"/>
                        <a:gd name="T59" fmla="*/ 44 h 96"/>
                        <a:gd name="T60" fmla="*/ 78 w 113"/>
                        <a:gd name="T61" fmla="*/ 42 h 96"/>
                        <a:gd name="T62" fmla="*/ 74 w 113"/>
                        <a:gd name="T63" fmla="*/ 41 h 96"/>
                        <a:gd name="T64" fmla="*/ 71 w 113"/>
                        <a:gd name="T65" fmla="*/ 38 h 96"/>
                        <a:gd name="T66" fmla="*/ 67 w 113"/>
                        <a:gd name="T67" fmla="*/ 42 h 96"/>
                        <a:gd name="T68" fmla="*/ 64 w 113"/>
                        <a:gd name="T69" fmla="*/ 42 h 96"/>
                        <a:gd name="T70" fmla="*/ 63 w 113"/>
                        <a:gd name="T71" fmla="*/ 44 h 96"/>
                        <a:gd name="T72" fmla="*/ 65 w 113"/>
                        <a:gd name="T73" fmla="*/ 48 h 96"/>
                        <a:gd name="T74" fmla="*/ 63 w 113"/>
                        <a:gd name="T75" fmla="*/ 51 h 96"/>
                        <a:gd name="T76" fmla="*/ 65 w 113"/>
                        <a:gd name="T77" fmla="*/ 53 h 96"/>
                        <a:gd name="T78" fmla="*/ 70 w 113"/>
                        <a:gd name="T79" fmla="*/ 56 h 96"/>
                        <a:gd name="T80" fmla="*/ 73 w 113"/>
                        <a:gd name="T81" fmla="*/ 56 h 96"/>
                        <a:gd name="T82" fmla="*/ 78 w 113"/>
                        <a:gd name="T83" fmla="*/ 53 h 96"/>
                        <a:gd name="T84" fmla="*/ 80 w 113"/>
                        <a:gd name="T85" fmla="*/ 51 h 96"/>
                        <a:gd name="T86" fmla="*/ 78 w 113"/>
                        <a:gd name="T87" fmla="*/ 48 h 96"/>
                        <a:gd name="T88" fmla="*/ 71 w 113"/>
                        <a:gd name="T89" fmla="*/ 50 h 96"/>
                        <a:gd name="T90" fmla="*/ 74 w 113"/>
                        <a:gd name="T91" fmla="*/ 47 h 9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</a:cxnLst>
                      <a:rect l="0" t="0" r="r" b="b"/>
                      <a:pathLst>
                        <a:path w="113" h="96">
                          <a:moveTo>
                            <a:pt x="6" y="22"/>
                          </a:moveTo>
                          <a:cubicBezTo>
                            <a:pt x="6" y="90"/>
                            <a:pt x="6" y="90"/>
                            <a:pt x="6" y="90"/>
                          </a:cubicBezTo>
                          <a:cubicBezTo>
                            <a:pt x="108" y="90"/>
                            <a:pt x="108" y="90"/>
                            <a:pt x="108" y="90"/>
                          </a:cubicBezTo>
                          <a:cubicBezTo>
                            <a:pt x="108" y="22"/>
                            <a:pt x="108" y="22"/>
                            <a:pt x="108" y="22"/>
                          </a:cubicBezTo>
                          <a:cubicBezTo>
                            <a:pt x="6" y="22"/>
                            <a:pt x="6" y="22"/>
                            <a:pt x="6" y="22"/>
                          </a:cubicBezTo>
                          <a:close/>
                          <a:moveTo>
                            <a:pt x="0" y="17"/>
                          </a:moveTo>
                          <a:cubicBezTo>
                            <a:pt x="113" y="17"/>
                            <a:pt x="113" y="17"/>
                            <a:pt x="113" y="17"/>
                          </a:cubicBezTo>
                          <a:cubicBezTo>
                            <a:pt x="113" y="96"/>
                            <a:pt x="113" y="96"/>
                            <a:pt x="113" y="96"/>
                          </a:cubicBezTo>
                          <a:cubicBezTo>
                            <a:pt x="0" y="96"/>
                            <a:pt x="0" y="96"/>
                            <a:pt x="0" y="96"/>
                          </a:cubicBezTo>
                          <a:cubicBezTo>
                            <a:pt x="0" y="17"/>
                            <a:pt x="0" y="17"/>
                            <a:pt x="0" y="17"/>
                          </a:cubicBezTo>
                          <a:close/>
                          <a:moveTo>
                            <a:pt x="0" y="0"/>
                          </a:moveTo>
                          <a:cubicBezTo>
                            <a:pt x="113" y="0"/>
                            <a:pt x="113" y="0"/>
                            <a:pt x="113" y="0"/>
                          </a:cubicBezTo>
                          <a:cubicBezTo>
                            <a:pt x="113" y="11"/>
                            <a:pt x="113" y="11"/>
                            <a:pt x="113" y="11"/>
                          </a:cubicBezTo>
                          <a:cubicBezTo>
                            <a:pt x="0" y="11"/>
                            <a:pt x="0" y="11"/>
                            <a:pt x="0" y="11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lose/>
                          <a:moveTo>
                            <a:pt x="67" y="58"/>
                          </a:moveTo>
                          <a:cubicBezTo>
                            <a:pt x="67" y="55"/>
                            <a:pt x="67" y="55"/>
                            <a:pt x="67" y="55"/>
                          </a:cubicBezTo>
                          <a:cubicBezTo>
                            <a:pt x="67" y="55"/>
                            <a:pt x="67" y="54"/>
                            <a:pt x="66" y="54"/>
                          </a:cubicBezTo>
                          <a:cubicBezTo>
                            <a:pt x="61" y="54"/>
                            <a:pt x="61" y="54"/>
                            <a:pt x="61" y="54"/>
                          </a:cubicBezTo>
                          <a:cubicBezTo>
                            <a:pt x="61" y="54"/>
                            <a:pt x="61" y="53"/>
                            <a:pt x="61" y="53"/>
                          </a:cubicBezTo>
                          <a:cubicBezTo>
                            <a:pt x="63" y="48"/>
                            <a:pt x="63" y="48"/>
                            <a:pt x="63" y="48"/>
                          </a:cubicBezTo>
                          <a:cubicBezTo>
                            <a:pt x="63" y="48"/>
                            <a:pt x="63" y="48"/>
                            <a:pt x="63" y="47"/>
                          </a:cubicBezTo>
                          <a:cubicBezTo>
                            <a:pt x="60" y="45"/>
                            <a:pt x="60" y="45"/>
                            <a:pt x="60" y="45"/>
                          </a:cubicBezTo>
                          <a:cubicBezTo>
                            <a:pt x="60" y="45"/>
                            <a:pt x="59" y="45"/>
                            <a:pt x="59" y="45"/>
                          </a:cubicBezTo>
                          <a:cubicBezTo>
                            <a:pt x="55" y="48"/>
                            <a:pt x="55" y="48"/>
                            <a:pt x="55" y="48"/>
                          </a:cubicBezTo>
                          <a:cubicBezTo>
                            <a:pt x="55" y="48"/>
                            <a:pt x="55" y="48"/>
                            <a:pt x="54" y="48"/>
                          </a:cubicBezTo>
                          <a:cubicBezTo>
                            <a:pt x="53" y="42"/>
                            <a:pt x="53" y="42"/>
                            <a:pt x="53" y="42"/>
                          </a:cubicBezTo>
                          <a:cubicBezTo>
                            <a:pt x="53" y="42"/>
                            <a:pt x="53" y="42"/>
                            <a:pt x="52" y="42"/>
                          </a:cubicBezTo>
                          <a:cubicBezTo>
                            <a:pt x="49" y="42"/>
                            <a:pt x="49" y="42"/>
                            <a:pt x="49" y="42"/>
                          </a:cubicBezTo>
                          <a:cubicBezTo>
                            <a:pt x="49" y="42"/>
                            <a:pt x="48" y="42"/>
                            <a:pt x="48" y="42"/>
                          </a:cubicBezTo>
                          <a:cubicBezTo>
                            <a:pt x="47" y="48"/>
                            <a:pt x="47" y="48"/>
                            <a:pt x="47" y="48"/>
                          </a:cubicBezTo>
                          <a:cubicBezTo>
                            <a:pt x="46" y="48"/>
                            <a:pt x="46" y="48"/>
                            <a:pt x="46" y="48"/>
                          </a:cubicBezTo>
                          <a:cubicBezTo>
                            <a:pt x="42" y="45"/>
                            <a:pt x="42" y="45"/>
                            <a:pt x="42" y="45"/>
                          </a:cubicBezTo>
                          <a:cubicBezTo>
                            <a:pt x="41" y="45"/>
                            <a:pt x="41" y="45"/>
                            <a:pt x="41" y="45"/>
                          </a:cubicBezTo>
                          <a:cubicBezTo>
                            <a:pt x="38" y="47"/>
                            <a:pt x="38" y="47"/>
                            <a:pt x="38" y="47"/>
                          </a:cubicBezTo>
                          <a:cubicBezTo>
                            <a:pt x="38" y="48"/>
                            <a:pt x="38" y="48"/>
                            <a:pt x="38" y="48"/>
                          </a:cubicBezTo>
                          <a:cubicBezTo>
                            <a:pt x="40" y="53"/>
                            <a:pt x="40" y="53"/>
                            <a:pt x="40" y="53"/>
                          </a:cubicBezTo>
                          <a:cubicBezTo>
                            <a:pt x="40" y="53"/>
                            <a:pt x="40" y="54"/>
                            <a:pt x="40" y="54"/>
                          </a:cubicBezTo>
                          <a:cubicBezTo>
                            <a:pt x="35" y="54"/>
                            <a:pt x="35" y="54"/>
                            <a:pt x="35" y="54"/>
                          </a:cubicBezTo>
                          <a:cubicBezTo>
                            <a:pt x="34" y="54"/>
                            <a:pt x="34" y="55"/>
                            <a:pt x="34" y="55"/>
                          </a:cubicBezTo>
                          <a:cubicBezTo>
                            <a:pt x="33" y="58"/>
                            <a:pt x="33" y="58"/>
                            <a:pt x="33" y="58"/>
                          </a:cubicBezTo>
                          <a:cubicBezTo>
                            <a:pt x="33" y="58"/>
                            <a:pt x="34" y="59"/>
                            <a:pt x="34" y="59"/>
                          </a:cubicBezTo>
                          <a:cubicBezTo>
                            <a:pt x="39" y="61"/>
                            <a:pt x="39" y="61"/>
                            <a:pt x="39" y="61"/>
                          </a:cubicBezTo>
                          <a:cubicBezTo>
                            <a:pt x="39" y="61"/>
                            <a:pt x="39" y="62"/>
                            <a:pt x="39" y="62"/>
                          </a:cubicBezTo>
                          <a:cubicBezTo>
                            <a:pt x="35" y="65"/>
                            <a:pt x="35" y="65"/>
                            <a:pt x="35" y="65"/>
                          </a:cubicBezTo>
                          <a:cubicBezTo>
                            <a:pt x="35" y="66"/>
                            <a:pt x="35" y="66"/>
                            <a:pt x="35" y="67"/>
                          </a:cubicBezTo>
                          <a:cubicBezTo>
                            <a:pt x="37" y="69"/>
                            <a:pt x="37" y="69"/>
                            <a:pt x="37" y="69"/>
                          </a:cubicBezTo>
                          <a:cubicBezTo>
                            <a:pt x="37" y="70"/>
                            <a:pt x="37" y="70"/>
                            <a:pt x="38" y="70"/>
                          </a:cubicBezTo>
                          <a:cubicBezTo>
                            <a:pt x="42" y="68"/>
                            <a:pt x="42" y="68"/>
                            <a:pt x="42" y="68"/>
                          </a:cubicBezTo>
                          <a:cubicBezTo>
                            <a:pt x="43" y="69"/>
                            <a:pt x="43" y="69"/>
                            <a:pt x="43" y="69"/>
                          </a:cubicBezTo>
                          <a:cubicBezTo>
                            <a:pt x="43" y="74"/>
                            <a:pt x="43" y="74"/>
                            <a:pt x="43" y="74"/>
                          </a:cubicBezTo>
                          <a:cubicBezTo>
                            <a:pt x="43" y="74"/>
                            <a:pt x="43" y="75"/>
                            <a:pt x="43" y="75"/>
                          </a:cubicBezTo>
                          <a:cubicBezTo>
                            <a:pt x="46" y="76"/>
                            <a:pt x="46" y="76"/>
                            <a:pt x="46" y="76"/>
                          </a:cubicBezTo>
                          <a:cubicBezTo>
                            <a:pt x="47" y="76"/>
                            <a:pt x="47" y="76"/>
                            <a:pt x="47" y="76"/>
                          </a:cubicBezTo>
                          <a:cubicBezTo>
                            <a:pt x="50" y="71"/>
                            <a:pt x="50" y="71"/>
                            <a:pt x="50" y="71"/>
                          </a:cubicBezTo>
                          <a:cubicBezTo>
                            <a:pt x="50" y="71"/>
                            <a:pt x="50" y="71"/>
                            <a:pt x="51" y="71"/>
                          </a:cubicBezTo>
                          <a:cubicBezTo>
                            <a:pt x="51" y="71"/>
                            <a:pt x="51" y="71"/>
                            <a:pt x="51" y="71"/>
                          </a:cubicBezTo>
                          <a:cubicBezTo>
                            <a:pt x="54" y="76"/>
                            <a:pt x="54" y="76"/>
                            <a:pt x="54" y="76"/>
                          </a:cubicBezTo>
                          <a:cubicBezTo>
                            <a:pt x="54" y="76"/>
                            <a:pt x="54" y="76"/>
                            <a:pt x="55" y="76"/>
                          </a:cubicBezTo>
                          <a:cubicBezTo>
                            <a:pt x="58" y="75"/>
                            <a:pt x="58" y="75"/>
                            <a:pt x="58" y="75"/>
                          </a:cubicBezTo>
                          <a:cubicBezTo>
                            <a:pt x="58" y="75"/>
                            <a:pt x="58" y="74"/>
                            <a:pt x="58" y="74"/>
                          </a:cubicBezTo>
                          <a:cubicBezTo>
                            <a:pt x="58" y="69"/>
                            <a:pt x="58" y="69"/>
                            <a:pt x="58" y="69"/>
                          </a:cubicBezTo>
                          <a:cubicBezTo>
                            <a:pt x="58" y="69"/>
                            <a:pt x="58" y="69"/>
                            <a:pt x="59" y="68"/>
                          </a:cubicBezTo>
                          <a:cubicBezTo>
                            <a:pt x="64" y="70"/>
                            <a:pt x="64" y="70"/>
                            <a:pt x="64" y="70"/>
                          </a:cubicBezTo>
                          <a:cubicBezTo>
                            <a:pt x="64" y="70"/>
                            <a:pt x="64" y="70"/>
                            <a:pt x="64" y="69"/>
                          </a:cubicBezTo>
                          <a:cubicBezTo>
                            <a:pt x="66" y="67"/>
                            <a:pt x="66" y="67"/>
                            <a:pt x="66" y="67"/>
                          </a:cubicBezTo>
                          <a:cubicBezTo>
                            <a:pt x="66" y="66"/>
                            <a:pt x="66" y="66"/>
                            <a:pt x="66" y="65"/>
                          </a:cubicBezTo>
                          <a:cubicBezTo>
                            <a:pt x="62" y="62"/>
                            <a:pt x="62" y="62"/>
                            <a:pt x="62" y="62"/>
                          </a:cubicBezTo>
                          <a:cubicBezTo>
                            <a:pt x="62" y="62"/>
                            <a:pt x="62" y="61"/>
                            <a:pt x="63" y="61"/>
                          </a:cubicBezTo>
                          <a:cubicBezTo>
                            <a:pt x="67" y="59"/>
                            <a:pt x="67" y="59"/>
                            <a:pt x="67" y="59"/>
                          </a:cubicBezTo>
                          <a:cubicBezTo>
                            <a:pt x="67" y="59"/>
                            <a:pt x="67" y="58"/>
                            <a:pt x="67" y="58"/>
                          </a:cubicBezTo>
                          <a:close/>
                          <a:moveTo>
                            <a:pt x="57" y="59"/>
                          </a:moveTo>
                          <a:cubicBezTo>
                            <a:pt x="57" y="61"/>
                            <a:pt x="56" y="63"/>
                            <a:pt x="55" y="64"/>
                          </a:cubicBezTo>
                          <a:cubicBezTo>
                            <a:pt x="54" y="65"/>
                            <a:pt x="52" y="66"/>
                            <a:pt x="51" y="66"/>
                          </a:cubicBezTo>
                          <a:cubicBezTo>
                            <a:pt x="49" y="66"/>
                            <a:pt x="47" y="65"/>
                            <a:pt x="46" y="64"/>
                          </a:cubicBezTo>
                          <a:cubicBezTo>
                            <a:pt x="45" y="63"/>
                            <a:pt x="44" y="61"/>
                            <a:pt x="44" y="59"/>
                          </a:cubicBezTo>
                          <a:cubicBezTo>
                            <a:pt x="44" y="57"/>
                            <a:pt x="45" y="56"/>
                            <a:pt x="46" y="55"/>
                          </a:cubicBezTo>
                          <a:cubicBezTo>
                            <a:pt x="47" y="53"/>
                            <a:pt x="49" y="53"/>
                            <a:pt x="51" y="53"/>
                          </a:cubicBezTo>
                          <a:cubicBezTo>
                            <a:pt x="52" y="53"/>
                            <a:pt x="54" y="53"/>
                            <a:pt x="55" y="55"/>
                          </a:cubicBezTo>
                          <a:cubicBezTo>
                            <a:pt x="56" y="56"/>
                            <a:pt x="57" y="57"/>
                            <a:pt x="57" y="59"/>
                          </a:cubicBezTo>
                          <a:close/>
                          <a:moveTo>
                            <a:pt x="47" y="59"/>
                          </a:moveTo>
                          <a:cubicBezTo>
                            <a:pt x="47" y="58"/>
                            <a:pt x="49" y="56"/>
                            <a:pt x="51" y="56"/>
                          </a:cubicBezTo>
                          <a:cubicBezTo>
                            <a:pt x="52" y="56"/>
                            <a:pt x="54" y="58"/>
                            <a:pt x="54" y="59"/>
                          </a:cubicBezTo>
                          <a:cubicBezTo>
                            <a:pt x="54" y="61"/>
                            <a:pt x="52" y="62"/>
                            <a:pt x="51" y="62"/>
                          </a:cubicBezTo>
                          <a:cubicBezTo>
                            <a:pt x="49" y="62"/>
                            <a:pt x="47" y="61"/>
                            <a:pt x="47" y="59"/>
                          </a:cubicBezTo>
                          <a:close/>
                          <a:moveTo>
                            <a:pt x="78" y="48"/>
                          </a:moveTo>
                          <a:cubicBezTo>
                            <a:pt x="78" y="48"/>
                            <a:pt x="78" y="48"/>
                            <a:pt x="78" y="47"/>
                          </a:cubicBezTo>
                          <a:cubicBezTo>
                            <a:pt x="78" y="47"/>
                            <a:pt x="78" y="46"/>
                            <a:pt x="78" y="46"/>
                          </a:cubicBezTo>
                          <a:cubicBezTo>
                            <a:pt x="80" y="44"/>
                            <a:pt x="80" y="44"/>
                            <a:pt x="80" y="44"/>
                          </a:cubicBezTo>
                          <a:cubicBezTo>
                            <a:pt x="80" y="44"/>
                            <a:pt x="80" y="44"/>
                            <a:pt x="80" y="44"/>
                          </a:cubicBezTo>
                          <a:cubicBezTo>
                            <a:pt x="80" y="44"/>
                            <a:pt x="80" y="43"/>
                            <a:pt x="80" y="43"/>
                          </a:cubicBezTo>
                          <a:cubicBezTo>
                            <a:pt x="79" y="42"/>
                            <a:pt x="79" y="42"/>
                            <a:pt x="79" y="42"/>
                          </a:cubicBezTo>
                          <a:cubicBezTo>
                            <a:pt x="79" y="42"/>
                            <a:pt x="79" y="42"/>
                            <a:pt x="78" y="42"/>
                          </a:cubicBezTo>
                          <a:cubicBezTo>
                            <a:pt x="78" y="42"/>
                            <a:pt x="78" y="42"/>
                            <a:pt x="78" y="42"/>
                          </a:cubicBezTo>
                          <a:cubicBezTo>
                            <a:pt x="76" y="42"/>
                            <a:pt x="76" y="42"/>
                            <a:pt x="76" y="42"/>
                          </a:cubicBezTo>
                          <a:cubicBezTo>
                            <a:pt x="75" y="42"/>
                            <a:pt x="74" y="41"/>
                            <a:pt x="74" y="41"/>
                          </a:cubicBezTo>
                          <a:cubicBezTo>
                            <a:pt x="73" y="39"/>
                            <a:pt x="73" y="39"/>
                            <a:pt x="73" y="39"/>
                          </a:cubicBezTo>
                          <a:cubicBezTo>
                            <a:pt x="73" y="38"/>
                            <a:pt x="73" y="38"/>
                            <a:pt x="72" y="38"/>
                          </a:cubicBezTo>
                          <a:cubicBezTo>
                            <a:pt x="71" y="38"/>
                            <a:pt x="71" y="38"/>
                            <a:pt x="71" y="38"/>
                          </a:cubicBezTo>
                          <a:cubicBezTo>
                            <a:pt x="70" y="38"/>
                            <a:pt x="70" y="38"/>
                            <a:pt x="70" y="39"/>
                          </a:cubicBezTo>
                          <a:cubicBezTo>
                            <a:pt x="69" y="41"/>
                            <a:pt x="69" y="41"/>
                            <a:pt x="69" y="41"/>
                          </a:cubicBezTo>
                          <a:cubicBezTo>
                            <a:pt x="68" y="41"/>
                            <a:pt x="68" y="42"/>
                            <a:pt x="67" y="42"/>
                          </a:cubicBezTo>
                          <a:cubicBezTo>
                            <a:pt x="65" y="42"/>
                            <a:pt x="65" y="42"/>
                            <a:pt x="65" y="42"/>
                          </a:cubicBezTo>
                          <a:cubicBezTo>
                            <a:pt x="64" y="42"/>
                            <a:pt x="64" y="42"/>
                            <a:pt x="64" y="42"/>
                          </a:cubicBezTo>
                          <a:cubicBezTo>
                            <a:pt x="64" y="42"/>
                            <a:pt x="64" y="42"/>
                            <a:pt x="64" y="42"/>
                          </a:cubicBezTo>
                          <a:cubicBezTo>
                            <a:pt x="63" y="43"/>
                            <a:pt x="63" y="43"/>
                            <a:pt x="63" y="43"/>
                          </a:cubicBezTo>
                          <a:cubicBezTo>
                            <a:pt x="63" y="43"/>
                            <a:pt x="63" y="44"/>
                            <a:pt x="63" y="44"/>
                          </a:cubicBezTo>
                          <a:cubicBezTo>
                            <a:pt x="63" y="44"/>
                            <a:pt x="63" y="44"/>
                            <a:pt x="63" y="44"/>
                          </a:cubicBezTo>
                          <a:cubicBezTo>
                            <a:pt x="65" y="46"/>
                            <a:pt x="65" y="46"/>
                            <a:pt x="65" y="46"/>
                          </a:cubicBezTo>
                          <a:cubicBezTo>
                            <a:pt x="65" y="46"/>
                            <a:pt x="65" y="47"/>
                            <a:pt x="65" y="47"/>
                          </a:cubicBezTo>
                          <a:cubicBezTo>
                            <a:pt x="65" y="48"/>
                            <a:pt x="65" y="48"/>
                            <a:pt x="65" y="48"/>
                          </a:cubicBezTo>
                          <a:cubicBezTo>
                            <a:pt x="63" y="50"/>
                            <a:pt x="63" y="50"/>
                            <a:pt x="63" y="50"/>
                          </a:cubicBezTo>
                          <a:cubicBezTo>
                            <a:pt x="63" y="50"/>
                            <a:pt x="63" y="51"/>
                            <a:pt x="63" y="51"/>
                          </a:cubicBezTo>
                          <a:cubicBezTo>
                            <a:pt x="63" y="51"/>
                            <a:pt x="63" y="51"/>
                            <a:pt x="63" y="51"/>
                          </a:cubicBezTo>
                          <a:cubicBezTo>
                            <a:pt x="64" y="53"/>
                            <a:pt x="64" y="53"/>
                            <a:pt x="64" y="53"/>
                          </a:cubicBezTo>
                          <a:cubicBezTo>
                            <a:pt x="64" y="53"/>
                            <a:pt x="64" y="53"/>
                            <a:pt x="64" y="53"/>
                          </a:cubicBezTo>
                          <a:cubicBezTo>
                            <a:pt x="64" y="53"/>
                            <a:pt x="64" y="53"/>
                            <a:pt x="65" y="53"/>
                          </a:cubicBezTo>
                          <a:cubicBezTo>
                            <a:pt x="67" y="52"/>
                            <a:pt x="67" y="52"/>
                            <a:pt x="67" y="52"/>
                          </a:cubicBezTo>
                          <a:cubicBezTo>
                            <a:pt x="68" y="53"/>
                            <a:pt x="68" y="53"/>
                            <a:pt x="69" y="53"/>
                          </a:cubicBezTo>
                          <a:cubicBezTo>
                            <a:pt x="70" y="56"/>
                            <a:pt x="70" y="56"/>
                            <a:pt x="70" y="56"/>
                          </a:cubicBezTo>
                          <a:cubicBezTo>
                            <a:pt x="70" y="56"/>
                            <a:pt x="70" y="56"/>
                            <a:pt x="71" y="56"/>
                          </a:cubicBezTo>
                          <a:cubicBezTo>
                            <a:pt x="72" y="56"/>
                            <a:pt x="72" y="56"/>
                            <a:pt x="72" y="56"/>
                          </a:cubicBezTo>
                          <a:cubicBezTo>
                            <a:pt x="73" y="56"/>
                            <a:pt x="73" y="56"/>
                            <a:pt x="73" y="56"/>
                          </a:cubicBezTo>
                          <a:cubicBezTo>
                            <a:pt x="74" y="54"/>
                            <a:pt x="74" y="54"/>
                            <a:pt x="74" y="54"/>
                          </a:cubicBezTo>
                          <a:cubicBezTo>
                            <a:pt x="74" y="53"/>
                            <a:pt x="75" y="53"/>
                            <a:pt x="76" y="52"/>
                          </a:cubicBezTo>
                          <a:cubicBezTo>
                            <a:pt x="78" y="53"/>
                            <a:pt x="78" y="53"/>
                            <a:pt x="78" y="53"/>
                          </a:cubicBezTo>
                          <a:cubicBezTo>
                            <a:pt x="78" y="53"/>
                            <a:pt x="78" y="53"/>
                            <a:pt x="78" y="53"/>
                          </a:cubicBezTo>
                          <a:cubicBezTo>
                            <a:pt x="79" y="53"/>
                            <a:pt x="79" y="53"/>
                            <a:pt x="79" y="53"/>
                          </a:cubicBezTo>
                          <a:cubicBezTo>
                            <a:pt x="80" y="51"/>
                            <a:pt x="80" y="51"/>
                            <a:pt x="80" y="51"/>
                          </a:cubicBezTo>
                          <a:cubicBezTo>
                            <a:pt x="80" y="51"/>
                            <a:pt x="80" y="51"/>
                            <a:pt x="80" y="51"/>
                          </a:cubicBezTo>
                          <a:cubicBezTo>
                            <a:pt x="80" y="51"/>
                            <a:pt x="80" y="50"/>
                            <a:pt x="80" y="50"/>
                          </a:cubicBezTo>
                          <a:cubicBezTo>
                            <a:pt x="78" y="48"/>
                            <a:pt x="78" y="48"/>
                            <a:pt x="78" y="48"/>
                          </a:cubicBezTo>
                          <a:cubicBezTo>
                            <a:pt x="78" y="48"/>
                            <a:pt x="78" y="48"/>
                            <a:pt x="78" y="48"/>
                          </a:cubicBezTo>
                          <a:close/>
                          <a:moveTo>
                            <a:pt x="74" y="47"/>
                          </a:moveTo>
                          <a:cubicBezTo>
                            <a:pt x="74" y="49"/>
                            <a:pt x="73" y="50"/>
                            <a:pt x="71" y="50"/>
                          </a:cubicBezTo>
                          <a:cubicBezTo>
                            <a:pt x="70" y="50"/>
                            <a:pt x="69" y="49"/>
                            <a:pt x="69" y="47"/>
                          </a:cubicBezTo>
                          <a:cubicBezTo>
                            <a:pt x="69" y="46"/>
                            <a:pt x="70" y="45"/>
                            <a:pt x="71" y="45"/>
                          </a:cubicBezTo>
                          <a:cubicBezTo>
                            <a:pt x="73" y="45"/>
                            <a:pt x="74" y="46"/>
                            <a:pt x="74" y="47"/>
                          </a:cubicBezTo>
                          <a:close/>
                        </a:path>
                      </a:pathLst>
                    </a:custGeom>
                    <a:solidFill>
                      <a:srgbClr val="F5F5F5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482" name="Group 481"/>
                  <p:cNvGrpSpPr/>
                  <p:nvPr/>
                </p:nvGrpSpPr>
                <p:grpSpPr>
                  <a:xfrm>
                    <a:off x="9148350" y="3694301"/>
                    <a:ext cx="950357" cy="1294231"/>
                    <a:chOff x="2441167" y="2021295"/>
                    <a:chExt cx="538621" cy="733513"/>
                  </a:xfrm>
                </p:grpSpPr>
                <p:sp>
                  <p:nvSpPr>
                    <p:cNvPr id="483" name="Freeform 7"/>
                    <p:cNvSpPr>
                      <a:spLocks/>
                    </p:cNvSpPr>
                    <p:nvPr/>
                  </p:nvSpPr>
                  <p:spPr bwMode="auto">
                    <a:xfrm>
                      <a:off x="2441167" y="2121956"/>
                      <a:ext cx="144610" cy="266537"/>
                    </a:xfrm>
                    <a:custGeom>
                      <a:avLst/>
                      <a:gdLst>
                        <a:gd name="T0" fmla="*/ 73 w 73"/>
                        <a:gd name="T1" fmla="*/ 86 h 134"/>
                        <a:gd name="T2" fmla="*/ 72 w 73"/>
                        <a:gd name="T3" fmla="*/ 95 h 134"/>
                        <a:gd name="T4" fmla="*/ 68 w 73"/>
                        <a:gd name="T5" fmla="*/ 103 h 134"/>
                        <a:gd name="T6" fmla="*/ 60 w 73"/>
                        <a:gd name="T7" fmla="*/ 111 h 134"/>
                        <a:gd name="T8" fmla="*/ 47 w 73"/>
                        <a:gd name="T9" fmla="*/ 117 h 134"/>
                        <a:gd name="T10" fmla="*/ 47 w 73"/>
                        <a:gd name="T11" fmla="*/ 134 h 134"/>
                        <a:gd name="T12" fmla="*/ 29 w 73"/>
                        <a:gd name="T13" fmla="*/ 134 h 134"/>
                        <a:gd name="T14" fmla="*/ 29 w 73"/>
                        <a:gd name="T15" fmla="*/ 119 h 134"/>
                        <a:gd name="T16" fmla="*/ 21 w 73"/>
                        <a:gd name="T17" fmla="*/ 118 h 134"/>
                        <a:gd name="T18" fmla="*/ 13 w 73"/>
                        <a:gd name="T19" fmla="*/ 117 h 134"/>
                        <a:gd name="T20" fmla="*/ 6 w 73"/>
                        <a:gd name="T21" fmla="*/ 115 h 134"/>
                        <a:gd name="T22" fmla="*/ 1 w 73"/>
                        <a:gd name="T23" fmla="*/ 113 h 134"/>
                        <a:gd name="T24" fmla="*/ 1 w 73"/>
                        <a:gd name="T25" fmla="*/ 85 h 134"/>
                        <a:gd name="T26" fmla="*/ 16 w 73"/>
                        <a:gd name="T27" fmla="*/ 93 h 134"/>
                        <a:gd name="T28" fmla="*/ 31 w 73"/>
                        <a:gd name="T29" fmla="*/ 96 h 134"/>
                        <a:gd name="T30" fmla="*/ 35 w 73"/>
                        <a:gd name="T31" fmla="*/ 95 h 134"/>
                        <a:gd name="T32" fmla="*/ 38 w 73"/>
                        <a:gd name="T33" fmla="*/ 94 h 134"/>
                        <a:gd name="T34" fmla="*/ 39 w 73"/>
                        <a:gd name="T35" fmla="*/ 92 h 134"/>
                        <a:gd name="T36" fmla="*/ 40 w 73"/>
                        <a:gd name="T37" fmla="*/ 89 h 134"/>
                        <a:gd name="T38" fmla="*/ 39 w 73"/>
                        <a:gd name="T39" fmla="*/ 86 h 134"/>
                        <a:gd name="T40" fmla="*/ 37 w 73"/>
                        <a:gd name="T41" fmla="*/ 83 h 134"/>
                        <a:gd name="T42" fmla="*/ 32 w 73"/>
                        <a:gd name="T43" fmla="*/ 80 h 134"/>
                        <a:gd name="T44" fmla="*/ 24 w 73"/>
                        <a:gd name="T45" fmla="*/ 77 h 134"/>
                        <a:gd name="T46" fmla="*/ 13 w 73"/>
                        <a:gd name="T47" fmla="*/ 71 h 134"/>
                        <a:gd name="T48" fmla="*/ 5 w 73"/>
                        <a:gd name="T49" fmla="*/ 63 h 134"/>
                        <a:gd name="T50" fmla="*/ 1 w 73"/>
                        <a:gd name="T51" fmla="*/ 55 h 134"/>
                        <a:gd name="T52" fmla="*/ 0 w 73"/>
                        <a:gd name="T53" fmla="*/ 46 h 134"/>
                        <a:gd name="T54" fmla="*/ 2 w 73"/>
                        <a:gd name="T55" fmla="*/ 34 h 134"/>
                        <a:gd name="T56" fmla="*/ 8 w 73"/>
                        <a:gd name="T57" fmla="*/ 25 h 134"/>
                        <a:gd name="T58" fmla="*/ 17 w 73"/>
                        <a:gd name="T59" fmla="*/ 18 h 134"/>
                        <a:gd name="T60" fmla="*/ 29 w 73"/>
                        <a:gd name="T61" fmla="*/ 15 h 134"/>
                        <a:gd name="T62" fmla="*/ 29 w 73"/>
                        <a:gd name="T63" fmla="*/ 0 h 134"/>
                        <a:gd name="T64" fmla="*/ 47 w 73"/>
                        <a:gd name="T65" fmla="*/ 0 h 134"/>
                        <a:gd name="T66" fmla="*/ 47 w 73"/>
                        <a:gd name="T67" fmla="*/ 14 h 134"/>
                        <a:gd name="T68" fmla="*/ 59 w 73"/>
                        <a:gd name="T69" fmla="*/ 15 h 134"/>
                        <a:gd name="T70" fmla="*/ 68 w 73"/>
                        <a:gd name="T71" fmla="*/ 17 h 134"/>
                        <a:gd name="T72" fmla="*/ 68 w 73"/>
                        <a:gd name="T73" fmla="*/ 44 h 134"/>
                        <a:gd name="T74" fmla="*/ 63 w 73"/>
                        <a:gd name="T75" fmla="*/ 41 h 134"/>
                        <a:gd name="T76" fmla="*/ 56 w 73"/>
                        <a:gd name="T77" fmla="*/ 39 h 134"/>
                        <a:gd name="T78" fmla="*/ 49 w 73"/>
                        <a:gd name="T79" fmla="*/ 37 h 134"/>
                        <a:gd name="T80" fmla="*/ 41 w 73"/>
                        <a:gd name="T81" fmla="*/ 36 h 134"/>
                        <a:gd name="T82" fmla="*/ 37 w 73"/>
                        <a:gd name="T83" fmla="*/ 37 h 134"/>
                        <a:gd name="T84" fmla="*/ 34 w 73"/>
                        <a:gd name="T85" fmla="*/ 38 h 134"/>
                        <a:gd name="T86" fmla="*/ 33 w 73"/>
                        <a:gd name="T87" fmla="*/ 40 h 134"/>
                        <a:gd name="T88" fmla="*/ 32 w 73"/>
                        <a:gd name="T89" fmla="*/ 43 h 134"/>
                        <a:gd name="T90" fmla="*/ 32 w 73"/>
                        <a:gd name="T91" fmla="*/ 45 h 134"/>
                        <a:gd name="T92" fmla="*/ 34 w 73"/>
                        <a:gd name="T93" fmla="*/ 48 h 134"/>
                        <a:gd name="T94" fmla="*/ 38 w 73"/>
                        <a:gd name="T95" fmla="*/ 51 h 134"/>
                        <a:gd name="T96" fmla="*/ 45 w 73"/>
                        <a:gd name="T97" fmla="*/ 54 h 134"/>
                        <a:gd name="T98" fmla="*/ 58 w 73"/>
                        <a:gd name="T99" fmla="*/ 61 h 134"/>
                        <a:gd name="T100" fmla="*/ 67 w 73"/>
                        <a:gd name="T101" fmla="*/ 69 h 134"/>
                        <a:gd name="T102" fmla="*/ 72 w 73"/>
                        <a:gd name="T103" fmla="*/ 77 h 134"/>
                        <a:gd name="T104" fmla="*/ 73 w 73"/>
                        <a:gd name="T105" fmla="*/ 86 h 1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</a:cxnLst>
                      <a:rect l="0" t="0" r="r" b="b"/>
                      <a:pathLst>
                        <a:path w="73" h="134">
                          <a:moveTo>
                            <a:pt x="73" y="86"/>
                          </a:moveTo>
                          <a:cubicBezTo>
                            <a:pt x="73" y="89"/>
                            <a:pt x="73" y="92"/>
                            <a:pt x="72" y="95"/>
                          </a:cubicBezTo>
                          <a:cubicBezTo>
                            <a:pt x="71" y="98"/>
                            <a:pt x="70" y="101"/>
                            <a:pt x="68" y="103"/>
                          </a:cubicBezTo>
                          <a:cubicBezTo>
                            <a:pt x="66" y="106"/>
                            <a:pt x="63" y="109"/>
                            <a:pt x="60" y="111"/>
                          </a:cubicBezTo>
                          <a:cubicBezTo>
                            <a:pt x="56" y="114"/>
                            <a:pt x="52" y="115"/>
                            <a:pt x="47" y="117"/>
                          </a:cubicBezTo>
                          <a:cubicBezTo>
                            <a:pt x="47" y="134"/>
                            <a:pt x="47" y="134"/>
                            <a:pt x="47" y="134"/>
                          </a:cubicBezTo>
                          <a:cubicBezTo>
                            <a:pt x="29" y="134"/>
                            <a:pt x="29" y="134"/>
                            <a:pt x="29" y="134"/>
                          </a:cubicBezTo>
                          <a:cubicBezTo>
                            <a:pt x="29" y="119"/>
                            <a:pt x="29" y="119"/>
                            <a:pt x="29" y="119"/>
                          </a:cubicBezTo>
                          <a:cubicBezTo>
                            <a:pt x="27" y="119"/>
                            <a:pt x="24" y="119"/>
                            <a:pt x="21" y="118"/>
                          </a:cubicBezTo>
                          <a:cubicBezTo>
                            <a:pt x="18" y="118"/>
                            <a:pt x="15" y="117"/>
                            <a:pt x="13" y="117"/>
                          </a:cubicBezTo>
                          <a:cubicBezTo>
                            <a:pt x="10" y="116"/>
                            <a:pt x="8" y="116"/>
                            <a:pt x="6" y="115"/>
                          </a:cubicBezTo>
                          <a:cubicBezTo>
                            <a:pt x="4" y="114"/>
                            <a:pt x="2" y="113"/>
                            <a:pt x="1" y="113"/>
                          </a:cubicBezTo>
                          <a:cubicBezTo>
                            <a:pt x="1" y="85"/>
                            <a:pt x="1" y="85"/>
                            <a:pt x="1" y="85"/>
                          </a:cubicBezTo>
                          <a:cubicBezTo>
                            <a:pt x="6" y="88"/>
                            <a:pt x="11" y="91"/>
                            <a:pt x="16" y="93"/>
                          </a:cubicBezTo>
                          <a:cubicBezTo>
                            <a:pt x="21" y="95"/>
                            <a:pt x="26" y="96"/>
                            <a:pt x="31" y="96"/>
                          </a:cubicBezTo>
                          <a:cubicBezTo>
                            <a:pt x="33" y="96"/>
                            <a:pt x="34" y="96"/>
                            <a:pt x="35" y="95"/>
                          </a:cubicBezTo>
                          <a:cubicBezTo>
                            <a:pt x="36" y="95"/>
                            <a:pt x="37" y="94"/>
                            <a:pt x="38" y="94"/>
                          </a:cubicBezTo>
                          <a:cubicBezTo>
                            <a:pt x="38" y="93"/>
                            <a:pt x="39" y="92"/>
                            <a:pt x="39" y="92"/>
                          </a:cubicBezTo>
                          <a:cubicBezTo>
                            <a:pt x="39" y="91"/>
                            <a:pt x="40" y="90"/>
                            <a:pt x="40" y="89"/>
                          </a:cubicBezTo>
                          <a:cubicBezTo>
                            <a:pt x="40" y="88"/>
                            <a:pt x="40" y="87"/>
                            <a:pt x="39" y="86"/>
                          </a:cubicBezTo>
                          <a:cubicBezTo>
                            <a:pt x="39" y="85"/>
                            <a:pt x="38" y="84"/>
                            <a:pt x="37" y="83"/>
                          </a:cubicBezTo>
                          <a:cubicBezTo>
                            <a:pt x="36" y="82"/>
                            <a:pt x="35" y="81"/>
                            <a:pt x="32" y="80"/>
                          </a:cubicBezTo>
                          <a:cubicBezTo>
                            <a:pt x="30" y="79"/>
                            <a:pt x="28" y="78"/>
                            <a:pt x="24" y="77"/>
                          </a:cubicBezTo>
                          <a:cubicBezTo>
                            <a:pt x="20" y="75"/>
                            <a:pt x="16" y="73"/>
                            <a:pt x="13" y="71"/>
                          </a:cubicBezTo>
                          <a:cubicBezTo>
                            <a:pt x="10" y="68"/>
                            <a:pt x="7" y="66"/>
                            <a:pt x="5" y="63"/>
                          </a:cubicBezTo>
                          <a:cubicBezTo>
                            <a:pt x="3" y="61"/>
                            <a:pt x="2" y="58"/>
                            <a:pt x="1" y="55"/>
                          </a:cubicBezTo>
                          <a:cubicBezTo>
                            <a:pt x="0" y="52"/>
                            <a:pt x="0" y="49"/>
                            <a:pt x="0" y="46"/>
                          </a:cubicBezTo>
                          <a:cubicBezTo>
                            <a:pt x="0" y="42"/>
                            <a:pt x="1" y="38"/>
                            <a:pt x="2" y="34"/>
                          </a:cubicBezTo>
                          <a:cubicBezTo>
                            <a:pt x="3" y="31"/>
                            <a:pt x="5" y="28"/>
                            <a:pt x="8" y="25"/>
                          </a:cubicBezTo>
                          <a:cubicBezTo>
                            <a:pt x="10" y="22"/>
                            <a:pt x="13" y="20"/>
                            <a:pt x="17" y="18"/>
                          </a:cubicBezTo>
                          <a:cubicBezTo>
                            <a:pt x="21" y="17"/>
                            <a:pt x="25" y="15"/>
                            <a:pt x="29" y="15"/>
                          </a:cubicBezTo>
                          <a:cubicBezTo>
                            <a:pt x="29" y="0"/>
                            <a:pt x="29" y="0"/>
                            <a:pt x="29" y="0"/>
                          </a:cubicBezTo>
                          <a:cubicBezTo>
                            <a:pt x="47" y="0"/>
                            <a:pt x="47" y="0"/>
                            <a:pt x="47" y="0"/>
                          </a:cubicBezTo>
                          <a:cubicBezTo>
                            <a:pt x="47" y="14"/>
                            <a:pt x="47" y="14"/>
                            <a:pt x="47" y="14"/>
                          </a:cubicBezTo>
                          <a:cubicBezTo>
                            <a:pt x="51" y="14"/>
                            <a:pt x="55" y="14"/>
                            <a:pt x="59" y="15"/>
                          </a:cubicBezTo>
                          <a:cubicBezTo>
                            <a:pt x="63" y="16"/>
                            <a:pt x="66" y="16"/>
                            <a:pt x="68" y="17"/>
                          </a:cubicBezTo>
                          <a:cubicBezTo>
                            <a:pt x="68" y="44"/>
                            <a:pt x="68" y="44"/>
                            <a:pt x="68" y="44"/>
                          </a:cubicBezTo>
                          <a:cubicBezTo>
                            <a:pt x="67" y="43"/>
                            <a:pt x="65" y="42"/>
                            <a:pt x="63" y="41"/>
                          </a:cubicBezTo>
                          <a:cubicBezTo>
                            <a:pt x="61" y="41"/>
                            <a:pt x="59" y="40"/>
                            <a:pt x="56" y="39"/>
                          </a:cubicBezTo>
                          <a:cubicBezTo>
                            <a:pt x="54" y="38"/>
                            <a:pt x="52" y="38"/>
                            <a:pt x="49" y="37"/>
                          </a:cubicBezTo>
                          <a:cubicBezTo>
                            <a:pt x="46" y="37"/>
                            <a:pt x="44" y="36"/>
                            <a:pt x="41" y="36"/>
                          </a:cubicBezTo>
                          <a:cubicBezTo>
                            <a:pt x="40" y="36"/>
                            <a:pt x="38" y="37"/>
                            <a:pt x="37" y="37"/>
                          </a:cubicBezTo>
                          <a:cubicBezTo>
                            <a:pt x="36" y="37"/>
                            <a:pt x="35" y="38"/>
                            <a:pt x="34" y="38"/>
                          </a:cubicBezTo>
                          <a:cubicBezTo>
                            <a:pt x="34" y="39"/>
                            <a:pt x="33" y="40"/>
                            <a:pt x="33" y="40"/>
                          </a:cubicBezTo>
                          <a:cubicBezTo>
                            <a:pt x="32" y="41"/>
                            <a:pt x="32" y="42"/>
                            <a:pt x="32" y="43"/>
                          </a:cubicBezTo>
                          <a:cubicBezTo>
                            <a:pt x="32" y="44"/>
                            <a:pt x="32" y="45"/>
                            <a:pt x="32" y="45"/>
                          </a:cubicBezTo>
                          <a:cubicBezTo>
                            <a:pt x="33" y="46"/>
                            <a:pt x="33" y="47"/>
                            <a:pt x="34" y="48"/>
                          </a:cubicBezTo>
                          <a:cubicBezTo>
                            <a:pt x="35" y="49"/>
                            <a:pt x="36" y="50"/>
                            <a:pt x="38" y="51"/>
                          </a:cubicBezTo>
                          <a:cubicBezTo>
                            <a:pt x="40" y="52"/>
                            <a:pt x="42" y="53"/>
                            <a:pt x="45" y="54"/>
                          </a:cubicBezTo>
                          <a:cubicBezTo>
                            <a:pt x="50" y="57"/>
                            <a:pt x="55" y="59"/>
                            <a:pt x="58" y="61"/>
                          </a:cubicBezTo>
                          <a:cubicBezTo>
                            <a:pt x="62" y="64"/>
                            <a:pt x="65" y="66"/>
                            <a:pt x="67" y="69"/>
                          </a:cubicBezTo>
                          <a:cubicBezTo>
                            <a:pt x="69" y="72"/>
                            <a:pt x="71" y="74"/>
                            <a:pt x="72" y="77"/>
                          </a:cubicBezTo>
                          <a:cubicBezTo>
                            <a:pt x="73" y="80"/>
                            <a:pt x="73" y="83"/>
                            <a:pt x="73" y="86"/>
                          </a:cubicBezTo>
                          <a:close/>
                        </a:path>
                      </a:pathLst>
                    </a:custGeom>
                    <a:solidFill>
                      <a:srgbClr val="00B294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84" name="Freeform 8"/>
                    <p:cNvSpPr>
                      <a:spLocks/>
                    </p:cNvSpPr>
                    <p:nvPr/>
                  </p:nvSpPr>
                  <p:spPr bwMode="auto">
                    <a:xfrm>
                      <a:off x="2616968" y="2021295"/>
                      <a:ext cx="109167" cy="199903"/>
                    </a:xfrm>
                    <a:custGeom>
                      <a:avLst/>
                      <a:gdLst>
                        <a:gd name="T0" fmla="*/ 55 w 55"/>
                        <a:gd name="T1" fmla="*/ 66 h 101"/>
                        <a:gd name="T2" fmla="*/ 55 w 55"/>
                        <a:gd name="T3" fmla="*/ 72 h 101"/>
                        <a:gd name="T4" fmla="*/ 51 w 55"/>
                        <a:gd name="T5" fmla="*/ 78 h 101"/>
                        <a:gd name="T6" fmla="*/ 45 w 55"/>
                        <a:gd name="T7" fmla="*/ 84 h 101"/>
                        <a:gd name="T8" fmla="*/ 35 w 55"/>
                        <a:gd name="T9" fmla="*/ 89 h 101"/>
                        <a:gd name="T10" fmla="*/ 35 w 55"/>
                        <a:gd name="T11" fmla="*/ 101 h 101"/>
                        <a:gd name="T12" fmla="*/ 22 w 55"/>
                        <a:gd name="T13" fmla="*/ 101 h 101"/>
                        <a:gd name="T14" fmla="*/ 22 w 55"/>
                        <a:gd name="T15" fmla="*/ 90 h 101"/>
                        <a:gd name="T16" fmla="*/ 16 w 55"/>
                        <a:gd name="T17" fmla="*/ 90 h 101"/>
                        <a:gd name="T18" fmla="*/ 10 w 55"/>
                        <a:gd name="T19" fmla="*/ 89 h 101"/>
                        <a:gd name="T20" fmla="*/ 4 w 55"/>
                        <a:gd name="T21" fmla="*/ 87 h 101"/>
                        <a:gd name="T22" fmla="*/ 1 w 55"/>
                        <a:gd name="T23" fmla="*/ 85 h 101"/>
                        <a:gd name="T24" fmla="*/ 1 w 55"/>
                        <a:gd name="T25" fmla="*/ 64 h 101"/>
                        <a:gd name="T26" fmla="*/ 12 w 55"/>
                        <a:gd name="T27" fmla="*/ 71 h 101"/>
                        <a:gd name="T28" fmla="*/ 24 w 55"/>
                        <a:gd name="T29" fmla="*/ 73 h 101"/>
                        <a:gd name="T30" fmla="*/ 27 w 55"/>
                        <a:gd name="T31" fmla="*/ 72 h 101"/>
                        <a:gd name="T32" fmla="*/ 29 w 55"/>
                        <a:gd name="T33" fmla="*/ 71 h 101"/>
                        <a:gd name="T34" fmla="*/ 30 w 55"/>
                        <a:gd name="T35" fmla="*/ 69 h 101"/>
                        <a:gd name="T36" fmla="*/ 30 w 55"/>
                        <a:gd name="T37" fmla="*/ 67 h 101"/>
                        <a:gd name="T38" fmla="*/ 30 w 55"/>
                        <a:gd name="T39" fmla="*/ 65 h 101"/>
                        <a:gd name="T40" fmla="*/ 28 w 55"/>
                        <a:gd name="T41" fmla="*/ 63 h 101"/>
                        <a:gd name="T42" fmla="*/ 25 w 55"/>
                        <a:gd name="T43" fmla="*/ 61 h 101"/>
                        <a:gd name="T44" fmla="*/ 18 w 55"/>
                        <a:gd name="T45" fmla="*/ 58 h 101"/>
                        <a:gd name="T46" fmla="*/ 10 w 55"/>
                        <a:gd name="T47" fmla="*/ 54 h 101"/>
                        <a:gd name="T48" fmla="*/ 4 w 55"/>
                        <a:gd name="T49" fmla="*/ 48 h 101"/>
                        <a:gd name="T50" fmla="*/ 1 w 55"/>
                        <a:gd name="T51" fmla="*/ 42 h 101"/>
                        <a:gd name="T52" fmla="*/ 0 w 55"/>
                        <a:gd name="T53" fmla="*/ 35 h 101"/>
                        <a:gd name="T54" fmla="*/ 2 w 55"/>
                        <a:gd name="T55" fmla="*/ 26 h 101"/>
                        <a:gd name="T56" fmla="*/ 6 w 55"/>
                        <a:gd name="T57" fmla="*/ 19 h 101"/>
                        <a:gd name="T58" fmla="*/ 13 w 55"/>
                        <a:gd name="T59" fmla="*/ 14 h 101"/>
                        <a:gd name="T60" fmla="*/ 22 w 55"/>
                        <a:gd name="T61" fmla="*/ 11 h 101"/>
                        <a:gd name="T62" fmla="*/ 22 w 55"/>
                        <a:gd name="T63" fmla="*/ 0 h 101"/>
                        <a:gd name="T64" fmla="*/ 35 w 55"/>
                        <a:gd name="T65" fmla="*/ 0 h 101"/>
                        <a:gd name="T66" fmla="*/ 35 w 55"/>
                        <a:gd name="T67" fmla="*/ 11 h 101"/>
                        <a:gd name="T68" fmla="*/ 45 w 55"/>
                        <a:gd name="T69" fmla="*/ 12 h 101"/>
                        <a:gd name="T70" fmla="*/ 52 w 55"/>
                        <a:gd name="T71" fmla="*/ 13 h 101"/>
                        <a:gd name="T72" fmla="*/ 52 w 55"/>
                        <a:gd name="T73" fmla="*/ 34 h 101"/>
                        <a:gd name="T74" fmla="*/ 48 w 55"/>
                        <a:gd name="T75" fmla="*/ 32 h 101"/>
                        <a:gd name="T76" fmla="*/ 43 w 55"/>
                        <a:gd name="T77" fmla="*/ 30 h 101"/>
                        <a:gd name="T78" fmla="*/ 37 w 55"/>
                        <a:gd name="T79" fmla="*/ 28 h 101"/>
                        <a:gd name="T80" fmla="*/ 31 w 55"/>
                        <a:gd name="T81" fmla="*/ 28 h 101"/>
                        <a:gd name="T82" fmla="*/ 28 w 55"/>
                        <a:gd name="T83" fmla="*/ 28 h 101"/>
                        <a:gd name="T84" fmla="*/ 26 w 55"/>
                        <a:gd name="T85" fmla="*/ 29 h 101"/>
                        <a:gd name="T86" fmla="*/ 25 w 55"/>
                        <a:gd name="T87" fmla="*/ 31 h 101"/>
                        <a:gd name="T88" fmla="*/ 24 w 55"/>
                        <a:gd name="T89" fmla="*/ 33 h 101"/>
                        <a:gd name="T90" fmla="*/ 25 w 55"/>
                        <a:gd name="T91" fmla="*/ 35 h 101"/>
                        <a:gd name="T92" fmla="*/ 26 w 55"/>
                        <a:gd name="T93" fmla="*/ 37 h 101"/>
                        <a:gd name="T94" fmla="*/ 29 w 55"/>
                        <a:gd name="T95" fmla="*/ 39 h 101"/>
                        <a:gd name="T96" fmla="*/ 34 w 55"/>
                        <a:gd name="T97" fmla="*/ 41 h 101"/>
                        <a:gd name="T98" fmla="*/ 44 w 55"/>
                        <a:gd name="T99" fmla="*/ 46 h 101"/>
                        <a:gd name="T100" fmla="*/ 51 w 55"/>
                        <a:gd name="T101" fmla="*/ 52 h 101"/>
                        <a:gd name="T102" fmla="*/ 54 w 55"/>
                        <a:gd name="T103" fmla="*/ 59 h 101"/>
                        <a:gd name="T104" fmla="*/ 55 w 55"/>
                        <a:gd name="T105" fmla="*/ 66 h 10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</a:cxnLst>
                      <a:rect l="0" t="0" r="r" b="b"/>
                      <a:pathLst>
                        <a:path w="55" h="101">
                          <a:moveTo>
                            <a:pt x="55" y="66"/>
                          </a:moveTo>
                          <a:cubicBezTo>
                            <a:pt x="55" y="67"/>
                            <a:pt x="55" y="70"/>
                            <a:pt x="55" y="72"/>
                          </a:cubicBezTo>
                          <a:cubicBezTo>
                            <a:pt x="54" y="74"/>
                            <a:pt x="53" y="76"/>
                            <a:pt x="51" y="78"/>
                          </a:cubicBezTo>
                          <a:cubicBezTo>
                            <a:pt x="50" y="81"/>
                            <a:pt x="48" y="82"/>
                            <a:pt x="45" y="84"/>
                          </a:cubicBezTo>
                          <a:cubicBezTo>
                            <a:pt x="43" y="86"/>
                            <a:pt x="39" y="88"/>
                            <a:pt x="35" y="89"/>
                          </a:cubicBezTo>
                          <a:cubicBezTo>
                            <a:pt x="35" y="101"/>
                            <a:pt x="35" y="101"/>
                            <a:pt x="35" y="101"/>
                          </a:cubicBezTo>
                          <a:cubicBezTo>
                            <a:pt x="22" y="101"/>
                            <a:pt x="22" y="101"/>
                            <a:pt x="22" y="101"/>
                          </a:cubicBezTo>
                          <a:cubicBezTo>
                            <a:pt x="22" y="90"/>
                            <a:pt x="22" y="90"/>
                            <a:pt x="22" y="90"/>
                          </a:cubicBezTo>
                          <a:cubicBezTo>
                            <a:pt x="20" y="90"/>
                            <a:pt x="18" y="90"/>
                            <a:pt x="16" y="90"/>
                          </a:cubicBezTo>
                          <a:cubicBezTo>
                            <a:pt x="14" y="89"/>
                            <a:pt x="12" y="89"/>
                            <a:pt x="10" y="89"/>
                          </a:cubicBezTo>
                          <a:cubicBezTo>
                            <a:pt x="8" y="88"/>
                            <a:pt x="6" y="88"/>
                            <a:pt x="4" y="87"/>
                          </a:cubicBezTo>
                          <a:cubicBezTo>
                            <a:pt x="3" y="87"/>
                            <a:pt x="2" y="86"/>
                            <a:pt x="1" y="85"/>
                          </a:cubicBezTo>
                          <a:cubicBezTo>
                            <a:pt x="1" y="64"/>
                            <a:pt x="1" y="64"/>
                            <a:pt x="1" y="64"/>
                          </a:cubicBezTo>
                          <a:cubicBezTo>
                            <a:pt x="5" y="67"/>
                            <a:pt x="8" y="69"/>
                            <a:pt x="12" y="71"/>
                          </a:cubicBezTo>
                          <a:cubicBezTo>
                            <a:pt x="16" y="72"/>
                            <a:pt x="20" y="73"/>
                            <a:pt x="24" y="73"/>
                          </a:cubicBezTo>
                          <a:cubicBezTo>
                            <a:pt x="25" y="73"/>
                            <a:pt x="26" y="73"/>
                            <a:pt x="27" y="72"/>
                          </a:cubicBezTo>
                          <a:cubicBezTo>
                            <a:pt x="27" y="72"/>
                            <a:pt x="28" y="72"/>
                            <a:pt x="29" y="71"/>
                          </a:cubicBezTo>
                          <a:cubicBezTo>
                            <a:pt x="29" y="71"/>
                            <a:pt x="30" y="70"/>
                            <a:pt x="30" y="69"/>
                          </a:cubicBezTo>
                          <a:cubicBezTo>
                            <a:pt x="30" y="69"/>
                            <a:pt x="30" y="68"/>
                            <a:pt x="30" y="67"/>
                          </a:cubicBezTo>
                          <a:cubicBezTo>
                            <a:pt x="30" y="67"/>
                            <a:pt x="30" y="66"/>
                            <a:pt x="30" y="65"/>
                          </a:cubicBezTo>
                          <a:cubicBezTo>
                            <a:pt x="30" y="65"/>
                            <a:pt x="29" y="64"/>
                            <a:pt x="28" y="63"/>
                          </a:cubicBezTo>
                          <a:cubicBezTo>
                            <a:pt x="27" y="63"/>
                            <a:pt x="26" y="62"/>
                            <a:pt x="25" y="61"/>
                          </a:cubicBezTo>
                          <a:cubicBezTo>
                            <a:pt x="23" y="60"/>
                            <a:pt x="21" y="59"/>
                            <a:pt x="18" y="58"/>
                          </a:cubicBezTo>
                          <a:cubicBezTo>
                            <a:pt x="15" y="57"/>
                            <a:pt x="12" y="55"/>
                            <a:pt x="10" y="54"/>
                          </a:cubicBezTo>
                          <a:cubicBezTo>
                            <a:pt x="7" y="52"/>
                            <a:pt x="6" y="50"/>
                            <a:pt x="4" y="48"/>
                          </a:cubicBezTo>
                          <a:cubicBezTo>
                            <a:pt x="3" y="46"/>
                            <a:pt x="2" y="44"/>
                            <a:pt x="1" y="42"/>
                          </a:cubicBezTo>
                          <a:cubicBezTo>
                            <a:pt x="0" y="40"/>
                            <a:pt x="0" y="37"/>
                            <a:pt x="0" y="35"/>
                          </a:cubicBezTo>
                          <a:cubicBezTo>
                            <a:pt x="0" y="32"/>
                            <a:pt x="1" y="29"/>
                            <a:pt x="2" y="26"/>
                          </a:cubicBezTo>
                          <a:cubicBezTo>
                            <a:pt x="3" y="24"/>
                            <a:pt x="4" y="21"/>
                            <a:pt x="6" y="19"/>
                          </a:cubicBezTo>
                          <a:cubicBezTo>
                            <a:pt x="8" y="17"/>
                            <a:pt x="10" y="15"/>
                            <a:pt x="13" y="14"/>
                          </a:cubicBezTo>
                          <a:cubicBezTo>
                            <a:pt x="16" y="13"/>
                            <a:pt x="19" y="12"/>
                            <a:pt x="22" y="11"/>
                          </a:cubicBezTo>
                          <a:cubicBezTo>
                            <a:pt x="22" y="0"/>
                            <a:pt x="22" y="0"/>
                            <a:pt x="22" y="0"/>
                          </a:cubicBezTo>
                          <a:cubicBezTo>
                            <a:pt x="35" y="0"/>
                            <a:pt x="35" y="0"/>
                            <a:pt x="35" y="0"/>
                          </a:cubicBezTo>
                          <a:cubicBezTo>
                            <a:pt x="35" y="11"/>
                            <a:pt x="35" y="11"/>
                            <a:pt x="35" y="11"/>
                          </a:cubicBezTo>
                          <a:cubicBezTo>
                            <a:pt x="39" y="11"/>
                            <a:pt x="42" y="11"/>
                            <a:pt x="45" y="12"/>
                          </a:cubicBezTo>
                          <a:cubicBezTo>
                            <a:pt x="47" y="12"/>
                            <a:pt x="50" y="13"/>
                            <a:pt x="52" y="13"/>
                          </a:cubicBezTo>
                          <a:cubicBezTo>
                            <a:pt x="52" y="34"/>
                            <a:pt x="52" y="34"/>
                            <a:pt x="52" y="34"/>
                          </a:cubicBezTo>
                          <a:cubicBezTo>
                            <a:pt x="50" y="33"/>
                            <a:pt x="49" y="32"/>
                            <a:pt x="48" y="32"/>
                          </a:cubicBezTo>
                          <a:cubicBezTo>
                            <a:pt x="46" y="31"/>
                            <a:pt x="45" y="30"/>
                            <a:pt x="43" y="30"/>
                          </a:cubicBezTo>
                          <a:cubicBezTo>
                            <a:pt x="41" y="29"/>
                            <a:pt x="39" y="29"/>
                            <a:pt x="37" y="28"/>
                          </a:cubicBezTo>
                          <a:cubicBezTo>
                            <a:pt x="35" y="28"/>
                            <a:pt x="33" y="28"/>
                            <a:pt x="31" y="28"/>
                          </a:cubicBezTo>
                          <a:cubicBezTo>
                            <a:pt x="30" y="28"/>
                            <a:pt x="29" y="28"/>
                            <a:pt x="28" y="28"/>
                          </a:cubicBezTo>
                          <a:cubicBezTo>
                            <a:pt x="27" y="28"/>
                            <a:pt x="27" y="29"/>
                            <a:pt x="26" y="29"/>
                          </a:cubicBezTo>
                          <a:cubicBezTo>
                            <a:pt x="26" y="30"/>
                            <a:pt x="25" y="30"/>
                            <a:pt x="25" y="31"/>
                          </a:cubicBezTo>
                          <a:cubicBezTo>
                            <a:pt x="24" y="31"/>
                            <a:pt x="24" y="32"/>
                            <a:pt x="24" y="33"/>
                          </a:cubicBezTo>
                          <a:cubicBezTo>
                            <a:pt x="24" y="33"/>
                            <a:pt x="24" y="34"/>
                            <a:pt x="25" y="35"/>
                          </a:cubicBezTo>
                          <a:cubicBezTo>
                            <a:pt x="25" y="35"/>
                            <a:pt x="25" y="36"/>
                            <a:pt x="26" y="37"/>
                          </a:cubicBezTo>
                          <a:cubicBezTo>
                            <a:pt x="26" y="37"/>
                            <a:pt x="27" y="38"/>
                            <a:pt x="29" y="39"/>
                          </a:cubicBezTo>
                          <a:cubicBezTo>
                            <a:pt x="30" y="39"/>
                            <a:pt x="32" y="40"/>
                            <a:pt x="34" y="41"/>
                          </a:cubicBezTo>
                          <a:cubicBezTo>
                            <a:pt x="38" y="43"/>
                            <a:pt x="41" y="45"/>
                            <a:pt x="44" y="46"/>
                          </a:cubicBezTo>
                          <a:cubicBezTo>
                            <a:pt x="47" y="48"/>
                            <a:pt x="49" y="50"/>
                            <a:pt x="51" y="52"/>
                          </a:cubicBezTo>
                          <a:cubicBezTo>
                            <a:pt x="52" y="54"/>
                            <a:pt x="54" y="56"/>
                            <a:pt x="54" y="59"/>
                          </a:cubicBezTo>
                          <a:cubicBezTo>
                            <a:pt x="55" y="61"/>
                            <a:pt x="55" y="63"/>
                            <a:pt x="55" y="66"/>
                          </a:cubicBezTo>
                          <a:close/>
                        </a:path>
                      </a:pathLst>
                    </a:custGeom>
                    <a:solidFill>
                      <a:srgbClr val="00B294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85" name="Freeform 7"/>
                    <p:cNvSpPr>
                      <a:spLocks/>
                    </p:cNvSpPr>
                    <p:nvPr/>
                  </p:nvSpPr>
                  <p:spPr bwMode="auto">
                    <a:xfrm>
                      <a:off x="2693158" y="2226506"/>
                      <a:ext cx="286630" cy="528302"/>
                    </a:xfrm>
                    <a:custGeom>
                      <a:avLst/>
                      <a:gdLst>
                        <a:gd name="T0" fmla="*/ 73 w 73"/>
                        <a:gd name="T1" fmla="*/ 86 h 134"/>
                        <a:gd name="T2" fmla="*/ 72 w 73"/>
                        <a:gd name="T3" fmla="*/ 95 h 134"/>
                        <a:gd name="T4" fmla="*/ 68 w 73"/>
                        <a:gd name="T5" fmla="*/ 103 h 134"/>
                        <a:gd name="T6" fmla="*/ 60 w 73"/>
                        <a:gd name="T7" fmla="*/ 111 h 134"/>
                        <a:gd name="T8" fmla="*/ 47 w 73"/>
                        <a:gd name="T9" fmla="*/ 117 h 134"/>
                        <a:gd name="T10" fmla="*/ 47 w 73"/>
                        <a:gd name="T11" fmla="*/ 134 h 134"/>
                        <a:gd name="T12" fmla="*/ 29 w 73"/>
                        <a:gd name="T13" fmla="*/ 134 h 134"/>
                        <a:gd name="T14" fmla="*/ 29 w 73"/>
                        <a:gd name="T15" fmla="*/ 119 h 134"/>
                        <a:gd name="T16" fmla="*/ 21 w 73"/>
                        <a:gd name="T17" fmla="*/ 118 h 134"/>
                        <a:gd name="T18" fmla="*/ 13 w 73"/>
                        <a:gd name="T19" fmla="*/ 117 h 134"/>
                        <a:gd name="T20" fmla="*/ 6 w 73"/>
                        <a:gd name="T21" fmla="*/ 115 h 134"/>
                        <a:gd name="T22" fmla="*/ 1 w 73"/>
                        <a:gd name="T23" fmla="*/ 113 h 134"/>
                        <a:gd name="T24" fmla="*/ 1 w 73"/>
                        <a:gd name="T25" fmla="*/ 85 h 134"/>
                        <a:gd name="T26" fmla="*/ 16 w 73"/>
                        <a:gd name="T27" fmla="*/ 93 h 134"/>
                        <a:gd name="T28" fmla="*/ 31 w 73"/>
                        <a:gd name="T29" fmla="*/ 96 h 134"/>
                        <a:gd name="T30" fmla="*/ 35 w 73"/>
                        <a:gd name="T31" fmla="*/ 95 h 134"/>
                        <a:gd name="T32" fmla="*/ 38 w 73"/>
                        <a:gd name="T33" fmla="*/ 94 h 134"/>
                        <a:gd name="T34" fmla="*/ 39 w 73"/>
                        <a:gd name="T35" fmla="*/ 92 h 134"/>
                        <a:gd name="T36" fmla="*/ 40 w 73"/>
                        <a:gd name="T37" fmla="*/ 89 h 134"/>
                        <a:gd name="T38" fmla="*/ 39 w 73"/>
                        <a:gd name="T39" fmla="*/ 86 h 134"/>
                        <a:gd name="T40" fmla="*/ 37 w 73"/>
                        <a:gd name="T41" fmla="*/ 83 h 134"/>
                        <a:gd name="T42" fmla="*/ 32 w 73"/>
                        <a:gd name="T43" fmla="*/ 80 h 134"/>
                        <a:gd name="T44" fmla="*/ 24 w 73"/>
                        <a:gd name="T45" fmla="*/ 77 h 134"/>
                        <a:gd name="T46" fmla="*/ 13 w 73"/>
                        <a:gd name="T47" fmla="*/ 71 h 134"/>
                        <a:gd name="T48" fmla="*/ 5 w 73"/>
                        <a:gd name="T49" fmla="*/ 63 h 134"/>
                        <a:gd name="T50" fmla="*/ 1 w 73"/>
                        <a:gd name="T51" fmla="*/ 55 h 134"/>
                        <a:gd name="T52" fmla="*/ 0 w 73"/>
                        <a:gd name="T53" fmla="*/ 46 h 134"/>
                        <a:gd name="T54" fmla="*/ 2 w 73"/>
                        <a:gd name="T55" fmla="*/ 34 h 134"/>
                        <a:gd name="T56" fmla="*/ 8 w 73"/>
                        <a:gd name="T57" fmla="*/ 25 h 134"/>
                        <a:gd name="T58" fmla="*/ 17 w 73"/>
                        <a:gd name="T59" fmla="*/ 18 h 134"/>
                        <a:gd name="T60" fmla="*/ 29 w 73"/>
                        <a:gd name="T61" fmla="*/ 15 h 134"/>
                        <a:gd name="T62" fmla="*/ 29 w 73"/>
                        <a:gd name="T63" fmla="*/ 0 h 134"/>
                        <a:gd name="T64" fmla="*/ 47 w 73"/>
                        <a:gd name="T65" fmla="*/ 0 h 134"/>
                        <a:gd name="T66" fmla="*/ 47 w 73"/>
                        <a:gd name="T67" fmla="*/ 14 h 134"/>
                        <a:gd name="T68" fmla="*/ 59 w 73"/>
                        <a:gd name="T69" fmla="*/ 15 h 134"/>
                        <a:gd name="T70" fmla="*/ 68 w 73"/>
                        <a:gd name="T71" fmla="*/ 17 h 134"/>
                        <a:gd name="T72" fmla="*/ 68 w 73"/>
                        <a:gd name="T73" fmla="*/ 44 h 134"/>
                        <a:gd name="T74" fmla="*/ 63 w 73"/>
                        <a:gd name="T75" fmla="*/ 41 h 134"/>
                        <a:gd name="T76" fmla="*/ 56 w 73"/>
                        <a:gd name="T77" fmla="*/ 39 h 134"/>
                        <a:gd name="T78" fmla="*/ 49 w 73"/>
                        <a:gd name="T79" fmla="*/ 37 h 134"/>
                        <a:gd name="T80" fmla="*/ 41 w 73"/>
                        <a:gd name="T81" fmla="*/ 36 h 134"/>
                        <a:gd name="T82" fmla="*/ 37 w 73"/>
                        <a:gd name="T83" fmla="*/ 37 h 134"/>
                        <a:gd name="T84" fmla="*/ 34 w 73"/>
                        <a:gd name="T85" fmla="*/ 38 h 134"/>
                        <a:gd name="T86" fmla="*/ 33 w 73"/>
                        <a:gd name="T87" fmla="*/ 40 h 134"/>
                        <a:gd name="T88" fmla="*/ 32 w 73"/>
                        <a:gd name="T89" fmla="*/ 43 h 134"/>
                        <a:gd name="T90" fmla="*/ 32 w 73"/>
                        <a:gd name="T91" fmla="*/ 45 h 134"/>
                        <a:gd name="T92" fmla="*/ 34 w 73"/>
                        <a:gd name="T93" fmla="*/ 48 h 134"/>
                        <a:gd name="T94" fmla="*/ 38 w 73"/>
                        <a:gd name="T95" fmla="*/ 51 h 134"/>
                        <a:gd name="T96" fmla="*/ 45 w 73"/>
                        <a:gd name="T97" fmla="*/ 54 h 134"/>
                        <a:gd name="T98" fmla="*/ 58 w 73"/>
                        <a:gd name="T99" fmla="*/ 61 h 134"/>
                        <a:gd name="T100" fmla="*/ 67 w 73"/>
                        <a:gd name="T101" fmla="*/ 69 h 134"/>
                        <a:gd name="T102" fmla="*/ 72 w 73"/>
                        <a:gd name="T103" fmla="*/ 77 h 134"/>
                        <a:gd name="T104" fmla="*/ 73 w 73"/>
                        <a:gd name="T105" fmla="*/ 86 h 1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</a:cxnLst>
                      <a:rect l="0" t="0" r="r" b="b"/>
                      <a:pathLst>
                        <a:path w="73" h="134">
                          <a:moveTo>
                            <a:pt x="73" y="86"/>
                          </a:moveTo>
                          <a:cubicBezTo>
                            <a:pt x="73" y="89"/>
                            <a:pt x="73" y="92"/>
                            <a:pt x="72" y="95"/>
                          </a:cubicBezTo>
                          <a:cubicBezTo>
                            <a:pt x="71" y="98"/>
                            <a:pt x="70" y="101"/>
                            <a:pt x="68" y="103"/>
                          </a:cubicBezTo>
                          <a:cubicBezTo>
                            <a:pt x="66" y="106"/>
                            <a:pt x="63" y="109"/>
                            <a:pt x="60" y="111"/>
                          </a:cubicBezTo>
                          <a:cubicBezTo>
                            <a:pt x="56" y="114"/>
                            <a:pt x="52" y="115"/>
                            <a:pt x="47" y="117"/>
                          </a:cubicBezTo>
                          <a:cubicBezTo>
                            <a:pt x="47" y="134"/>
                            <a:pt x="47" y="134"/>
                            <a:pt x="47" y="134"/>
                          </a:cubicBezTo>
                          <a:cubicBezTo>
                            <a:pt x="29" y="134"/>
                            <a:pt x="29" y="134"/>
                            <a:pt x="29" y="134"/>
                          </a:cubicBezTo>
                          <a:cubicBezTo>
                            <a:pt x="29" y="119"/>
                            <a:pt x="29" y="119"/>
                            <a:pt x="29" y="119"/>
                          </a:cubicBezTo>
                          <a:cubicBezTo>
                            <a:pt x="27" y="119"/>
                            <a:pt x="24" y="119"/>
                            <a:pt x="21" y="118"/>
                          </a:cubicBezTo>
                          <a:cubicBezTo>
                            <a:pt x="18" y="118"/>
                            <a:pt x="15" y="117"/>
                            <a:pt x="13" y="117"/>
                          </a:cubicBezTo>
                          <a:cubicBezTo>
                            <a:pt x="10" y="116"/>
                            <a:pt x="8" y="116"/>
                            <a:pt x="6" y="115"/>
                          </a:cubicBezTo>
                          <a:cubicBezTo>
                            <a:pt x="4" y="114"/>
                            <a:pt x="2" y="113"/>
                            <a:pt x="1" y="113"/>
                          </a:cubicBezTo>
                          <a:cubicBezTo>
                            <a:pt x="1" y="85"/>
                            <a:pt x="1" y="85"/>
                            <a:pt x="1" y="85"/>
                          </a:cubicBezTo>
                          <a:cubicBezTo>
                            <a:pt x="6" y="88"/>
                            <a:pt x="11" y="91"/>
                            <a:pt x="16" y="93"/>
                          </a:cubicBezTo>
                          <a:cubicBezTo>
                            <a:pt x="21" y="95"/>
                            <a:pt x="26" y="96"/>
                            <a:pt x="31" y="96"/>
                          </a:cubicBezTo>
                          <a:cubicBezTo>
                            <a:pt x="33" y="96"/>
                            <a:pt x="34" y="96"/>
                            <a:pt x="35" y="95"/>
                          </a:cubicBezTo>
                          <a:cubicBezTo>
                            <a:pt x="36" y="95"/>
                            <a:pt x="37" y="94"/>
                            <a:pt x="38" y="94"/>
                          </a:cubicBezTo>
                          <a:cubicBezTo>
                            <a:pt x="38" y="93"/>
                            <a:pt x="39" y="92"/>
                            <a:pt x="39" y="92"/>
                          </a:cubicBezTo>
                          <a:cubicBezTo>
                            <a:pt x="39" y="91"/>
                            <a:pt x="40" y="90"/>
                            <a:pt x="40" y="89"/>
                          </a:cubicBezTo>
                          <a:cubicBezTo>
                            <a:pt x="40" y="88"/>
                            <a:pt x="40" y="87"/>
                            <a:pt x="39" y="86"/>
                          </a:cubicBezTo>
                          <a:cubicBezTo>
                            <a:pt x="39" y="85"/>
                            <a:pt x="38" y="84"/>
                            <a:pt x="37" y="83"/>
                          </a:cubicBezTo>
                          <a:cubicBezTo>
                            <a:pt x="36" y="82"/>
                            <a:pt x="35" y="81"/>
                            <a:pt x="32" y="80"/>
                          </a:cubicBezTo>
                          <a:cubicBezTo>
                            <a:pt x="30" y="79"/>
                            <a:pt x="28" y="78"/>
                            <a:pt x="24" y="77"/>
                          </a:cubicBezTo>
                          <a:cubicBezTo>
                            <a:pt x="20" y="75"/>
                            <a:pt x="16" y="73"/>
                            <a:pt x="13" y="71"/>
                          </a:cubicBezTo>
                          <a:cubicBezTo>
                            <a:pt x="10" y="68"/>
                            <a:pt x="7" y="66"/>
                            <a:pt x="5" y="63"/>
                          </a:cubicBezTo>
                          <a:cubicBezTo>
                            <a:pt x="3" y="61"/>
                            <a:pt x="2" y="58"/>
                            <a:pt x="1" y="55"/>
                          </a:cubicBezTo>
                          <a:cubicBezTo>
                            <a:pt x="0" y="52"/>
                            <a:pt x="0" y="49"/>
                            <a:pt x="0" y="46"/>
                          </a:cubicBezTo>
                          <a:cubicBezTo>
                            <a:pt x="0" y="42"/>
                            <a:pt x="1" y="38"/>
                            <a:pt x="2" y="34"/>
                          </a:cubicBezTo>
                          <a:cubicBezTo>
                            <a:pt x="3" y="31"/>
                            <a:pt x="5" y="28"/>
                            <a:pt x="8" y="25"/>
                          </a:cubicBezTo>
                          <a:cubicBezTo>
                            <a:pt x="10" y="22"/>
                            <a:pt x="13" y="20"/>
                            <a:pt x="17" y="18"/>
                          </a:cubicBezTo>
                          <a:cubicBezTo>
                            <a:pt x="21" y="17"/>
                            <a:pt x="25" y="15"/>
                            <a:pt x="29" y="15"/>
                          </a:cubicBezTo>
                          <a:cubicBezTo>
                            <a:pt x="29" y="0"/>
                            <a:pt x="29" y="0"/>
                            <a:pt x="29" y="0"/>
                          </a:cubicBezTo>
                          <a:cubicBezTo>
                            <a:pt x="47" y="0"/>
                            <a:pt x="47" y="0"/>
                            <a:pt x="47" y="0"/>
                          </a:cubicBezTo>
                          <a:cubicBezTo>
                            <a:pt x="47" y="14"/>
                            <a:pt x="47" y="14"/>
                            <a:pt x="47" y="14"/>
                          </a:cubicBezTo>
                          <a:cubicBezTo>
                            <a:pt x="51" y="14"/>
                            <a:pt x="55" y="14"/>
                            <a:pt x="59" y="15"/>
                          </a:cubicBezTo>
                          <a:cubicBezTo>
                            <a:pt x="63" y="16"/>
                            <a:pt x="66" y="16"/>
                            <a:pt x="68" y="17"/>
                          </a:cubicBezTo>
                          <a:cubicBezTo>
                            <a:pt x="68" y="44"/>
                            <a:pt x="68" y="44"/>
                            <a:pt x="68" y="44"/>
                          </a:cubicBezTo>
                          <a:cubicBezTo>
                            <a:pt x="67" y="43"/>
                            <a:pt x="65" y="42"/>
                            <a:pt x="63" y="41"/>
                          </a:cubicBezTo>
                          <a:cubicBezTo>
                            <a:pt x="61" y="41"/>
                            <a:pt x="59" y="40"/>
                            <a:pt x="56" y="39"/>
                          </a:cubicBezTo>
                          <a:cubicBezTo>
                            <a:pt x="54" y="38"/>
                            <a:pt x="52" y="38"/>
                            <a:pt x="49" y="37"/>
                          </a:cubicBezTo>
                          <a:cubicBezTo>
                            <a:pt x="46" y="37"/>
                            <a:pt x="44" y="36"/>
                            <a:pt x="41" y="36"/>
                          </a:cubicBezTo>
                          <a:cubicBezTo>
                            <a:pt x="40" y="36"/>
                            <a:pt x="38" y="37"/>
                            <a:pt x="37" y="37"/>
                          </a:cubicBezTo>
                          <a:cubicBezTo>
                            <a:pt x="36" y="37"/>
                            <a:pt x="35" y="38"/>
                            <a:pt x="34" y="38"/>
                          </a:cubicBezTo>
                          <a:cubicBezTo>
                            <a:pt x="34" y="39"/>
                            <a:pt x="33" y="40"/>
                            <a:pt x="33" y="40"/>
                          </a:cubicBezTo>
                          <a:cubicBezTo>
                            <a:pt x="32" y="41"/>
                            <a:pt x="32" y="42"/>
                            <a:pt x="32" y="43"/>
                          </a:cubicBezTo>
                          <a:cubicBezTo>
                            <a:pt x="32" y="44"/>
                            <a:pt x="32" y="45"/>
                            <a:pt x="32" y="45"/>
                          </a:cubicBezTo>
                          <a:cubicBezTo>
                            <a:pt x="33" y="46"/>
                            <a:pt x="33" y="47"/>
                            <a:pt x="34" y="48"/>
                          </a:cubicBezTo>
                          <a:cubicBezTo>
                            <a:pt x="35" y="49"/>
                            <a:pt x="36" y="50"/>
                            <a:pt x="38" y="51"/>
                          </a:cubicBezTo>
                          <a:cubicBezTo>
                            <a:pt x="40" y="52"/>
                            <a:pt x="42" y="53"/>
                            <a:pt x="45" y="54"/>
                          </a:cubicBezTo>
                          <a:cubicBezTo>
                            <a:pt x="50" y="57"/>
                            <a:pt x="55" y="59"/>
                            <a:pt x="58" y="61"/>
                          </a:cubicBezTo>
                          <a:cubicBezTo>
                            <a:pt x="62" y="64"/>
                            <a:pt x="65" y="66"/>
                            <a:pt x="67" y="69"/>
                          </a:cubicBezTo>
                          <a:cubicBezTo>
                            <a:pt x="69" y="72"/>
                            <a:pt x="71" y="74"/>
                            <a:pt x="72" y="77"/>
                          </a:cubicBezTo>
                          <a:cubicBezTo>
                            <a:pt x="73" y="80"/>
                            <a:pt x="73" y="83"/>
                            <a:pt x="73" y="86"/>
                          </a:cubicBezTo>
                          <a:close/>
                        </a:path>
                      </a:pathLst>
                    </a:custGeom>
                    <a:solidFill>
                      <a:srgbClr val="00B294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</p:grpSp>
            </p:grpSp>
          </p:grpSp>
        </p:grpSp>
        <p:sp>
          <p:nvSpPr>
            <p:cNvPr id="495" name="Rounded Rectangle 494"/>
            <p:cNvSpPr/>
            <p:nvPr/>
          </p:nvSpPr>
          <p:spPr>
            <a:xfrm>
              <a:off x="8766629" y="5872080"/>
              <a:ext cx="1587685" cy="389169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 smtClean="0">
                  <a:solidFill>
                    <a:srgbClr val="282828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earn More</a:t>
              </a:r>
              <a:endParaRPr lang="en-US" sz="1600" b="1" dirty="0">
                <a:solidFill>
                  <a:srgbClr val="282828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9476689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3" name="Group 502"/>
          <p:cNvGrpSpPr/>
          <p:nvPr/>
        </p:nvGrpSpPr>
        <p:grpSpPr>
          <a:xfrm>
            <a:off x="1461417" y="2255587"/>
            <a:ext cx="7364185" cy="2588585"/>
            <a:chOff x="1737642" y="2207962"/>
            <a:chExt cx="7364185" cy="2588585"/>
          </a:xfrm>
        </p:grpSpPr>
        <p:sp>
          <p:nvSpPr>
            <p:cNvPr id="5" name="Rectangle 4"/>
            <p:cNvSpPr/>
            <p:nvPr/>
          </p:nvSpPr>
          <p:spPr>
            <a:xfrm>
              <a:off x="4146533" y="2207962"/>
              <a:ext cx="4955294" cy="2588584"/>
            </a:xfrm>
            <a:prstGeom prst="rect">
              <a:avLst/>
            </a:prstGeom>
            <a:solidFill>
              <a:srgbClr val="00CC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640080" rtlCol="0" anchor="t" anchorCtr="0"/>
            <a:lstStyle/>
            <a:p>
              <a:pPr marL="274320" lvl="1">
                <a:tabLst>
                  <a:tab pos="1143000" algn="l"/>
                </a:tabLst>
              </a:pPr>
              <a:r>
                <a:rPr lang="en-US" sz="3200" b="1" dirty="0" smtClean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Know your options for server modernization.</a:t>
              </a:r>
            </a:p>
          </p:txBody>
        </p:sp>
        <p:sp>
          <p:nvSpPr>
            <p:cNvPr id="7" name="Rectangle 6"/>
            <p:cNvSpPr/>
            <p:nvPr/>
          </p:nvSpPr>
          <p:spPr>
            <a:xfrm>
              <a:off x="1737642" y="2207963"/>
              <a:ext cx="2593823" cy="2588584"/>
            </a:xfrm>
            <a:prstGeom prst="rect">
              <a:avLst/>
            </a:prstGeom>
            <a:solidFill>
              <a:srgbClr val="00CC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82880">
                <a:lnSpc>
                  <a:spcPct val="150000"/>
                </a:lnSpc>
              </a:pPr>
              <a:endParaRPr lang="en-US" sz="20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4" name="Rounded Rectangle 3"/>
            <p:cNvSpPr/>
            <p:nvPr/>
          </p:nvSpPr>
          <p:spPr>
            <a:xfrm>
              <a:off x="7196020" y="3954978"/>
              <a:ext cx="1587685" cy="440200"/>
            </a:xfrm>
            <a:prstGeom prst="round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 smtClean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earn more</a:t>
              </a:r>
              <a:endParaRPr lang="en-US" sz="1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477" name="Group 476"/>
            <p:cNvGrpSpPr/>
            <p:nvPr/>
          </p:nvGrpSpPr>
          <p:grpSpPr>
            <a:xfrm>
              <a:off x="1936449" y="2405290"/>
              <a:ext cx="2395016" cy="2195286"/>
              <a:chOff x="1765504" y="2946525"/>
              <a:chExt cx="2572582" cy="2358045"/>
            </a:xfrm>
          </p:grpSpPr>
          <p:grpSp>
            <p:nvGrpSpPr>
              <p:cNvPr id="2" name="Group 1"/>
              <p:cNvGrpSpPr/>
              <p:nvPr/>
            </p:nvGrpSpPr>
            <p:grpSpPr>
              <a:xfrm>
                <a:off x="2890048" y="3484479"/>
                <a:ext cx="1092447" cy="586290"/>
                <a:chOff x="3913563" y="2789332"/>
                <a:chExt cx="1133472" cy="608309"/>
              </a:xfrm>
            </p:grpSpPr>
            <p:sp>
              <p:nvSpPr>
                <p:cNvPr id="504" name="Freeform 7"/>
                <p:cNvSpPr>
                  <a:spLocks/>
                </p:cNvSpPr>
                <p:nvPr/>
              </p:nvSpPr>
              <p:spPr bwMode="auto">
                <a:xfrm>
                  <a:off x="3913563" y="2789332"/>
                  <a:ext cx="818886" cy="539890"/>
                </a:xfrm>
                <a:custGeom>
                  <a:avLst/>
                  <a:gdLst>
                    <a:gd name="T0" fmla="*/ 462 w 550"/>
                    <a:gd name="T1" fmla="*/ 159 h 362"/>
                    <a:gd name="T2" fmla="*/ 462 w 550"/>
                    <a:gd name="T3" fmla="*/ 152 h 362"/>
                    <a:gd name="T4" fmla="*/ 311 w 550"/>
                    <a:gd name="T5" fmla="*/ 0 h 362"/>
                    <a:gd name="T6" fmla="*/ 184 w 550"/>
                    <a:gd name="T7" fmla="*/ 68 h 362"/>
                    <a:gd name="T8" fmla="*/ 143 w 550"/>
                    <a:gd name="T9" fmla="*/ 57 h 362"/>
                    <a:gd name="T10" fmla="*/ 94 w 550"/>
                    <a:gd name="T11" fmla="*/ 72 h 362"/>
                    <a:gd name="T12" fmla="*/ 55 w 550"/>
                    <a:gd name="T13" fmla="*/ 143 h 362"/>
                    <a:gd name="T14" fmla="*/ 0 w 550"/>
                    <a:gd name="T15" fmla="*/ 243 h 362"/>
                    <a:gd name="T16" fmla="*/ 106 w 550"/>
                    <a:gd name="T17" fmla="*/ 362 h 362"/>
                    <a:gd name="T18" fmla="*/ 119 w 550"/>
                    <a:gd name="T19" fmla="*/ 362 h 362"/>
                    <a:gd name="T20" fmla="*/ 131 w 550"/>
                    <a:gd name="T21" fmla="*/ 362 h 362"/>
                    <a:gd name="T22" fmla="*/ 379 w 550"/>
                    <a:gd name="T23" fmla="*/ 362 h 362"/>
                    <a:gd name="T24" fmla="*/ 384 w 550"/>
                    <a:gd name="T25" fmla="*/ 362 h 362"/>
                    <a:gd name="T26" fmla="*/ 390 w 550"/>
                    <a:gd name="T27" fmla="*/ 362 h 362"/>
                    <a:gd name="T28" fmla="*/ 409 w 550"/>
                    <a:gd name="T29" fmla="*/ 362 h 362"/>
                    <a:gd name="T30" fmla="*/ 448 w 550"/>
                    <a:gd name="T31" fmla="*/ 362 h 362"/>
                    <a:gd name="T32" fmla="*/ 550 w 550"/>
                    <a:gd name="T33" fmla="*/ 260 h 362"/>
                    <a:gd name="T34" fmla="*/ 462 w 550"/>
                    <a:gd name="T35" fmla="*/ 159 h 3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550" h="362">
                      <a:moveTo>
                        <a:pt x="462" y="159"/>
                      </a:moveTo>
                      <a:cubicBezTo>
                        <a:pt x="462" y="157"/>
                        <a:pt x="462" y="154"/>
                        <a:pt x="462" y="152"/>
                      </a:cubicBezTo>
                      <a:cubicBezTo>
                        <a:pt x="462" y="68"/>
                        <a:pt x="395" y="0"/>
                        <a:pt x="311" y="0"/>
                      </a:cubicBezTo>
                      <a:cubicBezTo>
                        <a:pt x="258" y="0"/>
                        <a:pt x="211" y="28"/>
                        <a:pt x="184" y="68"/>
                      </a:cubicBezTo>
                      <a:cubicBezTo>
                        <a:pt x="172" y="61"/>
                        <a:pt x="158" y="57"/>
                        <a:pt x="143" y="57"/>
                      </a:cubicBezTo>
                      <a:cubicBezTo>
                        <a:pt x="124" y="57"/>
                        <a:pt x="108" y="62"/>
                        <a:pt x="94" y="72"/>
                      </a:cubicBezTo>
                      <a:cubicBezTo>
                        <a:pt x="70" y="87"/>
                        <a:pt x="55" y="113"/>
                        <a:pt x="55" y="143"/>
                      </a:cubicBezTo>
                      <a:cubicBezTo>
                        <a:pt x="22" y="164"/>
                        <a:pt x="0" y="201"/>
                        <a:pt x="0" y="243"/>
                      </a:cubicBezTo>
                      <a:cubicBezTo>
                        <a:pt x="0" y="305"/>
                        <a:pt x="46" y="355"/>
                        <a:pt x="106" y="362"/>
                      </a:cubicBezTo>
                      <a:cubicBezTo>
                        <a:pt x="110" y="362"/>
                        <a:pt x="115" y="362"/>
                        <a:pt x="119" y="362"/>
                      </a:cubicBezTo>
                      <a:cubicBezTo>
                        <a:pt x="123" y="362"/>
                        <a:pt x="127" y="362"/>
                        <a:pt x="131" y="362"/>
                      </a:cubicBezTo>
                      <a:cubicBezTo>
                        <a:pt x="187" y="362"/>
                        <a:pt x="318" y="362"/>
                        <a:pt x="379" y="362"/>
                      </a:cubicBezTo>
                      <a:cubicBezTo>
                        <a:pt x="381" y="362"/>
                        <a:pt x="383" y="362"/>
                        <a:pt x="384" y="362"/>
                      </a:cubicBezTo>
                      <a:cubicBezTo>
                        <a:pt x="390" y="362"/>
                        <a:pt x="390" y="362"/>
                        <a:pt x="390" y="362"/>
                      </a:cubicBezTo>
                      <a:cubicBezTo>
                        <a:pt x="394" y="362"/>
                        <a:pt x="403" y="362"/>
                        <a:pt x="409" y="362"/>
                      </a:cubicBezTo>
                      <a:cubicBezTo>
                        <a:pt x="448" y="362"/>
                        <a:pt x="448" y="362"/>
                        <a:pt x="448" y="362"/>
                      </a:cubicBezTo>
                      <a:cubicBezTo>
                        <a:pt x="505" y="361"/>
                        <a:pt x="550" y="316"/>
                        <a:pt x="550" y="260"/>
                      </a:cubicBezTo>
                      <a:cubicBezTo>
                        <a:pt x="550" y="209"/>
                        <a:pt x="512" y="166"/>
                        <a:pt x="462" y="159"/>
                      </a:cubicBezTo>
                      <a:close/>
                    </a:path>
                  </a:pathLst>
                </a:custGeom>
                <a:solidFill>
                  <a:srgbClr val="C1E5FF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363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</a:endParaRPr>
                </a:p>
              </p:txBody>
            </p:sp>
            <p:pic>
              <p:nvPicPr>
                <p:cNvPr id="505" name="Picture 504"/>
                <p:cNvPicPr>
                  <a:picLocks noChangeAspect="1"/>
                </p:cNvPicPr>
                <p:nvPr/>
              </p:nvPicPr>
              <p:blipFill>
                <a:blip r:embed="rId2">
                  <a:duotone>
                    <a:prstClr val="black"/>
                    <a:srgbClr val="0070C0">
                      <a:tint val="45000"/>
                      <a:satMod val="400000"/>
                    </a:srgbClr>
                  </a:duotone>
                </a:blip>
                <a:stretch>
                  <a:fillRect/>
                </a:stretch>
              </p:blipFill>
              <p:spPr>
                <a:xfrm>
                  <a:off x="4407085" y="3133846"/>
                  <a:ext cx="639950" cy="263795"/>
                </a:xfrm>
                <a:prstGeom prst="rect">
                  <a:avLst/>
                </a:prstGeom>
              </p:spPr>
            </p:pic>
          </p:grpSp>
          <p:grpSp>
            <p:nvGrpSpPr>
              <p:cNvPr id="8" name="Group 7"/>
              <p:cNvGrpSpPr/>
              <p:nvPr/>
            </p:nvGrpSpPr>
            <p:grpSpPr>
              <a:xfrm>
                <a:off x="2103372" y="3555188"/>
                <a:ext cx="1885637" cy="1749382"/>
                <a:chOff x="7842076" y="3935906"/>
                <a:chExt cx="2317533" cy="2150070"/>
              </a:xfrm>
            </p:grpSpPr>
            <p:sp>
              <p:nvSpPr>
                <p:cNvPr id="9" name="Rectangle 31"/>
                <p:cNvSpPr>
                  <a:spLocks noChangeArrowheads="1"/>
                </p:cNvSpPr>
                <p:nvPr/>
              </p:nvSpPr>
              <p:spPr bwMode="auto">
                <a:xfrm>
                  <a:off x="7842076" y="4902785"/>
                  <a:ext cx="547780" cy="1183190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" name="Rectangle 32"/>
                <p:cNvSpPr>
                  <a:spLocks noChangeArrowheads="1"/>
                </p:cNvSpPr>
                <p:nvPr/>
              </p:nvSpPr>
              <p:spPr bwMode="auto">
                <a:xfrm>
                  <a:off x="7985724" y="4502008"/>
                  <a:ext cx="674192" cy="1583967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" name="Rectangle 33"/>
                <p:cNvSpPr>
                  <a:spLocks noChangeArrowheads="1"/>
                </p:cNvSpPr>
                <p:nvPr/>
              </p:nvSpPr>
              <p:spPr bwMode="auto">
                <a:xfrm>
                  <a:off x="8516267" y="4729931"/>
                  <a:ext cx="1643342" cy="1356045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" name="Rectangle 34"/>
                <p:cNvSpPr>
                  <a:spLocks noChangeArrowheads="1"/>
                </p:cNvSpPr>
                <p:nvPr/>
              </p:nvSpPr>
              <p:spPr bwMode="auto">
                <a:xfrm>
                  <a:off x="7922097" y="5050633"/>
                  <a:ext cx="494419" cy="1035343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" name="Rectangle 35"/>
                <p:cNvSpPr>
                  <a:spLocks noChangeArrowheads="1"/>
                </p:cNvSpPr>
                <p:nvPr/>
              </p:nvSpPr>
              <p:spPr bwMode="auto">
                <a:xfrm>
                  <a:off x="7966153" y="5102032"/>
                  <a:ext cx="401410" cy="898276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" name="Rectangle 36"/>
                <p:cNvSpPr>
                  <a:spLocks noChangeArrowheads="1"/>
                </p:cNvSpPr>
                <p:nvPr/>
              </p:nvSpPr>
              <p:spPr bwMode="auto">
                <a:xfrm>
                  <a:off x="7990631" y="5131405"/>
                  <a:ext cx="357352" cy="9056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" name="Rectangle 37"/>
                <p:cNvSpPr>
                  <a:spLocks noChangeArrowheads="1"/>
                </p:cNvSpPr>
                <p:nvPr/>
              </p:nvSpPr>
              <p:spPr bwMode="auto">
                <a:xfrm>
                  <a:off x="8005314" y="5143641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" name="Rectangle 38"/>
                <p:cNvSpPr>
                  <a:spLocks noChangeArrowheads="1"/>
                </p:cNvSpPr>
                <p:nvPr/>
              </p:nvSpPr>
              <p:spPr bwMode="auto">
                <a:xfrm>
                  <a:off x="8024896" y="5143641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" name="Rectangle 39"/>
                <p:cNvSpPr>
                  <a:spLocks noChangeArrowheads="1"/>
                </p:cNvSpPr>
                <p:nvPr/>
              </p:nvSpPr>
              <p:spPr bwMode="auto">
                <a:xfrm>
                  <a:off x="8044477" y="5143641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" name="Rectangle 40"/>
                <p:cNvSpPr>
                  <a:spLocks noChangeArrowheads="1"/>
                </p:cNvSpPr>
                <p:nvPr/>
              </p:nvSpPr>
              <p:spPr bwMode="auto">
                <a:xfrm>
                  <a:off x="8066506" y="5143641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" name="Rectangle 41"/>
                <p:cNvSpPr>
                  <a:spLocks noChangeArrowheads="1"/>
                </p:cNvSpPr>
                <p:nvPr/>
              </p:nvSpPr>
              <p:spPr bwMode="auto">
                <a:xfrm>
                  <a:off x="8086087" y="5143641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" name="Rectangle 42"/>
                <p:cNvSpPr>
                  <a:spLocks noChangeArrowheads="1"/>
                </p:cNvSpPr>
                <p:nvPr/>
              </p:nvSpPr>
              <p:spPr bwMode="auto">
                <a:xfrm>
                  <a:off x="8108115" y="5143641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" name="Oval 43"/>
                <p:cNvSpPr>
                  <a:spLocks noChangeArrowheads="1"/>
                </p:cNvSpPr>
                <p:nvPr/>
              </p:nvSpPr>
              <p:spPr bwMode="auto">
                <a:xfrm>
                  <a:off x="8291687" y="5165671"/>
                  <a:ext cx="24475" cy="22029"/>
                </a:xfrm>
                <a:prstGeom prst="ellipse">
                  <a:avLst/>
                </a:pr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" name="Rectangle 44"/>
                <p:cNvSpPr>
                  <a:spLocks noChangeArrowheads="1"/>
                </p:cNvSpPr>
                <p:nvPr/>
              </p:nvSpPr>
              <p:spPr bwMode="auto">
                <a:xfrm>
                  <a:off x="7990631" y="5246442"/>
                  <a:ext cx="357352" cy="93009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" name="Rectangle 45"/>
                <p:cNvSpPr>
                  <a:spLocks noChangeArrowheads="1"/>
                </p:cNvSpPr>
                <p:nvPr/>
              </p:nvSpPr>
              <p:spPr bwMode="auto">
                <a:xfrm>
                  <a:off x="8005314" y="5261126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" name="Rectangle 46"/>
                <p:cNvSpPr>
                  <a:spLocks noChangeArrowheads="1"/>
                </p:cNvSpPr>
                <p:nvPr/>
              </p:nvSpPr>
              <p:spPr bwMode="auto">
                <a:xfrm>
                  <a:off x="8024896" y="5261126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" name="Rectangle 47"/>
                <p:cNvSpPr>
                  <a:spLocks noChangeArrowheads="1"/>
                </p:cNvSpPr>
                <p:nvPr/>
              </p:nvSpPr>
              <p:spPr bwMode="auto">
                <a:xfrm>
                  <a:off x="8044477" y="5261126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" name="Rectangle 48"/>
                <p:cNvSpPr>
                  <a:spLocks noChangeArrowheads="1"/>
                </p:cNvSpPr>
                <p:nvPr/>
              </p:nvSpPr>
              <p:spPr bwMode="auto">
                <a:xfrm>
                  <a:off x="8066506" y="5261126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" name="Rectangle 49"/>
                <p:cNvSpPr>
                  <a:spLocks noChangeArrowheads="1"/>
                </p:cNvSpPr>
                <p:nvPr/>
              </p:nvSpPr>
              <p:spPr bwMode="auto">
                <a:xfrm>
                  <a:off x="8086087" y="5261126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" name="Rectangle 50"/>
                <p:cNvSpPr>
                  <a:spLocks noChangeArrowheads="1"/>
                </p:cNvSpPr>
                <p:nvPr/>
              </p:nvSpPr>
              <p:spPr bwMode="auto">
                <a:xfrm>
                  <a:off x="8108115" y="5261126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" name="Oval 51"/>
                <p:cNvSpPr>
                  <a:spLocks noChangeArrowheads="1"/>
                </p:cNvSpPr>
                <p:nvPr/>
              </p:nvSpPr>
              <p:spPr bwMode="auto">
                <a:xfrm>
                  <a:off x="8291687" y="5280709"/>
                  <a:ext cx="24475" cy="24475"/>
                </a:xfrm>
                <a:prstGeom prst="ellipse">
                  <a:avLst/>
                </a:pr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" name="Rectangle 52"/>
                <p:cNvSpPr>
                  <a:spLocks noChangeArrowheads="1"/>
                </p:cNvSpPr>
                <p:nvPr/>
              </p:nvSpPr>
              <p:spPr bwMode="auto">
                <a:xfrm>
                  <a:off x="7990631" y="5363927"/>
                  <a:ext cx="357352" cy="93009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" name="Rectangle 53"/>
                <p:cNvSpPr>
                  <a:spLocks noChangeArrowheads="1"/>
                </p:cNvSpPr>
                <p:nvPr/>
              </p:nvSpPr>
              <p:spPr bwMode="auto">
                <a:xfrm>
                  <a:off x="8005314" y="5376167"/>
                  <a:ext cx="9790" cy="6363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" name="Rectangle 54"/>
                <p:cNvSpPr>
                  <a:spLocks noChangeArrowheads="1"/>
                </p:cNvSpPr>
                <p:nvPr/>
              </p:nvSpPr>
              <p:spPr bwMode="auto">
                <a:xfrm>
                  <a:off x="8024896" y="5376167"/>
                  <a:ext cx="9790" cy="6363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" name="Rectangle 55"/>
                <p:cNvSpPr>
                  <a:spLocks noChangeArrowheads="1"/>
                </p:cNvSpPr>
                <p:nvPr/>
              </p:nvSpPr>
              <p:spPr bwMode="auto">
                <a:xfrm>
                  <a:off x="8044477" y="5376167"/>
                  <a:ext cx="12238" cy="6363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4" name="Rectangle 56"/>
                <p:cNvSpPr>
                  <a:spLocks noChangeArrowheads="1"/>
                </p:cNvSpPr>
                <p:nvPr/>
              </p:nvSpPr>
              <p:spPr bwMode="auto">
                <a:xfrm>
                  <a:off x="8066506" y="5376167"/>
                  <a:ext cx="9790" cy="6363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5" name="Rectangle 57"/>
                <p:cNvSpPr>
                  <a:spLocks noChangeArrowheads="1"/>
                </p:cNvSpPr>
                <p:nvPr/>
              </p:nvSpPr>
              <p:spPr bwMode="auto">
                <a:xfrm>
                  <a:off x="8086087" y="5376167"/>
                  <a:ext cx="9790" cy="6363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6" name="Rectangle 58"/>
                <p:cNvSpPr>
                  <a:spLocks noChangeArrowheads="1"/>
                </p:cNvSpPr>
                <p:nvPr/>
              </p:nvSpPr>
              <p:spPr bwMode="auto">
                <a:xfrm>
                  <a:off x="8108115" y="5376167"/>
                  <a:ext cx="9790" cy="6363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7" name="Oval 59"/>
                <p:cNvSpPr>
                  <a:spLocks noChangeArrowheads="1"/>
                </p:cNvSpPr>
                <p:nvPr/>
              </p:nvSpPr>
              <p:spPr bwMode="auto">
                <a:xfrm>
                  <a:off x="8291687" y="5398193"/>
                  <a:ext cx="24475" cy="24475"/>
                </a:xfrm>
                <a:prstGeom prst="ellipse">
                  <a:avLst/>
                </a:pr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8" name="Rectangle 60"/>
                <p:cNvSpPr>
                  <a:spLocks noChangeArrowheads="1"/>
                </p:cNvSpPr>
                <p:nvPr/>
              </p:nvSpPr>
              <p:spPr bwMode="auto">
                <a:xfrm>
                  <a:off x="7990631" y="5478965"/>
                  <a:ext cx="357352" cy="93009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9" name="Rectangle 61"/>
                <p:cNvSpPr>
                  <a:spLocks noChangeArrowheads="1"/>
                </p:cNvSpPr>
                <p:nvPr/>
              </p:nvSpPr>
              <p:spPr bwMode="auto">
                <a:xfrm>
                  <a:off x="8005314" y="5493652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0" name="Rectangle 62"/>
                <p:cNvSpPr>
                  <a:spLocks noChangeArrowheads="1"/>
                </p:cNvSpPr>
                <p:nvPr/>
              </p:nvSpPr>
              <p:spPr bwMode="auto">
                <a:xfrm>
                  <a:off x="8024896" y="5493652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1" name="Rectangle 63"/>
                <p:cNvSpPr>
                  <a:spLocks noChangeArrowheads="1"/>
                </p:cNvSpPr>
                <p:nvPr/>
              </p:nvSpPr>
              <p:spPr bwMode="auto">
                <a:xfrm>
                  <a:off x="8044477" y="5493652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2" name="Rectangle 64"/>
                <p:cNvSpPr>
                  <a:spLocks noChangeArrowheads="1"/>
                </p:cNvSpPr>
                <p:nvPr/>
              </p:nvSpPr>
              <p:spPr bwMode="auto">
                <a:xfrm>
                  <a:off x="8066506" y="5493652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3" name="Rectangle 65"/>
                <p:cNvSpPr>
                  <a:spLocks noChangeArrowheads="1"/>
                </p:cNvSpPr>
                <p:nvPr/>
              </p:nvSpPr>
              <p:spPr bwMode="auto">
                <a:xfrm>
                  <a:off x="8086087" y="5493652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4" name="Rectangle 66"/>
                <p:cNvSpPr>
                  <a:spLocks noChangeArrowheads="1"/>
                </p:cNvSpPr>
                <p:nvPr/>
              </p:nvSpPr>
              <p:spPr bwMode="auto">
                <a:xfrm>
                  <a:off x="8108115" y="5493652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5" name="Oval 67"/>
                <p:cNvSpPr>
                  <a:spLocks noChangeArrowheads="1"/>
                </p:cNvSpPr>
                <p:nvPr/>
              </p:nvSpPr>
              <p:spPr bwMode="auto">
                <a:xfrm>
                  <a:off x="8291687" y="5513234"/>
                  <a:ext cx="24475" cy="22029"/>
                </a:xfrm>
                <a:prstGeom prst="ellipse">
                  <a:avLst/>
                </a:pr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6" name="Rectangle 68"/>
                <p:cNvSpPr>
                  <a:spLocks noChangeArrowheads="1"/>
                </p:cNvSpPr>
                <p:nvPr/>
              </p:nvSpPr>
              <p:spPr bwMode="auto">
                <a:xfrm>
                  <a:off x="7990631" y="5596451"/>
                  <a:ext cx="357352" cy="93009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7" name="Rectangle 69"/>
                <p:cNvSpPr>
                  <a:spLocks noChangeArrowheads="1"/>
                </p:cNvSpPr>
                <p:nvPr/>
              </p:nvSpPr>
              <p:spPr bwMode="auto">
                <a:xfrm>
                  <a:off x="8005314" y="5611137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8" name="Rectangle 70"/>
                <p:cNvSpPr>
                  <a:spLocks noChangeArrowheads="1"/>
                </p:cNvSpPr>
                <p:nvPr/>
              </p:nvSpPr>
              <p:spPr bwMode="auto">
                <a:xfrm>
                  <a:off x="8024896" y="5611137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9" name="Rectangle 71"/>
                <p:cNvSpPr>
                  <a:spLocks noChangeArrowheads="1"/>
                </p:cNvSpPr>
                <p:nvPr/>
              </p:nvSpPr>
              <p:spPr bwMode="auto">
                <a:xfrm>
                  <a:off x="8044477" y="5611137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0" name="Rectangle 72"/>
                <p:cNvSpPr>
                  <a:spLocks noChangeArrowheads="1"/>
                </p:cNvSpPr>
                <p:nvPr/>
              </p:nvSpPr>
              <p:spPr bwMode="auto">
                <a:xfrm>
                  <a:off x="8066506" y="5611137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1" name="Rectangle 73"/>
                <p:cNvSpPr>
                  <a:spLocks noChangeArrowheads="1"/>
                </p:cNvSpPr>
                <p:nvPr/>
              </p:nvSpPr>
              <p:spPr bwMode="auto">
                <a:xfrm>
                  <a:off x="8086087" y="5611137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2" name="Rectangle 74"/>
                <p:cNvSpPr>
                  <a:spLocks noChangeArrowheads="1"/>
                </p:cNvSpPr>
                <p:nvPr/>
              </p:nvSpPr>
              <p:spPr bwMode="auto">
                <a:xfrm>
                  <a:off x="8108115" y="5611137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3" name="Oval 75"/>
                <p:cNvSpPr>
                  <a:spLocks noChangeArrowheads="1"/>
                </p:cNvSpPr>
                <p:nvPr/>
              </p:nvSpPr>
              <p:spPr bwMode="auto">
                <a:xfrm>
                  <a:off x="8291687" y="5630720"/>
                  <a:ext cx="24475" cy="19581"/>
                </a:xfrm>
                <a:prstGeom prst="ellipse">
                  <a:avLst/>
                </a:pr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4" name="Rectangle 76"/>
                <p:cNvSpPr>
                  <a:spLocks noChangeArrowheads="1"/>
                </p:cNvSpPr>
                <p:nvPr/>
              </p:nvSpPr>
              <p:spPr bwMode="auto">
                <a:xfrm>
                  <a:off x="7990631" y="5713937"/>
                  <a:ext cx="357352" cy="9056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5" name="Rectangle 77"/>
                <p:cNvSpPr>
                  <a:spLocks noChangeArrowheads="1"/>
                </p:cNvSpPr>
                <p:nvPr/>
              </p:nvSpPr>
              <p:spPr bwMode="auto">
                <a:xfrm>
                  <a:off x="8005314" y="5726175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6" name="Rectangle 78"/>
                <p:cNvSpPr>
                  <a:spLocks noChangeArrowheads="1"/>
                </p:cNvSpPr>
                <p:nvPr/>
              </p:nvSpPr>
              <p:spPr bwMode="auto">
                <a:xfrm>
                  <a:off x="8024896" y="5726175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7" name="Rectangle 79"/>
                <p:cNvSpPr>
                  <a:spLocks noChangeArrowheads="1"/>
                </p:cNvSpPr>
                <p:nvPr/>
              </p:nvSpPr>
              <p:spPr bwMode="auto">
                <a:xfrm>
                  <a:off x="8044477" y="5726175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8" name="Rectangle 80"/>
                <p:cNvSpPr>
                  <a:spLocks noChangeArrowheads="1"/>
                </p:cNvSpPr>
                <p:nvPr/>
              </p:nvSpPr>
              <p:spPr bwMode="auto">
                <a:xfrm>
                  <a:off x="8066506" y="5726175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9" name="Rectangle 81"/>
                <p:cNvSpPr>
                  <a:spLocks noChangeArrowheads="1"/>
                </p:cNvSpPr>
                <p:nvPr/>
              </p:nvSpPr>
              <p:spPr bwMode="auto">
                <a:xfrm>
                  <a:off x="8086087" y="5726175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0" name="Rectangle 82"/>
                <p:cNvSpPr>
                  <a:spLocks noChangeArrowheads="1"/>
                </p:cNvSpPr>
                <p:nvPr/>
              </p:nvSpPr>
              <p:spPr bwMode="auto">
                <a:xfrm>
                  <a:off x="8108115" y="5726175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1" name="Oval 83"/>
                <p:cNvSpPr>
                  <a:spLocks noChangeArrowheads="1"/>
                </p:cNvSpPr>
                <p:nvPr/>
              </p:nvSpPr>
              <p:spPr bwMode="auto">
                <a:xfrm>
                  <a:off x="8291687" y="5748204"/>
                  <a:ext cx="24475" cy="19581"/>
                </a:xfrm>
                <a:prstGeom prst="ellipse">
                  <a:avLst/>
                </a:pr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2" name="Rectangle 84"/>
                <p:cNvSpPr>
                  <a:spLocks noChangeArrowheads="1"/>
                </p:cNvSpPr>
                <p:nvPr/>
              </p:nvSpPr>
              <p:spPr bwMode="auto">
                <a:xfrm>
                  <a:off x="7990631" y="5828975"/>
                  <a:ext cx="357352" cy="8811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3" name="Rectangle 85"/>
                <p:cNvSpPr>
                  <a:spLocks noChangeArrowheads="1"/>
                </p:cNvSpPr>
                <p:nvPr/>
              </p:nvSpPr>
              <p:spPr bwMode="auto">
                <a:xfrm>
                  <a:off x="8005314" y="5843661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4" name="Rectangle 86"/>
                <p:cNvSpPr>
                  <a:spLocks noChangeArrowheads="1"/>
                </p:cNvSpPr>
                <p:nvPr/>
              </p:nvSpPr>
              <p:spPr bwMode="auto">
                <a:xfrm>
                  <a:off x="8024896" y="5843661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5" name="Rectangle 87"/>
                <p:cNvSpPr>
                  <a:spLocks noChangeArrowheads="1"/>
                </p:cNvSpPr>
                <p:nvPr/>
              </p:nvSpPr>
              <p:spPr bwMode="auto">
                <a:xfrm>
                  <a:off x="8044477" y="5843661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6" name="Rectangle 88"/>
                <p:cNvSpPr>
                  <a:spLocks noChangeArrowheads="1"/>
                </p:cNvSpPr>
                <p:nvPr/>
              </p:nvSpPr>
              <p:spPr bwMode="auto">
                <a:xfrm>
                  <a:off x="8066506" y="5843661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7" name="Rectangle 89"/>
                <p:cNvSpPr>
                  <a:spLocks noChangeArrowheads="1"/>
                </p:cNvSpPr>
                <p:nvPr/>
              </p:nvSpPr>
              <p:spPr bwMode="auto">
                <a:xfrm>
                  <a:off x="8086087" y="5843661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8" name="Rectangle 90"/>
                <p:cNvSpPr>
                  <a:spLocks noChangeArrowheads="1"/>
                </p:cNvSpPr>
                <p:nvPr/>
              </p:nvSpPr>
              <p:spPr bwMode="auto">
                <a:xfrm>
                  <a:off x="8108115" y="5843661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9" name="Oval 91"/>
                <p:cNvSpPr>
                  <a:spLocks noChangeArrowheads="1"/>
                </p:cNvSpPr>
                <p:nvPr/>
              </p:nvSpPr>
              <p:spPr bwMode="auto">
                <a:xfrm>
                  <a:off x="8291687" y="5863242"/>
                  <a:ext cx="24475" cy="19581"/>
                </a:xfrm>
                <a:prstGeom prst="ellipse">
                  <a:avLst/>
                </a:pr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0" name="Rectangle 92"/>
                <p:cNvSpPr>
                  <a:spLocks noChangeArrowheads="1"/>
                </p:cNvSpPr>
                <p:nvPr/>
              </p:nvSpPr>
              <p:spPr bwMode="auto">
                <a:xfrm>
                  <a:off x="7922097" y="5050633"/>
                  <a:ext cx="494419" cy="1035343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1" name="Rectangle 93"/>
                <p:cNvSpPr>
                  <a:spLocks noChangeArrowheads="1"/>
                </p:cNvSpPr>
                <p:nvPr/>
              </p:nvSpPr>
              <p:spPr bwMode="auto">
                <a:xfrm>
                  <a:off x="7966153" y="5102032"/>
                  <a:ext cx="401410" cy="898276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2" name="Rectangle 94"/>
                <p:cNvSpPr>
                  <a:spLocks noChangeArrowheads="1"/>
                </p:cNvSpPr>
                <p:nvPr/>
              </p:nvSpPr>
              <p:spPr bwMode="auto">
                <a:xfrm>
                  <a:off x="7990631" y="5131405"/>
                  <a:ext cx="357352" cy="9056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3" name="Rectangle 95"/>
                <p:cNvSpPr>
                  <a:spLocks noChangeArrowheads="1"/>
                </p:cNvSpPr>
                <p:nvPr/>
              </p:nvSpPr>
              <p:spPr bwMode="auto">
                <a:xfrm>
                  <a:off x="8005314" y="5143641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4" name="Rectangle 96"/>
                <p:cNvSpPr>
                  <a:spLocks noChangeArrowheads="1"/>
                </p:cNvSpPr>
                <p:nvPr/>
              </p:nvSpPr>
              <p:spPr bwMode="auto">
                <a:xfrm>
                  <a:off x="8024896" y="5143641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5" name="Rectangle 97"/>
                <p:cNvSpPr>
                  <a:spLocks noChangeArrowheads="1"/>
                </p:cNvSpPr>
                <p:nvPr/>
              </p:nvSpPr>
              <p:spPr bwMode="auto">
                <a:xfrm>
                  <a:off x="8044477" y="5143641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6" name="Rectangle 98"/>
                <p:cNvSpPr>
                  <a:spLocks noChangeArrowheads="1"/>
                </p:cNvSpPr>
                <p:nvPr/>
              </p:nvSpPr>
              <p:spPr bwMode="auto">
                <a:xfrm>
                  <a:off x="8066506" y="5143641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7" name="Rectangle 99"/>
                <p:cNvSpPr>
                  <a:spLocks noChangeArrowheads="1"/>
                </p:cNvSpPr>
                <p:nvPr/>
              </p:nvSpPr>
              <p:spPr bwMode="auto">
                <a:xfrm>
                  <a:off x="8086087" y="5143641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8" name="Rectangle 100"/>
                <p:cNvSpPr>
                  <a:spLocks noChangeArrowheads="1"/>
                </p:cNvSpPr>
                <p:nvPr/>
              </p:nvSpPr>
              <p:spPr bwMode="auto">
                <a:xfrm>
                  <a:off x="8108115" y="5143641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9" name="Oval 101"/>
                <p:cNvSpPr>
                  <a:spLocks noChangeArrowheads="1"/>
                </p:cNvSpPr>
                <p:nvPr/>
              </p:nvSpPr>
              <p:spPr bwMode="auto">
                <a:xfrm>
                  <a:off x="8291687" y="5165671"/>
                  <a:ext cx="24475" cy="22029"/>
                </a:xfrm>
                <a:prstGeom prst="ellipse">
                  <a:avLst/>
                </a:pr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0" name="Rectangle 102"/>
                <p:cNvSpPr>
                  <a:spLocks noChangeArrowheads="1"/>
                </p:cNvSpPr>
                <p:nvPr/>
              </p:nvSpPr>
              <p:spPr bwMode="auto">
                <a:xfrm>
                  <a:off x="7990631" y="5246442"/>
                  <a:ext cx="357352" cy="93009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1" name="Rectangle 103"/>
                <p:cNvSpPr>
                  <a:spLocks noChangeArrowheads="1"/>
                </p:cNvSpPr>
                <p:nvPr/>
              </p:nvSpPr>
              <p:spPr bwMode="auto">
                <a:xfrm>
                  <a:off x="8005314" y="5261126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2" name="Rectangle 104"/>
                <p:cNvSpPr>
                  <a:spLocks noChangeArrowheads="1"/>
                </p:cNvSpPr>
                <p:nvPr/>
              </p:nvSpPr>
              <p:spPr bwMode="auto">
                <a:xfrm>
                  <a:off x="8024896" y="5261126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3" name="Rectangle 105"/>
                <p:cNvSpPr>
                  <a:spLocks noChangeArrowheads="1"/>
                </p:cNvSpPr>
                <p:nvPr/>
              </p:nvSpPr>
              <p:spPr bwMode="auto">
                <a:xfrm>
                  <a:off x="8044477" y="5261126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4" name="Rectangle 106"/>
                <p:cNvSpPr>
                  <a:spLocks noChangeArrowheads="1"/>
                </p:cNvSpPr>
                <p:nvPr/>
              </p:nvSpPr>
              <p:spPr bwMode="auto">
                <a:xfrm>
                  <a:off x="8066506" y="5261126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5" name="Rectangle 107"/>
                <p:cNvSpPr>
                  <a:spLocks noChangeArrowheads="1"/>
                </p:cNvSpPr>
                <p:nvPr/>
              </p:nvSpPr>
              <p:spPr bwMode="auto">
                <a:xfrm>
                  <a:off x="8086087" y="5261126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6" name="Rectangle 108"/>
                <p:cNvSpPr>
                  <a:spLocks noChangeArrowheads="1"/>
                </p:cNvSpPr>
                <p:nvPr/>
              </p:nvSpPr>
              <p:spPr bwMode="auto">
                <a:xfrm>
                  <a:off x="8108115" y="5261126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7" name="Oval 109"/>
                <p:cNvSpPr>
                  <a:spLocks noChangeArrowheads="1"/>
                </p:cNvSpPr>
                <p:nvPr/>
              </p:nvSpPr>
              <p:spPr bwMode="auto">
                <a:xfrm>
                  <a:off x="8291687" y="5280709"/>
                  <a:ext cx="24475" cy="24475"/>
                </a:xfrm>
                <a:prstGeom prst="ellipse">
                  <a:avLst/>
                </a:pr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8" name="Rectangle 110"/>
                <p:cNvSpPr>
                  <a:spLocks noChangeArrowheads="1"/>
                </p:cNvSpPr>
                <p:nvPr/>
              </p:nvSpPr>
              <p:spPr bwMode="auto">
                <a:xfrm>
                  <a:off x="7990631" y="5363927"/>
                  <a:ext cx="357352" cy="93009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9" name="Rectangle 111"/>
                <p:cNvSpPr>
                  <a:spLocks noChangeArrowheads="1"/>
                </p:cNvSpPr>
                <p:nvPr/>
              </p:nvSpPr>
              <p:spPr bwMode="auto">
                <a:xfrm>
                  <a:off x="8005314" y="5376167"/>
                  <a:ext cx="9790" cy="6363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0" name="Rectangle 112"/>
                <p:cNvSpPr>
                  <a:spLocks noChangeArrowheads="1"/>
                </p:cNvSpPr>
                <p:nvPr/>
              </p:nvSpPr>
              <p:spPr bwMode="auto">
                <a:xfrm>
                  <a:off x="8024896" y="5376167"/>
                  <a:ext cx="9790" cy="6363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1" name="Rectangle 113"/>
                <p:cNvSpPr>
                  <a:spLocks noChangeArrowheads="1"/>
                </p:cNvSpPr>
                <p:nvPr/>
              </p:nvSpPr>
              <p:spPr bwMode="auto">
                <a:xfrm>
                  <a:off x="8044477" y="5376167"/>
                  <a:ext cx="12238" cy="6363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2" name="Rectangle 114"/>
                <p:cNvSpPr>
                  <a:spLocks noChangeArrowheads="1"/>
                </p:cNvSpPr>
                <p:nvPr/>
              </p:nvSpPr>
              <p:spPr bwMode="auto">
                <a:xfrm>
                  <a:off x="8066506" y="5376167"/>
                  <a:ext cx="9790" cy="6363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3" name="Rectangle 115"/>
                <p:cNvSpPr>
                  <a:spLocks noChangeArrowheads="1"/>
                </p:cNvSpPr>
                <p:nvPr/>
              </p:nvSpPr>
              <p:spPr bwMode="auto">
                <a:xfrm>
                  <a:off x="8086087" y="5376167"/>
                  <a:ext cx="9790" cy="6363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4" name="Rectangle 116"/>
                <p:cNvSpPr>
                  <a:spLocks noChangeArrowheads="1"/>
                </p:cNvSpPr>
                <p:nvPr/>
              </p:nvSpPr>
              <p:spPr bwMode="auto">
                <a:xfrm>
                  <a:off x="8108115" y="5376167"/>
                  <a:ext cx="9790" cy="6363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5" name="Oval 117"/>
                <p:cNvSpPr>
                  <a:spLocks noChangeArrowheads="1"/>
                </p:cNvSpPr>
                <p:nvPr/>
              </p:nvSpPr>
              <p:spPr bwMode="auto">
                <a:xfrm>
                  <a:off x="8291687" y="5398193"/>
                  <a:ext cx="24475" cy="24475"/>
                </a:xfrm>
                <a:prstGeom prst="ellipse">
                  <a:avLst/>
                </a:pr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6" name="Rectangle 118"/>
                <p:cNvSpPr>
                  <a:spLocks noChangeArrowheads="1"/>
                </p:cNvSpPr>
                <p:nvPr/>
              </p:nvSpPr>
              <p:spPr bwMode="auto">
                <a:xfrm>
                  <a:off x="7990631" y="5478965"/>
                  <a:ext cx="357352" cy="93009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7" name="Rectangle 119"/>
                <p:cNvSpPr>
                  <a:spLocks noChangeArrowheads="1"/>
                </p:cNvSpPr>
                <p:nvPr/>
              </p:nvSpPr>
              <p:spPr bwMode="auto">
                <a:xfrm>
                  <a:off x="8005314" y="5493652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8" name="Rectangle 120"/>
                <p:cNvSpPr>
                  <a:spLocks noChangeArrowheads="1"/>
                </p:cNvSpPr>
                <p:nvPr/>
              </p:nvSpPr>
              <p:spPr bwMode="auto">
                <a:xfrm>
                  <a:off x="8024896" y="5493652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9" name="Rectangle 121"/>
                <p:cNvSpPr>
                  <a:spLocks noChangeArrowheads="1"/>
                </p:cNvSpPr>
                <p:nvPr/>
              </p:nvSpPr>
              <p:spPr bwMode="auto">
                <a:xfrm>
                  <a:off x="8044477" y="5493652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0" name="Rectangle 122"/>
                <p:cNvSpPr>
                  <a:spLocks noChangeArrowheads="1"/>
                </p:cNvSpPr>
                <p:nvPr/>
              </p:nvSpPr>
              <p:spPr bwMode="auto">
                <a:xfrm>
                  <a:off x="8066506" y="5493652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1" name="Rectangle 123"/>
                <p:cNvSpPr>
                  <a:spLocks noChangeArrowheads="1"/>
                </p:cNvSpPr>
                <p:nvPr/>
              </p:nvSpPr>
              <p:spPr bwMode="auto">
                <a:xfrm>
                  <a:off x="8086087" y="5493652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2" name="Rectangle 124"/>
                <p:cNvSpPr>
                  <a:spLocks noChangeArrowheads="1"/>
                </p:cNvSpPr>
                <p:nvPr/>
              </p:nvSpPr>
              <p:spPr bwMode="auto">
                <a:xfrm>
                  <a:off x="8108115" y="5493652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3" name="Oval 125"/>
                <p:cNvSpPr>
                  <a:spLocks noChangeArrowheads="1"/>
                </p:cNvSpPr>
                <p:nvPr/>
              </p:nvSpPr>
              <p:spPr bwMode="auto">
                <a:xfrm>
                  <a:off x="8291687" y="5513234"/>
                  <a:ext cx="24475" cy="22029"/>
                </a:xfrm>
                <a:prstGeom prst="ellipse">
                  <a:avLst/>
                </a:pr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4" name="Rectangle 126"/>
                <p:cNvSpPr>
                  <a:spLocks noChangeArrowheads="1"/>
                </p:cNvSpPr>
                <p:nvPr/>
              </p:nvSpPr>
              <p:spPr bwMode="auto">
                <a:xfrm>
                  <a:off x="7990631" y="5596451"/>
                  <a:ext cx="357352" cy="93009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5" name="Rectangle 127"/>
                <p:cNvSpPr>
                  <a:spLocks noChangeArrowheads="1"/>
                </p:cNvSpPr>
                <p:nvPr/>
              </p:nvSpPr>
              <p:spPr bwMode="auto">
                <a:xfrm>
                  <a:off x="8005314" y="5611137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6" name="Rectangle 128"/>
                <p:cNvSpPr>
                  <a:spLocks noChangeArrowheads="1"/>
                </p:cNvSpPr>
                <p:nvPr/>
              </p:nvSpPr>
              <p:spPr bwMode="auto">
                <a:xfrm>
                  <a:off x="8024896" y="5611137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7" name="Rectangle 129"/>
                <p:cNvSpPr>
                  <a:spLocks noChangeArrowheads="1"/>
                </p:cNvSpPr>
                <p:nvPr/>
              </p:nvSpPr>
              <p:spPr bwMode="auto">
                <a:xfrm>
                  <a:off x="8044477" y="5611137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8" name="Rectangle 130"/>
                <p:cNvSpPr>
                  <a:spLocks noChangeArrowheads="1"/>
                </p:cNvSpPr>
                <p:nvPr/>
              </p:nvSpPr>
              <p:spPr bwMode="auto">
                <a:xfrm>
                  <a:off x="8066506" y="5611137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9" name="Rectangle 131"/>
                <p:cNvSpPr>
                  <a:spLocks noChangeArrowheads="1"/>
                </p:cNvSpPr>
                <p:nvPr/>
              </p:nvSpPr>
              <p:spPr bwMode="auto">
                <a:xfrm>
                  <a:off x="8086087" y="5611137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0" name="Rectangle 132"/>
                <p:cNvSpPr>
                  <a:spLocks noChangeArrowheads="1"/>
                </p:cNvSpPr>
                <p:nvPr/>
              </p:nvSpPr>
              <p:spPr bwMode="auto">
                <a:xfrm>
                  <a:off x="8108115" y="5611137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1" name="Oval 133"/>
                <p:cNvSpPr>
                  <a:spLocks noChangeArrowheads="1"/>
                </p:cNvSpPr>
                <p:nvPr/>
              </p:nvSpPr>
              <p:spPr bwMode="auto">
                <a:xfrm>
                  <a:off x="8291687" y="5630720"/>
                  <a:ext cx="24475" cy="19581"/>
                </a:xfrm>
                <a:prstGeom prst="ellipse">
                  <a:avLst/>
                </a:pr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2" name="Rectangle 134"/>
                <p:cNvSpPr>
                  <a:spLocks noChangeArrowheads="1"/>
                </p:cNvSpPr>
                <p:nvPr/>
              </p:nvSpPr>
              <p:spPr bwMode="auto">
                <a:xfrm>
                  <a:off x="7990631" y="5713937"/>
                  <a:ext cx="357352" cy="9056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3" name="Rectangle 135"/>
                <p:cNvSpPr>
                  <a:spLocks noChangeArrowheads="1"/>
                </p:cNvSpPr>
                <p:nvPr/>
              </p:nvSpPr>
              <p:spPr bwMode="auto">
                <a:xfrm>
                  <a:off x="8005314" y="5726175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4" name="Rectangle 136"/>
                <p:cNvSpPr>
                  <a:spLocks noChangeArrowheads="1"/>
                </p:cNvSpPr>
                <p:nvPr/>
              </p:nvSpPr>
              <p:spPr bwMode="auto">
                <a:xfrm>
                  <a:off x="8024896" y="5726175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5" name="Rectangle 137"/>
                <p:cNvSpPr>
                  <a:spLocks noChangeArrowheads="1"/>
                </p:cNvSpPr>
                <p:nvPr/>
              </p:nvSpPr>
              <p:spPr bwMode="auto">
                <a:xfrm>
                  <a:off x="8044477" y="5726175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6" name="Rectangle 138"/>
                <p:cNvSpPr>
                  <a:spLocks noChangeArrowheads="1"/>
                </p:cNvSpPr>
                <p:nvPr/>
              </p:nvSpPr>
              <p:spPr bwMode="auto">
                <a:xfrm>
                  <a:off x="8066506" y="5726175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7" name="Rectangle 139"/>
                <p:cNvSpPr>
                  <a:spLocks noChangeArrowheads="1"/>
                </p:cNvSpPr>
                <p:nvPr/>
              </p:nvSpPr>
              <p:spPr bwMode="auto">
                <a:xfrm>
                  <a:off x="8086087" y="5726175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8" name="Rectangle 140"/>
                <p:cNvSpPr>
                  <a:spLocks noChangeArrowheads="1"/>
                </p:cNvSpPr>
                <p:nvPr/>
              </p:nvSpPr>
              <p:spPr bwMode="auto">
                <a:xfrm>
                  <a:off x="8108115" y="5726175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9" name="Oval 141"/>
                <p:cNvSpPr>
                  <a:spLocks noChangeArrowheads="1"/>
                </p:cNvSpPr>
                <p:nvPr/>
              </p:nvSpPr>
              <p:spPr bwMode="auto">
                <a:xfrm>
                  <a:off x="8291687" y="5748204"/>
                  <a:ext cx="24475" cy="19581"/>
                </a:xfrm>
                <a:prstGeom prst="ellipse">
                  <a:avLst/>
                </a:pr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0" name="Rectangle 142"/>
                <p:cNvSpPr>
                  <a:spLocks noChangeArrowheads="1"/>
                </p:cNvSpPr>
                <p:nvPr/>
              </p:nvSpPr>
              <p:spPr bwMode="auto">
                <a:xfrm>
                  <a:off x="7990631" y="5828975"/>
                  <a:ext cx="357352" cy="8811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1" name="Rectangle 143"/>
                <p:cNvSpPr>
                  <a:spLocks noChangeArrowheads="1"/>
                </p:cNvSpPr>
                <p:nvPr/>
              </p:nvSpPr>
              <p:spPr bwMode="auto">
                <a:xfrm>
                  <a:off x="8005314" y="5843661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2" name="Rectangle 144"/>
                <p:cNvSpPr>
                  <a:spLocks noChangeArrowheads="1"/>
                </p:cNvSpPr>
                <p:nvPr/>
              </p:nvSpPr>
              <p:spPr bwMode="auto">
                <a:xfrm>
                  <a:off x="8024896" y="5843661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3" name="Rectangle 145"/>
                <p:cNvSpPr>
                  <a:spLocks noChangeArrowheads="1"/>
                </p:cNvSpPr>
                <p:nvPr/>
              </p:nvSpPr>
              <p:spPr bwMode="auto">
                <a:xfrm>
                  <a:off x="8044477" y="5843661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4" name="Rectangle 146"/>
                <p:cNvSpPr>
                  <a:spLocks noChangeArrowheads="1"/>
                </p:cNvSpPr>
                <p:nvPr/>
              </p:nvSpPr>
              <p:spPr bwMode="auto">
                <a:xfrm>
                  <a:off x="8066506" y="5843661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5" name="Rectangle 147"/>
                <p:cNvSpPr>
                  <a:spLocks noChangeArrowheads="1"/>
                </p:cNvSpPr>
                <p:nvPr/>
              </p:nvSpPr>
              <p:spPr bwMode="auto">
                <a:xfrm>
                  <a:off x="8086087" y="5843661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6" name="Rectangle 148"/>
                <p:cNvSpPr>
                  <a:spLocks noChangeArrowheads="1"/>
                </p:cNvSpPr>
                <p:nvPr/>
              </p:nvSpPr>
              <p:spPr bwMode="auto">
                <a:xfrm>
                  <a:off x="8108115" y="5843661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7" name="Oval 149"/>
                <p:cNvSpPr>
                  <a:spLocks noChangeArrowheads="1"/>
                </p:cNvSpPr>
                <p:nvPr/>
              </p:nvSpPr>
              <p:spPr bwMode="auto">
                <a:xfrm>
                  <a:off x="8291687" y="5863242"/>
                  <a:ext cx="24475" cy="19581"/>
                </a:xfrm>
                <a:prstGeom prst="ellipse">
                  <a:avLst/>
                </a:pr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8" name="Rectangle 150"/>
                <p:cNvSpPr>
                  <a:spLocks noChangeArrowheads="1"/>
                </p:cNvSpPr>
                <p:nvPr/>
              </p:nvSpPr>
              <p:spPr bwMode="auto">
                <a:xfrm>
                  <a:off x="8477706" y="5050633"/>
                  <a:ext cx="491972" cy="1035343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9" name="Rectangle 151"/>
                <p:cNvSpPr>
                  <a:spLocks noChangeArrowheads="1"/>
                </p:cNvSpPr>
                <p:nvPr/>
              </p:nvSpPr>
              <p:spPr bwMode="auto">
                <a:xfrm>
                  <a:off x="8524210" y="5102032"/>
                  <a:ext cx="401410" cy="898276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0" name="Rectangle 152"/>
                <p:cNvSpPr>
                  <a:spLocks noChangeArrowheads="1"/>
                </p:cNvSpPr>
                <p:nvPr/>
              </p:nvSpPr>
              <p:spPr bwMode="auto">
                <a:xfrm>
                  <a:off x="8546240" y="5131405"/>
                  <a:ext cx="354906" cy="9056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1" name="Rectangle 153"/>
                <p:cNvSpPr>
                  <a:spLocks noChangeArrowheads="1"/>
                </p:cNvSpPr>
                <p:nvPr/>
              </p:nvSpPr>
              <p:spPr bwMode="auto">
                <a:xfrm>
                  <a:off x="8563373" y="5143641"/>
                  <a:ext cx="7342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2" name="Rectangle 154"/>
                <p:cNvSpPr>
                  <a:spLocks noChangeArrowheads="1"/>
                </p:cNvSpPr>
                <p:nvPr/>
              </p:nvSpPr>
              <p:spPr bwMode="auto">
                <a:xfrm>
                  <a:off x="8580505" y="5143641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3" name="Rectangle 155"/>
                <p:cNvSpPr>
                  <a:spLocks noChangeArrowheads="1"/>
                </p:cNvSpPr>
                <p:nvPr/>
              </p:nvSpPr>
              <p:spPr bwMode="auto">
                <a:xfrm>
                  <a:off x="8600086" y="5143641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4" name="Rectangle 156"/>
                <p:cNvSpPr>
                  <a:spLocks noChangeArrowheads="1"/>
                </p:cNvSpPr>
                <p:nvPr/>
              </p:nvSpPr>
              <p:spPr bwMode="auto">
                <a:xfrm>
                  <a:off x="8622115" y="5143641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5" name="Rectangle 157"/>
                <p:cNvSpPr>
                  <a:spLocks noChangeArrowheads="1"/>
                </p:cNvSpPr>
                <p:nvPr/>
              </p:nvSpPr>
              <p:spPr bwMode="auto">
                <a:xfrm>
                  <a:off x="8641696" y="5143641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Rectangle 158"/>
                <p:cNvSpPr>
                  <a:spLocks noChangeArrowheads="1"/>
                </p:cNvSpPr>
                <p:nvPr/>
              </p:nvSpPr>
              <p:spPr bwMode="auto">
                <a:xfrm>
                  <a:off x="8661276" y="5143641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Oval 159"/>
                <p:cNvSpPr>
                  <a:spLocks noChangeArrowheads="1"/>
                </p:cNvSpPr>
                <p:nvPr/>
              </p:nvSpPr>
              <p:spPr bwMode="auto">
                <a:xfrm>
                  <a:off x="8847296" y="5165671"/>
                  <a:ext cx="24475" cy="22029"/>
                </a:xfrm>
                <a:prstGeom prst="ellipse">
                  <a:avLst/>
                </a:pr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Rectangle 160"/>
                <p:cNvSpPr>
                  <a:spLocks noChangeArrowheads="1"/>
                </p:cNvSpPr>
                <p:nvPr/>
              </p:nvSpPr>
              <p:spPr bwMode="auto">
                <a:xfrm>
                  <a:off x="8546240" y="5246442"/>
                  <a:ext cx="354906" cy="93009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Rectangle 161"/>
                <p:cNvSpPr>
                  <a:spLocks noChangeArrowheads="1"/>
                </p:cNvSpPr>
                <p:nvPr/>
              </p:nvSpPr>
              <p:spPr bwMode="auto">
                <a:xfrm>
                  <a:off x="8563373" y="5261126"/>
                  <a:ext cx="7342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Rectangle 162"/>
                <p:cNvSpPr>
                  <a:spLocks noChangeArrowheads="1"/>
                </p:cNvSpPr>
                <p:nvPr/>
              </p:nvSpPr>
              <p:spPr bwMode="auto">
                <a:xfrm>
                  <a:off x="8580505" y="5261126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Rectangle 163"/>
                <p:cNvSpPr>
                  <a:spLocks noChangeArrowheads="1"/>
                </p:cNvSpPr>
                <p:nvPr/>
              </p:nvSpPr>
              <p:spPr bwMode="auto">
                <a:xfrm>
                  <a:off x="8600086" y="5261126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Rectangle 164"/>
                <p:cNvSpPr>
                  <a:spLocks noChangeArrowheads="1"/>
                </p:cNvSpPr>
                <p:nvPr/>
              </p:nvSpPr>
              <p:spPr bwMode="auto">
                <a:xfrm>
                  <a:off x="8622115" y="5261126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Rectangle 165"/>
                <p:cNvSpPr>
                  <a:spLocks noChangeArrowheads="1"/>
                </p:cNvSpPr>
                <p:nvPr/>
              </p:nvSpPr>
              <p:spPr bwMode="auto">
                <a:xfrm>
                  <a:off x="8641696" y="5261126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Rectangle 166"/>
                <p:cNvSpPr>
                  <a:spLocks noChangeArrowheads="1"/>
                </p:cNvSpPr>
                <p:nvPr/>
              </p:nvSpPr>
              <p:spPr bwMode="auto">
                <a:xfrm>
                  <a:off x="8661276" y="5261126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Oval 167"/>
                <p:cNvSpPr>
                  <a:spLocks noChangeArrowheads="1"/>
                </p:cNvSpPr>
                <p:nvPr/>
              </p:nvSpPr>
              <p:spPr bwMode="auto">
                <a:xfrm>
                  <a:off x="8847296" y="5280709"/>
                  <a:ext cx="24475" cy="24475"/>
                </a:xfrm>
                <a:prstGeom prst="ellipse">
                  <a:avLst/>
                </a:pr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Rectangle 168"/>
                <p:cNvSpPr>
                  <a:spLocks noChangeArrowheads="1"/>
                </p:cNvSpPr>
                <p:nvPr/>
              </p:nvSpPr>
              <p:spPr bwMode="auto">
                <a:xfrm>
                  <a:off x="8546240" y="5363927"/>
                  <a:ext cx="354906" cy="93009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Rectangle 169"/>
                <p:cNvSpPr>
                  <a:spLocks noChangeArrowheads="1"/>
                </p:cNvSpPr>
                <p:nvPr/>
              </p:nvSpPr>
              <p:spPr bwMode="auto">
                <a:xfrm>
                  <a:off x="8563373" y="5376167"/>
                  <a:ext cx="7342" cy="6363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Rectangle 170"/>
                <p:cNvSpPr>
                  <a:spLocks noChangeArrowheads="1"/>
                </p:cNvSpPr>
                <p:nvPr/>
              </p:nvSpPr>
              <p:spPr bwMode="auto">
                <a:xfrm>
                  <a:off x="8580505" y="5376167"/>
                  <a:ext cx="9790" cy="6363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Rectangle 171"/>
                <p:cNvSpPr>
                  <a:spLocks noChangeArrowheads="1"/>
                </p:cNvSpPr>
                <p:nvPr/>
              </p:nvSpPr>
              <p:spPr bwMode="auto">
                <a:xfrm>
                  <a:off x="8600086" y="5376167"/>
                  <a:ext cx="9790" cy="6363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Rectangle 172"/>
                <p:cNvSpPr>
                  <a:spLocks noChangeArrowheads="1"/>
                </p:cNvSpPr>
                <p:nvPr/>
              </p:nvSpPr>
              <p:spPr bwMode="auto">
                <a:xfrm>
                  <a:off x="8622115" y="5376167"/>
                  <a:ext cx="9790" cy="6363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Rectangle 173"/>
                <p:cNvSpPr>
                  <a:spLocks noChangeArrowheads="1"/>
                </p:cNvSpPr>
                <p:nvPr/>
              </p:nvSpPr>
              <p:spPr bwMode="auto">
                <a:xfrm>
                  <a:off x="8641696" y="5376167"/>
                  <a:ext cx="9790" cy="6363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Rectangle 174"/>
                <p:cNvSpPr>
                  <a:spLocks noChangeArrowheads="1"/>
                </p:cNvSpPr>
                <p:nvPr/>
              </p:nvSpPr>
              <p:spPr bwMode="auto">
                <a:xfrm>
                  <a:off x="8661276" y="5376167"/>
                  <a:ext cx="12238" cy="6363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Oval 175"/>
                <p:cNvSpPr>
                  <a:spLocks noChangeArrowheads="1"/>
                </p:cNvSpPr>
                <p:nvPr/>
              </p:nvSpPr>
              <p:spPr bwMode="auto">
                <a:xfrm>
                  <a:off x="8847296" y="5398193"/>
                  <a:ext cx="24475" cy="24475"/>
                </a:xfrm>
                <a:prstGeom prst="ellipse">
                  <a:avLst/>
                </a:pr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Rectangle 176"/>
                <p:cNvSpPr>
                  <a:spLocks noChangeArrowheads="1"/>
                </p:cNvSpPr>
                <p:nvPr/>
              </p:nvSpPr>
              <p:spPr bwMode="auto">
                <a:xfrm>
                  <a:off x="8546240" y="5478965"/>
                  <a:ext cx="354906" cy="93009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Rectangle 177"/>
                <p:cNvSpPr>
                  <a:spLocks noChangeArrowheads="1"/>
                </p:cNvSpPr>
                <p:nvPr/>
              </p:nvSpPr>
              <p:spPr bwMode="auto">
                <a:xfrm>
                  <a:off x="8563373" y="5493652"/>
                  <a:ext cx="7342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Rectangle 178"/>
                <p:cNvSpPr>
                  <a:spLocks noChangeArrowheads="1"/>
                </p:cNvSpPr>
                <p:nvPr/>
              </p:nvSpPr>
              <p:spPr bwMode="auto">
                <a:xfrm>
                  <a:off x="8580505" y="5493652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Rectangle 179"/>
                <p:cNvSpPr>
                  <a:spLocks noChangeArrowheads="1"/>
                </p:cNvSpPr>
                <p:nvPr/>
              </p:nvSpPr>
              <p:spPr bwMode="auto">
                <a:xfrm>
                  <a:off x="8600086" y="5493652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Rectangle 180"/>
                <p:cNvSpPr>
                  <a:spLocks noChangeArrowheads="1"/>
                </p:cNvSpPr>
                <p:nvPr/>
              </p:nvSpPr>
              <p:spPr bwMode="auto">
                <a:xfrm>
                  <a:off x="8622115" y="5493652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Rectangle 181"/>
                <p:cNvSpPr>
                  <a:spLocks noChangeArrowheads="1"/>
                </p:cNvSpPr>
                <p:nvPr/>
              </p:nvSpPr>
              <p:spPr bwMode="auto">
                <a:xfrm>
                  <a:off x="8641696" y="5493652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Rectangle 182"/>
                <p:cNvSpPr>
                  <a:spLocks noChangeArrowheads="1"/>
                </p:cNvSpPr>
                <p:nvPr/>
              </p:nvSpPr>
              <p:spPr bwMode="auto">
                <a:xfrm>
                  <a:off x="8661276" y="5493652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Oval 183"/>
                <p:cNvSpPr>
                  <a:spLocks noChangeArrowheads="1"/>
                </p:cNvSpPr>
                <p:nvPr/>
              </p:nvSpPr>
              <p:spPr bwMode="auto">
                <a:xfrm>
                  <a:off x="8847296" y="5513234"/>
                  <a:ext cx="24475" cy="22029"/>
                </a:xfrm>
                <a:prstGeom prst="ellipse">
                  <a:avLst/>
                </a:pr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Rectangle 184"/>
                <p:cNvSpPr>
                  <a:spLocks noChangeArrowheads="1"/>
                </p:cNvSpPr>
                <p:nvPr/>
              </p:nvSpPr>
              <p:spPr bwMode="auto">
                <a:xfrm>
                  <a:off x="8546240" y="5596451"/>
                  <a:ext cx="354906" cy="93009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Rectangle 185"/>
                <p:cNvSpPr>
                  <a:spLocks noChangeArrowheads="1"/>
                </p:cNvSpPr>
                <p:nvPr/>
              </p:nvSpPr>
              <p:spPr bwMode="auto">
                <a:xfrm>
                  <a:off x="8563373" y="5611137"/>
                  <a:ext cx="7342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Rectangle 186"/>
                <p:cNvSpPr>
                  <a:spLocks noChangeArrowheads="1"/>
                </p:cNvSpPr>
                <p:nvPr/>
              </p:nvSpPr>
              <p:spPr bwMode="auto">
                <a:xfrm>
                  <a:off x="8580505" y="5611137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Rectangle 187"/>
                <p:cNvSpPr>
                  <a:spLocks noChangeArrowheads="1"/>
                </p:cNvSpPr>
                <p:nvPr/>
              </p:nvSpPr>
              <p:spPr bwMode="auto">
                <a:xfrm>
                  <a:off x="8600086" y="5611137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Rectangle 188"/>
                <p:cNvSpPr>
                  <a:spLocks noChangeArrowheads="1"/>
                </p:cNvSpPr>
                <p:nvPr/>
              </p:nvSpPr>
              <p:spPr bwMode="auto">
                <a:xfrm>
                  <a:off x="8622115" y="5611137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Rectangle 189"/>
                <p:cNvSpPr>
                  <a:spLocks noChangeArrowheads="1"/>
                </p:cNvSpPr>
                <p:nvPr/>
              </p:nvSpPr>
              <p:spPr bwMode="auto">
                <a:xfrm>
                  <a:off x="8641696" y="5611137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Rectangle 190"/>
                <p:cNvSpPr>
                  <a:spLocks noChangeArrowheads="1"/>
                </p:cNvSpPr>
                <p:nvPr/>
              </p:nvSpPr>
              <p:spPr bwMode="auto">
                <a:xfrm>
                  <a:off x="8661276" y="5611137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Oval 191"/>
                <p:cNvSpPr>
                  <a:spLocks noChangeArrowheads="1"/>
                </p:cNvSpPr>
                <p:nvPr/>
              </p:nvSpPr>
              <p:spPr bwMode="auto">
                <a:xfrm>
                  <a:off x="8847296" y="5630720"/>
                  <a:ext cx="24475" cy="19581"/>
                </a:xfrm>
                <a:prstGeom prst="ellipse">
                  <a:avLst/>
                </a:pr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Rectangle 192"/>
                <p:cNvSpPr>
                  <a:spLocks noChangeArrowheads="1"/>
                </p:cNvSpPr>
                <p:nvPr/>
              </p:nvSpPr>
              <p:spPr bwMode="auto">
                <a:xfrm>
                  <a:off x="8546240" y="5713937"/>
                  <a:ext cx="354906" cy="9056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Rectangle 193"/>
                <p:cNvSpPr>
                  <a:spLocks noChangeArrowheads="1"/>
                </p:cNvSpPr>
                <p:nvPr/>
              </p:nvSpPr>
              <p:spPr bwMode="auto">
                <a:xfrm>
                  <a:off x="8563373" y="5726175"/>
                  <a:ext cx="7342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Rectangle 194"/>
                <p:cNvSpPr>
                  <a:spLocks noChangeArrowheads="1"/>
                </p:cNvSpPr>
                <p:nvPr/>
              </p:nvSpPr>
              <p:spPr bwMode="auto">
                <a:xfrm>
                  <a:off x="8580505" y="5726175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Rectangle 195"/>
                <p:cNvSpPr>
                  <a:spLocks noChangeArrowheads="1"/>
                </p:cNvSpPr>
                <p:nvPr/>
              </p:nvSpPr>
              <p:spPr bwMode="auto">
                <a:xfrm>
                  <a:off x="8600086" y="5726175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Rectangle 196"/>
                <p:cNvSpPr>
                  <a:spLocks noChangeArrowheads="1"/>
                </p:cNvSpPr>
                <p:nvPr/>
              </p:nvSpPr>
              <p:spPr bwMode="auto">
                <a:xfrm>
                  <a:off x="8622115" y="5726175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Rectangle 197"/>
                <p:cNvSpPr>
                  <a:spLocks noChangeArrowheads="1"/>
                </p:cNvSpPr>
                <p:nvPr/>
              </p:nvSpPr>
              <p:spPr bwMode="auto">
                <a:xfrm>
                  <a:off x="8641696" y="5726175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Rectangle 198"/>
                <p:cNvSpPr>
                  <a:spLocks noChangeArrowheads="1"/>
                </p:cNvSpPr>
                <p:nvPr/>
              </p:nvSpPr>
              <p:spPr bwMode="auto">
                <a:xfrm>
                  <a:off x="8661276" y="5726175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Oval 199"/>
                <p:cNvSpPr>
                  <a:spLocks noChangeArrowheads="1"/>
                </p:cNvSpPr>
                <p:nvPr/>
              </p:nvSpPr>
              <p:spPr bwMode="auto">
                <a:xfrm>
                  <a:off x="8847296" y="5748204"/>
                  <a:ext cx="24475" cy="19581"/>
                </a:xfrm>
                <a:prstGeom prst="ellipse">
                  <a:avLst/>
                </a:pr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Rectangle 200"/>
                <p:cNvSpPr>
                  <a:spLocks noChangeArrowheads="1"/>
                </p:cNvSpPr>
                <p:nvPr/>
              </p:nvSpPr>
              <p:spPr bwMode="auto">
                <a:xfrm>
                  <a:off x="8546240" y="5828975"/>
                  <a:ext cx="354906" cy="8811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Rectangle 201"/>
                <p:cNvSpPr>
                  <a:spLocks noChangeArrowheads="1"/>
                </p:cNvSpPr>
                <p:nvPr/>
              </p:nvSpPr>
              <p:spPr bwMode="auto">
                <a:xfrm>
                  <a:off x="8563373" y="5843661"/>
                  <a:ext cx="7342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Rectangle 202"/>
                <p:cNvSpPr>
                  <a:spLocks noChangeArrowheads="1"/>
                </p:cNvSpPr>
                <p:nvPr/>
              </p:nvSpPr>
              <p:spPr bwMode="auto">
                <a:xfrm>
                  <a:off x="8580505" y="5843661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Rectangle 203"/>
                <p:cNvSpPr>
                  <a:spLocks noChangeArrowheads="1"/>
                </p:cNvSpPr>
                <p:nvPr/>
              </p:nvSpPr>
              <p:spPr bwMode="auto">
                <a:xfrm>
                  <a:off x="8600086" y="5843661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Rectangle 204"/>
                <p:cNvSpPr>
                  <a:spLocks noChangeArrowheads="1"/>
                </p:cNvSpPr>
                <p:nvPr/>
              </p:nvSpPr>
              <p:spPr bwMode="auto">
                <a:xfrm>
                  <a:off x="8622115" y="5843661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Rectangle 205"/>
                <p:cNvSpPr>
                  <a:spLocks noChangeArrowheads="1"/>
                </p:cNvSpPr>
                <p:nvPr/>
              </p:nvSpPr>
              <p:spPr bwMode="auto">
                <a:xfrm>
                  <a:off x="8641696" y="5843661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Rectangle 206"/>
                <p:cNvSpPr>
                  <a:spLocks noChangeArrowheads="1"/>
                </p:cNvSpPr>
                <p:nvPr/>
              </p:nvSpPr>
              <p:spPr bwMode="auto">
                <a:xfrm>
                  <a:off x="8661276" y="5843661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Oval 207"/>
                <p:cNvSpPr>
                  <a:spLocks noChangeArrowheads="1"/>
                </p:cNvSpPr>
                <p:nvPr/>
              </p:nvSpPr>
              <p:spPr bwMode="auto">
                <a:xfrm>
                  <a:off x="8847296" y="5863242"/>
                  <a:ext cx="24475" cy="19581"/>
                </a:xfrm>
                <a:prstGeom prst="ellipse">
                  <a:avLst/>
                </a:pr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Rectangle 208"/>
                <p:cNvSpPr>
                  <a:spLocks noChangeArrowheads="1"/>
                </p:cNvSpPr>
                <p:nvPr/>
              </p:nvSpPr>
              <p:spPr bwMode="auto">
                <a:xfrm>
                  <a:off x="8477706" y="5050633"/>
                  <a:ext cx="491972" cy="1035343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Rectangle 209"/>
                <p:cNvSpPr>
                  <a:spLocks noChangeArrowheads="1"/>
                </p:cNvSpPr>
                <p:nvPr/>
              </p:nvSpPr>
              <p:spPr bwMode="auto">
                <a:xfrm>
                  <a:off x="8524210" y="5102032"/>
                  <a:ext cx="401410" cy="898276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Rectangle 210"/>
                <p:cNvSpPr>
                  <a:spLocks noChangeArrowheads="1"/>
                </p:cNvSpPr>
                <p:nvPr/>
              </p:nvSpPr>
              <p:spPr bwMode="auto">
                <a:xfrm>
                  <a:off x="8546240" y="5131405"/>
                  <a:ext cx="354906" cy="9056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Rectangle 211"/>
                <p:cNvSpPr>
                  <a:spLocks noChangeArrowheads="1"/>
                </p:cNvSpPr>
                <p:nvPr/>
              </p:nvSpPr>
              <p:spPr bwMode="auto">
                <a:xfrm>
                  <a:off x="8563373" y="5143641"/>
                  <a:ext cx="7342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Rectangle 212"/>
                <p:cNvSpPr>
                  <a:spLocks noChangeArrowheads="1"/>
                </p:cNvSpPr>
                <p:nvPr/>
              </p:nvSpPr>
              <p:spPr bwMode="auto">
                <a:xfrm>
                  <a:off x="8580505" y="5143641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Rectangle 213"/>
                <p:cNvSpPr>
                  <a:spLocks noChangeArrowheads="1"/>
                </p:cNvSpPr>
                <p:nvPr/>
              </p:nvSpPr>
              <p:spPr bwMode="auto">
                <a:xfrm>
                  <a:off x="8600086" y="5143641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Rectangle 214"/>
                <p:cNvSpPr>
                  <a:spLocks noChangeArrowheads="1"/>
                </p:cNvSpPr>
                <p:nvPr/>
              </p:nvSpPr>
              <p:spPr bwMode="auto">
                <a:xfrm>
                  <a:off x="8622115" y="5143641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Rectangle 215"/>
                <p:cNvSpPr>
                  <a:spLocks noChangeArrowheads="1"/>
                </p:cNvSpPr>
                <p:nvPr/>
              </p:nvSpPr>
              <p:spPr bwMode="auto">
                <a:xfrm>
                  <a:off x="8641696" y="5143641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Rectangle 216"/>
                <p:cNvSpPr>
                  <a:spLocks noChangeArrowheads="1"/>
                </p:cNvSpPr>
                <p:nvPr/>
              </p:nvSpPr>
              <p:spPr bwMode="auto">
                <a:xfrm>
                  <a:off x="8661276" y="5143641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Oval 217"/>
                <p:cNvSpPr>
                  <a:spLocks noChangeArrowheads="1"/>
                </p:cNvSpPr>
                <p:nvPr/>
              </p:nvSpPr>
              <p:spPr bwMode="auto">
                <a:xfrm>
                  <a:off x="8847296" y="5165671"/>
                  <a:ext cx="24475" cy="22029"/>
                </a:xfrm>
                <a:prstGeom prst="ellipse">
                  <a:avLst/>
                </a:pr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Rectangle 218"/>
                <p:cNvSpPr>
                  <a:spLocks noChangeArrowheads="1"/>
                </p:cNvSpPr>
                <p:nvPr/>
              </p:nvSpPr>
              <p:spPr bwMode="auto">
                <a:xfrm>
                  <a:off x="8546240" y="5246442"/>
                  <a:ext cx="354906" cy="93009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Rectangle 219"/>
                <p:cNvSpPr>
                  <a:spLocks noChangeArrowheads="1"/>
                </p:cNvSpPr>
                <p:nvPr/>
              </p:nvSpPr>
              <p:spPr bwMode="auto">
                <a:xfrm>
                  <a:off x="8563373" y="5261126"/>
                  <a:ext cx="7342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Rectangle 220"/>
                <p:cNvSpPr>
                  <a:spLocks noChangeArrowheads="1"/>
                </p:cNvSpPr>
                <p:nvPr/>
              </p:nvSpPr>
              <p:spPr bwMode="auto">
                <a:xfrm>
                  <a:off x="8580505" y="5261126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Rectangle 221"/>
                <p:cNvSpPr>
                  <a:spLocks noChangeArrowheads="1"/>
                </p:cNvSpPr>
                <p:nvPr/>
              </p:nvSpPr>
              <p:spPr bwMode="auto">
                <a:xfrm>
                  <a:off x="8600086" y="5261126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Rectangle 222"/>
                <p:cNvSpPr>
                  <a:spLocks noChangeArrowheads="1"/>
                </p:cNvSpPr>
                <p:nvPr/>
              </p:nvSpPr>
              <p:spPr bwMode="auto">
                <a:xfrm>
                  <a:off x="8622115" y="5261126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Rectangle 223"/>
                <p:cNvSpPr>
                  <a:spLocks noChangeArrowheads="1"/>
                </p:cNvSpPr>
                <p:nvPr/>
              </p:nvSpPr>
              <p:spPr bwMode="auto">
                <a:xfrm>
                  <a:off x="8641696" y="5261126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Rectangle 224"/>
                <p:cNvSpPr>
                  <a:spLocks noChangeArrowheads="1"/>
                </p:cNvSpPr>
                <p:nvPr/>
              </p:nvSpPr>
              <p:spPr bwMode="auto">
                <a:xfrm>
                  <a:off x="8661276" y="5261126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Oval 225"/>
                <p:cNvSpPr>
                  <a:spLocks noChangeArrowheads="1"/>
                </p:cNvSpPr>
                <p:nvPr/>
              </p:nvSpPr>
              <p:spPr bwMode="auto">
                <a:xfrm>
                  <a:off x="8847296" y="5280709"/>
                  <a:ext cx="24475" cy="24475"/>
                </a:xfrm>
                <a:prstGeom prst="ellipse">
                  <a:avLst/>
                </a:pr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Rectangle 226"/>
                <p:cNvSpPr>
                  <a:spLocks noChangeArrowheads="1"/>
                </p:cNvSpPr>
                <p:nvPr/>
              </p:nvSpPr>
              <p:spPr bwMode="auto">
                <a:xfrm>
                  <a:off x="8546240" y="5363927"/>
                  <a:ext cx="354906" cy="93009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Rectangle 227"/>
                <p:cNvSpPr>
                  <a:spLocks noChangeArrowheads="1"/>
                </p:cNvSpPr>
                <p:nvPr/>
              </p:nvSpPr>
              <p:spPr bwMode="auto">
                <a:xfrm>
                  <a:off x="8563373" y="5376167"/>
                  <a:ext cx="7342" cy="6363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Rectangle 228"/>
                <p:cNvSpPr>
                  <a:spLocks noChangeArrowheads="1"/>
                </p:cNvSpPr>
                <p:nvPr/>
              </p:nvSpPr>
              <p:spPr bwMode="auto">
                <a:xfrm>
                  <a:off x="8580505" y="5376167"/>
                  <a:ext cx="9790" cy="6363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Rectangle 229"/>
                <p:cNvSpPr>
                  <a:spLocks noChangeArrowheads="1"/>
                </p:cNvSpPr>
                <p:nvPr/>
              </p:nvSpPr>
              <p:spPr bwMode="auto">
                <a:xfrm>
                  <a:off x="8600086" y="5376167"/>
                  <a:ext cx="9790" cy="6363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Rectangle 230"/>
                <p:cNvSpPr>
                  <a:spLocks noChangeArrowheads="1"/>
                </p:cNvSpPr>
                <p:nvPr/>
              </p:nvSpPr>
              <p:spPr bwMode="auto">
                <a:xfrm>
                  <a:off x="8622115" y="5376167"/>
                  <a:ext cx="9790" cy="6363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Rectangle 232"/>
                <p:cNvSpPr>
                  <a:spLocks noChangeArrowheads="1"/>
                </p:cNvSpPr>
                <p:nvPr/>
              </p:nvSpPr>
              <p:spPr bwMode="auto">
                <a:xfrm>
                  <a:off x="8641696" y="5376167"/>
                  <a:ext cx="9790" cy="6363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Rectangle 233"/>
                <p:cNvSpPr>
                  <a:spLocks noChangeArrowheads="1"/>
                </p:cNvSpPr>
                <p:nvPr/>
              </p:nvSpPr>
              <p:spPr bwMode="auto">
                <a:xfrm>
                  <a:off x="8661276" y="5376167"/>
                  <a:ext cx="12238" cy="6363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Oval 234"/>
                <p:cNvSpPr>
                  <a:spLocks noChangeArrowheads="1"/>
                </p:cNvSpPr>
                <p:nvPr/>
              </p:nvSpPr>
              <p:spPr bwMode="auto">
                <a:xfrm>
                  <a:off x="8847296" y="5398193"/>
                  <a:ext cx="24475" cy="24475"/>
                </a:xfrm>
                <a:prstGeom prst="ellipse">
                  <a:avLst/>
                </a:pr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Rectangle 235"/>
                <p:cNvSpPr>
                  <a:spLocks noChangeArrowheads="1"/>
                </p:cNvSpPr>
                <p:nvPr/>
              </p:nvSpPr>
              <p:spPr bwMode="auto">
                <a:xfrm>
                  <a:off x="8546240" y="5478965"/>
                  <a:ext cx="354906" cy="93009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Rectangle 236"/>
                <p:cNvSpPr>
                  <a:spLocks noChangeArrowheads="1"/>
                </p:cNvSpPr>
                <p:nvPr/>
              </p:nvSpPr>
              <p:spPr bwMode="auto">
                <a:xfrm>
                  <a:off x="8563373" y="5493652"/>
                  <a:ext cx="7342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Rectangle 237"/>
                <p:cNvSpPr>
                  <a:spLocks noChangeArrowheads="1"/>
                </p:cNvSpPr>
                <p:nvPr/>
              </p:nvSpPr>
              <p:spPr bwMode="auto">
                <a:xfrm>
                  <a:off x="8580505" y="5493652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Rectangle 238"/>
                <p:cNvSpPr>
                  <a:spLocks noChangeArrowheads="1"/>
                </p:cNvSpPr>
                <p:nvPr/>
              </p:nvSpPr>
              <p:spPr bwMode="auto">
                <a:xfrm>
                  <a:off x="8600086" y="5493652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Rectangle 239"/>
                <p:cNvSpPr>
                  <a:spLocks noChangeArrowheads="1"/>
                </p:cNvSpPr>
                <p:nvPr/>
              </p:nvSpPr>
              <p:spPr bwMode="auto">
                <a:xfrm>
                  <a:off x="8622115" y="5493652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Rectangle 240"/>
                <p:cNvSpPr>
                  <a:spLocks noChangeArrowheads="1"/>
                </p:cNvSpPr>
                <p:nvPr/>
              </p:nvSpPr>
              <p:spPr bwMode="auto">
                <a:xfrm>
                  <a:off x="8641696" y="5493652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241"/>
                <p:cNvSpPr>
                  <a:spLocks noChangeArrowheads="1"/>
                </p:cNvSpPr>
                <p:nvPr/>
              </p:nvSpPr>
              <p:spPr bwMode="auto">
                <a:xfrm>
                  <a:off x="8661276" y="5493652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Oval 242"/>
                <p:cNvSpPr>
                  <a:spLocks noChangeArrowheads="1"/>
                </p:cNvSpPr>
                <p:nvPr/>
              </p:nvSpPr>
              <p:spPr bwMode="auto">
                <a:xfrm>
                  <a:off x="8847296" y="5513234"/>
                  <a:ext cx="24475" cy="22029"/>
                </a:xfrm>
                <a:prstGeom prst="ellipse">
                  <a:avLst/>
                </a:pr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Rectangle 243"/>
                <p:cNvSpPr>
                  <a:spLocks noChangeArrowheads="1"/>
                </p:cNvSpPr>
                <p:nvPr/>
              </p:nvSpPr>
              <p:spPr bwMode="auto">
                <a:xfrm>
                  <a:off x="8546240" y="5596451"/>
                  <a:ext cx="354906" cy="93009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Rectangle 244"/>
                <p:cNvSpPr>
                  <a:spLocks noChangeArrowheads="1"/>
                </p:cNvSpPr>
                <p:nvPr/>
              </p:nvSpPr>
              <p:spPr bwMode="auto">
                <a:xfrm>
                  <a:off x="8563373" y="5611137"/>
                  <a:ext cx="7342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Rectangle 245"/>
                <p:cNvSpPr>
                  <a:spLocks noChangeArrowheads="1"/>
                </p:cNvSpPr>
                <p:nvPr/>
              </p:nvSpPr>
              <p:spPr bwMode="auto">
                <a:xfrm>
                  <a:off x="8580505" y="5611137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Rectangle 246"/>
                <p:cNvSpPr>
                  <a:spLocks noChangeArrowheads="1"/>
                </p:cNvSpPr>
                <p:nvPr/>
              </p:nvSpPr>
              <p:spPr bwMode="auto">
                <a:xfrm>
                  <a:off x="8600086" y="5611137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Rectangle 247"/>
                <p:cNvSpPr>
                  <a:spLocks noChangeArrowheads="1"/>
                </p:cNvSpPr>
                <p:nvPr/>
              </p:nvSpPr>
              <p:spPr bwMode="auto">
                <a:xfrm>
                  <a:off x="8622115" y="5611137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Rectangle 248"/>
                <p:cNvSpPr>
                  <a:spLocks noChangeArrowheads="1"/>
                </p:cNvSpPr>
                <p:nvPr/>
              </p:nvSpPr>
              <p:spPr bwMode="auto">
                <a:xfrm>
                  <a:off x="8641696" y="5611137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Rectangle 249"/>
                <p:cNvSpPr>
                  <a:spLocks noChangeArrowheads="1"/>
                </p:cNvSpPr>
                <p:nvPr/>
              </p:nvSpPr>
              <p:spPr bwMode="auto">
                <a:xfrm>
                  <a:off x="8661276" y="5611137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Oval 250"/>
                <p:cNvSpPr>
                  <a:spLocks noChangeArrowheads="1"/>
                </p:cNvSpPr>
                <p:nvPr/>
              </p:nvSpPr>
              <p:spPr bwMode="auto">
                <a:xfrm>
                  <a:off x="8847296" y="5630720"/>
                  <a:ext cx="24475" cy="19581"/>
                </a:xfrm>
                <a:prstGeom prst="ellipse">
                  <a:avLst/>
                </a:pr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Rectangle 251"/>
                <p:cNvSpPr>
                  <a:spLocks noChangeArrowheads="1"/>
                </p:cNvSpPr>
                <p:nvPr/>
              </p:nvSpPr>
              <p:spPr bwMode="auto">
                <a:xfrm>
                  <a:off x="8546240" y="5713937"/>
                  <a:ext cx="354906" cy="9056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Rectangle 252"/>
                <p:cNvSpPr>
                  <a:spLocks noChangeArrowheads="1"/>
                </p:cNvSpPr>
                <p:nvPr/>
              </p:nvSpPr>
              <p:spPr bwMode="auto">
                <a:xfrm>
                  <a:off x="8563373" y="5726175"/>
                  <a:ext cx="7342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Rectangle 253"/>
                <p:cNvSpPr>
                  <a:spLocks noChangeArrowheads="1"/>
                </p:cNvSpPr>
                <p:nvPr/>
              </p:nvSpPr>
              <p:spPr bwMode="auto">
                <a:xfrm>
                  <a:off x="8580505" y="5726175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Rectangle 254"/>
                <p:cNvSpPr>
                  <a:spLocks noChangeArrowheads="1"/>
                </p:cNvSpPr>
                <p:nvPr/>
              </p:nvSpPr>
              <p:spPr bwMode="auto">
                <a:xfrm>
                  <a:off x="8600086" y="5726175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Rectangle 255"/>
                <p:cNvSpPr>
                  <a:spLocks noChangeArrowheads="1"/>
                </p:cNvSpPr>
                <p:nvPr/>
              </p:nvSpPr>
              <p:spPr bwMode="auto">
                <a:xfrm>
                  <a:off x="8622115" y="5726175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Rectangle 256"/>
                <p:cNvSpPr>
                  <a:spLocks noChangeArrowheads="1"/>
                </p:cNvSpPr>
                <p:nvPr/>
              </p:nvSpPr>
              <p:spPr bwMode="auto">
                <a:xfrm>
                  <a:off x="8641696" y="5726175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Rectangle 257"/>
                <p:cNvSpPr>
                  <a:spLocks noChangeArrowheads="1"/>
                </p:cNvSpPr>
                <p:nvPr/>
              </p:nvSpPr>
              <p:spPr bwMode="auto">
                <a:xfrm>
                  <a:off x="8661276" y="5726175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Oval 258"/>
                <p:cNvSpPr>
                  <a:spLocks noChangeArrowheads="1"/>
                </p:cNvSpPr>
                <p:nvPr/>
              </p:nvSpPr>
              <p:spPr bwMode="auto">
                <a:xfrm>
                  <a:off x="8847296" y="5748204"/>
                  <a:ext cx="24475" cy="19581"/>
                </a:xfrm>
                <a:prstGeom prst="ellipse">
                  <a:avLst/>
                </a:pr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Rectangle 259"/>
                <p:cNvSpPr>
                  <a:spLocks noChangeArrowheads="1"/>
                </p:cNvSpPr>
                <p:nvPr/>
              </p:nvSpPr>
              <p:spPr bwMode="auto">
                <a:xfrm>
                  <a:off x="8546240" y="5828975"/>
                  <a:ext cx="354906" cy="8811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Rectangle 260"/>
                <p:cNvSpPr>
                  <a:spLocks noChangeArrowheads="1"/>
                </p:cNvSpPr>
                <p:nvPr/>
              </p:nvSpPr>
              <p:spPr bwMode="auto">
                <a:xfrm>
                  <a:off x="8563373" y="5843661"/>
                  <a:ext cx="7342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Rectangle 261"/>
                <p:cNvSpPr>
                  <a:spLocks noChangeArrowheads="1"/>
                </p:cNvSpPr>
                <p:nvPr/>
              </p:nvSpPr>
              <p:spPr bwMode="auto">
                <a:xfrm>
                  <a:off x="8580505" y="5843661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Rectangle 262"/>
                <p:cNvSpPr>
                  <a:spLocks noChangeArrowheads="1"/>
                </p:cNvSpPr>
                <p:nvPr/>
              </p:nvSpPr>
              <p:spPr bwMode="auto">
                <a:xfrm>
                  <a:off x="8600086" y="5843661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Rectangle 263"/>
                <p:cNvSpPr>
                  <a:spLocks noChangeArrowheads="1"/>
                </p:cNvSpPr>
                <p:nvPr/>
              </p:nvSpPr>
              <p:spPr bwMode="auto">
                <a:xfrm>
                  <a:off x="8622115" y="5843661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Rectangle 264"/>
                <p:cNvSpPr>
                  <a:spLocks noChangeArrowheads="1"/>
                </p:cNvSpPr>
                <p:nvPr/>
              </p:nvSpPr>
              <p:spPr bwMode="auto">
                <a:xfrm>
                  <a:off x="8641696" y="5843661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Rectangle 265"/>
                <p:cNvSpPr>
                  <a:spLocks noChangeArrowheads="1"/>
                </p:cNvSpPr>
                <p:nvPr/>
              </p:nvSpPr>
              <p:spPr bwMode="auto">
                <a:xfrm>
                  <a:off x="8661276" y="5843661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Oval 266"/>
                <p:cNvSpPr>
                  <a:spLocks noChangeArrowheads="1"/>
                </p:cNvSpPr>
                <p:nvPr/>
              </p:nvSpPr>
              <p:spPr bwMode="auto">
                <a:xfrm>
                  <a:off x="8847296" y="5863242"/>
                  <a:ext cx="24475" cy="19581"/>
                </a:xfrm>
                <a:prstGeom prst="ellipse">
                  <a:avLst/>
                </a:pr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Rectangle 267"/>
                <p:cNvSpPr>
                  <a:spLocks noChangeArrowheads="1"/>
                </p:cNvSpPr>
                <p:nvPr/>
              </p:nvSpPr>
              <p:spPr bwMode="auto">
                <a:xfrm>
                  <a:off x="9033315" y="5050633"/>
                  <a:ext cx="496867" cy="1035343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Rectangle 268"/>
                <p:cNvSpPr>
                  <a:spLocks noChangeArrowheads="1"/>
                </p:cNvSpPr>
                <p:nvPr/>
              </p:nvSpPr>
              <p:spPr bwMode="auto">
                <a:xfrm>
                  <a:off x="9079820" y="5102032"/>
                  <a:ext cx="401410" cy="898276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Rectangle 269"/>
                <p:cNvSpPr>
                  <a:spLocks noChangeArrowheads="1"/>
                </p:cNvSpPr>
                <p:nvPr/>
              </p:nvSpPr>
              <p:spPr bwMode="auto">
                <a:xfrm>
                  <a:off x="9104297" y="5131405"/>
                  <a:ext cx="352458" cy="9056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Rectangle 270"/>
                <p:cNvSpPr>
                  <a:spLocks noChangeArrowheads="1"/>
                </p:cNvSpPr>
                <p:nvPr/>
              </p:nvSpPr>
              <p:spPr bwMode="auto">
                <a:xfrm>
                  <a:off x="9118982" y="5143641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Rectangle 271"/>
                <p:cNvSpPr>
                  <a:spLocks noChangeArrowheads="1"/>
                </p:cNvSpPr>
                <p:nvPr/>
              </p:nvSpPr>
              <p:spPr bwMode="auto">
                <a:xfrm>
                  <a:off x="9138562" y="5143641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Rectangle 272"/>
                <p:cNvSpPr>
                  <a:spLocks noChangeArrowheads="1"/>
                </p:cNvSpPr>
                <p:nvPr/>
              </p:nvSpPr>
              <p:spPr bwMode="auto">
                <a:xfrm>
                  <a:off x="9158143" y="5143641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Rectangle 273"/>
                <p:cNvSpPr>
                  <a:spLocks noChangeArrowheads="1"/>
                </p:cNvSpPr>
                <p:nvPr/>
              </p:nvSpPr>
              <p:spPr bwMode="auto">
                <a:xfrm>
                  <a:off x="9175276" y="5143641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Rectangle 274"/>
                <p:cNvSpPr>
                  <a:spLocks noChangeArrowheads="1"/>
                </p:cNvSpPr>
                <p:nvPr/>
              </p:nvSpPr>
              <p:spPr bwMode="auto">
                <a:xfrm>
                  <a:off x="9197305" y="5143641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Rectangle 275"/>
                <p:cNvSpPr>
                  <a:spLocks noChangeArrowheads="1"/>
                </p:cNvSpPr>
                <p:nvPr/>
              </p:nvSpPr>
              <p:spPr bwMode="auto">
                <a:xfrm>
                  <a:off x="9216887" y="5143641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Oval 276"/>
                <p:cNvSpPr>
                  <a:spLocks noChangeArrowheads="1"/>
                </p:cNvSpPr>
                <p:nvPr/>
              </p:nvSpPr>
              <p:spPr bwMode="auto">
                <a:xfrm>
                  <a:off x="9405353" y="5165671"/>
                  <a:ext cx="22029" cy="22029"/>
                </a:xfrm>
                <a:prstGeom prst="ellipse">
                  <a:avLst/>
                </a:pr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Rectangle 277"/>
                <p:cNvSpPr>
                  <a:spLocks noChangeArrowheads="1"/>
                </p:cNvSpPr>
                <p:nvPr/>
              </p:nvSpPr>
              <p:spPr bwMode="auto">
                <a:xfrm>
                  <a:off x="9104297" y="5246442"/>
                  <a:ext cx="352458" cy="93009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Rectangle 278"/>
                <p:cNvSpPr>
                  <a:spLocks noChangeArrowheads="1"/>
                </p:cNvSpPr>
                <p:nvPr/>
              </p:nvSpPr>
              <p:spPr bwMode="auto">
                <a:xfrm>
                  <a:off x="9118982" y="5261126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Rectangle 279"/>
                <p:cNvSpPr>
                  <a:spLocks noChangeArrowheads="1"/>
                </p:cNvSpPr>
                <p:nvPr/>
              </p:nvSpPr>
              <p:spPr bwMode="auto">
                <a:xfrm>
                  <a:off x="9138562" y="5261126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Rectangle 280"/>
                <p:cNvSpPr>
                  <a:spLocks noChangeArrowheads="1"/>
                </p:cNvSpPr>
                <p:nvPr/>
              </p:nvSpPr>
              <p:spPr bwMode="auto">
                <a:xfrm>
                  <a:off x="9158143" y="5261126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Rectangle 281"/>
                <p:cNvSpPr>
                  <a:spLocks noChangeArrowheads="1"/>
                </p:cNvSpPr>
                <p:nvPr/>
              </p:nvSpPr>
              <p:spPr bwMode="auto">
                <a:xfrm>
                  <a:off x="9175276" y="5261126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Rectangle 282"/>
                <p:cNvSpPr>
                  <a:spLocks noChangeArrowheads="1"/>
                </p:cNvSpPr>
                <p:nvPr/>
              </p:nvSpPr>
              <p:spPr bwMode="auto">
                <a:xfrm>
                  <a:off x="9197305" y="5261126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Rectangle 283"/>
                <p:cNvSpPr>
                  <a:spLocks noChangeArrowheads="1"/>
                </p:cNvSpPr>
                <p:nvPr/>
              </p:nvSpPr>
              <p:spPr bwMode="auto">
                <a:xfrm>
                  <a:off x="9216887" y="5261126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Oval 284"/>
                <p:cNvSpPr>
                  <a:spLocks noChangeArrowheads="1"/>
                </p:cNvSpPr>
                <p:nvPr/>
              </p:nvSpPr>
              <p:spPr bwMode="auto">
                <a:xfrm>
                  <a:off x="9405353" y="5280709"/>
                  <a:ext cx="22029" cy="24475"/>
                </a:xfrm>
                <a:prstGeom prst="ellipse">
                  <a:avLst/>
                </a:pr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Rectangle 285"/>
                <p:cNvSpPr>
                  <a:spLocks noChangeArrowheads="1"/>
                </p:cNvSpPr>
                <p:nvPr/>
              </p:nvSpPr>
              <p:spPr bwMode="auto">
                <a:xfrm>
                  <a:off x="9104297" y="5363927"/>
                  <a:ext cx="352458" cy="93009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Rectangle 286"/>
                <p:cNvSpPr>
                  <a:spLocks noChangeArrowheads="1"/>
                </p:cNvSpPr>
                <p:nvPr/>
              </p:nvSpPr>
              <p:spPr bwMode="auto">
                <a:xfrm>
                  <a:off x="9118982" y="5376167"/>
                  <a:ext cx="9790" cy="6363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Rectangle 287"/>
                <p:cNvSpPr>
                  <a:spLocks noChangeArrowheads="1"/>
                </p:cNvSpPr>
                <p:nvPr/>
              </p:nvSpPr>
              <p:spPr bwMode="auto">
                <a:xfrm>
                  <a:off x="9138562" y="5376167"/>
                  <a:ext cx="9790" cy="6363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Rectangle 288"/>
                <p:cNvSpPr>
                  <a:spLocks noChangeArrowheads="1"/>
                </p:cNvSpPr>
                <p:nvPr/>
              </p:nvSpPr>
              <p:spPr bwMode="auto">
                <a:xfrm>
                  <a:off x="9158143" y="5376167"/>
                  <a:ext cx="12238" cy="6363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Rectangle 289"/>
                <p:cNvSpPr>
                  <a:spLocks noChangeArrowheads="1"/>
                </p:cNvSpPr>
                <p:nvPr/>
              </p:nvSpPr>
              <p:spPr bwMode="auto">
                <a:xfrm>
                  <a:off x="9175276" y="5376167"/>
                  <a:ext cx="12238" cy="6363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Rectangle 290"/>
                <p:cNvSpPr>
                  <a:spLocks noChangeArrowheads="1"/>
                </p:cNvSpPr>
                <p:nvPr/>
              </p:nvSpPr>
              <p:spPr bwMode="auto">
                <a:xfrm>
                  <a:off x="9197305" y="5376167"/>
                  <a:ext cx="9790" cy="6363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Rectangle 291"/>
                <p:cNvSpPr>
                  <a:spLocks noChangeArrowheads="1"/>
                </p:cNvSpPr>
                <p:nvPr/>
              </p:nvSpPr>
              <p:spPr bwMode="auto">
                <a:xfrm>
                  <a:off x="9216887" y="5376167"/>
                  <a:ext cx="9790" cy="6363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Oval 292"/>
                <p:cNvSpPr>
                  <a:spLocks noChangeArrowheads="1"/>
                </p:cNvSpPr>
                <p:nvPr/>
              </p:nvSpPr>
              <p:spPr bwMode="auto">
                <a:xfrm>
                  <a:off x="9405353" y="5398193"/>
                  <a:ext cx="22029" cy="24475"/>
                </a:xfrm>
                <a:prstGeom prst="ellipse">
                  <a:avLst/>
                </a:pr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Rectangle 293"/>
                <p:cNvSpPr>
                  <a:spLocks noChangeArrowheads="1"/>
                </p:cNvSpPr>
                <p:nvPr/>
              </p:nvSpPr>
              <p:spPr bwMode="auto">
                <a:xfrm>
                  <a:off x="9104297" y="5478965"/>
                  <a:ext cx="352458" cy="93009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Rectangle 294"/>
                <p:cNvSpPr>
                  <a:spLocks noChangeArrowheads="1"/>
                </p:cNvSpPr>
                <p:nvPr/>
              </p:nvSpPr>
              <p:spPr bwMode="auto">
                <a:xfrm>
                  <a:off x="9118982" y="5493652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Rectangle 295"/>
                <p:cNvSpPr>
                  <a:spLocks noChangeArrowheads="1"/>
                </p:cNvSpPr>
                <p:nvPr/>
              </p:nvSpPr>
              <p:spPr bwMode="auto">
                <a:xfrm>
                  <a:off x="9138562" y="5493652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Rectangle 296"/>
                <p:cNvSpPr>
                  <a:spLocks noChangeArrowheads="1"/>
                </p:cNvSpPr>
                <p:nvPr/>
              </p:nvSpPr>
              <p:spPr bwMode="auto">
                <a:xfrm>
                  <a:off x="9158143" y="5493652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Rectangle 297"/>
                <p:cNvSpPr>
                  <a:spLocks noChangeArrowheads="1"/>
                </p:cNvSpPr>
                <p:nvPr/>
              </p:nvSpPr>
              <p:spPr bwMode="auto">
                <a:xfrm>
                  <a:off x="9175276" y="5493652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Rectangle 298"/>
                <p:cNvSpPr>
                  <a:spLocks noChangeArrowheads="1"/>
                </p:cNvSpPr>
                <p:nvPr/>
              </p:nvSpPr>
              <p:spPr bwMode="auto">
                <a:xfrm>
                  <a:off x="9197305" y="5493652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Rectangle 299"/>
                <p:cNvSpPr>
                  <a:spLocks noChangeArrowheads="1"/>
                </p:cNvSpPr>
                <p:nvPr/>
              </p:nvSpPr>
              <p:spPr bwMode="auto">
                <a:xfrm>
                  <a:off x="9216887" y="5493652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Oval 300"/>
                <p:cNvSpPr>
                  <a:spLocks noChangeArrowheads="1"/>
                </p:cNvSpPr>
                <p:nvPr/>
              </p:nvSpPr>
              <p:spPr bwMode="auto">
                <a:xfrm>
                  <a:off x="9405353" y="5513234"/>
                  <a:ext cx="22029" cy="22029"/>
                </a:xfrm>
                <a:prstGeom prst="ellipse">
                  <a:avLst/>
                </a:pr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Rectangle 301"/>
                <p:cNvSpPr>
                  <a:spLocks noChangeArrowheads="1"/>
                </p:cNvSpPr>
                <p:nvPr/>
              </p:nvSpPr>
              <p:spPr bwMode="auto">
                <a:xfrm>
                  <a:off x="9104297" y="5596451"/>
                  <a:ext cx="352458" cy="93009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Rectangle 302"/>
                <p:cNvSpPr>
                  <a:spLocks noChangeArrowheads="1"/>
                </p:cNvSpPr>
                <p:nvPr/>
              </p:nvSpPr>
              <p:spPr bwMode="auto">
                <a:xfrm>
                  <a:off x="9118982" y="5611137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Rectangle 303"/>
                <p:cNvSpPr>
                  <a:spLocks noChangeArrowheads="1"/>
                </p:cNvSpPr>
                <p:nvPr/>
              </p:nvSpPr>
              <p:spPr bwMode="auto">
                <a:xfrm>
                  <a:off x="9138562" y="5611137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Rectangle 304"/>
                <p:cNvSpPr>
                  <a:spLocks noChangeArrowheads="1"/>
                </p:cNvSpPr>
                <p:nvPr/>
              </p:nvSpPr>
              <p:spPr bwMode="auto">
                <a:xfrm>
                  <a:off x="9158143" y="5611137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Rectangle 305"/>
                <p:cNvSpPr>
                  <a:spLocks noChangeArrowheads="1"/>
                </p:cNvSpPr>
                <p:nvPr/>
              </p:nvSpPr>
              <p:spPr bwMode="auto">
                <a:xfrm>
                  <a:off x="9175276" y="5611137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Rectangle 306"/>
                <p:cNvSpPr>
                  <a:spLocks noChangeArrowheads="1"/>
                </p:cNvSpPr>
                <p:nvPr/>
              </p:nvSpPr>
              <p:spPr bwMode="auto">
                <a:xfrm>
                  <a:off x="9197305" y="5611137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Rectangle 307"/>
                <p:cNvSpPr>
                  <a:spLocks noChangeArrowheads="1"/>
                </p:cNvSpPr>
                <p:nvPr/>
              </p:nvSpPr>
              <p:spPr bwMode="auto">
                <a:xfrm>
                  <a:off x="9216887" y="5611137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Oval 308"/>
                <p:cNvSpPr>
                  <a:spLocks noChangeArrowheads="1"/>
                </p:cNvSpPr>
                <p:nvPr/>
              </p:nvSpPr>
              <p:spPr bwMode="auto">
                <a:xfrm>
                  <a:off x="9405353" y="5630720"/>
                  <a:ext cx="22029" cy="19581"/>
                </a:xfrm>
                <a:prstGeom prst="ellipse">
                  <a:avLst/>
                </a:pr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Rectangle 309"/>
                <p:cNvSpPr>
                  <a:spLocks noChangeArrowheads="1"/>
                </p:cNvSpPr>
                <p:nvPr/>
              </p:nvSpPr>
              <p:spPr bwMode="auto">
                <a:xfrm>
                  <a:off x="9104297" y="5713937"/>
                  <a:ext cx="352458" cy="9056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Rectangle 310"/>
                <p:cNvSpPr>
                  <a:spLocks noChangeArrowheads="1"/>
                </p:cNvSpPr>
                <p:nvPr/>
              </p:nvSpPr>
              <p:spPr bwMode="auto">
                <a:xfrm>
                  <a:off x="9118982" y="5726175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Rectangle 311"/>
                <p:cNvSpPr>
                  <a:spLocks noChangeArrowheads="1"/>
                </p:cNvSpPr>
                <p:nvPr/>
              </p:nvSpPr>
              <p:spPr bwMode="auto">
                <a:xfrm>
                  <a:off x="9138562" y="5726175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Rectangle 312"/>
                <p:cNvSpPr>
                  <a:spLocks noChangeArrowheads="1"/>
                </p:cNvSpPr>
                <p:nvPr/>
              </p:nvSpPr>
              <p:spPr bwMode="auto">
                <a:xfrm>
                  <a:off x="9158143" y="5726175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Rectangle 313"/>
                <p:cNvSpPr>
                  <a:spLocks noChangeArrowheads="1"/>
                </p:cNvSpPr>
                <p:nvPr/>
              </p:nvSpPr>
              <p:spPr bwMode="auto">
                <a:xfrm>
                  <a:off x="9175276" y="5726175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Rectangle 314"/>
                <p:cNvSpPr>
                  <a:spLocks noChangeArrowheads="1"/>
                </p:cNvSpPr>
                <p:nvPr/>
              </p:nvSpPr>
              <p:spPr bwMode="auto">
                <a:xfrm>
                  <a:off x="9197305" y="5726175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Rectangle 315"/>
                <p:cNvSpPr>
                  <a:spLocks noChangeArrowheads="1"/>
                </p:cNvSpPr>
                <p:nvPr/>
              </p:nvSpPr>
              <p:spPr bwMode="auto">
                <a:xfrm>
                  <a:off x="9216887" y="5726175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Oval 316"/>
                <p:cNvSpPr>
                  <a:spLocks noChangeArrowheads="1"/>
                </p:cNvSpPr>
                <p:nvPr/>
              </p:nvSpPr>
              <p:spPr bwMode="auto">
                <a:xfrm>
                  <a:off x="9405353" y="5748204"/>
                  <a:ext cx="22029" cy="19581"/>
                </a:xfrm>
                <a:prstGeom prst="ellipse">
                  <a:avLst/>
                </a:pr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Rectangle 317"/>
                <p:cNvSpPr>
                  <a:spLocks noChangeArrowheads="1"/>
                </p:cNvSpPr>
                <p:nvPr/>
              </p:nvSpPr>
              <p:spPr bwMode="auto">
                <a:xfrm>
                  <a:off x="9104297" y="5828975"/>
                  <a:ext cx="352458" cy="8811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Rectangle 318"/>
                <p:cNvSpPr>
                  <a:spLocks noChangeArrowheads="1"/>
                </p:cNvSpPr>
                <p:nvPr/>
              </p:nvSpPr>
              <p:spPr bwMode="auto">
                <a:xfrm>
                  <a:off x="9118982" y="5843661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Rectangle 319"/>
                <p:cNvSpPr>
                  <a:spLocks noChangeArrowheads="1"/>
                </p:cNvSpPr>
                <p:nvPr/>
              </p:nvSpPr>
              <p:spPr bwMode="auto">
                <a:xfrm>
                  <a:off x="9138562" y="5843661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Rectangle 320"/>
                <p:cNvSpPr>
                  <a:spLocks noChangeArrowheads="1"/>
                </p:cNvSpPr>
                <p:nvPr/>
              </p:nvSpPr>
              <p:spPr bwMode="auto">
                <a:xfrm>
                  <a:off x="9158143" y="5843661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Rectangle 321"/>
                <p:cNvSpPr>
                  <a:spLocks noChangeArrowheads="1"/>
                </p:cNvSpPr>
                <p:nvPr/>
              </p:nvSpPr>
              <p:spPr bwMode="auto">
                <a:xfrm>
                  <a:off x="9175276" y="5843661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Rectangle 322"/>
                <p:cNvSpPr>
                  <a:spLocks noChangeArrowheads="1"/>
                </p:cNvSpPr>
                <p:nvPr/>
              </p:nvSpPr>
              <p:spPr bwMode="auto">
                <a:xfrm>
                  <a:off x="9197305" y="5843661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Rectangle 323"/>
                <p:cNvSpPr>
                  <a:spLocks noChangeArrowheads="1"/>
                </p:cNvSpPr>
                <p:nvPr/>
              </p:nvSpPr>
              <p:spPr bwMode="auto">
                <a:xfrm>
                  <a:off x="9216887" y="5843661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Oval 324"/>
                <p:cNvSpPr>
                  <a:spLocks noChangeArrowheads="1"/>
                </p:cNvSpPr>
                <p:nvPr/>
              </p:nvSpPr>
              <p:spPr bwMode="auto">
                <a:xfrm>
                  <a:off x="9405353" y="5863242"/>
                  <a:ext cx="22029" cy="19581"/>
                </a:xfrm>
                <a:prstGeom prst="ellipse">
                  <a:avLst/>
                </a:pr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Rectangle 325"/>
                <p:cNvSpPr>
                  <a:spLocks noChangeArrowheads="1"/>
                </p:cNvSpPr>
                <p:nvPr/>
              </p:nvSpPr>
              <p:spPr bwMode="auto">
                <a:xfrm>
                  <a:off x="9033315" y="5050633"/>
                  <a:ext cx="496867" cy="1035343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Rectangle 326"/>
                <p:cNvSpPr>
                  <a:spLocks noChangeArrowheads="1"/>
                </p:cNvSpPr>
                <p:nvPr/>
              </p:nvSpPr>
              <p:spPr bwMode="auto">
                <a:xfrm>
                  <a:off x="9079820" y="5102032"/>
                  <a:ext cx="401410" cy="898276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Rectangle 327"/>
                <p:cNvSpPr>
                  <a:spLocks noChangeArrowheads="1"/>
                </p:cNvSpPr>
                <p:nvPr/>
              </p:nvSpPr>
              <p:spPr bwMode="auto">
                <a:xfrm>
                  <a:off x="9104297" y="5131405"/>
                  <a:ext cx="352458" cy="9056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Rectangle 328"/>
                <p:cNvSpPr>
                  <a:spLocks noChangeArrowheads="1"/>
                </p:cNvSpPr>
                <p:nvPr/>
              </p:nvSpPr>
              <p:spPr bwMode="auto">
                <a:xfrm>
                  <a:off x="9118982" y="5143641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Rectangle 329"/>
                <p:cNvSpPr>
                  <a:spLocks noChangeArrowheads="1"/>
                </p:cNvSpPr>
                <p:nvPr/>
              </p:nvSpPr>
              <p:spPr bwMode="auto">
                <a:xfrm>
                  <a:off x="9138562" y="5143641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Rectangle 330"/>
                <p:cNvSpPr>
                  <a:spLocks noChangeArrowheads="1"/>
                </p:cNvSpPr>
                <p:nvPr/>
              </p:nvSpPr>
              <p:spPr bwMode="auto">
                <a:xfrm>
                  <a:off x="9158143" y="5143641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Rectangle 331"/>
                <p:cNvSpPr>
                  <a:spLocks noChangeArrowheads="1"/>
                </p:cNvSpPr>
                <p:nvPr/>
              </p:nvSpPr>
              <p:spPr bwMode="auto">
                <a:xfrm>
                  <a:off x="9175276" y="5143641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Rectangle 332"/>
                <p:cNvSpPr>
                  <a:spLocks noChangeArrowheads="1"/>
                </p:cNvSpPr>
                <p:nvPr/>
              </p:nvSpPr>
              <p:spPr bwMode="auto">
                <a:xfrm>
                  <a:off x="9197305" y="5143641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Rectangle 333"/>
                <p:cNvSpPr>
                  <a:spLocks noChangeArrowheads="1"/>
                </p:cNvSpPr>
                <p:nvPr/>
              </p:nvSpPr>
              <p:spPr bwMode="auto">
                <a:xfrm>
                  <a:off x="9216887" y="5143641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Oval 334"/>
                <p:cNvSpPr>
                  <a:spLocks noChangeArrowheads="1"/>
                </p:cNvSpPr>
                <p:nvPr/>
              </p:nvSpPr>
              <p:spPr bwMode="auto">
                <a:xfrm>
                  <a:off x="9405353" y="5165671"/>
                  <a:ext cx="22029" cy="22029"/>
                </a:xfrm>
                <a:prstGeom prst="ellipse">
                  <a:avLst/>
                </a:pr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Rectangle 335"/>
                <p:cNvSpPr>
                  <a:spLocks noChangeArrowheads="1"/>
                </p:cNvSpPr>
                <p:nvPr/>
              </p:nvSpPr>
              <p:spPr bwMode="auto">
                <a:xfrm>
                  <a:off x="9104297" y="5246442"/>
                  <a:ext cx="352458" cy="93009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Rectangle 336"/>
                <p:cNvSpPr>
                  <a:spLocks noChangeArrowheads="1"/>
                </p:cNvSpPr>
                <p:nvPr/>
              </p:nvSpPr>
              <p:spPr bwMode="auto">
                <a:xfrm>
                  <a:off x="9118982" y="5261126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Rectangle 337"/>
                <p:cNvSpPr>
                  <a:spLocks noChangeArrowheads="1"/>
                </p:cNvSpPr>
                <p:nvPr/>
              </p:nvSpPr>
              <p:spPr bwMode="auto">
                <a:xfrm>
                  <a:off x="9138562" y="5261126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Rectangle 338"/>
                <p:cNvSpPr>
                  <a:spLocks noChangeArrowheads="1"/>
                </p:cNvSpPr>
                <p:nvPr/>
              </p:nvSpPr>
              <p:spPr bwMode="auto">
                <a:xfrm>
                  <a:off x="9158143" y="5261126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Rectangle 339"/>
                <p:cNvSpPr>
                  <a:spLocks noChangeArrowheads="1"/>
                </p:cNvSpPr>
                <p:nvPr/>
              </p:nvSpPr>
              <p:spPr bwMode="auto">
                <a:xfrm>
                  <a:off x="9175276" y="5261126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Rectangle 340"/>
                <p:cNvSpPr>
                  <a:spLocks noChangeArrowheads="1"/>
                </p:cNvSpPr>
                <p:nvPr/>
              </p:nvSpPr>
              <p:spPr bwMode="auto">
                <a:xfrm>
                  <a:off x="9197305" y="5261126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Rectangle 341"/>
                <p:cNvSpPr>
                  <a:spLocks noChangeArrowheads="1"/>
                </p:cNvSpPr>
                <p:nvPr/>
              </p:nvSpPr>
              <p:spPr bwMode="auto">
                <a:xfrm>
                  <a:off x="9216887" y="5261126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Oval 342"/>
                <p:cNvSpPr>
                  <a:spLocks noChangeArrowheads="1"/>
                </p:cNvSpPr>
                <p:nvPr/>
              </p:nvSpPr>
              <p:spPr bwMode="auto">
                <a:xfrm>
                  <a:off x="9405353" y="5280709"/>
                  <a:ext cx="22029" cy="24475"/>
                </a:xfrm>
                <a:prstGeom prst="ellipse">
                  <a:avLst/>
                </a:pr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Rectangle 343"/>
                <p:cNvSpPr>
                  <a:spLocks noChangeArrowheads="1"/>
                </p:cNvSpPr>
                <p:nvPr/>
              </p:nvSpPr>
              <p:spPr bwMode="auto">
                <a:xfrm>
                  <a:off x="9104297" y="5363927"/>
                  <a:ext cx="352458" cy="93009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Rectangle 344"/>
                <p:cNvSpPr>
                  <a:spLocks noChangeArrowheads="1"/>
                </p:cNvSpPr>
                <p:nvPr/>
              </p:nvSpPr>
              <p:spPr bwMode="auto">
                <a:xfrm>
                  <a:off x="9118982" y="5376167"/>
                  <a:ext cx="9790" cy="6363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Rectangle 345"/>
                <p:cNvSpPr>
                  <a:spLocks noChangeArrowheads="1"/>
                </p:cNvSpPr>
                <p:nvPr/>
              </p:nvSpPr>
              <p:spPr bwMode="auto">
                <a:xfrm>
                  <a:off x="9138562" y="5376167"/>
                  <a:ext cx="9790" cy="6363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Rectangle 346"/>
                <p:cNvSpPr>
                  <a:spLocks noChangeArrowheads="1"/>
                </p:cNvSpPr>
                <p:nvPr/>
              </p:nvSpPr>
              <p:spPr bwMode="auto">
                <a:xfrm>
                  <a:off x="9158143" y="5376167"/>
                  <a:ext cx="12238" cy="6363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Rectangle 347"/>
                <p:cNvSpPr>
                  <a:spLocks noChangeArrowheads="1"/>
                </p:cNvSpPr>
                <p:nvPr/>
              </p:nvSpPr>
              <p:spPr bwMode="auto">
                <a:xfrm>
                  <a:off x="9175276" y="5376167"/>
                  <a:ext cx="12238" cy="6363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Rectangle 348"/>
                <p:cNvSpPr>
                  <a:spLocks noChangeArrowheads="1"/>
                </p:cNvSpPr>
                <p:nvPr/>
              </p:nvSpPr>
              <p:spPr bwMode="auto">
                <a:xfrm>
                  <a:off x="9197305" y="5376167"/>
                  <a:ext cx="9790" cy="6363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Rectangle 349"/>
                <p:cNvSpPr>
                  <a:spLocks noChangeArrowheads="1"/>
                </p:cNvSpPr>
                <p:nvPr/>
              </p:nvSpPr>
              <p:spPr bwMode="auto">
                <a:xfrm>
                  <a:off x="9216887" y="5376167"/>
                  <a:ext cx="9790" cy="6363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Oval 350"/>
                <p:cNvSpPr>
                  <a:spLocks noChangeArrowheads="1"/>
                </p:cNvSpPr>
                <p:nvPr/>
              </p:nvSpPr>
              <p:spPr bwMode="auto">
                <a:xfrm>
                  <a:off x="9405353" y="5398193"/>
                  <a:ext cx="22029" cy="24475"/>
                </a:xfrm>
                <a:prstGeom prst="ellipse">
                  <a:avLst/>
                </a:pr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Rectangle 351"/>
                <p:cNvSpPr>
                  <a:spLocks noChangeArrowheads="1"/>
                </p:cNvSpPr>
                <p:nvPr/>
              </p:nvSpPr>
              <p:spPr bwMode="auto">
                <a:xfrm>
                  <a:off x="9104297" y="5478965"/>
                  <a:ext cx="352458" cy="93009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Rectangle 352"/>
                <p:cNvSpPr>
                  <a:spLocks noChangeArrowheads="1"/>
                </p:cNvSpPr>
                <p:nvPr/>
              </p:nvSpPr>
              <p:spPr bwMode="auto">
                <a:xfrm>
                  <a:off x="9118982" y="5493652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Rectangle 353"/>
                <p:cNvSpPr>
                  <a:spLocks noChangeArrowheads="1"/>
                </p:cNvSpPr>
                <p:nvPr/>
              </p:nvSpPr>
              <p:spPr bwMode="auto">
                <a:xfrm>
                  <a:off x="9138562" y="5493652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Rectangle 354"/>
                <p:cNvSpPr>
                  <a:spLocks noChangeArrowheads="1"/>
                </p:cNvSpPr>
                <p:nvPr/>
              </p:nvSpPr>
              <p:spPr bwMode="auto">
                <a:xfrm>
                  <a:off x="9158143" y="5493652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Rectangle 355"/>
                <p:cNvSpPr>
                  <a:spLocks noChangeArrowheads="1"/>
                </p:cNvSpPr>
                <p:nvPr/>
              </p:nvSpPr>
              <p:spPr bwMode="auto">
                <a:xfrm>
                  <a:off x="9175276" y="5493652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Rectangle 356"/>
                <p:cNvSpPr>
                  <a:spLocks noChangeArrowheads="1"/>
                </p:cNvSpPr>
                <p:nvPr/>
              </p:nvSpPr>
              <p:spPr bwMode="auto">
                <a:xfrm>
                  <a:off x="9197305" y="5493652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Rectangle 357"/>
                <p:cNvSpPr>
                  <a:spLocks noChangeArrowheads="1"/>
                </p:cNvSpPr>
                <p:nvPr/>
              </p:nvSpPr>
              <p:spPr bwMode="auto">
                <a:xfrm>
                  <a:off x="9216887" y="5493652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5" name="Oval 358"/>
                <p:cNvSpPr>
                  <a:spLocks noChangeArrowheads="1"/>
                </p:cNvSpPr>
                <p:nvPr/>
              </p:nvSpPr>
              <p:spPr bwMode="auto">
                <a:xfrm>
                  <a:off x="9405353" y="5513234"/>
                  <a:ext cx="22029" cy="22029"/>
                </a:xfrm>
                <a:prstGeom prst="ellipse">
                  <a:avLst/>
                </a:pr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6" name="Rectangle 359"/>
                <p:cNvSpPr>
                  <a:spLocks noChangeArrowheads="1"/>
                </p:cNvSpPr>
                <p:nvPr/>
              </p:nvSpPr>
              <p:spPr bwMode="auto">
                <a:xfrm>
                  <a:off x="9104297" y="5596451"/>
                  <a:ext cx="352458" cy="93009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7" name="Rectangle 360"/>
                <p:cNvSpPr>
                  <a:spLocks noChangeArrowheads="1"/>
                </p:cNvSpPr>
                <p:nvPr/>
              </p:nvSpPr>
              <p:spPr bwMode="auto">
                <a:xfrm>
                  <a:off x="9118982" y="5611137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8" name="Rectangle 361"/>
                <p:cNvSpPr>
                  <a:spLocks noChangeArrowheads="1"/>
                </p:cNvSpPr>
                <p:nvPr/>
              </p:nvSpPr>
              <p:spPr bwMode="auto">
                <a:xfrm>
                  <a:off x="9138562" y="5611137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9" name="Rectangle 362"/>
                <p:cNvSpPr>
                  <a:spLocks noChangeArrowheads="1"/>
                </p:cNvSpPr>
                <p:nvPr/>
              </p:nvSpPr>
              <p:spPr bwMode="auto">
                <a:xfrm>
                  <a:off x="9158143" y="5611137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40" name="Rectangle 363"/>
                <p:cNvSpPr>
                  <a:spLocks noChangeArrowheads="1"/>
                </p:cNvSpPr>
                <p:nvPr/>
              </p:nvSpPr>
              <p:spPr bwMode="auto">
                <a:xfrm>
                  <a:off x="9175276" y="5611137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41" name="Rectangle 364"/>
                <p:cNvSpPr>
                  <a:spLocks noChangeArrowheads="1"/>
                </p:cNvSpPr>
                <p:nvPr/>
              </p:nvSpPr>
              <p:spPr bwMode="auto">
                <a:xfrm>
                  <a:off x="9197305" y="5611137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42" name="Rectangle 365"/>
                <p:cNvSpPr>
                  <a:spLocks noChangeArrowheads="1"/>
                </p:cNvSpPr>
                <p:nvPr/>
              </p:nvSpPr>
              <p:spPr bwMode="auto">
                <a:xfrm>
                  <a:off x="9216887" y="5611137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43" name="Oval 366"/>
                <p:cNvSpPr>
                  <a:spLocks noChangeArrowheads="1"/>
                </p:cNvSpPr>
                <p:nvPr/>
              </p:nvSpPr>
              <p:spPr bwMode="auto">
                <a:xfrm>
                  <a:off x="9405353" y="5630720"/>
                  <a:ext cx="22029" cy="19581"/>
                </a:xfrm>
                <a:prstGeom prst="ellipse">
                  <a:avLst/>
                </a:pr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44" name="Rectangle 367"/>
                <p:cNvSpPr>
                  <a:spLocks noChangeArrowheads="1"/>
                </p:cNvSpPr>
                <p:nvPr/>
              </p:nvSpPr>
              <p:spPr bwMode="auto">
                <a:xfrm>
                  <a:off x="9104297" y="5713937"/>
                  <a:ext cx="352458" cy="9056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45" name="Rectangle 368"/>
                <p:cNvSpPr>
                  <a:spLocks noChangeArrowheads="1"/>
                </p:cNvSpPr>
                <p:nvPr/>
              </p:nvSpPr>
              <p:spPr bwMode="auto">
                <a:xfrm>
                  <a:off x="9118982" y="5726175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46" name="Rectangle 369"/>
                <p:cNvSpPr>
                  <a:spLocks noChangeArrowheads="1"/>
                </p:cNvSpPr>
                <p:nvPr/>
              </p:nvSpPr>
              <p:spPr bwMode="auto">
                <a:xfrm>
                  <a:off x="9138562" y="5726175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47" name="Rectangle 370"/>
                <p:cNvSpPr>
                  <a:spLocks noChangeArrowheads="1"/>
                </p:cNvSpPr>
                <p:nvPr/>
              </p:nvSpPr>
              <p:spPr bwMode="auto">
                <a:xfrm>
                  <a:off x="9158143" y="5726175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48" name="Rectangle 371"/>
                <p:cNvSpPr>
                  <a:spLocks noChangeArrowheads="1"/>
                </p:cNvSpPr>
                <p:nvPr/>
              </p:nvSpPr>
              <p:spPr bwMode="auto">
                <a:xfrm>
                  <a:off x="9175276" y="5726175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49" name="Rectangle 372"/>
                <p:cNvSpPr>
                  <a:spLocks noChangeArrowheads="1"/>
                </p:cNvSpPr>
                <p:nvPr/>
              </p:nvSpPr>
              <p:spPr bwMode="auto">
                <a:xfrm>
                  <a:off x="9197305" y="5726175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50" name="Rectangle 373"/>
                <p:cNvSpPr>
                  <a:spLocks noChangeArrowheads="1"/>
                </p:cNvSpPr>
                <p:nvPr/>
              </p:nvSpPr>
              <p:spPr bwMode="auto">
                <a:xfrm>
                  <a:off x="9216887" y="5726175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51" name="Oval 374"/>
                <p:cNvSpPr>
                  <a:spLocks noChangeArrowheads="1"/>
                </p:cNvSpPr>
                <p:nvPr/>
              </p:nvSpPr>
              <p:spPr bwMode="auto">
                <a:xfrm>
                  <a:off x="9405353" y="5748204"/>
                  <a:ext cx="22029" cy="19581"/>
                </a:xfrm>
                <a:prstGeom prst="ellipse">
                  <a:avLst/>
                </a:pr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52" name="Rectangle 375"/>
                <p:cNvSpPr>
                  <a:spLocks noChangeArrowheads="1"/>
                </p:cNvSpPr>
                <p:nvPr/>
              </p:nvSpPr>
              <p:spPr bwMode="auto">
                <a:xfrm>
                  <a:off x="9104297" y="5828975"/>
                  <a:ext cx="352458" cy="8811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53" name="Rectangle 376"/>
                <p:cNvSpPr>
                  <a:spLocks noChangeArrowheads="1"/>
                </p:cNvSpPr>
                <p:nvPr/>
              </p:nvSpPr>
              <p:spPr bwMode="auto">
                <a:xfrm>
                  <a:off x="9118982" y="5843661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54" name="Rectangle 377"/>
                <p:cNvSpPr>
                  <a:spLocks noChangeArrowheads="1"/>
                </p:cNvSpPr>
                <p:nvPr/>
              </p:nvSpPr>
              <p:spPr bwMode="auto">
                <a:xfrm>
                  <a:off x="9138562" y="5843661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55" name="Rectangle 378"/>
                <p:cNvSpPr>
                  <a:spLocks noChangeArrowheads="1"/>
                </p:cNvSpPr>
                <p:nvPr/>
              </p:nvSpPr>
              <p:spPr bwMode="auto">
                <a:xfrm>
                  <a:off x="9158143" y="5843661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56" name="Rectangle 379"/>
                <p:cNvSpPr>
                  <a:spLocks noChangeArrowheads="1"/>
                </p:cNvSpPr>
                <p:nvPr/>
              </p:nvSpPr>
              <p:spPr bwMode="auto">
                <a:xfrm>
                  <a:off x="9175276" y="5843661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57" name="Rectangle 380"/>
                <p:cNvSpPr>
                  <a:spLocks noChangeArrowheads="1"/>
                </p:cNvSpPr>
                <p:nvPr/>
              </p:nvSpPr>
              <p:spPr bwMode="auto">
                <a:xfrm>
                  <a:off x="9197305" y="5843661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58" name="Rectangle 381"/>
                <p:cNvSpPr>
                  <a:spLocks noChangeArrowheads="1"/>
                </p:cNvSpPr>
                <p:nvPr/>
              </p:nvSpPr>
              <p:spPr bwMode="auto">
                <a:xfrm>
                  <a:off x="9216887" y="5843661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59" name="Oval 382"/>
                <p:cNvSpPr>
                  <a:spLocks noChangeArrowheads="1"/>
                </p:cNvSpPr>
                <p:nvPr/>
              </p:nvSpPr>
              <p:spPr bwMode="auto">
                <a:xfrm>
                  <a:off x="9405353" y="5863242"/>
                  <a:ext cx="22029" cy="19581"/>
                </a:xfrm>
                <a:prstGeom prst="ellipse">
                  <a:avLst/>
                </a:pr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60" name="Rectangle 383"/>
                <p:cNvSpPr>
                  <a:spLocks noChangeArrowheads="1"/>
                </p:cNvSpPr>
                <p:nvPr/>
              </p:nvSpPr>
              <p:spPr bwMode="auto">
                <a:xfrm>
                  <a:off x="9591372" y="5050633"/>
                  <a:ext cx="494419" cy="1035343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61" name="Rectangle 384"/>
                <p:cNvSpPr>
                  <a:spLocks noChangeArrowheads="1"/>
                </p:cNvSpPr>
                <p:nvPr/>
              </p:nvSpPr>
              <p:spPr bwMode="auto">
                <a:xfrm>
                  <a:off x="9635429" y="5102032"/>
                  <a:ext cx="401410" cy="898276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62" name="Rectangle 385"/>
                <p:cNvSpPr>
                  <a:spLocks noChangeArrowheads="1"/>
                </p:cNvSpPr>
                <p:nvPr/>
              </p:nvSpPr>
              <p:spPr bwMode="auto">
                <a:xfrm>
                  <a:off x="9659906" y="5131405"/>
                  <a:ext cx="357352" cy="9056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63" name="Rectangle 386"/>
                <p:cNvSpPr>
                  <a:spLocks noChangeArrowheads="1"/>
                </p:cNvSpPr>
                <p:nvPr/>
              </p:nvSpPr>
              <p:spPr bwMode="auto">
                <a:xfrm>
                  <a:off x="9672143" y="5143641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64" name="Rectangle 387"/>
                <p:cNvSpPr>
                  <a:spLocks noChangeArrowheads="1"/>
                </p:cNvSpPr>
                <p:nvPr/>
              </p:nvSpPr>
              <p:spPr bwMode="auto">
                <a:xfrm>
                  <a:off x="9694171" y="5143641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65" name="Rectangle 388"/>
                <p:cNvSpPr>
                  <a:spLocks noChangeArrowheads="1"/>
                </p:cNvSpPr>
                <p:nvPr/>
              </p:nvSpPr>
              <p:spPr bwMode="auto">
                <a:xfrm>
                  <a:off x="9713752" y="5143641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66" name="Rectangle 389"/>
                <p:cNvSpPr>
                  <a:spLocks noChangeArrowheads="1"/>
                </p:cNvSpPr>
                <p:nvPr/>
              </p:nvSpPr>
              <p:spPr bwMode="auto">
                <a:xfrm>
                  <a:off x="9735781" y="5143641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67" name="Rectangle 390"/>
                <p:cNvSpPr>
                  <a:spLocks noChangeArrowheads="1"/>
                </p:cNvSpPr>
                <p:nvPr/>
              </p:nvSpPr>
              <p:spPr bwMode="auto">
                <a:xfrm>
                  <a:off x="9755363" y="5143641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68" name="Rectangle 391"/>
                <p:cNvSpPr>
                  <a:spLocks noChangeArrowheads="1"/>
                </p:cNvSpPr>
                <p:nvPr/>
              </p:nvSpPr>
              <p:spPr bwMode="auto">
                <a:xfrm>
                  <a:off x="9777392" y="5143641"/>
                  <a:ext cx="4895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69" name="Oval 392"/>
                <p:cNvSpPr>
                  <a:spLocks noChangeArrowheads="1"/>
                </p:cNvSpPr>
                <p:nvPr/>
              </p:nvSpPr>
              <p:spPr bwMode="auto">
                <a:xfrm>
                  <a:off x="9960962" y="5165671"/>
                  <a:ext cx="24475" cy="22029"/>
                </a:xfrm>
                <a:prstGeom prst="ellipse">
                  <a:avLst/>
                </a:pr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70" name="Rectangle 393"/>
                <p:cNvSpPr>
                  <a:spLocks noChangeArrowheads="1"/>
                </p:cNvSpPr>
                <p:nvPr/>
              </p:nvSpPr>
              <p:spPr bwMode="auto">
                <a:xfrm>
                  <a:off x="9659906" y="5246442"/>
                  <a:ext cx="357352" cy="93009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71" name="Rectangle 394"/>
                <p:cNvSpPr>
                  <a:spLocks noChangeArrowheads="1"/>
                </p:cNvSpPr>
                <p:nvPr/>
              </p:nvSpPr>
              <p:spPr bwMode="auto">
                <a:xfrm>
                  <a:off x="9672143" y="5261126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72" name="Rectangle 395"/>
                <p:cNvSpPr>
                  <a:spLocks noChangeArrowheads="1"/>
                </p:cNvSpPr>
                <p:nvPr/>
              </p:nvSpPr>
              <p:spPr bwMode="auto">
                <a:xfrm>
                  <a:off x="9694171" y="5261126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73" name="Rectangle 396"/>
                <p:cNvSpPr>
                  <a:spLocks noChangeArrowheads="1"/>
                </p:cNvSpPr>
                <p:nvPr/>
              </p:nvSpPr>
              <p:spPr bwMode="auto">
                <a:xfrm>
                  <a:off x="9713752" y="5261126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74" name="Rectangle 397"/>
                <p:cNvSpPr>
                  <a:spLocks noChangeArrowheads="1"/>
                </p:cNvSpPr>
                <p:nvPr/>
              </p:nvSpPr>
              <p:spPr bwMode="auto">
                <a:xfrm>
                  <a:off x="9735781" y="5261126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75" name="Rectangle 398"/>
                <p:cNvSpPr>
                  <a:spLocks noChangeArrowheads="1"/>
                </p:cNvSpPr>
                <p:nvPr/>
              </p:nvSpPr>
              <p:spPr bwMode="auto">
                <a:xfrm>
                  <a:off x="9755363" y="5261126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76" name="Rectangle 399"/>
                <p:cNvSpPr>
                  <a:spLocks noChangeArrowheads="1"/>
                </p:cNvSpPr>
                <p:nvPr/>
              </p:nvSpPr>
              <p:spPr bwMode="auto">
                <a:xfrm>
                  <a:off x="9777392" y="5261126"/>
                  <a:ext cx="4895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77" name="Oval 400"/>
                <p:cNvSpPr>
                  <a:spLocks noChangeArrowheads="1"/>
                </p:cNvSpPr>
                <p:nvPr/>
              </p:nvSpPr>
              <p:spPr bwMode="auto">
                <a:xfrm>
                  <a:off x="9960962" y="5280709"/>
                  <a:ext cx="24475" cy="24475"/>
                </a:xfrm>
                <a:prstGeom prst="ellipse">
                  <a:avLst/>
                </a:pr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78" name="Rectangle 401"/>
                <p:cNvSpPr>
                  <a:spLocks noChangeArrowheads="1"/>
                </p:cNvSpPr>
                <p:nvPr/>
              </p:nvSpPr>
              <p:spPr bwMode="auto">
                <a:xfrm>
                  <a:off x="9659906" y="5363927"/>
                  <a:ext cx="357352" cy="93009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79" name="Rectangle 402"/>
                <p:cNvSpPr>
                  <a:spLocks noChangeArrowheads="1"/>
                </p:cNvSpPr>
                <p:nvPr/>
              </p:nvSpPr>
              <p:spPr bwMode="auto">
                <a:xfrm>
                  <a:off x="9672143" y="5376167"/>
                  <a:ext cx="12238" cy="6363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80" name="Rectangle 403"/>
                <p:cNvSpPr>
                  <a:spLocks noChangeArrowheads="1"/>
                </p:cNvSpPr>
                <p:nvPr/>
              </p:nvSpPr>
              <p:spPr bwMode="auto">
                <a:xfrm>
                  <a:off x="9694171" y="5376167"/>
                  <a:ext cx="9790" cy="6363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81" name="Rectangle 404"/>
                <p:cNvSpPr>
                  <a:spLocks noChangeArrowheads="1"/>
                </p:cNvSpPr>
                <p:nvPr/>
              </p:nvSpPr>
              <p:spPr bwMode="auto">
                <a:xfrm>
                  <a:off x="9713752" y="5376167"/>
                  <a:ext cx="12238" cy="6363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82" name="Rectangle 405"/>
                <p:cNvSpPr>
                  <a:spLocks noChangeArrowheads="1"/>
                </p:cNvSpPr>
                <p:nvPr/>
              </p:nvSpPr>
              <p:spPr bwMode="auto">
                <a:xfrm>
                  <a:off x="9735781" y="5376167"/>
                  <a:ext cx="9790" cy="6363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83" name="Rectangle 406"/>
                <p:cNvSpPr>
                  <a:spLocks noChangeArrowheads="1"/>
                </p:cNvSpPr>
                <p:nvPr/>
              </p:nvSpPr>
              <p:spPr bwMode="auto">
                <a:xfrm>
                  <a:off x="9755363" y="5376167"/>
                  <a:ext cx="9790" cy="6363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84" name="Rectangle 407"/>
                <p:cNvSpPr>
                  <a:spLocks noChangeArrowheads="1"/>
                </p:cNvSpPr>
                <p:nvPr/>
              </p:nvSpPr>
              <p:spPr bwMode="auto">
                <a:xfrm>
                  <a:off x="9777392" y="5376167"/>
                  <a:ext cx="4895" cy="6363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85" name="Oval 408"/>
                <p:cNvSpPr>
                  <a:spLocks noChangeArrowheads="1"/>
                </p:cNvSpPr>
                <p:nvPr/>
              </p:nvSpPr>
              <p:spPr bwMode="auto">
                <a:xfrm>
                  <a:off x="9960962" y="5398193"/>
                  <a:ext cx="24475" cy="24475"/>
                </a:xfrm>
                <a:prstGeom prst="ellipse">
                  <a:avLst/>
                </a:pr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86" name="Rectangle 409"/>
                <p:cNvSpPr>
                  <a:spLocks noChangeArrowheads="1"/>
                </p:cNvSpPr>
                <p:nvPr/>
              </p:nvSpPr>
              <p:spPr bwMode="auto">
                <a:xfrm>
                  <a:off x="9659906" y="5478965"/>
                  <a:ext cx="357352" cy="93009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87" name="Rectangle 410"/>
                <p:cNvSpPr>
                  <a:spLocks noChangeArrowheads="1"/>
                </p:cNvSpPr>
                <p:nvPr/>
              </p:nvSpPr>
              <p:spPr bwMode="auto">
                <a:xfrm>
                  <a:off x="9672143" y="5493652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88" name="Rectangle 411"/>
                <p:cNvSpPr>
                  <a:spLocks noChangeArrowheads="1"/>
                </p:cNvSpPr>
                <p:nvPr/>
              </p:nvSpPr>
              <p:spPr bwMode="auto">
                <a:xfrm>
                  <a:off x="9694171" y="5493652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89" name="Rectangle 412"/>
                <p:cNvSpPr>
                  <a:spLocks noChangeArrowheads="1"/>
                </p:cNvSpPr>
                <p:nvPr/>
              </p:nvSpPr>
              <p:spPr bwMode="auto">
                <a:xfrm>
                  <a:off x="9713752" y="5493652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90" name="Rectangle 413"/>
                <p:cNvSpPr>
                  <a:spLocks noChangeArrowheads="1"/>
                </p:cNvSpPr>
                <p:nvPr/>
              </p:nvSpPr>
              <p:spPr bwMode="auto">
                <a:xfrm>
                  <a:off x="9735781" y="5493652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91" name="Rectangle 414"/>
                <p:cNvSpPr>
                  <a:spLocks noChangeArrowheads="1"/>
                </p:cNvSpPr>
                <p:nvPr/>
              </p:nvSpPr>
              <p:spPr bwMode="auto">
                <a:xfrm>
                  <a:off x="9755363" y="5493652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92" name="Rectangle 415"/>
                <p:cNvSpPr>
                  <a:spLocks noChangeArrowheads="1"/>
                </p:cNvSpPr>
                <p:nvPr/>
              </p:nvSpPr>
              <p:spPr bwMode="auto">
                <a:xfrm>
                  <a:off x="9777392" y="5493652"/>
                  <a:ext cx="4895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93" name="Oval 416"/>
                <p:cNvSpPr>
                  <a:spLocks noChangeArrowheads="1"/>
                </p:cNvSpPr>
                <p:nvPr/>
              </p:nvSpPr>
              <p:spPr bwMode="auto">
                <a:xfrm>
                  <a:off x="9960962" y="5513234"/>
                  <a:ext cx="24475" cy="22029"/>
                </a:xfrm>
                <a:prstGeom prst="ellipse">
                  <a:avLst/>
                </a:pr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94" name="Rectangle 417"/>
                <p:cNvSpPr>
                  <a:spLocks noChangeArrowheads="1"/>
                </p:cNvSpPr>
                <p:nvPr/>
              </p:nvSpPr>
              <p:spPr bwMode="auto">
                <a:xfrm>
                  <a:off x="9659906" y="5596451"/>
                  <a:ext cx="357352" cy="93009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95" name="Rectangle 418"/>
                <p:cNvSpPr>
                  <a:spLocks noChangeArrowheads="1"/>
                </p:cNvSpPr>
                <p:nvPr/>
              </p:nvSpPr>
              <p:spPr bwMode="auto">
                <a:xfrm>
                  <a:off x="9672143" y="5611137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96" name="Rectangle 419"/>
                <p:cNvSpPr>
                  <a:spLocks noChangeArrowheads="1"/>
                </p:cNvSpPr>
                <p:nvPr/>
              </p:nvSpPr>
              <p:spPr bwMode="auto">
                <a:xfrm>
                  <a:off x="9694171" y="5611137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97" name="Rectangle 420"/>
                <p:cNvSpPr>
                  <a:spLocks noChangeArrowheads="1"/>
                </p:cNvSpPr>
                <p:nvPr/>
              </p:nvSpPr>
              <p:spPr bwMode="auto">
                <a:xfrm>
                  <a:off x="9713752" y="5611137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98" name="Rectangle 421"/>
                <p:cNvSpPr>
                  <a:spLocks noChangeArrowheads="1"/>
                </p:cNvSpPr>
                <p:nvPr/>
              </p:nvSpPr>
              <p:spPr bwMode="auto">
                <a:xfrm>
                  <a:off x="9735781" y="5611137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99" name="Rectangle 422"/>
                <p:cNvSpPr>
                  <a:spLocks noChangeArrowheads="1"/>
                </p:cNvSpPr>
                <p:nvPr/>
              </p:nvSpPr>
              <p:spPr bwMode="auto">
                <a:xfrm>
                  <a:off x="9755363" y="5611137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00" name="Rectangle 423"/>
                <p:cNvSpPr>
                  <a:spLocks noChangeArrowheads="1"/>
                </p:cNvSpPr>
                <p:nvPr/>
              </p:nvSpPr>
              <p:spPr bwMode="auto">
                <a:xfrm>
                  <a:off x="9777392" y="5611137"/>
                  <a:ext cx="4895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01" name="Oval 424"/>
                <p:cNvSpPr>
                  <a:spLocks noChangeArrowheads="1"/>
                </p:cNvSpPr>
                <p:nvPr/>
              </p:nvSpPr>
              <p:spPr bwMode="auto">
                <a:xfrm>
                  <a:off x="9960962" y="5630720"/>
                  <a:ext cx="24475" cy="19581"/>
                </a:xfrm>
                <a:prstGeom prst="ellipse">
                  <a:avLst/>
                </a:pr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02" name="Rectangle 425"/>
                <p:cNvSpPr>
                  <a:spLocks noChangeArrowheads="1"/>
                </p:cNvSpPr>
                <p:nvPr/>
              </p:nvSpPr>
              <p:spPr bwMode="auto">
                <a:xfrm>
                  <a:off x="9659906" y="5713937"/>
                  <a:ext cx="357352" cy="9056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03" name="Rectangle 426"/>
                <p:cNvSpPr>
                  <a:spLocks noChangeArrowheads="1"/>
                </p:cNvSpPr>
                <p:nvPr/>
              </p:nvSpPr>
              <p:spPr bwMode="auto">
                <a:xfrm>
                  <a:off x="9672143" y="5726175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04" name="Rectangle 427"/>
                <p:cNvSpPr>
                  <a:spLocks noChangeArrowheads="1"/>
                </p:cNvSpPr>
                <p:nvPr/>
              </p:nvSpPr>
              <p:spPr bwMode="auto">
                <a:xfrm>
                  <a:off x="9694171" y="5726175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05" name="Rectangle 428"/>
                <p:cNvSpPr>
                  <a:spLocks noChangeArrowheads="1"/>
                </p:cNvSpPr>
                <p:nvPr/>
              </p:nvSpPr>
              <p:spPr bwMode="auto">
                <a:xfrm>
                  <a:off x="9713752" y="5726175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06" name="Rectangle 429"/>
                <p:cNvSpPr>
                  <a:spLocks noChangeArrowheads="1"/>
                </p:cNvSpPr>
                <p:nvPr/>
              </p:nvSpPr>
              <p:spPr bwMode="auto">
                <a:xfrm>
                  <a:off x="9735781" y="5726175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07" name="Rectangle 430"/>
                <p:cNvSpPr>
                  <a:spLocks noChangeArrowheads="1"/>
                </p:cNvSpPr>
                <p:nvPr/>
              </p:nvSpPr>
              <p:spPr bwMode="auto">
                <a:xfrm>
                  <a:off x="9755363" y="5726175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08" name="Rectangle 431"/>
                <p:cNvSpPr>
                  <a:spLocks noChangeArrowheads="1"/>
                </p:cNvSpPr>
                <p:nvPr/>
              </p:nvSpPr>
              <p:spPr bwMode="auto">
                <a:xfrm>
                  <a:off x="9777392" y="5726175"/>
                  <a:ext cx="4895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09" name="Oval 408"/>
                <p:cNvSpPr>
                  <a:spLocks noChangeArrowheads="1"/>
                </p:cNvSpPr>
                <p:nvPr/>
              </p:nvSpPr>
              <p:spPr bwMode="auto">
                <a:xfrm>
                  <a:off x="9960962" y="5748204"/>
                  <a:ext cx="24475" cy="19581"/>
                </a:xfrm>
                <a:prstGeom prst="ellipse">
                  <a:avLst/>
                </a:pr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10" name="Rectangle 409"/>
                <p:cNvSpPr>
                  <a:spLocks noChangeArrowheads="1"/>
                </p:cNvSpPr>
                <p:nvPr/>
              </p:nvSpPr>
              <p:spPr bwMode="auto">
                <a:xfrm>
                  <a:off x="9659906" y="5828975"/>
                  <a:ext cx="357352" cy="8811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11" name="Rectangle 410"/>
                <p:cNvSpPr>
                  <a:spLocks noChangeArrowheads="1"/>
                </p:cNvSpPr>
                <p:nvPr/>
              </p:nvSpPr>
              <p:spPr bwMode="auto">
                <a:xfrm>
                  <a:off x="9672144" y="5843661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12" name="Rectangle 411"/>
                <p:cNvSpPr>
                  <a:spLocks noChangeArrowheads="1"/>
                </p:cNvSpPr>
                <p:nvPr/>
              </p:nvSpPr>
              <p:spPr bwMode="auto">
                <a:xfrm>
                  <a:off x="9694171" y="5843661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13" name="Rectangle 412"/>
                <p:cNvSpPr>
                  <a:spLocks noChangeArrowheads="1"/>
                </p:cNvSpPr>
                <p:nvPr/>
              </p:nvSpPr>
              <p:spPr bwMode="auto">
                <a:xfrm>
                  <a:off x="9713752" y="5843661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14" name="Rectangle 413"/>
                <p:cNvSpPr>
                  <a:spLocks noChangeArrowheads="1"/>
                </p:cNvSpPr>
                <p:nvPr/>
              </p:nvSpPr>
              <p:spPr bwMode="auto">
                <a:xfrm>
                  <a:off x="9735781" y="5843661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15" name="Rectangle 414"/>
                <p:cNvSpPr>
                  <a:spLocks noChangeArrowheads="1"/>
                </p:cNvSpPr>
                <p:nvPr/>
              </p:nvSpPr>
              <p:spPr bwMode="auto">
                <a:xfrm>
                  <a:off x="9755363" y="5843661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16" name="Rectangle 415"/>
                <p:cNvSpPr>
                  <a:spLocks noChangeArrowheads="1"/>
                </p:cNvSpPr>
                <p:nvPr/>
              </p:nvSpPr>
              <p:spPr bwMode="auto">
                <a:xfrm>
                  <a:off x="9777392" y="5843661"/>
                  <a:ext cx="4895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17" name="Oval 416"/>
                <p:cNvSpPr>
                  <a:spLocks noChangeArrowheads="1"/>
                </p:cNvSpPr>
                <p:nvPr/>
              </p:nvSpPr>
              <p:spPr bwMode="auto">
                <a:xfrm>
                  <a:off x="9960962" y="5863242"/>
                  <a:ext cx="24475" cy="19581"/>
                </a:xfrm>
                <a:prstGeom prst="ellipse">
                  <a:avLst/>
                </a:pr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18" name="Rectangle 417"/>
                <p:cNvSpPr>
                  <a:spLocks noChangeArrowheads="1"/>
                </p:cNvSpPr>
                <p:nvPr/>
              </p:nvSpPr>
              <p:spPr bwMode="auto">
                <a:xfrm>
                  <a:off x="9591372" y="5050633"/>
                  <a:ext cx="494419" cy="1035343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19" name="Rectangle 418"/>
                <p:cNvSpPr>
                  <a:spLocks noChangeArrowheads="1"/>
                </p:cNvSpPr>
                <p:nvPr/>
              </p:nvSpPr>
              <p:spPr bwMode="auto">
                <a:xfrm>
                  <a:off x="9635429" y="5102032"/>
                  <a:ext cx="401410" cy="898276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20" name="Rectangle 419"/>
                <p:cNvSpPr>
                  <a:spLocks noChangeArrowheads="1"/>
                </p:cNvSpPr>
                <p:nvPr/>
              </p:nvSpPr>
              <p:spPr bwMode="auto">
                <a:xfrm>
                  <a:off x="9659906" y="5131405"/>
                  <a:ext cx="357352" cy="9056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21" name="Rectangle 420"/>
                <p:cNvSpPr>
                  <a:spLocks noChangeArrowheads="1"/>
                </p:cNvSpPr>
                <p:nvPr/>
              </p:nvSpPr>
              <p:spPr bwMode="auto">
                <a:xfrm>
                  <a:off x="9672144" y="5143641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22" name="Rectangle 421"/>
                <p:cNvSpPr>
                  <a:spLocks noChangeArrowheads="1"/>
                </p:cNvSpPr>
                <p:nvPr/>
              </p:nvSpPr>
              <p:spPr bwMode="auto">
                <a:xfrm>
                  <a:off x="9694171" y="5143641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23" name="Rectangle 422"/>
                <p:cNvSpPr>
                  <a:spLocks noChangeArrowheads="1"/>
                </p:cNvSpPr>
                <p:nvPr/>
              </p:nvSpPr>
              <p:spPr bwMode="auto">
                <a:xfrm>
                  <a:off x="9713752" y="5143641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24" name="Rectangle 423"/>
                <p:cNvSpPr>
                  <a:spLocks noChangeArrowheads="1"/>
                </p:cNvSpPr>
                <p:nvPr/>
              </p:nvSpPr>
              <p:spPr bwMode="auto">
                <a:xfrm>
                  <a:off x="9735781" y="5143641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25" name="Rectangle 424"/>
                <p:cNvSpPr>
                  <a:spLocks noChangeArrowheads="1"/>
                </p:cNvSpPr>
                <p:nvPr/>
              </p:nvSpPr>
              <p:spPr bwMode="auto">
                <a:xfrm>
                  <a:off x="9755363" y="5143641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26" name="Rectangle 425"/>
                <p:cNvSpPr>
                  <a:spLocks noChangeArrowheads="1"/>
                </p:cNvSpPr>
                <p:nvPr/>
              </p:nvSpPr>
              <p:spPr bwMode="auto">
                <a:xfrm>
                  <a:off x="9777392" y="5143641"/>
                  <a:ext cx="4895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27" name="Oval 426"/>
                <p:cNvSpPr>
                  <a:spLocks noChangeArrowheads="1"/>
                </p:cNvSpPr>
                <p:nvPr/>
              </p:nvSpPr>
              <p:spPr bwMode="auto">
                <a:xfrm>
                  <a:off x="9960962" y="5165671"/>
                  <a:ext cx="24475" cy="22029"/>
                </a:xfrm>
                <a:prstGeom prst="ellipse">
                  <a:avLst/>
                </a:pr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28" name="Rectangle 427"/>
                <p:cNvSpPr>
                  <a:spLocks noChangeArrowheads="1"/>
                </p:cNvSpPr>
                <p:nvPr/>
              </p:nvSpPr>
              <p:spPr bwMode="auto">
                <a:xfrm>
                  <a:off x="9659906" y="5246442"/>
                  <a:ext cx="357352" cy="93009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29" name="Rectangle 428"/>
                <p:cNvSpPr>
                  <a:spLocks noChangeArrowheads="1"/>
                </p:cNvSpPr>
                <p:nvPr/>
              </p:nvSpPr>
              <p:spPr bwMode="auto">
                <a:xfrm>
                  <a:off x="9672144" y="5261126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30" name="Rectangle 429"/>
                <p:cNvSpPr>
                  <a:spLocks noChangeArrowheads="1"/>
                </p:cNvSpPr>
                <p:nvPr/>
              </p:nvSpPr>
              <p:spPr bwMode="auto">
                <a:xfrm>
                  <a:off x="9694171" y="5261126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31" name="Rectangle 430"/>
                <p:cNvSpPr>
                  <a:spLocks noChangeArrowheads="1"/>
                </p:cNvSpPr>
                <p:nvPr/>
              </p:nvSpPr>
              <p:spPr bwMode="auto">
                <a:xfrm>
                  <a:off x="9713752" y="5261126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32" name="Rectangle 431"/>
                <p:cNvSpPr>
                  <a:spLocks noChangeArrowheads="1"/>
                </p:cNvSpPr>
                <p:nvPr/>
              </p:nvSpPr>
              <p:spPr bwMode="auto">
                <a:xfrm>
                  <a:off x="9735781" y="5261126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33" name="Rectangle 432"/>
                <p:cNvSpPr>
                  <a:spLocks noChangeArrowheads="1"/>
                </p:cNvSpPr>
                <p:nvPr/>
              </p:nvSpPr>
              <p:spPr bwMode="auto">
                <a:xfrm>
                  <a:off x="9755363" y="5261126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34" name="Rectangle 433"/>
                <p:cNvSpPr>
                  <a:spLocks noChangeArrowheads="1"/>
                </p:cNvSpPr>
                <p:nvPr/>
              </p:nvSpPr>
              <p:spPr bwMode="auto">
                <a:xfrm>
                  <a:off x="9777392" y="5261126"/>
                  <a:ext cx="4895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35" name="Oval 434"/>
                <p:cNvSpPr>
                  <a:spLocks noChangeArrowheads="1"/>
                </p:cNvSpPr>
                <p:nvPr/>
              </p:nvSpPr>
              <p:spPr bwMode="auto">
                <a:xfrm>
                  <a:off x="9960962" y="5280709"/>
                  <a:ext cx="24475" cy="24475"/>
                </a:xfrm>
                <a:prstGeom prst="ellipse">
                  <a:avLst/>
                </a:pr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36" name="Rectangle 435"/>
                <p:cNvSpPr>
                  <a:spLocks noChangeArrowheads="1"/>
                </p:cNvSpPr>
                <p:nvPr/>
              </p:nvSpPr>
              <p:spPr bwMode="auto">
                <a:xfrm>
                  <a:off x="9659906" y="5363927"/>
                  <a:ext cx="357352" cy="93009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37" name="Rectangle 436"/>
                <p:cNvSpPr>
                  <a:spLocks noChangeArrowheads="1"/>
                </p:cNvSpPr>
                <p:nvPr/>
              </p:nvSpPr>
              <p:spPr bwMode="auto">
                <a:xfrm>
                  <a:off x="9672144" y="5376167"/>
                  <a:ext cx="12238" cy="6363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38" name="Rectangle 437"/>
                <p:cNvSpPr>
                  <a:spLocks noChangeArrowheads="1"/>
                </p:cNvSpPr>
                <p:nvPr/>
              </p:nvSpPr>
              <p:spPr bwMode="auto">
                <a:xfrm>
                  <a:off x="9694171" y="5376167"/>
                  <a:ext cx="9790" cy="6363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39" name="Rectangle 438"/>
                <p:cNvSpPr>
                  <a:spLocks noChangeArrowheads="1"/>
                </p:cNvSpPr>
                <p:nvPr/>
              </p:nvSpPr>
              <p:spPr bwMode="auto">
                <a:xfrm>
                  <a:off x="9713752" y="5376167"/>
                  <a:ext cx="12238" cy="6363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40" name="Rectangle 439"/>
                <p:cNvSpPr>
                  <a:spLocks noChangeArrowheads="1"/>
                </p:cNvSpPr>
                <p:nvPr/>
              </p:nvSpPr>
              <p:spPr bwMode="auto">
                <a:xfrm>
                  <a:off x="9735781" y="5376167"/>
                  <a:ext cx="9790" cy="6363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41" name="Rectangle 440"/>
                <p:cNvSpPr>
                  <a:spLocks noChangeArrowheads="1"/>
                </p:cNvSpPr>
                <p:nvPr/>
              </p:nvSpPr>
              <p:spPr bwMode="auto">
                <a:xfrm>
                  <a:off x="9755363" y="5376167"/>
                  <a:ext cx="9790" cy="6363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42" name="Rectangle 441"/>
                <p:cNvSpPr>
                  <a:spLocks noChangeArrowheads="1"/>
                </p:cNvSpPr>
                <p:nvPr/>
              </p:nvSpPr>
              <p:spPr bwMode="auto">
                <a:xfrm>
                  <a:off x="9777392" y="5376167"/>
                  <a:ext cx="4895" cy="6363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43" name="Oval 442"/>
                <p:cNvSpPr>
                  <a:spLocks noChangeArrowheads="1"/>
                </p:cNvSpPr>
                <p:nvPr/>
              </p:nvSpPr>
              <p:spPr bwMode="auto">
                <a:xfrm>
                  <a:off x="9960962" y="5398193"/>
                  <a:ext cx="24475" cy="24475"/>
                </a:xfrm>
                <a:prstGeom prst="ellipse">
                  <a:avLst/>
                </a:pr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44" name="Rectangle 443"/>
                <p:cNvSpPr>
                  <a:spLocks noChangeArrowheads="1"/>
                </p:cNvSpPr>
                <p:nvPr/>
              </p:nvSpPr>
              <p:spPr bwMode="auto">
                <a:xfrm>
                  <a:off x="9659906" y="5478965"/>
                  <a:ext cx="357352" cy="93009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45" name="Rectangle 444"/>
                <p:cNvSpPr>
                  <a:spLocks noChangeArrowheads="1"/>
                </p:cNvSpPr>
                <p:nvPr/>
              </p:nvSpPr>
              <p:spPr bwMode="auto">
                <a:xfrm>
                  <a:off x="9672144" y="5493652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46" name="Rectangle 445"/>
                <p:cNvSpPr>
                  <a:spLocks noChangeArrowheads="1"/>
                </p:cNvSpPr>
                <p:nvPr/>
              </p:nvSpPr>
              <p:spPr bwMode="auto">
                <a:xfrm>
                  <a:off x="9694171" y="5493652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47" name="Rectangle 446"/>
                <p:cNvSpPr>
                  <a:spLocks noChangeArrowheads="1"/>
                </p:cNvSpPr>
                <p:nvPr/>
              </p:nvSpPr>
              <p:spPr bwMode="auto">
                <a:xfrm>
                  <a:off x="9713752" y="5493652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48" name="Rectangle 447"/>
                <p:cNvSpPr>
                  <a:spLocks noChangeArrowheads="1"/>
                </p:cNvSpPr>
                <p:nvPr/>
              </p:nvSpPr>
              <p:spPr bwMode="auto">
                <a:xfrm>
                  <a:off x="9735781" y="5493652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49" name="Rectangle 448"/>
                <p:cNvSpPr>
                  <a:spLocks noChangeArrowheads="1"/>
                </p:cNvSpPr>
                <p:nvPr/>
              </p:nvSpPr>
              <p:spPr bwMode="auto">
                <a:xfrm>
                  <a:off x="9755363" y="5493652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50" name="Rectangle 449"/>
                <p:cNvSpPr>
                  <a:spLocks noChangeArrowheads="1"/>
                </p:cNvSpPr>
                <p:nvPr/>
              </p:nvSpPr>
              <p:spPr bwMode="auto">
                <a:xfrm>
                  <a:off x="9777392" y="5493652"/>
                  <a:ext cx="4895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51" name="Oval 450"/>
                <p:cNvSpPr>
                  <a:spLocks noChangeArrowheads="1"/>
                </p:cNvSpPr>
                <p:nvPr/>
              </p:nvSpPr>
              <p:spPr bwMode="auto">
                <a:xfrm>
                  <a:off x="9960962" y="5513234"/>
                  <a:ext cx="24475" cy="22029"/>
                </a:xfrm>
                <a:prstGeom prst="ellipse">
                  <a:avLst/>
                </a:pr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52" name="Rectangle 451"/>
                <p:cNvSpPr>
                  <a:spLocks noChangeArrowheads="1"/>
                </p:cNvSpPr>
                <p:nvPr/>
              </p:nvSpPr>
              <p:spPr bwMode="auto">
                <a:xfrm>
                  <a:off x="9659906" y="5596451"/>
                  <a:ext cx="357352" cy="93009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53" name="Rectangle 452"/>
                <p:cNvSpPr>
                  <a:spLocks noChangeArrowheads="1"/>
                </p:cNvSpPr>
                <p:nvPr/>
              </p:nvSpPr>
              <p:spPr bwMode="auto">
                <a:xfrm>
                  <a:off x="9672144" y="5611137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54" name="Rectangle 453"/>
                <p:cNvSpPr>
                  <a:spLocks noChangeArrowheads="1"/>
                </p:cNvSpPr>
                <p:nvPr/>
              </p:nvSpPr>
              <p:spPr bwMode="auto">
                <a:xfrm>
                  <a:off x="9694171" y="5611137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55" name="Rectangle 454"/>
                <p:cNvSpPr>
                  <a:spLocks noChangeArrowheads="1"/>
                </p:cNvSpPr>
                <p:nvPr/>
              </p:nvSpPr>
              <p:spPr bwMode="auto">
                <a:xfrm>
                  <a:off x="9713752" y="5611137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56" name="Rectangle 455"/>
                <p:cNvSpPr>
                  <a:spLocks noChangeArrowheads="1"/>
                </p:cNvSpPr>
                <p:nvPr/>
              </p:nvSpPr>
              <p:spPr bwMode="auto">
                <a:xfrm>
                  <a:off x="9735781" y="5611137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57" name="Rectangle 456"/>
                <p:cNvSpPr>
                  <a:spLocks noChangeArrowheads="1"/>
                </p:cNvSpPr>
                <p:nvPr/>
              </p:nvSpPr>
              <p:spPr bwMode="auto">
                <a:xfrm>
                  <a:off x="9755363" y="5611137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58" name="Rectangle 457"/>
                <p:cNvSpPr>
                  <a:spLocks noChangeArrowheads="1"/>
                </p:cNvSpPr>
                <p:nvPr/>
              </p:nvSpPr>
              <p:spPr bwMode="auto">
                <a:xfrm>
                  <a:off x="9777392" y="5611137"/>
                  <a:ext cx="4895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59" name="Oval 458"/>
                <p:cNvSpPr>
                  <a:spLocks noChangeArrowheads="1"/>
                </p:cNvSpPr>
                <p:nvPr/>
              </p:nvSpPr>
              <p:spPr bwMode="auto">
                <a:xfrm>
                  <a:off x="9960962" y="5630720"/>
                  <a:ext cx="24475" cy="19581"/>
                </a:xfrm>
                <a:prstGeom prst="ellipse">
                  <a:avLst/>
                </a:pr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60" name="Rectangle 459"/>
                <p:cNvSpPr>
                  <a:spLocks noChangeArrowheads="1"/>
                </p:cNvSpPr>
                <p:nvPr/>
              </p:nvSpPr>
              <p:spPr bwMode="auto">
                <a:xfrm>
                  <a:off x="9659906" y="5713937"/>
                  <a:ext cx="357352" cy="9056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61" name="Rectangle 460"/>
                <p:cNvSpPr>
                  <a:spLocks noChangeArrowheads="1"/>
                </p:cNvSpPr>
                <p:nvPr/>
              </p:nvSpPr>
              <p:spPr bwMode="auto">
                <a:xfrm>
                  <a:off x="9672144" y="5726175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62" name="Rectangle 461"/>
                <p:cNvSpPr>
                  <a:spLocks noChangeArrowheads="1"/>
                </p:cNvSpPr>
                <p:nvPr/>
              </p:nvSpPr>
              <p:spPr bwMode="auto">
                <a:xfrm>
                  <a:off x="9694171" y="5726175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63" name="Rectangle 462"/>
                <p:cNvSpPr>
                  <a:spLocks noChangeArrowheads="1"/>
                </p:cNvSpPr>
                <p:nvPr/>
              </p:nvSpPr>
              <p:spPr bwMode="auto">
                <a:xfrm>
                  <a:off x="9713752" y="5726175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64" name="Rectangle 463"/>
                <p:cNvSpPr>
                  <a:spLocks noChangeArrowheads="1"/>
                </p:cNvSpPr>
                <p:nvPr/>
              </p:nvSpPr>
              <p:spPr bwMode="auto">
                <a:xfrm>
                  <a:off x="9735781" y="5726175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65" name="Rectangle 464"/>
                <p:cNvSpPr>
                  <a:spLocks noChangeArrowheads="1"/>
                </p:cNvSpPr>
                <p:nvPr/>
              </p:nvSpPr>
              <p:spPr bwMode="auto">
                <a:xfrm>
                  <a:off x="9755363" y="5726175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66" name="Rectangle 465"/>
                <p:cNvSpPr>
                  <a:spLocks noChangeArrowheads="1"/>
                </p:cNvSpPr>
                <p:nvPr/>
              </p:nvSpPr>
              <p:spPr bwMode="auto">
                <a:xfrm>
                  <a:off x="9777392" y="5726175"/>
                  <a:ext cx="4895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67" name="Oval 466"/>
                <p:cNvSpPr>
                  <a:spLocks noChangeArrowheads="1"/>
                </p:cNvSpPr>
                <p:nvPr/>
              </p:nvSpPr>
              <p:spPr bwMode="auto">
                <a:xfrm>
                  <a:off x="9960962" y="5748204"/>
                  <a:ext cx="24475" cy="19581"/>
                </a:xfrm>
                <a:prstGeom prst="ellipse">
                  <a:avLst/>
                </a:pr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68" name="Rectangle 467"/>
                <p:cNvSpPr>
                  <a:spLocks noChangeArrowheads="1"/>
                </p:cNvSpPr>
                <p:nvPr/>
              </p:nvSpPr>
              <p:spPr bwMode="auto">
                <a:xfrm>
                  <a:off x="9659906" y="5828975"/>
                  <a:ext cx="357352" cy="8811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69" name="Rectangle 468"/>
                <p:cNvSpPr>
                  <a:spLocks noChangeArrowheads="1"/>
                </p:cNvSpPr>
                <p:nvPr/>
              </p:nvSpPr>
              <p:spPr bwMode="auto">
                <a:xfrm>
                  <a:off x="9672144" y="5843661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70" name="Rectangle 469"/>
                <p:cNvSpPr>
                  <a:spLocks noChangeArrowheads="1"/>
                </p:cNvSpPr>
                <p:nvPr/>
              </p:nvSpPr>
              <p:spPr bwMode="auto">
                <a:xfrm>
                  <a:off x="9694171" y="5843661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71" name="Rectangle 470"/>
                <p:cNvSpPr>
                  <a:spLocks noChangeArrowheads="1"/>
                </p:cNvSpPr>
                <p:nvPr/>
              </p:nvSpPr>
              <p:spPr bwMode="auto">
                <a:xfrm>
                  <a:off x="9713752" y="5843661"/>
                  <a:ext cx="12238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72" name="Rectangle 471"/>
                <p:cNvSpPr>
                  <a:spLocks noChangeArrowheads="1"/>
                </p:cNvSpPr>
                <p:nvPr/>
              </p:nvSpPr>
              <p:spPr bwMode="auto">
                <a:xfrm>
                  <a:off x="9735781" y="5843661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73" name="Rectangle 472"/>
                <p:cNvSpPr>
                  <a:spLocks noChangeArrowheads="1"/>
                </p:cNvSpPr>
                <p:nvPr/>
              </p:nvSpPr>
              <p:spPr bwMode="auto">
                <a:xfrm>
                  <a:off x="9755363" y="5843661"/>
                  <a:ext cx="9790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74" name="Rectangle 473"/>
                <p:cNvSpPr>
                  <a:spLocks noChangeArrowheads="1"/>
                </p:cNvSpPr>
                <p:nvPr/>
              </p:nvSpPr>
              <p:spPr bwMode="auto">
                <a:xfrm>
                  <a:off x="9777392" y="5843661"/>
                  <a:ext cx="4895" cy="61192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75" name="Oval 474"/>
                <p:cNvSpPr>
                  <a:spLocks noChangeArrowheads="1"/>
                </p:cNvSpPr>
                <p:nvPr/>
              </p:nvSpPr>
              <p:spPr bwMode="auto">
                <a:xfrm>
                  <a:off x="9960962" y="5863242"/>
                  <a:ext cx="24475" cy="19581"/>
                </a:xfrm>
                <a:prstGeom prst="ellipse">
                  <a:avLst/>
                </a:pr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grpSp>
              <p:nvGrpSpPr>
                <p:cNvPr id="476" name="Group 475"/>
                <p:cNvGrpSpPr/>
                <p:nvPr/>
              </p:nvGrpSpPr>
              <p:grpSpPr>
                <a:xfrm>
                  <a:off x="8106570" y="3935906"/>
                  <a:ext cx="1022202" cy="1018989"/>
                  <a:chOff x="1788763" y="2298419"/>
                  <a:chExt cx="576142" cy="574331"/>
                </a:xfrm>
              </p:grpSpPr>
              <p:sp>
                <p:nvSpPr>
                  <p:cNvPr id="481" name="Oval 616"/>
                  <p:cNvSpPr>
                    <a:spLocks noChangeArrowheads="1"/>
                  </p:cNvSpPr>
                  <p:nvPr/>
                </p:nvSpPr>
                <p:spPr bwMode="auto">
                  <a:xfrm>
                    <a:off x="1788763" y="2298419"/>
                    <a:ext cx="576142" cy="574331"/>
                  </a:xfrm>
                  <a:prstGeom prst="ellipse">
                    <a:avLst/>
                  </a:prstGeom>
                  <a:solidFill>
                    <a:srgbClr val="68217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82" name="Freeform 617"/>
                  <p:cNvSpPr>
                    <a:spLocks noEditPoints="1"/>
                  </p:cNvSpPr>
                  <p:nvPr/>
                </p:nvSpPr>
                <p:spPr bwMode="auto">
                  <a:xfrm>
                    <a:off x="1933705" y="2465102"/>
                    <a:ext cx="286259" cy="244589"/>
                  </a:xfrm>
                  <a:custGeom>
                    <a:avLst/>
                    <a:gdLst>
                      <a:gd name="T0" fmla="*/ 108 w 113"/>
                      <a:gd name="T1" fmla="*/ 90 h 96"/>
                      <a:gd name="T2" fmla="*/ 0 w 113"/>
                      <a:gd name="T3" fmla="*/ 17 h 96"/>
                      <a:gd name="T4" fmla="*/ 0 w 113"/>
                      <a:gd name="T5" fmla="*/ 96 h 96"/>
                      <a:gd name="T6" fmla="*/ 113 w 113"/>
                      <a:gd name="T7" fmla="*/ 0 h 96"/>
                      <a:gd name="T8" fmla="*/ 0 w 113"/>
                      <a:gd name="T9" fmla="*/ 0 h 96"/>
                      <a:gd name="T10" fmla="*/ 66 w 113"/>
                      <a:gd name="T11" fmla="*/ 54 h 96"/>
                      <a:gd name="T12" fmla="*/ 63 w 113"/>
                      <a:gd name="T13" fmla="*/ 48 h 96"/>
                      <a:gd name="T14" fmla="*/ 59 w 113"/>
                      <a:gd name="T15" fmla="*/ 45 h 96"/>
                      <a:gd name="T16" fmla="*/ 53 w 113"/>
                      <a:gd name="T17" fmla="*/ 42 h 96"/>
                      <a:gd name="T18" fmla="*/ 48 w 113"/>
                      <a:gd name="T19" fmla="*/ 42 h 96"/>
                      <a:gd name="T20" fmla="*/ 42 w 113"/>
                      <a:gd name="T21" fmla="*/ 45 h 96"/>
                      <a:gd name="T22" fmla="*/ 38 w 113"/>
                      <a:gd name="T23" fmla="*/ 48 h 96"/>
                      <a:gd name="T24" fmla="*/ 35 w 113"/>
                      <a:gd name="T25" fmla="*/ 54 h 96"/>
                      <a:gd name="T26" fmla="*/ 34 w 113"/>
                      <a:gd name="T27" fmla="*/ 59 h 96"/>
                      <a:gd name="T28" fmla="*/ 35 w 113"/>
                      <a:gd name="T29" fmla="*/ 65 h 96"/>
                      <a:gd name="T30" fmla="*/ 38 w 113"/>
                      <a:gd name="T31" fmla="*/ 70 h 96"/>
                      <a:gd name="T32" fmla="*/ 43 w 113"/>
                      <a:gd name="T33" fmla="*/ 74 h 96"/>
                      <a:gd name="T34" fmla="*/ 47 w 113"/>
                      <a:gd name="T35" fmla="*/ 76 h 96"/>
                      <a:gd name="T36" fmla="*/ 51 w 113"/>
                      <a:gd name="T37" fmla="*/ 71 h 96"/>
                      <a:gd name="T38" fmla="*/ 58 w 113"/>
                      <a:gd name="T39" fmla="*/ 75 h 96"/>
                      <a:gd name="T40" fmla="*/ 59 w 113"/>
                      <a:gd name="T41" fmla="*/ 68 h 96"/>
                      <a:gd name="T42" fmla="*/ 66 w 113"/>
                      <a:gd name="T43" fmla="*/ 67 h 96"/>
                      <a:gd name="T44" fmla="*/ 63 w 113"/>
                      <a:gd name="T45" fmla="*/ 61 h 96"/>
                      <a:gd name="T46" fmla="*/ 57 w 113"/>
                      <a:gd name="T47" fmla="*/ 59 h 96"/>
                      <a:gd name="T48" fmla="*/ 46 w 113"/>
                      <a:gd name="T49" fmla="*/ 64 h 96"/>
                      <a:gd name="T50" fmla="*/ 51 w 113"/>
                      <a:gd name="T51" fmla="*/ 53 h 96"/>
                      <a:gd name="T52" fmla="*/ 47 w 113"/>
                      <a:gd name="T53" fmla="*/ 59 h 96"/>
                      <a:gd name="T54" fmla="*/ 51 w 113"/>
                      <a:gd name="T55" fmla="*/ 62 h 96"/>
                      <a:gd name="T56" fmla="*/ 78 w 113"/>
                      <a:gd name="T57" fmla="*/ 47 h 96"/>
                      <a:gd name="T58" fmla="*/ 80 w 113"/>
                      <a:gd name="T59" fmla="*/ 44 h 96"/>
                      <a:gd name="T60" fmla="*/ 78 w 113"/>
                      <a:gd name="T61" fmla="*/ 42 h 96"/>
                      <a:gd name="T62" fmla="*/ 74 w 113"/>
                      <a:gd name="T63" fmla="*/ 41 h 96"/>
                      <a:gd name="T64" fmla="*/ 71 w 113"/>
                      <a:gd name="T65" fmla="*/ 38 h 96"/>
                      <a:gd name="T66" fmla="*/ 67 w 113"/>
                      <a:gd name="T67" fmla="*/ 42 h 96"/>
                      <a:gd name="T68" fmla="*/ 64 w 113"/>
                      <a:gd name="T69" fmla="*/ 42 h 96"/>
                      <a:gd name="T70" fmla="*/ 63 w 113"/>
                      <a:gd name="T71" fmla="*/ 44 h 96"/>
                      <a:gd name="T72" fmla="*/ 65 w 113"/>
                      <a:gd name="T73" fmla="*/ 48 h 96"/>
                      <a:gd name="T74" fmla="*/ 63 w 113"/>
                      <a:gd name="T75" fmla="*/ 51 h 96"/>
                      <a:gd name="T76" fmla="*/ 65 w 113"/>
                      <a:gd name="T77" fmla="*/ 53 h 96"/>
                      <a:gd name="T78" fmla="*/ 70 w 113"/>
                      <a:gd name="T79" fmla="*/ 56 h 96"/>
                      <a:gd name="T80" fmla="*/ 73 w 113"/>
                      <a:gd name="T81" fmla="*/ 56 h 96"/>
                      <a:gd name="T82" fmla="*/ 78 w 113"/>
                      <a:gd name="T83" fmla="*/ 53 h 96"/>
                      <a:gd name="T84" fmla="*/ 80 w 113"/>
                      <a:gd name="T85" fmla="*/ 51 h 96"/>
                      <a:gd name="T86" fmla="*/ 78 w 113"/>
                      <a:gd name="T87" fmla="*/ 48 h 96"/>
                      <a:gd name="T88" fmla="*/ 71 w 113"/>
                      <a:gd name="T89" fmla="*/ 50 h 96"/>
                      <a:gd name="T90" fmla="*/ 74 w 113"/>
                      <a:gd name="T91" fmla="*/ 47 h 9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</a:cxnLst>
                    <a:rect l="0" t="0" r="r" b="b"/>
                    <a:pathLst>
                      <a:path w="113" h="96">
                        <a:moveTo>
                          <a:pt x="6" y="22"/>
                        </a:moveTo>
                        <a:cubicBezTo>
                          <a:pt x="6" y="90"/>
                          <a:pt x="6" y="90"/>
                          <a:pt x="6" y="90"/>
                        </a:cubicBezTo>
                        <a:cubicBezTo>
                          <a:pt x="108" y="90"/>
                          <a:pt x="108" y="90"/>
                          <a:pt x="108" y="90"/>
                        </a:cubicBezTo>
                        <a:cubicBezTo>
                          <a:pt x="108" y="22"/>
                          <a:pt x="108" y="22"/>
                          <a:pt x="108" y="22"/>
                        </a:cubicBezTo>
                        <a:cubicBezTo>
                          <a:pt x="6" y="22"/>
                          <a:pt x="6" y="22"/>
                          <a:pt x="6" y="22"/>
                        </a:cubicBezTo>
                        <a:close/>
                        <a:moveTo>
                          <a:pt x="0" y="17"/>
                        </a:moveTo>
                        <a:cubicBezTo>
                          <a:pt x="113" y="17"/>
                          <a:pt x="113" y="17"/>
                          <a:pt x="113" y="17"/>
                        </a:cubicBezTo>
                        <a:cubicBezTo>
                          <a:pt x="113" y="96"/>
                          <a:pt x="113" y="96"/>
                          <a:pt x="113" y="96"/>
                        </a:cubicBezTo>
                        <a:cubicBezTo>
                          <a:pt x="0" y="96"/>
                          <a:pt x="0" y="96"/>
                          <a:pt x="0" y="96"/>
                        </a:cubicBezTo>
                        <a:cubicBezTo>
                          <a:pt x="0" y="17"/>
                          <a:pt x="0" y="17"/>
                          <a:pt x="0" y="17"/>
                        </a:cubicBezTo>
                        <a:close/>
                        <a:moveTo>
                          <a:pt x="0" y="0"/>
                        </a:moveTo>
                        <a:cubicBezTo>
                          <a:pt x="113" y="0"/>
                          <a:pt x="113" y="0"/>
                          <a:pt x="113" y="0"/>
                        </a:cubicBezTo>
                        <a:cubicBezTo>
                          <a:pt x="113" y="11"/>
                          <a:pt x="113" y="11"/>
                          <a:pt x="113" y="11"/>
                        </a:cubicBezTo>
                        <a:cubicBezTo>
                          <a:pt x="0" y="11"/>
                          <a:pt x="0" y="11"/>
                          <a:pt x="0" y="11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lose/>
                        <a:moveTo>
                          <a:pt x="67" y="58"/>
                        </a:moveTo>
                        <a:cubicBezTo>
                          <a:pt x="67" y="55"/>
                          <a:pt x="67" y="55"/>
                          <a:pt x="67" y="55"/>
                        </a:cubicBezTo>
                        <a:cubicBezTo>
                          <a:pt x="67" y="55"/>
                          <a:pt x="67" y="54"/>
                          <a:pt x="66" y="54"/>
                        </a:cubicBezTo>
                        <a:cubicBezTo>
                          <a:pt x="61" y="54"/>
                          <a:pt x="61" y="54"/>
                          <a:pt x="61" y="54"/>
                        </a:cubicBezTo>
                        <a:cubicBezTo>
                          <a:pt x="61" y="54"/>
                          <a:pt x="61" y="53"/>
                          <a:pt x="61" y="53"/>
                        </a:cubicBezTo>
                        <a:cubicBezTo>
                          <a:pt x="63" y="48"/>
                          <a:pt x="63" y="48"/>
                          <a:pt x="63" y="48"/>
                        </a:cubicBezTo>
                        <a:cubicBezTo>
                          <a:pt x="63" y="48"/>
                          <a:pt x="63" y="48"/>
                          <a:pt x="63" y="47"/>
                        </a:cubicBezTo>
                        <a:cubicBezTo>
                          <a:pt x="60" y="45"/>
                          <a:pt x="60" y="45"/>
                          <a:pt x="60" y="45"/>
                        </a:cubicBezTo>
                        <a:cubicBezTo>
                          <a:pt x="60" y="45"/>
                          <a:pt x="59" y="45"/>
                          <a:pt x="59" y="45"/>
                        </a:cubicBezTo>
                        <a:cubicBezTo>
                          <a:pt x="55" y="48"/>
                          <a:pt x="55" y="48"/>
                          <a:pt x="55" y="48"/>
                        </a:cubicBezTo>
                        <a:cubicBezTo>
                          <a:pt x="55" y="48"/>
                          <a:pt x="55" y="48"/>
                          <a:pt x="54" y="48"/>
                        </a:cubicBezTo>
                        <a:cubicBezTo>
                          <a:pt x="53" y="42"/>
                          <a:pt x="53" y="42"/>
                          <a:pt x="53" y="42"/>
                        </a:cubicBezTo>
                        <a:cubicBezTo>
                          <a:pt x="53" y="42"/>
                          <a:pt x="53" y="42"/>
                          <a:pt x="52" y="42"/>
                        </a:cubicBezTo>
                        <a:cubicBezTo>
                          <a:pt x="49" y="42"/>
                          <a:pt x="49" y="42"/>
                          <a:pt x="49" y="42"/>
                        </a:cubicBezTo>
                        <a:cubicBezTo>
                          <a:pt x="49" y="42"/>
                          <a:pt x="48" y="42"/>
                          <a:pt x="48" y="42"/>
                        </a:cubicBezTo>
                        <a:cubicBezTo>
                          <a:pt x="47" y="48"/>
                          <a:pt x="47" y="48"/>
                          <a:pt x="47" y="48"/>
                        </a:cubicBezTo>
                        <a:cubicBezTo>
                          <a:pt x="46" y="48"/>
                          <a:pt x="46" y="48"/>
                          <a:pt x="46" y="48"/>
                        </a:cubicBezTo>
                        <a:cubicBezTo>
                          <a:pt x="42" y="45"/>
                          <a:pt x="42" y="45"/>
                          <a:pt x="42" y="45"/>
                        </a:cubicBezTo>
                        <a:cubicBezTo>
                          <a:pt x="41" y="45"/>
                          <a:pt x="41" y="45"/>
                          <a:pt x="41" y="45"/>
                        </a:cubicBezTo>
                        <a:cubicBezTo>
                          <a:pt x="38" y="47"/>
                          <a:pt x="38" y="47"/>
                          <a:pt x="38" y="47"/>
                        </a:cubicBezTo>
                        <a:cubicBezTo>
                          <a:pt x="38" y="48"/>
                          <a:pt x="38" y="48"/>
                          <a:pt x="38" y="48"/>
                        </a:cubicBezTo>
                        <a:cubicBezTo>
                          <a:pt x="40" y="53"/>
                          <a:pt x="40" y="53"/>
                          <a:pt x="40" y="53"/>
                        </a:cubicBezTo>
                        <a:cubicBezTo>
                          <a:pt x="40" y="53"/>
                          <a:pt x="40" y="54"/>
                          <a:pt x="40" y="54"/>
                        </a:cubicBezTo>
                        <a:cubicBezTo>
                          <a:pt x="35" y="54"/>
                          <a:pt x="35" y="54"/>
                          <a:pt x="35" y="54"/>
                        </a:cubicBezTo>
                        <a:cubicBezTo>
                          <a:pt x="34" y="54"/>
                          <a:pt x="34" y="55"/>
                          <a:pt x="34" y="55"/>
                        </a:cubicBezTo>
                        <a:cubicBezTo>
                          <a:pt x="33" y="58"/>
                          <a:pt x="33" y="58"/>
                          <a:pt x="33" y="58"/>
                        </a:cubicBezTo>
                        <a:cubicBezTo>
                          <a:pt x="33" y="58"/>
                          <a:pt x="34" y="59"/>
                          <a:pt x="34" y="59"/>
                        </a:cubicBezTo>
                        <a:cubicBezTo>
                          <a:pt x="39" y="61"/>
                          <a:pt x="39" y="61"/>
                          <a:pt x="39" y="61"/>
                        </a:cubicBezTo>
                        <a:cubicBezTo>
                          <a:pt x="39" y="61"/>
                          <a:pt x="39" y="62"/>
                          <a:pt x="39" y="62"/>
                        </a:cubicBezTo>
                        <a:cubicBezTo>
                          <a:pt x="35" y="65"/>
                          <a:pt x="35" y="65"/>
                          <a:pt x="35" y="65"/>
                        </a:cubicBezTo>
                        <a:cubicBezTo>
                          <a:pt x="35" y="66"/>
                          <a:pt x="35" y="66"/>
                          <a:pt x="35" y="67"/>
                        </a:cubicBezTo>
                        <a:cubicBezTo>
                          <a:pt x="37" y="69"/>
                          <a:pt x="37" y="69"/>
                          <a:pt x="37" y="69"/>
                        </a:cubicBezTo>
                        <a:cubicBezTo>
                          <a:pt x="37" y="70"/>
                          <a:pt x="37" y="70"/>
                          <a:pt x="38" y="70"/>
                        </a:cubicBezTo>
                        <a:cubicBezTo>
                          <a:pt x="42" y="68"/>
                          <a:pt x="42" y="68"/>
                          <a:pt x="42" y="68"/>
                        </a:cubicBezTo>
                        <a:cubicBezTo>
                          <a:pt x="43" y="69"/>
                          <a:pt x="43" y="69"/>
                          <a:pt x="43" y="69"/>
                        </a:cubicBezTo>
                        <a:cubicBezTo>
                          <a:pt x="43" y="74"/>
                          <a:pt x="43" y="74"/>
                          <a:pt x="43" y="74"/>
                        </a:cubicBezTo>
                        <a:cubicBezTo>
                          <a:pt x="43" y="74"/>
                          <a:pt x="43" y="75"/>
                          <a:pt x="43" y="75"/>
                        </a:cubicBezTo>
                        <a:cubicBezTo>
                          <a:pt x="46" y="76"/>
                          <a:pt x="46" y="76"/>
                          <a:pt x="46" y="76"/>
                        </a:cubicBezTo>
                        <a:cubicBezTo>
                          <a:pt x="47" y="76"/>
                          <a:pt x="47" y="76"/>
                          <a:pt x="47" y="76"/>
                        </a:cubicBezTo>
                        <a:cubicBezTo>
                          <a:pt x="50" y="71"/>
                          <a:pt x="50" y="71"/>
                          <a:pt x="50" y="71"/>
                        </a:cubicBezTo>
                        <a:cubicBezTo>
                          <a:pt x="50" y="71"/>
                          <a:pt x="50" y="71"/>
                          <a:pt x="51" y="71"/>
                        </a:cubicBezTo>
                        <a:cubicBezTo>
                          <a:pt x="51" y="71"/>
                          <a:pt x="51" y="71"/>
                          <a:pt x="51" y="71"/>
                        </a:cubicBezTo>
                        <a:cubicBezTo>
                          <a:pt x="54" y="76"/>
                          <a:pt x="54" y="76"/>
                          <a:pt x="54" y="76"/>
                        </a:cubicBezTo>
                        <a:cubicBezTo>
                          <a:pt x="54" y="76"/>
                          <a:pt x="54" y="76"/>
                          <a:pt x="55" y="76"/>
                        </a:cubicBezTo>
                        <a:cubicBezTo>
                          <a:pt x="58" y="75"/>
                          <a:pt x="58" y="75"/>
                          <a:pt x="58" y="75"/>
                        </a:cubicBezTo>
                        <a:cubicBezTo>
                          <a:pt x="58" y="75"/>
                          <a:pt x="58" y="74"/>
                          <a:pt x="58" y="74"/>
                        </a:cubicBezTo>
                        <a:cubicBezTo>
                          <a:pt x="58" y="69"/>
                          <a:pt x="58" y="69"/>
                          <a:pt x="58" y="69"/>
                        </a:cubicBezTo>
                        <a:cubicBezTo>
                          <a:pt x="58" y="69"/>
                          <a:pt x="58" y="69"/>
                          <a:pt x="59" y="68"/>
                        </a:cubicBezTo>
                        <a:cubicBezTo>
                          <a:pt x="64" y="70"/>
                          <a:pt x="64" y="70"/>
                          <a:pt x="64" y="70"/>
                        </a:cubicBezTo>
                        <a:cubicBezTo>
                          <a:pt x="64" y="70"/>
                          <a:pt x="64" y="70"/>
                          <a:pt x="64" y="69"/>
                        </a:cubicBezTo>
                        <a:cubicBezTo>
                          <a:pt x="66" y="67"/>
                          <a:pt x="66" y="67"/>
                          <a:pt x="66" y="67"/>
                        </a:cubicBezTo>
                        <a:cubicBezTo>
                          <a:pt x="66" y="66"/>
                          <a:pt x="66" y="66"/>
                          <a:pt x="66" y="65"/>
                        </a:cubicBezTo>
                        <a:cubicBezTo>
                          <a:pt x="62" y="62"/>
                          <a:pt x="62" y="62"/>
                          <a:pt x="62" y="62"/>
                        </a:cubicBezTo>
                        <a:cubicBezTo>
                          <a:pt x="62" y="62"/>
                          <a:pt x="62" y="61"/>
                          <a:pt x="63" y="61"/>
                        </a:cubicBezTo>
                        <a:cubicBezTo>
                          <a:pt x="67" y="59"/>
                          <a:pt x="67" y="59"/>
                          <a:pt x="67" y="59"/>
                        </a:cubicBezTo>
                        <a:cubicBezTo>
                          <a:pt x="67" y="59"/>
                          <a:pt x="67" y="58"/>
                          <a:pt x="67" y="58"/>
                        </a:cubicBezTo>
                        <a:close/>
                        <a:moveTo>
                          <a:pt x="57" y="59"/>
                        </a:moveTo>
                        <a:cubicBezTo>
                          <a:pt x="57" y="61"/>
                          <a:pt x="56" y="63"/>
                          <a:pt x="55" y="64"/>
                        </a:cubicBezTo>
                        <a:cubicBezTo>
                          <a:pt x="54" y="65"/>
                          <a:pt x="52" y="66"/>
                          <a:pt x="51" y="66"/>
                        </a:cubicBezTo>
                        <a:cubicBezTo>
                          <a:pt x="49" y="66"/>
                          <a:pt x="47" y="65"/>
                          <a:pt x="46" y="64"/>
                        </a:cubicBezTo>
                        <a:cubicBezTo>
                          <a:pt x="45" y="63"/>
                          <a:pt x="44" y="61"/>
                          <a:pt x="44" y="59"/>
                        </a:cubicBezTo>
                        <a:cubicBezTo>
                          <a:pt x="44" y="57"/>
                          <a:pt x="45" y="56"/>
                          <a:pt x="46" y="55"/>
                        </a:cubicBezTo>
                        <a:cubicBezTo>
                          <a:pt x="47" y="53"/>
                          <a:pt x="49" y="53"/>
                          <a:pt x="51" y="53"/>
                        </a:cubicBezTo>
                        <a:cubicBezTo>
                          <a:pt x="52" y="53"/>
                          <a:pt x="54" y="53"/>
                          <a:pt x="55" y="55"/>
                        </a:cubicBezTo>
                        <a:cubicBezTo>
                          <a:pt x="56" y="56"/>
                          <a:pt x="57" y="57"/>
                          <a:pt x="57" y="59"/>
                        </a:cubicBezTo>
                        <a:close/>
                        <a:moveTo>
                          <a:pt x="47" y="59"/>
                        </a:moveTo>
                        <a:cubicBezTo>
                          <a:pt x="47" y="58"/>
                          <a:pt x="49" y="56"/>
                          <a:pt x="51" y="56"/>
                        </a:cubicBezTo>
                        <a:cubicBezTo>
                          <a:pt x="52" y="56"/>
                          <a:pt x="54" y="58"/>
                          <a:pt x="54" y="59"/>
                        </a:cubicBezTo>
                        <a:cubicBezTo>
                          <a:pt x="54" y="61"/>
                          <a:pt x="52" y="62"/>
                          <a:pt x="51" y="62"/>
                        </a:cubicBezTo>
                        <a:cubicBezTo>
                          <a:pt x="49" y="62"/>
                          <a:pt x="47" y="61"/>
                          <a:pt x="47" y="59"/>
                        </a:cubicBezTo>
                        <a:close/>
                        <a:moveTo>
                          <a:pt x="78" y="48"/>
                        </a:moveTo>
                        <a:cubicBezTo>
                          <a:pt x="78" y="48"/>
                          <a:pt x="78" y="48"/>
                          <a:pt x="78" y="47"/>
                        </a:cubicBezTo>
                        <a:cubicBezTo>
                          <a:pt x="78" y="47"/>
                          <a:pt x="78" y="46"/>
                          <a:pt x="78" y="46"/>
                        </a:cubicBezTo>
                        <a:cubicBezTo>
                          <a:pt x="80" y="44"/>
                          <a:pt x="80" y="44"/>
                          <a:pt x="80" y="44"/>
                        </a:cubicBezTo>
                        <a:cubicBezTo>
                          <a:pt x="80" y="44"/>
                          <a:pt x="80" y="44"/>
                          <a:pt x="80" y="44"/>
                        </a:cubicBezTo>
                        <a:cubicBezTo>
                          <a:pt x="80" y="44"/>
                          <a:pt x="80" y="43"/>
                          <a:pt x="80" y="43"/>
                        </a:cubicBezTo>
                        <a:cubicBezTo>
                          <a:pt x="79" y="42"/>
                          <a:pt x="79" y="42"/>
                          <a:pt x="79" y="42"/>
                        </a:cubicBezTo>
                        <a:cubicBezTo>
                          <a:pt x="79" y="42"/>
                          <a:pt x="79" y="42"/>
                          <a:pt x="78" y="42"/>
                        </a:cubicBezTo>
                        <a:cubicBezTo>
                          <a:pt x="78" y="42"/>
                          <a:pt x="78" y="42"/>
                          <a:pt x="78" y="42"/>
                        </a:cubicBezTo>
                        <a:cubicBezTo>
                          <a:pt x="76" y="42"/>
                          <a:pt x="76" y="42"/>
                          <a:pt x="76" y="42"/>
                        </a:cubicBezTo>
                        <a:cubicBezTo>
                          <a:pt x="75" y="42"/>
                          <a:pt x="74" y="41"/>
                          <a:pt x="74" y="41"/>
                        </a:cubicBezTo>
                        <a:cubicBezTo>
                          <a:pt x="73" y="39"/>
                          <a:pt x="73" y="39"/>
                          <a:pt x="73" y="39"/>
                        </a:cubicBezTo>
                        <a:cubicBezTo>
                          <a:pt x="73" y="38"/>
                          <a:pt x="73" y="38"/>
                          <a:pt x="72" y="38"/>
                        </a:cubicBezTo>
                        <a:cubicBezTo>
                          <a:pt x="71" y="38"/>
                          <a:pt x="71" y="38"/>
                          <a:pt x="71" y="38"/>
                        </a:cubicBezTo>
                        <a:cubicBezTo>
                          <a:pt x="70" y="38"/>
                          <a:pt x="70" y="38"/>
                          <a:pt x="70" y="39"/>
                        </a:cubicBezTo>
                        <a:cubicBezTo>
                          <a:pt x="69" y="41"/>
                          <a:pt x="69" y="41"/>
                          <a:pt x="69" y="41"/>
                        </a:cubicBezTo>
                        <a:cubicBezTo>
                          <a:pt x="68" y="41"/>
                          <a:pt x="68" y="42"/>
                          <a:pt x="67" y="42"/>
                        </a:cubicBezTo>
                        <a:cubicBezTo>
                          <a:pt x="65" y="42"/>
                          <a:pt x="65" y="42"/>
                          <a:pt x="65" y="42"/>
                        </a:cubicBezTo>
                        <a:cubicBezTo>
                          <a:pt x="64" y="42"/>
                          <a:pt x="64" y="42"/>
                          <a:pt x="64" y="42"/>
                        </a:cubicBezTo>
                        <a:cubicBezTo>
                          <a:pt x="64" y="42"/>
                          <a:pt x="64" y="42"/>
                          <a:pt x="64" y="42"/>
                        </a:cubicBezTo>
                        <a:cubicBezTo>
                          <a:pt x="63" y="43"/>
                          <a:pt x="63" y="43"/>
                          <a:pt x="63" y="43"/>
                        </a:cubicBezTo>
                        <a:cubicBezTo>
                          <a:pt x="63" y="43"/>
                          <a:pt x="63" y="44"/>
                          <a:pt x="63" y="44"/>
                        </a:cubicBezTo>
                        <a:cubicBezTo>
                          <a:pt x="63" y="44"/>
                          <a:pt x="63" y="44"/>
                          <a:pt x="63" y="44"/>
                        </a:cubicBezTo>
                        <a:cubicBezTo>
                          <a:pt x="65" y="46"/>
                          <a:pt x="65" y="46"/>
                          <a:pt x="65" y="46"/>
                        </a:cubicBezTo>
                        <a:cubicBezTo>
                          <a:pt x="65" y="46"/>
                          <a:pt x="65" y="47"/>
                          <a:pt x="65" y="47"/>
                        </a:cubicBezTo>
                        <a:cubicBezTo>
                          <a:pt x="65" y="48"/>
                          <a:pt x="65" y="48"/>
                          <a:pt x="65" y="48"/>
                        </a:cubicBezTo>
                        <a:cubicBezTo>
                          <a:pt x="63" y="50"/>
                          <a:pt x="63" y="50"/>
                          <a:pt x="63" y="50"/>
                        </a:cubicBezTo>
                        <a:cubicBezTo>
                          <a:pt x="63" y="50"/>
                          <a:pt x="63" y="51"/>
                          <a:pt x="63" y="51"/>
                        </a:cubicBezTo>
                        <a:cubicBezTo>
                          <a:pt x="63" y="51"/>
                          <a:pt x="63" y="51"/>
                          <a:pt x="63" y="51"/>
                        </a:cubicBezTo>
                        <a:cubicBezTo>
                          <a:pt x="64" y="53"/>
                          <a:pt x="64" y="53"/>
                          <a:pt x="64" y="53"/>
                        </a:cubicBezTo>
                        <a:cubicBezTo>
                          <a:pt x="64" y="53"/>
                          <a:pt x="64" y="53"/>
                          <a:pt x="64" y="53"/>
                        </a:cubicBezTo>
                        <a:cubicBezTo>
                          <a:pt x="64" y="53"/>
                          <a:pt x="64" y="53"/>
                          <a:pt x="65" y="53"/>
                        </a:cubicBezTo>
                        <a:cubicBezTo>
                          <a:pt x="67" y="52"/>
                          <a:pt x="67" y="52"/>
                          <a:pt x="67" y="52"/>
                        </a:cubicBezTo>
                        <a:cubicBezTo>
                          <a:pt x="68" y="53"/>
                          <a:pt x="68" y="53"/>
                          <a:pt x="69" y="53"/>
                        </a:cubicBezTo>
                        <a:cubicBezTo>
                          <a:pt x="70" y="56"/>
                          <a:pt x="70" y="56"/>
                          <a:pt x="70" y="56"/>
                        </a:cubicBezTo>
                        <a:cubicBezTo>
                          <a:pt x="70" y="56"/>
                          <a:pt x="70" y="56"/>
                          <a:pt x="71" y="56"/>
                        </a:cubicBezTo>
                        <a:cubicBezTo>
                          <a:pt x="72" y="56"/>
                          <a:pt x="72" y="56"/>
                          <a:pt x="72" y="56"/>
                        </a:cubicBezTo>
                        <a:cubicBezTo>
                          <a:pt x="73" y="56"/>
                          <a:pt x="73" y="56"/>
                          <a:pt x="73" y="56"/>
                        </a:cubicBezTo>
                        <a:cubicBezTo>
                          <a:pt x="74" y="54"/>
                          <a:pt x="74" y="54"/>
                          <a:pt x="74" y="54"/>
                        </a:cubicBezTo>
                        <a:cubicBezTo>
                          <a:pt x="74" y="53"/>
                          <a:pt x="75" y="53"/>
                          <a:pt x="76" y="52"/>
                        </a:cubicBezTo>
                        <a:cubicBezTo>
                          <a:pt x="78" y="53"/>
                          <a:pt x="78" y="53"/>
                          <a:pt x="78" y="53"/>
                        </a:cubicBezTo>
                        <a:cubicBezTo>
                          <a:pt x="78" y="53"/>
                          <a:pt x="78" y="53"/>
                          <a:pt x="78" y="53"/>
                        </a:cubicBezTo>
                        <a:cubicBezTo>
                          <a:pt x="79" y="53"/>
                          <a:pt x="79" y="53"/>
                          <a:pt x="79" y="53"/>
                        </a:cubicBezTo>
                        <a:cubicBezTo>
                          <a:pt x="80" y="51"/>
                          <a:pt x="80" y="51"/>
                          <a:pt x="80" y="51"/>
                        </a:cubicBezTo>
                        <a:cubicBezTo>
                          <a:pt x="80" y="51"/>
                          <a:pt x="80" y="51"/>
                          <a:pt x="80" y="51"/>
                        </a:cubicBezTo>
                        <a:cubicBezTo>
                          <a:pt x="80" y="51"/>
                          <a:pt x="80" y="50"/>
                          <a:pt x="80" y="50"/>
                        </a:cubicBezTo>
                        <a:cubicBezTo>
                          <a:pt x="78" y="48"/>
                          <a:pt x="78" y="48"/>
                          <a:pt x="78" y="48"/>
                        </a:cubicBezTo>
                        <a:cubicBezTo>
                          <a:pt x="78" y="48"/>
                          <a:pt x="78" y="48"/>
                          <a:pt x="78" y="48"/>
                        </a:cubicBezTo>
                        <a:close/>
                        <a:moveTo>
                          <a:pt x="74" y="47"/>
                        </a:moveTo>
                        <a:cubicBezTo>
                          <a:pt x="74" y="49"/>
                          <a:pt x="73" y="50"/>
                          <a:pt x="71" y="50"/>
                        </a:cubicBezTo>
                        <a:cubicBezTo>
                          <a:pt x="70" y="50"/>
                          <a:pt x="69" y="49"/>
                          <a:pt x="69" y="47"/>
                        </a:cubicBezTo>
                        <a:cubicBezTo>
                          <a:pt x="69" y="46"/>
                          <a:pt x="70" y="45"/>
                          <a:pt x="71" y="45"/>
                        </a:cubicBezTo>
                        <a:cubicBezTo>
                          <a:pt x="73" y="45"/>
                          <a:pt x="74" y="46"/>
                          <a:pt x="74" y="47"/>
                        </a:cubicBezTo>
                        <a:close/>
                      </a:path>
                    </a:pathLst>
                  </a:custGeom>
                  <a:solidFill>
                    <a:srgbClr val="F5F5F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502" name="Group 501"/>
              <p:cNvGrpSpPr/>
              <p:nvPr/>
            </p:nvGrpSpPr>
            <p:grpSpPr>
              <a:xfrm>
                <a:off x="1765504" y="2946525"/>
                <a:ext cx="2572582" cy="1043317"/>
                <a:chOff x="1692208" y="2910416"/>
                <a:chExt cx="2572582" cy="1043317"/>
              </a:xfrm>
            </p:grpSpPr>
            <p:sp>
              <p:nvSpPr>
                <p:cNvPr id="483" name="Oval 482"/>
                <p:cNvSpPr/>
                <p:nvPr/>
              </p:nvSpPr>
              <p:spPr bwMode="auto">
                <a:xfrm>
                  <a:off x="2487586" y="2910416"/>
                  <a:ext cx="440375" cy="440372"/>
                </a:xfrm>
                <a:prstGeom prst="ellipse">
                  <a:avLst/>
                </a:prstGeom>
                <a:solidFill>
                  <a:srgbClr val="008272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>
                  <a:outerShdw dist="88900" dir="2700000" sx="90000" sy="90000" algn="tl" rotWithShape="0">
                    <a:prstClr val="black">
                      <a:alpha val="11000"/>
                    </a:prstClr>
                  </a:outerShdw>
                </a:effectLst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-2500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484" name="Oval 483"/>
                <p:cNvSpPr/>
                <p:nvPr/>
              </p:nvSpPr>
              <p:spPr bwMode="auto">
                <a:xfrm>
                  <a:off x="3825463" y="3514255"/>
                  <a:ext cx="439327" cy="439327"/>
                </a:xfrm>
                <a:prstGeom prst="ellipse">
                  <a:avLst/>
                </a:prstGeom>
                <a:solidFill>
                  <a:srgbClr val="008272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>
                  <a:outerShdw dist="88900" dir="2700000" sx="90000" sy="90000" algn="tl" rotWithShape="0">
                    <a:prstClr val="black">
                      <a:alpha val="11000"/>
                    </a:prstClr>
                  </a:outerShdw>
                </a:effectLst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-2500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485" name="Oval 484"/>
                <p:cNvSpPr/>
                <p:nvPr/>
              </p:nvSpPr>
              <p:spPr bwMode="auto">
                <a:xfrm>
                  <a:off x="3524489" y="3146049"/>
                  <a:ext cx="439327" cy="439327"/>
                </a:xfrm>
                <a:prstGeom prst="ellipse">
                  <a:avLst/>
                </a:prstGeom>
                <a:solidFill>
                  <a:srgbClr val="DC3C00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>
                  <a:outerShdw dist="88900" dir="2700000" sx="90000" sy="90000" algn="tl" rotWithShape="0">
                    <a:prstClr val="black">
                      <a:alpha val="11000"/>
                    </a:prstClr>
                  </a:outerShdw>
                </a:effectLst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-2500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grpSp>
              <p:nvGrpSpPr>
                <p:cNvPr id="486" name="Group 485"/>
                <p:cNvGrpSpPr/>
                <p:nvPr/>
              </p:nvGrpSpPr>
              <p:grpSpPr>
                <a:xfrm>
                  <a:off x="1994070" y="3128171"/>
                  <a:ext cx="439327" cy="439327"/>
                  <a:chOff x="10811580" y="2714625"/>
                  <a:chExt cx="527050" cy="527050"/>
                </a:xfrm>
              </p:grpSpPr>
              <p:sp>
                <p:nvSpPr>
                  <p:cNvPr id="487" name="Oval 486"/>
                  <p:cNvSpPr/>
                  <p:nvPr/>
                </p:nvSpPr>
                <p:spPr bwMode="auto">
                  <a:xfrm>
                    <a:off x="10811580" y="2714625"/>
                    <a:ext cx="527050" cy="527050"/>
                  </a:xfrm>
                  <a:prstGeom prst="ellipse">
                    <a:avLst/>
                  </a:prstGeom>
                  <a:solidFill>
                    <a:srgbClr val="DC3C00"/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>
                    <a:outerShdw dist="88900" dir="2700000" sx="90000" sy="90000" algn="tl" rotWithShape="0">
                      <a:prstClr val="black">
                        <a:alpha val="11000"/>
                      </a:prstClr>
                    </a:outerShdw>
                  </a:effectLst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grpSp>
                <p:nvGrpSpPr>
                  <p:cNvPr id="488" name="Group 487"/>
                  <p:cNvGrpSpPr/>
                  <p:nvPr/>
                </p:nvGrpSpPr>
                <p:grpSpPr bwMode="black">
                  <a:xfrm>
                    <a:off x="10885015" y="2860260"/>
                    <a:ext cx="380201" cy="235780"/>
                    <a:chOff x="10387012" y="4103350"/>
                    <a:chExt cx="995920" cy="725626"/>
                  </a:xfrm>
                  <a:solidFill>
                    <a:srgbClr val="FFFFFF"/>
                  </a:solidFill>
                </p:grpSpPr>
                <p:sp>
                  <p:nvSpPr>
                    <p:cNvPr id="489" name="Freeform 488"/>
                    <p:cNvSpPr>
                      <a:spLocks/>
                    </p:cNvSpPr>
                    <p:nvPr/>
                  </p:nvSpPr>
                  <p:spPr bwMode="black">
                    <a:xfrm>
                      <a:off x="10506081" y="4218399"/>
                      <a:ext cx="706438" cy="599679"/>
                    </a:xfrm>
                    <a:custGeom>
                      <a:avLst/>
                      <a:gdLst>
                        <a:gd name="T0" fmla="*/ 183 w 188"/>
                        <a:gd name="T1" fmla="*/ 84 h 137"/>
                        <a:gd name="T2" fmla="*/ 104 w 188"/>
                        <a:gd name="T3" fmla="*/ 27 h 137"/>
                        <a:gd name="T4" fmla="*/ 86 w 188"/>
                        <a:gd name="T5" fmla="*/ 19 h 137"/>
                        <a:gd name="T6" fmla="*/ 59 w 188"/>
                        <a:gd name="T7" fmla="*/ 34 h 137"/>
                        <a:gd name="T8" fmla="*/ 56 w 188"/>
                        <a:gd name="T9" fmla="*/ 36 h 137"/>
                        <a:gd name="T10" fmla="*/ 43 w 188"/>
                        <a:gd name="T11" fmla="*/ 38 h 137"/>
                        <a:gd name="T12" fmla="*/ 43 w 188"/>
                        <a:gd name="T13" fmla="*/ 38 h 137"/>
                        <a:gd name="T14" fmla="*/ 26 w 188"/>
                        <a:gd name="T15" fmla="*/ 27 h 137"/>
                        <a:gd name="T16" fmla="*/ 24 w 188"/>
                        <a:gd name="T17" fmla="*/ 14 h 137"/>
                        <a:gd name="T18" fmla="*/ 31 w 188"/>
                        <a:gd name="T19" fmla="*/ 0 h 137"/>
                        <a:gd name="T20" fmla="*/ 21 w 188"/>
                        <a:gd name="T21" fmla="*/ 0 h 137"/>
                        <a:gd name="T22" fmla="*/ 1 w 188"/>
                        <a:gd name="T23" fmla="*/ 79 h 137"/>
                        <a:gd name="T24" fmla="*/ 4 w 188"/>
                        <a:gd name="T25" fmla="*/ 80 h 137"/>
                        <a:gd name="T26" fmla="*/ 16 w 188"/>
                        <a:gd name="T27" fmla="*/ 70 h 137"/>
                        <a:gd name="T28" fmla="*/ 22 w 188"/>
                        <a:gd name="T29" fmla="*/ 70 h 137"/>
                        <a:gd name="T30" fmla="*/ 32 w 188"/>
                        <a:gd name="T31" fmla="*/ 74 h 137"/>
                        <a:gd name="T32" fmla="*/ 43 w 188"/>
                        <a:gd name="T33" fmla="*/ 72 h 137"/>
                        <a:gd name="T34" fmla="*/ 44 w 188"/>
                        <a:gd name="T35" fmla="*/ 72 h 137"/>
                        <a:gd name="T36" fmla="*/ 53 w 188"/>
                        <a:gd name="T37" fmla="*/ 76 h 137"/>
                        <a:gd name="T38" fmla="*/ 65 w 188"/>
                        <a:gd name="T39" fmla="*/ 74 h 137"/>
                        <a:gd name="T40" fmla="*/ 67 w 188"/>
                        <a:gd name="T41" fmla="*/ 74 h 137"/>
                        <a:gd name="T42" fmla="*/ 80 w 188"/>
                        <a:gd name="T43" fmla="*/ 88 h 137"/>
                        <a:gd name="T44" fmla="*/ 83 w 188"/>
                        <a:gd name="T45" fmla="*/ 88 h 137"/>
                        <a:gd name="T46" fmla="*/ 85 w 188"/>
                        <a:gd name="T47" fmla="*/ 89 h 137"/>
                        <a:gd name="T48" fmla="*/ 99 w 188"/>
                        <a:gd name="T49" fmla="*/ 108 h 137"/>
                        <a:gd name="T50" fmla="*/ 99 w 188"/>
                        <a:gd name="T51" fmla="*/ 110 h 137"/>
                        <a:gd name="T52" fmla="*/ 96 w 188"/>
                        <a:gd name="T53" fmla="*/ 124 h 137"/>
                        <a:gd name="T54" fmla="*/ 114 w 188"/>
                        <a:gd name="T55" fmla="*/ 137 h 137"/>
                        <a:gd name="T56" fmla="*/ 123 w 188"/>
                        <a:gd name="T57" fmla="*/ 132 h 137"/>
                        <a:gd name="T58" fmla="*/ 124 w 188"/>
                        <a:gd name="T59" fmla="*/ 124 h 137"/>
                        <a:gd name="T60" fmla="*/ 108 w 188"/>
                        <a:gd name="T61" fmla="*/ 112 h 137"/>
                        <a:gd name="T62" fmla="*/ 107 w 188"/>
                        <a:gd name="T63" fmla="*/ 109 h 137"/>
                        <a:gd name="T64" fmla="*/ 110 w 188"/>
                        <a:gd name="T65" fmla="*/ 109 h 137"/>
                        <a:gd name="T66" fmla="*/ 136 w 188"/>
                        <a:gd name="T67" fmla="*/ 127 h 137"/>
                        <a:gd name="T68" fmla="*/ 145 w 188"/>
                        <a:gd name="T69" fmla="*/ 123 h 137"/>
                        <a:gd name="T70" fmla="*/ 147 w 188"/>
                        <a:gd name="T71" fmla="*/ 114 h 137"/>
                        <a:gd name="T72" fmla="*/ 117 w 188"/>
                        <a:gd name="T73" fmla="*/ 93 h 137"/>
                        <a:gd name="T74" fmla="*/ 117 w 188"/>
                        <a:gd name="T75" fmla="*/ 90 h 137"/>
                        <a:gd name="T76" fmla="*/ 120 w 188"/>
                        <a:gd name="T77" fmla="*/ 89 h 137"/>
                        <a:gd name="T78" fmla="*/ 156 w 188"/>
                        <a:gd name="T79" fmla="*/ 116 h 137"/>
                        <a:gd name="T80" fmla="*/ 165 w 188"/>
                        <a:gd name="T81" fmla="*/ 111 h 137"/>
                        <a:gd name="T82" fmla="*/ 167 w 188"/>
                        <a:gd name="T83" fmla="*/ 102 h 137"/>
                        <a:gd name="T84" fmla="*/ 137 w 188"/>
                        <a:gd name="T85" fmla="*/ 81 h 137"/>
                        <a:gd name="T86" fmla="*/ 136 w 188"/>
                        <a:gd name="T87" fmla="*/ 78 h 137"/>
                        <a:gd name="T88" fmla="*/ 139 w 188"/>
                        <a:gd name="T89" fmla="*/ 77 h 137"/>
                        <a:gd name="T90" fmla="*/ 176 w 188"/>
                        <a:gd name="T91" fmla="*/ 104 h 137"/>
                        <a:gd name="T92" fmla="*/ 185 w 188"/>
                        <a:gd name="T93" fmla="*/ 99 h 137"/>
                        <a:gd name="T94" fmla="*/ 183 w 188"/>
                        <a:gd name="T95" fmla="*/ 84 h 13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</a:cxnLst>
                      <a:rect l="0" t="0" r="r" b="b"/>
                      <a:pathLst>
                        <a:path w="188" h="137">
                          <a:moveTo>
                            <a:pt x="183" y="84"/>
                          </a:moveTo>
                          <a:cubicBezTo>
                            <a:pt x="104" y="27"/>
                            <a:pt x="104" y="27"/>
                            <a:pt x="104" y="27"/>
                          </a:cubicBezTo>
                          <a:cubicBezTo>
                            <a:pt x="86" y="19"/>
                            <a:pt x="86" y="19"/>
                            <a:pt x="86" y="19"/>
                          </a:cubicBezTo>
                          <a:cubicBezTo>
                            <a:pt x="59" y="34"/>
                            <a:pt x="59" y="34"/>
                            <a:pt x="59" y="34"/>
                          </a:cubicBezTo>
                          <a:cubicBezTo>
                            <a:pt x="56" y="36"/>
                            <a:pt x="56" y="36"/>
                            <a:pt x="56" y="36"/>
                          </a:cubicBezTo>
                          <a:cubicBezTo>
                            <a:pt x="52" y="38"/>
                            <a:pt x="47" y="39"/>
                            <a:pt x="43" y="38"/>
                          </a:cubicBezTo>
                          <a:cubicBezTo>
                            <a:pt x="43" y="38"/>
                            <a:pt x="43" y="38"/>
                            <a:pt x="43" y="38"/>
                          </a:cubicBezTo>
                          <a:cubicBezTo>
                            <a:pt x="36" y="38"/>
                            <a:pt x="30" y="34"/>
                            <a:pt x="26" y="27"/>
                          </a:cubicBezTo>
                          <a:cubicBezTo>
                            <a:pt x="24" y="23"/>
                            <a:pt x="23" y="19"/>
                            <a:pt x="24" y="14"/>
                          </a:cubicBezTo>
                          <a:cubicBezTo>
                            <a:pt x="24" y="9"/>
                            <a:pt x="27" y="4"/>
                            <a:pt x="31" y="0"/>
                          </a:cubicBezTo>
                          <a:cubicBezTo>
                            <a:pt x="25" y="0"/>
                            <a:pt x="21" y="0"/>
                            <a:pt x="21" y="0"/>
                          </a:cubicBezTo>
                          <a:cubicBezTo>
                            <a:pt x="21" y="0"/>
                            <a:pt x="0" y="40"/>
                            <a:pt x="1" y="79"/>
                          </a:cubicBezTo>
                          <a:cubicBezTo>
                            <a:pt x="4" y="80"/>
                            <a:pt x="4" y="80"/>
                            <a:pt x="4" y="80"/>
                          </a:cubicBezTo>
                          <a:cubicBezTo>
                            <a:pt x="6" y="75"/>
                            <a:pt x="10" y="72"/>
                            <a:pt x="16" y="70"/>
                          </a:cubicBezTo>
                          <a:cubicBezTo>
                            <a:pt x="18" y="70"/>
                            <a:pt x="20" y="70"/>
                            <a:pt x="22" y="70"/>
                          </a:cubicBezTo>
                          <a:cubicBezTo>
                            <a:pt x="25" y="70"/>
                            <a:pt x="29" y="72"/>
                            <a:pt x="32" y="74"/>
                          </a:cubicBezTo>
                          <a:cubicBezTo>
                            <a:pt x="35" y="72"/>
                            <a:pt x="39" y="71"/>
                            <a:pt x="43" y="72"/>
                          </a:cubicBezTo>
                          <a:cubicBezTo>
                            <a:pt x="43" y="72"/>
                            <a:pt x="44" y="72"/>
                            <a:pt x="44" y="72"/>
                          </a:cubicBezTo>
                          <a:cubicBezTo>
                            <a:pt x="48" y="72"/>
                            <a:pt x="51" y="74"/>
                            <a:pt x="53" y="76"/>
                          </a:cubicBezTo>
                          <a:cubicBezTo>
                            <a:pt x="56" y="74"/>
                            <a:pt x="60" y="73"/>
                            <a:pt x="65" y="74"/>
                          </a:cubicBezTo>
                          <a:cubicBezTo>
                            <a:pt x="65" y="74"/>
                            <a:pt x="66" y="74"/>
                            <a:pt x="67" y="74"/>
                          </a:cubicBezTo>
                          <a:cubicBezTo>
                            <a:pt x="74" y="76"/>
                            <a:pt x="79" y="81"/>
                            <a:pt x="80" y="88"/>
                          </a:cubicBezTo>
                          <a:cubicBezTo>
                            <a:pt x="81" y="88"/>
                            <a:pt x="82" y="88"/>
                            <a:pt x="83" y="88"/>
                          </a:cubicBezTo>
                          <a:cubicBezTo>
                            <a:pt x="84" y="88"/>
                            <a:pt x="84" y="88"/>
                            <a:pt x="85" y="89"/>
                          </a:cubicBezTo>
                          <a:cubicBezTo>
                            <a:pt x="94" y="91"/>
                            <a:pt x="100" y="99"/>
                            <a:pt x="99" y="108"/>
                          </a:cubicBezTo>
                          <a:cubicBezTo>
                            <a:pt x="99" y="109"/>
                            <a:pt x="99" y="110"/>
                            <a:pt x="99" y="110"/>
                          </a:cubicBezTo>
                          <a:cubicBezTo>
                            <a:pt x="96" y="124"/>
                            <a:pt x="96" y="124"/>
                            <a:pt x="96" y="124"/>
                          </a:cubicBezTo>
                          <a:cubicBezTo>
                            <a:pt x="114" y="137"/>
                            <a:pt x="114" y="137"/>
                            <a:pt x="114" y="137"/>
                          </a:cubicBezTo>
                          <a:cubicBezTo>
                            <a:pt x="117" y="137"/>
                            <a:pt x="120" y="135"/>
                            <a:pt x="123" y="132"/>
                          </a:cubicBezTo>
                          <a:cubicBezTo>
                            <a:pt x="124" y="130"/>
                            <a:pt x="125" y="127"/>
                            <a:pt x="124" y="124"/>
                          </a:cubicBezTo>
                          <a:cubicBezTo>
                            <a:pt x="108" y="112"/>
                            <a:pt x="108" y="112"/>
                            <a:pt x="108" y="112"/>
                          </a:cubicBezTo>
                          <a:cubicBezTo>
                            <a:pt x="107" y="111"/>
                            <a:pt x="107" y="110"/>
                            <a:pt x="107" y="109"/>
                          </a:cubicBezTo>
                          <a:cubicBezTo>
                            <a:pt x="108" y="108"/>
                            <a:pt x="109" y="108"/>
                            <a:pt x="110" y="109"/>
                          </a:cubicBezTo>
                          <a:cubicBezTo>
                            <a:pt x="136" y="127"/>
                            <a:pt x="136" y="127"/>
                            <a:pt x="136" y="127"/>
                          </a:cubicBezTo>
                          <a:cubicBezTo>
                            <a:pt x="140" y="127"/>
                            <a:pt x="143" y="126"/>
                            <a:pt x="145" y="123"/>
                          </a:cubicBezTo>
                          <a:cubicBezTo>
                            <a:pt x="147" y="120"/>
                            <a:pt x="147" y="117"/>
                            <a:pt x="147" y="114"/>
                          </a:cubicBezTo>
                          <a:cubicBezTo>
                            <a:pt x="117" y="93"/>
                            <a:pt x="117" y="93"/>
                            <a:pt x="117" y="93"/>
                          </a:cubicBezTo>
                          <a:cubicBezTo>
                            <a:pt x="116" y="92"/>
                            <a:pt x="116" y="91"/>
                            <a:pt x="117" y="90"/>
                          </a:cubicBezTo>
                          <a:cubicBezTo>
                            <a:pt x="117" y="89"/>
                            <a:pt x="119" y="89"/>
                            <a:pt x="120" y="89"/>
                          </a:cubicBezTo>
                          <a:cubicBezTo>
                            <a:pt x="156" y="116"/>
                            <a:pt x="156" y="116"/>
                            <a:pt x="156" y="116"/>
                          </a:cubicBezTo>
                          <a:cubicBezTo>
                            <a:pt x="159" y="116"/>
                            <a:pt x="163" y="114"/>
                            <a:pt x="165" y="111"/>
                          </a:cubicBezTo>
                          <a:cubicBezTo>
                            <a:pt x="167" y="108"/>
                            <a:pt x="167" y="105"/>
                            <a:pt x="167" y="102"/>
                          </a:cubicBezTo>
                          <a:cubicBezTo>
                            <a:pt x="137" y="81"/>
                            <a:pt x="137" y="81"/>
                            <a:pt x="137" y="81"/>
                          </a:cubicBezTo>
                          <a:cubicBezTo>
                            <a:pt x="136" y="80"/>
                            <a:pt x="136" y="79"/>
                            <a:pt x="136" y="78"/>
                          </a:cubicBezTo>
                          <a:cubicBezTo>
                            <a:pt x="137" y="77"/>
                            <a:pt x="138" y="76"/>
                            <a:pt x="139" y="77"/>
                          </a:cubicBezTo>
                          <a:cubicBezTo>
                            <a:pt x="176" y="104"/>
                            <a:pt x="176" y="104"/>
                            <a:pt x="176" y="104"/>
                          </a:cubicBezTo>
                          <a:cubicBezTo>
                            <a:pt x="180" y="104"/>
                            <a:pt x="183" y="102"/>
                            <a:pt x="185" y="99"/>
                          </a:cubicBezTo>
                          <a:cubicBezTo>
                            <a:pt x="188" y="94"/>
                            <a:pt x="187" y="87"/>
                            <a:pt x="183" y="84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l" defTabSz="93231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600" b="0" i="0" u="none" strike="noStrike" kern="1200" cap="none" spc="0" normalizeH="0" baseline="-25000" noProof="0" dirty="0">
                        <a:ln>
                          <a:solidFill>
                            <a:srgbClr val="FFFFFF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490" name="Freeform 489"/>
                    <p:cNvSpPr>
                      <a:spLocks/>
                    </p:cNvSpPr>
                    <p:nvPr/>
                  </p:nvSpPr>
                  <p:spPr bwMode="black">
                    <a:xfrm>
                      <a:off x="10615616" y="4103350"/>
                      <a:ext cx="657226" cy="452255"/>
                    </a:xfrm>
                    <a:custGeom>
                      <a:avLst/>
                      <a:gdLst>
                        <a:gd name="T0" fmla="*/ 127 w 175"/>
                        <a:gd name="T1" fmla="*/ 31 h 100"/>
                        <a:gd name="T2" fmla="*/ 119 w 175"/>
                        <a:gd name="T3" fmla="*/ 28 h 100"/>
                        <a:gd name="T4" fmla="*/ 62 w 175"/>
                        <a:gd name="T5" fmla="*/ 2 h 100"/>
                        <a:gd name="T6" fmla="*/ 49 w 175"/>
                        <a:gd name="T7" fmla="*/ 3 h 100"/>
                        <a:gd name="T8" fmla="*/ 26 w 175"/>
                        <a:gd name="T9" fmla="*/ 16 h 100"/>
                        <a:gd name="T10" fmla="*/ 9 w 175"/>
                        <a:gd name="T11" fmla="*/ 25 h 100"/>
                        <a:gd name="T12" fmla="*/ 4 w 175"/>
                        <a:gd name="T13" fmla="*/ 45 h 100"/>
                        <a:gd name="T14" fmla="*/ 15 w 175"/>
                        <a:gd name="T15" fmla="*/ 52 h 100"/>
                        <a:gd name="T16" fmla="*/ 23 w 175"/>
                        <a:gd name="T17" fmla="*/ 50 h 100"/>
                        <a:gd name="T18" fmla="*/ 23 w 175"/>
                        <a:gd name="T19" fmla="*/ 50 h 100"/>
                        <a:gd name="T20" fmla="*/ 57 w 175"/>
                        <a:gd name="T21" fmla="*/ 32 h 100"/>
                        <a:gd name="T22" fmla="*/ 79 w 175"/>
                        <a:gd name="T23" fmla="*/ 42 h 100"/>
                        <a:gd name="T24" fmla="*/ 109 w 175"/>
                        <a:gd name="T25" fmla="*/ 64 h 100"/>
                        <a:gd name="T26" fmla="*/ 158 w 175"/>
                        <a:gd name="T27" fmla="*/ 99 h 100"/>
                        <a:gd name="T28" fmla="*/ 159 w 175"/>
                        <a:gd name="T29" fmla="*/ 100 h 100"/>
                        <a:gd name="T30" fmla="*/ 173 w 175"/>
                        <a:gd name="T31" fmla="*/ 97 h 100"/>
                        <a:gd name="T32" fmla="*/ 154 w 175"/>
                        <a:gd name="T33" fmla="*/ 29 h 100"/>
                        <a:gd name="T34" fmla="*/ 127 w 175"/>
                        <a:gd name="T35" fmla="*/ 31 h 1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</a:cxnLst>
                      <a:rect l="0" t="0" r="r" b="b"/>
                      <a:pathLst>
                        <a:path w="175" h="100">
                          <a:moveTo>
                            <a:pt x="127" y="31"/>
                          </a:moveTo>
                          <a:cubicBezTo>
                            <a:pt x="125" y="31"/>
                            <a:pt x="122" y="30"/>
                            <a:pt x="119" y="28"/>
                          </a:cubicBezTo>
                          <a:cubicBezTo>
                            <a:pt x="62" y="2"/>
                            <a:pt x="62" y="2"/>
                            <a:pt x="62" y="2"/>
                          </a:cubicBezTo>
                          <a:cubicBezTo>
                            <a:pt x="58" y="0"/>
                            <a:pt x="53" y="1"/>
                            <a:pt x="49" y="3"/>
                          </a:cubicBezTo>
                          <a:cubicBezTo>
                            <a:pt x="26" y="16"/>
                            <a:pt x="26" y="16"/>
                            <a:pt x="26" y="16"/>
                          </a:cubicBezTo>
                          <a:cubicBezTo>
                            <a:pt x="9" y="25"/>
                            <a:pt x="9" y="25"/>
                            <a:pt x="9" y="25"/>
                          </a:cubicBezTo>
                          <a:cubicBezTo>
                            <a:pt x="2" y="29"/>
                            <a:pt x="0" y="38"/>
                            <a:pt x="4" y="45"/>
                          </a:cubicBezTo>
                          <a:cubicBezTo>
                            <a:pt x="6" y="49"/>
                            <a:pt x="10" y="52"/>
                            <a:pt x="15" y="52"/>
                          </a:cubicBezTo>
                          <a:cubicBezTo>
                            <a:pt x="18" y="52"/>
                            <a:pt x="21" y="52"/>
                            <a:pt x="23" y="50"/>
                          </a:cubicBezTo>
                          <a:cubicBezTo>
                            <a:pt x="23" y="50"/>
                            <a:pt x="23" y="50"/>
                            <a:pt x="23" y="50"/>
                          </a:cubicBezTo>
                          <a:cubicBezTo>
                            <a:pt x="57" y="32"/>
                            <a:pt x="57" y="32"/>
                            <a:pt x="57" y="32"/>
                          </a:cubicBezTo>
                          <a:cubicBezTo>
                            <a:pt x="79" y="42"/>
                            <a:pt x="79" y="42"/>
                            <a:pt x="79" y="42"/>
                          </a:cubicBezTo>
                          <a:cubicBezTo>
                            <a:pt x="109" y="64"/>
                            <a:pt x="109" y="64"/>
                            <a:pt x="109" y="64"/>
                          </a:cubicBezTo>
                          <a:cubicBezTo>
                            <a:pt x="158" y="99"/>
                            <a:pt x="158" y="99"/>
                            <a:pt x="158" y="99"/>
                          </a:cubicBezTo>
                          <a:cubicBezTo>
                            <a:pt x="158" y="99"/>
                            <a:pt x="159" y="100"/>
                            <a:pt x="159" y="100"/>
                          </a:cubicBezTo>
                          <a:cubicBezTo>
                            <a:pt x="173" y="97"/>
                            <a:pt x="173" y="97"/>
                            <a:pt x="173" y="97"/>
                          </a:cubicBezTo>
                          <a:cubicBezTo>
                            <a:pt x="175" y="51"/>
                            <a:pt x="154" y="29"/>
                            <a:pt x="154" y="29"/>
                          </a:cubicBezTo>
                          <a:cubicBezTo>
                            <a:pt x="154" y="29"/>
                            <a:pt x="133" y="33"/>
                            <a:pt x="127" y="31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l" defTabSz="93231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600" b="0" i="0" u="none" strike="noStrike" kern="1200" cap="none" spc="0" normalizeH="0" baseline="-25000" noProof="0" dirty="0">
                        <a:ln>
                          <a:solidFill>
                            <a:srgbClr val="FFFFFF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491" name="Freeform 490"/>
                    <p:cNvSpPr>
                      <a:spLocks/>
                    </p:cNvSpPr>
                    <p:nvPr/>
                  </p:nvSpPr>
                  <p:spPr bwMode="black">
                    <a:xfrm>
                      <a:off x="10536238" y="4554567"/>
                      <a:ext cx="319088" cy="274409"/>
                    </a:xfrm>
                    <a:custGeom>
                      <a:avLst/>
                      <a:gdLst>
                        <a:gd name="T0" fmla="*/ 76 w 85"/>
                        <a:gd name="T1" fmla="*/ 20 h 59"/>
                        <a:gd name="T2" fmla="*/ 64 w 85"/>
                        <a:gd name="T3" fmla="*/ 25 h 59"/>
                        <a:gd name="T4" fmla="*/ 65 w 85"/>
                        <a:gd name="T5" fmla="*/ 18 h 59"/>
                        <a:gd name="T6" fmla="*/ 57 w 85"/>
                        <a:gd name="T7" fmla="*/ 5 h 59"/>
                        <a:gd name="T8" fmla="*/ 44 w 85"/>
                        <a:gd name="T9" fmla="*/ 13 h 59"/>
                        <a:gd name="T10" fmla="*/ 44 w 85"/>
                        <a:gd name="T11" fmla="*/ 14 h 59"/>
                        <a:gd name="T12" fmla="*/ 35 w 85"/>
                        <a:gd name="T13" fmla="*/ 3 h 59"/>
                        <a:gd name="T14" fmla="*/ 23 w 85"/>
                        <a:gd name="T15" fmla="*/ 10 h 59"/>
                        <a:gd name="T16" fmla="*/ 23 w 85"/>
                        <a:gd name="T17" fmla="*/ 10 h 59"/>
                        <a:gd name="T18" fmla="*/ 10 w 85"/>
                        <a:gd name="T19" fmla="*/ 1 h 59"/>
                        <a:gd name="T20" fmla="*/ 1 w 85"/>
                        <a:gd name="T21" fmla="*/ 14 h 59"/>
                        <a:gd name="T22" fmla="*/ 4 w 85"/>
                        <a:gd name="T23" fmla="*/ 28 h 59"/>
                        <a:gd name="T24" fmla="*/ 14 w 85"/>
                        <a:gd name="T25" fmla="*/ 36 h 59"/>
                        <a:gd name="T26" fmla="*/ 17 w 85"/>
                        <a:gd name="T27" fmla="*/ 36 h 59"/>
                        <a:gd name="T28" fmla="*/ 19 w 85"/>
                        <a:gd name="T29" fmla="*/ 35 h 59"/>
                        <a:gd name="T30" fmla="*/ 27 w 85"/>
                        <a:gd name="T31" fmla="*/ 43 h 59"/>
                        <a:gd name="T32" fmla="*/ 28 w 85"/>
                        <a:gd name="T33" fmla="*/ 43 h 59"/>
                        <a:gd name="T34" fmla="*/ 39 w 85"/>
                        <a:gd name="T35" fmla="*/ 38 h 59"/>
                        <a:gd name="T36" fmla="*/ 38 w 85"/>
                        <a:gd name="T37" fmla="*/ 39 h 59"/>
                        <a:gd name="T38" fmla="*/ 47 w 85"/>
                        <a:gd name="T39" fmla="*/ 52 h 59"/>
                        <a:gd name="T40" fmla="*/ 48 w 85"/>
                        <a:gd name="T41" fmla="*/ 52 h 59"/>
                        <a:gd name="T42" fmla="*/ 58 w 85"/>
                        <a:gd name="T43" fmla="*/ 47 h 59"/>
                        <a:gd name="T44" fmla="*/ 67 w 85"/>
                        <a:gd name="T45" fmla="*/ 59 h 59"/>
                        <a:gd name="T46" fmla="*/ 68 w 85"/>
                        <a:gd name="T47" fmla="*/ 59 h 59"/>
                        <a:gd name="T48" fmla="*/ 80 w 85"/>
                        <a:gd name="T49" fmla="*/ 50 h 59"/>
                        <a:gd name="T50" fmla="*/ 84 w 85"/>
                        <a:gd name="T51" fmla="*/ 33 h 59"/>
                        <a:gd name="T52" fmla="*/ 76 w 85"/>
                        <a:gd name="T53" fmla="*/ 20 h 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</a:cxnLst>
                      <a:rect l="0" t="0" r="r" b="b"/>
                      <a:pathLst>
                        <a:path w="85" h="59">
                          <a:moveTo>
                            <a:pt x="76" y="20"/>
                          </a:moveTo>
                          <a:cubicBezTo>
                            <a:pt x="71" y="19"/>
                            <a:pt x="66" y="21"/>
                            <a:pt x="64" y="25"/>
                          </a:cubicBezTo>
                          <a:cubicBezTo>
                            <a:pt x="65" y="18"/>
                            <a:pt x="65" y="18"/>
                            <a:pt x="65" y="18"/>
                          </a:cubicBezTo>
                          <a:cubicBezTo>
                            <a:pt x="67" y="12"/>
                            <a:pt x="63" y="6"/>
                            <a:pt x="57" y="5"/>
                          </a:cubicBezTo>
                          <a:cubicBezTo>
                            <a:pt x="51" y="4"/>
                            <a:pt x="45" y="7"/>
                            <a:pt x="44" y="13"/>
                          </a:cubicBezTo>
                          <a:cubicBezTo>
                            <a:pt x="44" y="14"/>
                            <a:pt x="44" y="14"/>
                            <a:pt x="44" y="14"/>
                          </a:cubicBezTo>
                          <a:cubicBezTo>
                            <a:pt x="44" y="9"/>
                            <a:pt x="40" y="4"/>
                            <a:pt x="35" y="3"/>
                          </a:cubicBezTo>
                          <a:cubicBezTo>
                            <a:pt x="30" y="2"/>
                            <a:pt x="24" y="5"/>
                            <a:pt x="23" y="10"/>
                          </a:cubicBezTo>
                          <a:cubicBezTo>
                            <a:pt x="23" y="10"/>
                            <a:pt x="23" y="10"/>
                            <a:pt x="23" y="10"/>
                          </a:cubicBezTo>
                          <a:cubicBezTo>
                            <a:pt x="21" y="4"/>
                            <a:pt x="15" y="0"/>
                            <a:pt x="10" y="1"/>
                          </a:cubicBezTo>
                          <a:cubicBezTo>
                            <a:pt x="4" y="3"/>
                            <a:pt x="0" y="8"/>
                            <a:pt x="1" y="14"/>
                          </a:cubicBezTo>
                          <a:cubicBezTo>
                            <a:pt x="4" y="28"/>
                            <a:pt x="4" y="28"/>
                            <a:pt x="4" y="28"/>
                          </a:cubicBezTo>
                          <a:cubicBezTo>
                            <a:pt x="5" y="32"/>
                            <a:pt x="9" y="36"/>
                            <a:pt x="14" y="36"/>
                          </a:cubicBezTo>
                          <a:cubicBezTo>
                            <a:pt x="15" y="36"/>
                            <a:pt x="16" y="36"/>
                            <a:pt x="17" y="36"/>
                          </a:cubicBezTo>
                          <a:cubicBezTo>
                            <a:pt x="18" y="36"/>
                            <a:pt x="18" y="36"/>
                            <a:pt x="19" y="35"/>
                          </a:cubicBezTo>
                          <a:cubicBezTo>
                            <a:pt x="20" y="39"/>
                            <a:pt x="23" y="42"/>
                            <a:pt x="27" y="43"/>
                          </a:cubicBezTo>
                          <a:cubicBezTo>
                            <a:pt x="28" y="43"/>
                            <a:pt x="28" y="43"/>
                            <a:pt x="28" y="43"/>
                          </a:cubicBezTo>
                          <a:cubicBezTo>
                            <a:pt x="32" y="43"/>
                            <a:pt x="36" y="41"/>
                            <a:pt x="39" y="38"/>
                          </a:cubicBezTo>
                          <a:cubicBezTo>
                            <a:pt x="38" y="39"/>
                            <a:pt x="38" y="39"/>
                            <a:pt x="38" y="39"/>
                          </a:cubicBezTo>
                          <a:cubicBezTo>
                            <a:pt x="37" y="44"/>
                            <a:pt x="41" y="50"/>
                            <a:pt x="47" y="52"/>
                          </a:cubicBezTo>
                          <a:cubicBezTo>
                            <a:pt x="47" y="52"/>
                            <a:pt x="47" y="52"/>
                            <a:pt x="48" y="52"/>
                          </a:cubicBezTo>
                          <a:cubicBezTo>
                            <a:pt x="52" y="52"/>
                            <a:pt x="56" y="50"/>
                            <a:pt x="58" y="47"/>
                          </a:cubicBezTo>
                          <a:cubicBezTo>
                            <a:pt x="58" y="52"/>
                            <a:pt x="61" y="57"/>
                            <a:pt x="67" y="59"/>
                          </a:cubicBezTo>
                          <a:cubicBezTo>
                            <a:pt x="67" y="59"/>
                            <a:pt x="67" y="59"/>
                            <a:pt x="68" y="59"/>
                          </a:cubicBezTo>
                          <a:cubicBezTo>
                            <a:pt x="73" y="59"/>
                            <a:pt x="78" y="56"/>
                            <a:pt x="80" y="50"/>
                          </a:cubicBezTo>
                          <a:cubicBezTo>
                            <a:pt x="84" y="33"/>
                            <a:pt x="84" y="33"/>
                            <a:pt x="84" y="33"/>
                          </a:cubicBezTo>
                          <a:cubicBezTo>
                            <a:pt x="85" y="27"/>
                            <a:pt x="81" y="21"/>
                            <a:pt x="76" y="20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l" defTabSz="93231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600" b="0" i="0" u="none" strike="noStrike" kern="1200" cap="none" spc="0" normalizeH="0" baseline="-25000" noProof="0" dirty="0">
                        <a:ln>
                          <a:solidFill>
                            <a:srgbClr val="FFFFFF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492" name="Freeform 491"/>
                    <p:cNvSpPr>
                      <a:spLocks/>
                    </p:cNvSpPr>
                    <p:nvPr/>
                  </p:nvSpPr>
                  <p:spPr bwMode="black">
                    <a:xfrm>
                      <a:off x="11207741" y="4198910"/>
                      <a:ext cx="175191" cy="359859"/>
                    </a:xfrm>
                    <a:custGeom>
                      <a:avLst/>
                      <a:gdLst>
                        <a:gd name="T0" fmla="*/ 41 w 41"/>
                        <a:gd name="T1" fmla="*/ 77 h 85"/>
                        <a:gd name="T2" fmla="*/ 33 w 41"/>
                        <a:gd name="T3" fmla="*/ 7 h 85"/>
                        <a:gd name="T4" fmla="*/ 24 w 41"/>
                        <a:gd name="T5" fmla="*/ 1 h 85"/>
                        <a:gd name="T6" fmla="*/ 0 w 41"/>
                        <a:gd name="T7" fmla="*/ 7 h 85"/>
                        <a:gd name="T8" fmla="*/ 22 w 41"/>
                        <a:gd name="T9" fmla="*/ 85 h 85"/>
                        <a:gd name="T10" fmla="*/ 33 w 41"/>
                        <a:gd name="T11" fmla="*/ 85 h 85"/>
                        <a:gd name="T12" fmla="*/ 41 w 41"/>
                        <a:gd name="T13" fmla="*/ 77 h 8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41" h="85">
                          <a:moveTo>
                            <a:pt x="41" y="77"/>
                          </a:moveTo>
                          <a:cubicBezTo>
                            <a:pt x="33" y="7"/>
                            <a:pt x="33" y="7"/>
                            <a:pt x="33" y="7"/>
                          </a:cubicBezTo>
                          <a:cubicBezTo>
                            <a:pt x="32" y="2"/>
                            <a:pt x="28" y="0"/>
                            <a:pt x="24" y="1"/>
                          </a:cubicBezTo>
                          <a:cubicBezTo>
                            <a:pt x="0" y="7"/>
                            <a:pt x="0" y="7"/>
                            <a:pt x="0" y="7"/>
                          </a:cubicBezTo>
                          <a:cubicBezTo>
                            <a:pt x="0" y="7"/>
                            <a:pt x="25" y="32"/>
                            <a:pt x="22" y="85"/>
                          </a:cubicBezTo>
                          <a:cubicBezTo>
                            <a:pt x="33" y="85"/>
                            <a:pt x="33" y="85"/>
                            <a:pt x="33" y="85"/>
                          </a:cubicBezTo>
                          <a:cubicBezTo>
                            <a:pt x="38" y="85"/>
                            <a:pt x="41" y="81"/>
                            <a:pt x="41" y="77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l" defTabSz="93231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600" b="0" i="0" u="none" strike="noStrike" kern="1200" cap="none" spc="0" normalizeH="0" baseline="-25000" noProof="0" dirty="0">
                        <a:ln>
                          <a:solidFill>
                            <a:srgbClr val="FFFFFF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493" name="Freeform 492"/>
                    <p:cNvSpPr>
                      <a:spLocks/>
                    </p:cNvSpPr>
                    <p:nvPr/>
                  </p:nvSpPr>
                  <p:spPr bwMode="black">
                    <a:xfrm>
                      <a:off x="10387012" y="4206348"/>
                      <a:ext cx="176211" cy="352424"/>
                    </a:xfrm>
                    <a:custGeom>
                      <a:avLst/>
                      <a:gdLst>
                        <a:gd name="T0" fmla="*/ 47 w 47"/>
                        <a:gd name="T1" fmla="*/ 9 h 94"/>
                        <a:gd name="T2" fmla="*/ 35 w 47"/>
                        <a:gd name="T3" fmla="*/ 2 h 94"/>
                        <a:gd name="T4" fmla="*/ 25 w 47"/>
                        <a:gd name="T5" fmla="*/ 6 h 94"/>
                        <a:gd name="T6" fmla="*/ 2 w 47"/>
                        <a:gd name="T7" fmla="*/ 81 h 94"/>
                        <a:gd name="T8" fmla="*/ 7 w 47"/>
                        <a:gd name="T9" fmla="*/ 90 h 94"/>
                        <a:gd name="T10" fmla="*/ 26 w 47"/>
                        <a:gd name="T11" fmla="*/ 94 h 94"/>
                        <a:gd name="T12" fmla="*/ 47 w 47"/>
                        <a:gd name="T13" fmla="*/ 9 h 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47" h="94">
                          <a:moveTo>
                            <a:pt x="47" y="9"/>
                          </a:moveTo>
                          <a:cubicBezTo>
                            <a:pt x="35" y="2"/>
                            <a:pt x="35" y="2"/>
                            <a:pt x="35" y="2"/>
                          </a:cubicBezTo>
                          <a:cubicBezTo>
                            <a:pt x="31" y="0"/>
                            <a:pt x="27" y="2"/>
                            <a:pt x="25" y="6"/>
                          </a:cubicBezTo>
                          <a:cubicBezTo>
                            <a:pt x="2" y="81"/>
                            <a:pt x="2" y="81"/>
                            <a:pt x="2" y="81"/>
                          </a:cubicBezTo>
                          <a:cubicBezTo>
                            <a:pt x="0" y="86"/>
                            <a:pt x="3" y="90"/>
                            <a:pt x="7" y="90"/>
                          </a:cubicBezTo>
                          <a:cubicBezTo>
                            <a:pt x="26" y="94"/>
                            <a:pt x="26" y="94"/>
                            <a:pt x="26" y="94"/>
                          </a:cubicBezTo>
                          <a:cubicBezTo>
                            <a:pt x="24" y="52"/>
                            <a:pt x="47" y="9"/>
                            <a:pt x="47" y="9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l" defTabSz="93231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600" b="0" i="0" u="none" strike="noStrike" kern="1200" cap="none" spc="0" normalizeH="0" baseline="-25000" noProof="0" dirty="0">
                        <a:ln>
                          <a:solidFill>
                            <a:srgbClr val="FFFFFF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</p:grpSp>
            </p:grpSp>
            <p:grpSp>
              <p:nvGrpSpPr>
                <p:cNvPr id="494" name="Group 493"/>
                <p:cNvGrpSpPr/>
                <p:nvPr/>
              </p:nvGrpSpPr>
              <p:grpSpPr>
                <a:xfrm>
                  <a:off x="3063005" y="2915606"/>
                  <a:ext cx="439327" cy="439327"/>
                  <a:chOff x="10187340" y="2714625"/>
                  <a:chExt cx="527050" cy="527050"/>
                </a:xfrm>
              </p:grpSpPr>
              <p:sp>
                <p:nvSpPr>
                  <p:cNvPr id="495" name="Oval 494"/>
                  <p:cNvSpPr/>
                  <p:nvPr/>
                </p:nvSpPr>
                <p:spPr bwMode="auto">
                  <a:xfrm>
                    <a:off x="10187340" y="2714625"/>
                    <a:ext cx="527050" cy="527050"/>
                  </a:xfrm>
                  <a:prstGeom prst="ellipse">
                    <a:avLst/>
                  </a:prstGeom>
                  <a:solidFill>
                    <a:srgbClr val="68217A"/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>
                    <a:outerShdw dist="88900" dir="2700000" sx="90000" sy="90000" algn="tl" rotWithShape="0">
                      <a:prstClr val="black">
                        <a:alpha val="11000"/>
                      </a:prstClr>
                    </a:outerShdw>
                  </a:effectLst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496" name="Freeform 495"/>
                  <p:cNvSpPr>
                    <a:spLocks noEditPoints="1"/>
                  </p:cNvSpPr>
                  <p:nvPr/>
                </p:nvSpPr>
                <p:spPr bwMode="black">
                  <a:xfrm>
                    <a:off x="10308202" y="2835488"/>
                    <a:ext cx="285327" cy="285325"/>
                  </a:xfrm>
                  <a:custGeom>
                    <a:avLst/>
                    <a:gdLst>
                      <a:gd name="T0" fmla="*/ 47 w 66"/>
                      <a:gd name="T1" fmla="*/ 37 h 66"/>
                      <a:gd name="T2" fmla="*/ 51 w 66"/>
                      <a:gd name="T3" fmla="*/ 33 h 66"/>
                      <a:gd name="T4" fmla="*/ 47 w 66"/>
                      <a:gd name="T5" fmla="*/ 29 h 66"/>
                      <a:gd name="T6" fmla="*/ 37 w 66"/>
                      <a:gd name="T7" fmla="*/ 29 h 66"/>
                      <a:gd name="T8" fmla="*/ 37 w 66"/>
                      <a:gd name="T9" fmla="*/ 16 h 66"/>
                      <a:gd name="T10" fmla="*/ 33 w 66"/>
                      <a:gd name="T11" fmla="*/ 13 h 66"/>
                      <a:gd name="T12" fmla="*/ 29 w 66"/>
                      <a:gd name="T13" fmla="*/ 16 h 66"/>
                      <a:gd name="T14" fmla="*/ 29 w 66"/>
                      <a:gd name="T15" fmla="*/ 33 h 66"/>
                      <a:gd name="T16" fmla="*/ 33 w 66"/>
                      <a:gd name="T17" fmla="*/ 37 h 66"/>
                      <a:gd name="T18" fmla="*/ 47 w 66"/>
                      <a:gd name="T19" fmla="*/ 37 h 66"/>
                      <a:gd name="T20" fmla="*/ 33 w 66"/>
                      <a:gd name="T21" fmla="*/ 8 h 66"/>
                      <a:gd name="T22" fmla="*/ 58 w 66"/>
                      <a:gd name="T23" fmla="*/ 33 h 66"/>
                      <a:gd name="T24" fmla="*/ 33 w 66"/>
                      <a:gd name="T25" fmla="*/ 58 h 66"/>
                      <a:gd name="T26" fmla="*/ 8 w 66"/>
                      <a:gd name="T27" fmla="*/ 33 h 66"/>
                      <a:gd name="T28" fmla="*/ 33 w 66"/>
                      <a:gd name="T29" fmla="*/ 8 h 66"/>
                      <a:gd name="T30" fmla="*/ 33 w 66"/>
                      <a:gd name="T31" fmla="*/ 66 h 66"/>
                      <a:gd name="T32" fmla="*/ 66 w 66"/>
                      <a:gd name="T33" fmla="*/ 33 h 66"/>
                      <a:gd name="T34" fmla="*/ 33 w 66"/>
                      <a:gd name="T35" fmla="*/ 0 h 66"/>
                      <a:gd name="T36" fmla="*/ 0 w 66"/>
                      <a:gd name="T37" fmla="*/ 33 h 66"/>
                      <a:gd name="T38" fmla="*/ 33 w 66"/>
                      <a:gd name="T39" fmla="*/ 66 h 6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66" h="66">
                        <a:moveTo>
                          <a:pt x="47" y="37"/>
                        </a:moveTo>
                        <a:cubicBezTo>
                          <a:pt x="49" y="37"/>
                          <a:pt x="51" y="35"/>
                          <a:pt x="51" y="33"/>
                        </a:cubicBezTo>
                        <a:cubicBezTo>
                          <a:pt x="51" y="31"/>
                          <a:pt x="49" y="29"/>
                          <a:pt x="47" y="29"/>
                        </a:cubicBezTo>
                        <a:cubicBezTo>
                          <a:pt x="37" y="29"/>
                          <a:pt x="37" y="29"/>
                          <a:pt x="37" y="29"/>
                        </a:cubicBezTo>
                        <a:cubicBezTo>
                          <a:pt x="37" y="16"/>
                          <a:pt x="37" y="16"/>
                          <a:pt x="37" y="16"/>
                        </a:cubicBezTo>
                        <a:cubicBezTo>
                          <a:pt x="37" y="14"/>
                          <a:pt x="35" y="13"/>
                          <a:pt x="33" y="13"/>
                        </a:cubicBezTo>
                        <a:cubicBezTo>
                          <a:pt x="31" y="13"/>
                          <a:pt x="29" y="14"/>
                          <a:pt x="29" y="16"/>
                        </a:cubicBezTo>
                        <a:cubicBezTo>
                          <a:pt x="29" y="33"/>
                          <a:pt x="29" y="33"/>
                          <a:pt x="29" y="33"/>
                        </a:cubicBezTo>
                        <a:cubicBezTo>
                          <a:pt x="29" y="35"/>
                          <a:pt x="31" y="37"/>
                          <a:pt x="33" y="37"/>
                        </a:cubicBezTo>
                        <a:lnTo>
                          <a:pt x="47" y="37"/>
                        </a:lnTo>
                        <a:close/>
                        <a:moveTo>
                          <a:pt x="33" y="8"/>
                        </a:moveTo>
                        <a:cubicBezTo>
                          <a:pt x="47" y="8"/>
                          <a:pt x="58" y="19"/>
                          <a:pt x="58" y="33"/>
                        </a:cubicBezTo>
                        <a:cubicBezTo>
                          <a:pt x="58" y="47"/>
                          <a:pt x="47" y="58"/>
                          <a:pt x="33" y="58"/>
                        </a:cubicBezTo>
                        <a:cubicBezTo>
                          <a:pt x="19" y="58"/>
                          <a:pt x="8" y="47"/>
                          <a:pt x="8" y="33"/>
                        </a:cubicBezTo>
                        <a:cubicBezTo>
                          <a:pt x="8" y="19"/>
                          <a:pt x="19" y="8"/>
                          <a:pt x="33" y="8"/>
                        </a:cubicBezTo>
                        <a:moveTo>
                          <a:pt x="33" y="66"/>
                        </a:moveTo>
                        <a:cubicBezTo>
                          <a:pt x="51" y="66"/>
                          <a:pt x="66" y="51"/>
                          <a:pt x="66" y="33"/>
                        </a:cubicBezTo>
                        <a:cubicBezTo>
                          <a:pt x="66" y="15"/>
                          <a:pt x="51" y="0"/>
                          <a:pt x="33" y="0"/>
                        </a:cubicBezTo>
                        <a:cubicBezTo>
                          <a:pt x="15" y="0"/>
                          <a:pt x="0" y="15"/>
                          <a:pt x="0" y="33"/>
                        </a:cubicBezTo>
                        <a:cubicBezTo>
                          <a:pt x="0" y="51"/>
                          <a:pt x="15" y="66"/>
                          <a:pt x="33" y="66"/>
                        </a:cubicBezTo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/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-2500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497" name="Oval 496"/>
                <p:cNvSpPr/>
                <p:nvPr/>
              </p:nvSpPr>
              <p:spPr bwMode="auto">
                <a:xfrm>
                  <a:off x="1692208" y="3513361"/>
                  <a:ext cx="440375" cy="440372"/>
                </a:xfrm>
                <a:prstGeom prst="ellipse">
                  <a:avLst/>
                </a:prstGeom>
                <a:solidFill>
                  <a:srgbClr val="0072C6">
                    <a:lumMod val="50000"/>
                  </a:srgbClr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>
                  <a:outerShdw dist="88900" dir="2700000" sx="90000" sy="90000" algn="tl" rotWithShape="0">
                    <a:prstClr val="black">
                      <a:alpha val="11000"/>
                    </a:prstClr>
                  </a:outerShdw>
                </a:effectLst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-2500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498" name="Freeform 497"/>
                <p:cNvSpPr>
                  <a:spLocks noEditPoints="1"/>
                </p:cNvSpPr>
                <p:nvPr/>
              </p:nvSpPr>
              <p:spPr bwMode="black">
                <a:xfrm>
                  <a:off x="3934105" y="3646526"/>
                  <a:ext cx="246244" cy="190640"/>
                </a:xfrm>
                <a:custGeom>
                  <a:avLst/>
                  <a:gdLst>
                    <a:gd name="T0" fmla="*/ 71 w 75"/>
                    <a:gd name="T1" fmla="*/ 58 h 58"/>
                    <a:gd name="T2" fmla="*/ 4 w 75"/>
                    <a:gd name="T3" fmla="*/ 58 h 58"/>
                    <a:gd name="T4" fmla="*/ 0 w 75"/>
                    <a:gd name="T5" fmla="*/ 54 h 58"/>
                    <a:gd name="T6" fmla="*/ 0 w 75"/>
                    <a:gd name="T7" fmla="*/ 4 h 58"/>
                    <a:gd name="T8" fmla="*/ 4 w 75"/>
                    <a:gd name="T9" fmla="*/ 0 h 58"/>
                    <a:gd name="T10" fmla="*/ 71 w 75"/>
                    <a:gd name="T11" fmla="*/ 0 h 58"/>
                    <a:gd name="T12" fmla="*/ 75 w 75"/>
                    <a:gd name="T13" fmla="*/ 4 h 58"/>
                    <a:gd name="T14" fmla="*/ 75 w 75"/>
                    <a:gd name="T15" fmla="*/ 54 h 58"/>
                    <a:gd name="T16" fmla="*/ 71 w 75"/>
                    <a:gd name="T17" fmla="*/ 58 h 58"/>
                    <a:gd name="T18" fmla="*/ 8 w 75"/>
                    <a:gd name="T19" fmla="*/ 50 h 58"/>
                    <a:gd name="T20" fmla="*/ 67 w 75"/>
                    <a:gd name="T21" fmla="*/ 50 h 58"/>
                    <a:gd name="T22" fmla="*/ 67 w 75"/>
                    <a:gd name="T23" fmla="*/ 16 h 58"/>
                    <a:gd name="T24" fmla="*/ 39 w 75"/>
                    <a:gd name="T25" fmla="*/ 38 h 58"/>
                    <a:gd name="T26" fmla="*/ 35 w 75"/>
                    <a:gd name="T27" fmla="*/ 38 h 58"/>
                    <a:gd name="T28" fmla="*/ 8 w 75"/>
                    <a:gd name="T29" fmla="*/ 17 h 58"/>
                    <a:gd name="T30" fmla="*/ 8 w 75"/>
                    <a:gd name="T31" fmla="*/ 50 h 58"/>
                    <a:gd name="T32" fmla="*/ 9 w 75"/>
                    <a:gd name="T33" fmla="*/ 8 h 58"/>
                    <a:gd name="T34" fmla="*/ 37 w 75"/>
                    <a:gd name="T35" fmla="*/ 30 h 58"/>
                    <a:gd name="T36" fmla="*/ 65 w 75"/>
                    <a:gd name="T37" fmla="*/ 8 h 58"/>
                    <a:gd name="T38" fmla="*/ 9 w 75"/>
                    <a:gd name="T39" fmla="*/ 8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75" h="58">
                      <a:moveTo>
                        <a:pt x="71" y="58"/>
                      </a:moveTo>
                      <a:cubicBezTo>
                        <a:pt x="4" y="58"/>
                        <a:pt x="4" y="58"/>
                        <a:pt x="4" y="58"/>
                      </a:cubicBezTo>
                      <a:cubicBezTo>
                        <a:pt x="2" y="58"/>
                        <a:pt x="0" y="56"/>
                        <a:pt x="0" y="54"/>
                      </a:cubicBez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0" y="2"/>
                        <a:pt x="2" y="0"/>
                        <a:pt x="4" y="0"/>
                      </a:cubicBezTo>
                      <a:cubicBezTo>
                        <a:pt x="71" y="0"/>
                        <a:pt x="71" y="0"/>
                        <a:pt x="71" y="0"/>
                      </a:cubicBezTo>
                      <a:cubicBezTo>
                        <a:pt x="73" y="0"/>
                        <a:pt x="75" y="2"/>
                        <a:pt x="75" y="4"/>
                      </a:cubicBezTo>
                      <a:cubicBezTo>
                        <a:pt x="75" y="54"/>
                        <a:pt x="75" y="54"/>
                        <a:pt x="75" y="54"/>
                      </a:cubicBezTo>
                      <a:cubicBezTo>
                        <a:pt x="75" y="56"/>
                        <a:pt x="73" y="58"/>
                        <a:pt x="71" y="58"/>
                      </a:cubicBezTo>
                      <a:close/>
                      <a:moveTo>
                        <a:pt x="8" y="50"/>
                      </a:moveTo>
                      <a:cubicBezTo>
                        <a:pt x="67" y="50"/>
                        <a:pt x="67" y="50"/>
                        <a:pt x="67" y="50"/>
                      </a:cubicBezTo>
                      <a:cubicBezTo>
                        <a:pt x="67" y="16"/>
                        <a:pt x="67" y="16"/>
                        <a:pt x="67" y="16"/>
                      </a:cubicBezTo>
                      <a:cubicBezTo>
                        <a:pt x="39" y="38"/>
                        <a:pt x="39" y="38"/>
                        <a:pt x="39" y="38"/>
                      </a:cubicBezTo>
                      <a:cubicBezTo>
                        <a:pt x="38" y="39"/>
                        <a:pt x="36" y="39"/>
                        <a:pt x="35" y="38"/>
                      </a:cubicBezTo>
                      <a:cubicBezTo>
                        <a:pt x="8" y="17"/>
                        <a:pt x="8" y="17"/>
                        <a:pt x="8" y="17"/>
                      </a:cubicBezTo>
                      <a:lnTo>
                        <a:pt x="8" y="50"/>
                      </a:lnTo>
                      <a:close/>
                      <a:moveTo>
                        <a:pt x="9" y="8"/>
                      </a:moveTo>
                      <a:cubicBezTo>
                        <a:pt x="37" y="30"/>
                        <a:pt x="37" y="30"/>
                        <a:pt x="37" y="30"/>
                      </a:cubicBezTo>
                      <a:cubicBezTo>
                        <a:pt x="65" y="8"/>
                        <a:pt x="65" y="8"/>
                        <a:pt x="65" y="8"/>
                      </a:cubicBezTo>
                      <a:lnTo>
                        <a:pt x="9" y="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-2500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99" name="Rounded Rectangle 114700"/>
                <p:cNvSpPr/>
                <p:nvPr/>
              </p:nvSpPr>
              <p:spPr>
                <a:xfrm>
                  <a:off x="3626393" y="3251926"/>
                  <a:ext cx="231264" cy="2216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838919" h="2721500">
                      <a:moveTo>
                        <a:pt x="755934" y="1066300"/>
                      </a:moveTo>
                      <a:lnTo>
                        <a:pt x="828528" y="1066300"/>
                      </a:lnTo>
                      <a:cubicBezTo>
                        <a:pt x="888487" y="1066300"/>
                        <a:pt x="937094" y="1113745"/>
                        <a:pt x="937094" y="1172271"/>
                      </a:cubicBezTo>
                      <a:lnTo>
                        <a:pt x="937094" y="1247635"/>
                      </a:lnTo>
                      <a:cubicBezTo>
                        <a:pt x="937094" y="1306161"/>
                        <a:pt x="888487" y="1353606"/>
                        <a:pt x="828528" y="1353606"/>
                      </a:cubicBezTo>
                      <a:lnTo>
                        <a:pt x="755934" y="1353606"/>
                      </a:lnTo>
                      <a:lnTo>
                        <a:pt x="746066" y="1351662"/>
                      </a:lnTo>
                      <a:lnTo>
                        <a:pt x="746066" y="1068244"/>
                      </a:lnTo>
                      <a:cubicBezTo>
                        <a:pt x="749221" y="1066450"/>
                        <a:pt x="752560" y="1066300"/>
                        <a:pt x="755934" y="1066300"/>
                      </a:cubicBezTo>
                      <a:close/>
                      <a:moveTo>
                        <a:pt x="879785" y="894374"/>
                      </a:moveTo>
                      <a:lnTo>
                        <a:pt x="586874" y="907109"/>
                      </a:lnTo>
                      <a:lnTo>
                        <a:pt x="586874" y="1830413"/>
                      </a:lnTo>
                      <a:lnTo>
                        <a:pt x="749249" y="1836781"/>
                      </a:lnTo>
                      <a:cubicBezTo>
                        <a:pt x="747127" y="1729593"/>
                        <a:pt x="748187" y="1625589"/>
                        <a:pt x="749249" y="1521584"/>
                      </a:cubicBezTo>
                      <a:lnTo>
                        <a:pt x="876601" y="1524769"/>
                      </a:lnTo>
                      <a:cubicBezTo>
                        <a:pt x="963624" y="1512033"/>
                        <a:pt x="1117509" y="1422887"/>
                        <a:pt x="1128122" y="1225491"/>
                      </a:cubicBezTo>
                      <a:cubicBezTo>
                        <a:pt x="1130245" y="916661"/>
                        <a:pt x="954074" y="893843"/>
                        <a:pt x="879785" y="894374"/>
                      </a:cubicBezTo>
                      <a:close/>
                      <a:moveTo>
                        <a:pt x="1701763" y="726839"/>
                      </a:moveTo>
                      <a:lnTo>
                        <a:pt x="2482813" y="726839"/>
                      </a:lnTo>
                      <a:lnTo>
                        <a:pt x="2482813" y="2365139"/>
                      </a:lnTo>
                      <a:cubicBezTo>
                        <a:pt x="2482813" y="2396702"/>
                        <a:pt x="2457226" y="2422289"/>
                        <a:pt x="2425663" y="2422289"/>
                      </a:cubicBezTo>
                      <a:lnTo>
                        <a:pt x="1701763" y="2422289"/>
                      </a:lnTo>
                      <a:lnTo>
                        <a:pt x="1701763" y="2233377"/>
                      </a:lnTo>
                      <a:lnTo>
                        <a:pt x="2292701" y="2233377"/>
                      </a:lnTo>
                      <a:cubicBezTo>
                        <a:pt x="2297747" y="2233377"/>
                        <a:pt x="2301838" y="2229286"/>
                        <a:pt x="2301838" y="2224240"/>
                      </a:cubicBezTo>
                      <a:lnTo>
                        <a:pt x="2301838" y="2109164"/>
                      </a:lnTo>
                      <a:lnTo>
                        <a:pt x="2292701" y="2100027"/>
                      </a:lnTo>
                      <a:lnTo>
                        <a:pt x="1701763" y="2100027"/>
                      </a:lnTo>
                      <a:lnTo>
                        <a:pt x="1701763" y="1940483"/>
                      </a:lnTo>
                      <a:lnTo>
                        <a:pt x="2292701" y="1940483"/>
                      </a:lnTo>
                      <a:cubicBezTo>
                        <a:pt x="2297747" y="1940483"/>
                        <a:pt x="2301838" y="1936392"/>
                        <a:pt x="2301838" y="1931346"/>
                      </a:cubicBezTo>
                      <a:lnTo>
                        <a:pt x="2301838" y="1816270"/>
                      </a:lnTo>
                      <a:lnTo>
                        <a:pt x="2292701" y="1807133"/>
                      </a:lnTo>
                      <a:lnTo>
                        <a:pt x="1701763" y="1807133"/>
                      </a:lnTo>
                      <a:lnTo>
                        <a:pt x="1701763" y="1649970"/>
                      </a:lnTo>
                      <a:lnTo>
                        <a:pt x="2292701" y="1649970"/>
                      </a:lnTo>
                      <a:cubicBezTo>
                        <a:pt x="2297747" y="1649970"/>
                        <a:pt x="2301838" y="1645879"/>
                        <a:pt x="2301838" y="1640833"/>
                      </a:cubicBezTo>
                      <a:lnTo>
                        <a:pt x="2301838" y="1525757"/>
                      </a:lnTo>
                      <a:lnTo>
                        <a:pt x="2292701" y="1516620"/>
                      </a:lnTo>
                      <a:lnTo>
                        <a:pt x="1701763" y="1516620"/>
                      </a:lnTo>
                      <a:lnTo>
                        <a:pt x="1701763" y="1351405"/>
                      </a:lnTo>
                      <a:lnTo>
                        <a:pt x="2271764" y="1351405"/>
                      </a:lnTo>
                      <a:cubicBezTo>
                        <a:pt x="2288373" y="1351405"/>
                        <a:pt x="2301838" y="1337940"/>
                        <a:pt x="2301838" y="1321331"/>
                      </a:cubicBezTo>
                      <a:lnTo>
                        <a:pt x="2301838" y="942567"/>
                      </a:lnTo>
                      <a:cubicBezTo>
                        <a:pt x="2301838" y="925958"/>
                        <a:pt x="2288373" y="912493"/>
                        <a:pt x="2271764" y="912493"/>
                      </a:cubicBezTo>
                      <a:lnTo>
                        <a:pt x="1701763" y="912493"/>
                      </a:lnTo>
                      <a:close/>
                      <a:moveTo>
                        <a:pt x="2148867" y="340282"/>
                      </a:moveTo>
                      <a:lnTo>
                        <a:pt x="2782339" y="340282"/>
                      </a:lnTo>
                      <a:cubicBezTo>
                        <a:pt x="2813587" y="340282"/>
                        <a:pt x="2838919" y="365614"/>
                        <a:pt x="2838919" y="396862"/>
                      </a:cubicBezTo>
                      <a:lnTo>
                        <a:pt x="2838919" y="1746742"/>
                      </a:lnTo>
                      <a:cubicBezTo>
                        <a:pt x="2838919" y="1777990"/>
                        <a:pt x="2813587" y="1803322"/>
                        <a:pt x="2782339" y="1803322"/>
                      </a:cubicBezTo>
                      <a:lnTo>
                        <a:pt x="2549487" y="1803322"/>
                      </a:lnTo>
                      <a:lnTo>
                        <a:pt x="2549487" y="676566"/>
                      </a:lnTo>
                      <a:lnTo>
                        <a:pt x="2092287" y="411727"/>
                      </a:lnTo>
                      <a:lnTo>
                        <a:pt x="2092287" y="396862"/>
                      </a:lnTo>
                      <a:cubicBezTo>
                        <a:pt x="2092287" y="365614"/>
                        <a:pt x="2117619" y="340282"/>
                        <a:pt x="2148867" y="340282"/>
                      </a:cubicBezTo>
                      <a:close/>
                      <a:moveTo>
                        <a:pt x="1640484" y="0"/>
                      </a:moveTo>
                      <a:lnTo>
                        <a:pt x="1640484" y="2721500"/>
                      </a:lnTo>
                      <a:lnTo>
                        <a:pt x="0" y="2441635"/>
                      </a:lnTo>
                      <a:lnTo>
                        <a:pt x="0" y="28221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079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-2500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00" name="Rectangle 4"/>
                <p:cNvSpPr/>
                <p:nvPr/>
              </p:nvSpPr>
              <p:spPr>
                <a:xfrm>
                  <a:off x="2606901" y="3025468"/>
                  <a:ext cx="227726" cy="2165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53672" h="2154513">
                      <a:moveTo>
                        <a:pt x="1738560" y="1548363"/>
                      </a:moveTo>
                      <a:lnTo>
                        <a:pt x="1738560" y="1758675"/>
                      </a:lnTo>
                      <a:lnTo>
                        <a:pt x="2104320" y="1758675"/>
                      </a:lnTo>
                      <a:lnTo>
                        <a:pt x="2104320" y="1548363"/>
                      </a:lnTo>
                      <a:close/>
                      <a:moveTo>
                        <a:pt x="1738560" y="1261283"/>
                      </a:moveTo>
                      <a:lnTo>
                        <a:pt x="1738560" y="1471595"/>
                      </a:lnTo>
                      <a:lnTo>
                        <a:pt x="2104320" y="1471595"/>
                      </a:lnTo>
                      <a:lnTo>
                        <a:pt x="2104320" y="1261283"/>
                      </a:lnTo>
                      <a:close/>
                      <a:moveTo>
                        <a:pt x="1738560" y="974205"/>
                      </a:moveTo>
                      <a:lnTo>
                        <a:pt x="1738560" y="1184517"/>
                      </a:lnTo>
                      <a:lnTo>
                        <a:pt x="2104320" y="1184517"/>
                      </a:lnTo>
                      <a:lnTo>
                        <a:pt x="2104320" y="974205"/>
                      </a:lnTo>
                      <a:close/>
                      <a:moveTo>
                        <a:pt x="1738560" y="687127"/>
                      </a:moveTo>
                      <a:lnTo>
                        <a:pt x="1738560" y="897439"/>
                      </a:lnTo>
                      <a:lnTo>
                        <a:pt x="2104320" y="897439"/>
                      </a:lnTo>
                      <a:lnTo>
                        <a:pt x="2104320" y="687127"/>
                      </a:lnTo>
                      <a:close/>
                      <a:moveTo>
                        <a:pt x="927711" y="672099"/>
                      </a:moveTo>
                      <a:lnTo>
                        <a:pt x="770548" y="681624"/>
                      </a:lnTo>
                      <a:lnTo>
                        <a:pt x="653867" y="953087"/>
                      </a:lnTo>
                      <a:lnTo>
                        <a:pt x="556236" y="691149"/>
                      </a:lnTo>
                      <a:lnTo>
                        <a:pt x="403836" y="698293"/>
                      </a:lnTo>
                      <a:lnTo>
                        <a:pt x="565761" y="1065006"/>
                      </a:lnTo>
                      <a:lnTo>
                        <a:pt x="387167" y="1431718"/>
                      </a:lnTo>
                      <a:lnTo>
                        <a:pt x="541948" y="1438862"/>
                      </a:lnTo>
                      <a:lnTo>
                        <a:pt x="653867" y="1176924"/>
                      </a:lnTo>
                      <a:lnTo>
                        <a:pt x="768167" y="1455531"/>
                      </a:lnTo>
                      <a:lnTo>
                        <a:pt x="932473" y="1457912"/>
                      </a:lnTo>
                      <a:lnTo>
                        <a:pt x="744354" y="1065006"/>
                      </a:lnTo>
                      <a:close/>
                      <a:moveTo>
                        <a:pt x="1738560" y="400049"/>
                      </a:moveTo>
                      <a:lnTo>
                        <a:pt x="1738560" y="610361"/>
                      </a:lnTo>
                      <a:lnTo>
                        <a:pt x="2104320" y="610361"/>
                      </a:lnTo>
                      <a:lnTo>
                        <a:pt x="2104320" y="400049"/>
                      </a:lnTo>
                      <a:close/>
                      <a:moveTo>
                        <a:pt x="1357560" y="249239"/>
                      </a:moveTo>
                      <a:lnTo>
                        <a:pt x="2230092" y="249239"/>
                      </a:lnTo>
                      <a:cubicBezTo>
                        <a:pt x="2243115" y="249239"/>
                        <a:pt x="2253672" y="259796"/>
                        <a:pt x="2253672" y="272819"/>
                      </a:cubicBezTo>
                      <a:lnTo>
                        <a:pt x="2253672" y="1880723"/>
                      </a:lnTo>
                      <a:cubicBezTo>
                        <a:pt x="2253672" y="1893746"/>
                        <a:pt x="2243115" y="1904303"/>
                        <a:pt x="2230092" y="1904303"/>
                      </a:cubicBezTo>
                      <a:lnTo>
                        <a:pt x="1357560" y="1904303"/>
                      </a:lnTo>
                      <a:lnTo>
                        <a:pt x="1357560" y="1758675"/>
                      </a:lnTo>
                      <a:lnTo>
                        <a:pt x="1677600" y="1758675"/>
                      </a:lnTo>
                      <a:lnTo>
                        <a:pt x="1677600" y="1548363"/>
                      </a:lnTo>
                      <a:lnTo>
                        <a:pt x="1357560" y="1548363"/>
                      </a:lnTo>
                      <a:lnTo>
                        <a:pt x="1357560" y="1471595"/>
                      </a:lnTo>
                      <a:lnTo>
                        <a:pt x="1677600" y="1471595"/>
                      </a:lnTo>
                      <a:lnTo>
                        <a:pt x="1677600" y="1261283"/>
                      </a:lnTo>
                      <a:lnTo>
                        <a:pt x="1357560" y="1261283"/>
                      </a:lnTo>
                      <a:lnTo>
                        <a:pt x="1357560" y="1184517"/>
                      </a:lnTo>
                      <a:lnTo>
                        <a:pt x="1677600" y="1184517"/>
                      </a:lnTo>
                      <a:lnTo>
                        <a:pt x="1677600" y="974205"/>
                      </a:lnTo>
                      <a:lnTo>
                        <a:pt x="1357560" y="974205"/>
                      </a:lnTo>
                      <a:lnTo>
                        <a:pt x="1357560" y="897439"/>
                      </a:lnTo>
                      <a:lnTo>
                        <a:pt x="1677600" y="897439"/>
                      </a:lnTo>
                      <a:lnTo>
                        <a:pt x="1677600" y="687127"/>
                      </a:lnTo>
                      <a:lnTo>
                        <a:pt x="1357560" y="687127"/>
                      </a:lnTo>
                      <a:lnTo>
                        <a:pt x="1357560" y="610361"/>
                      </a:lnTo>
                      <a:lnTo>
                        <a:pt x="1677600" y="610361"/>
                      </a:lnTo>
                      <a:lnTo>
                        <a:pt x="1677600" y="400049"/>
                      </a:lnTo>
                      <a:lnTo>
                        <a:pt x="1357560" y="400049"/>
                      </a:lnTo>
                      <a:close/>
                      <a:moveTo>
                        <a:pt x="1298713" y="0"/>
                      </a:moveTo>
                      <a:lnTo>
                        <a:pt x="1298713" y="2154513"/>
                      </a:lnTo>
                      <a:lnTo>
                        <a:pt x="0" y="1932953"/>
                      </a:lnTo>
                      <a:lnTo>
                        <a:pt x="0" y="22342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079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-2500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01" name="Rectangle 4"/>
                <p:cNvSpPr/>
                <p:nvPr/>
              </p:nvSpPr>
              <p:spPr>
                <a:xfrm>
                  <a:off x="1800594" y="3616190"/>
                  <a:ext cx="233140" cy="2228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58008" h="2158661">
                      <a:moveTo>
                        <a:pt x="1054866" y="676730"/>
                      </a:moveTo>
                      <a:lnTo>
                        <a:pt x="905641" y="683080"/>
                      </a:lnTo>
                      <a:lnTo>
                        <a:pt x="810391" y="1245055"/>
                      </a:lnTo>
                      <a:lnTo>
                        <a:pt x="702441" y="695780"/>
                      </a:lnTo>
                      <a:lnTo>
                        <a:pt x="562741" y="708480"/>
                      </a:lnTo>
                      <a:lnTo>
                        <a:pt x="451616" y="1238705"/>
                      </a:lnTo>
                      <a:lnTo>
                        <a:pt x="369066" y="721180"/>
                      </a:lnTo>
                      <a:lnTo>
                        <a:pt x="238891" y="730705"/>
                      </a:lnTo>
                      <a:lnTo>
                        <a:pt x="375416" y="1438730"/>
                      </a:lnTo>
                      <a:lnTo>
                        <a:pt x="518291" y="1448255"/>
                      </a:lnTo>
                      <a:lnTo>
                        <a:pt x="626241" y="937080"/>
                      </a:lnTo>
                      <a:lnTo>
                        <a:pt x="727841" y="1460955"/>
                      </a:lnTo>
                      <a:lnTo>
                        <a:pt x="883416" y="1470480"/>
                      </a:lnTo>
                      <a:close/>
                      <a:moveTo>
                        <a:pt x="1360172" y="249719"/>
                      </a:moveTo>
                      <a:lnTo>
                        <a:pt x="2234383" y="249719"/>
                      </a:lnTo>
                      <a:cubicBezTo>
                        <a:pt x="2247431" y="249719"/>
                        <a:pt x="2258008" y="260296"/>
                        <a:pt x="2258008" y="273344"/>
                      </a:cubicBezTo>
                      <a:lnTo>
                        <a:pt x="2258008" y="1884344"/>
                      </a:lnTo>
                      <a:cubicBezTo>
                        <a:pt x="2258008" y="1897392"/>
                        <a:pt x="2247431" y="1907969"/>
                        <a:pt x="2234383" y="1907969"/>
                      </a:cubicBezTo>
                      <a:lnTo>
                        <a:pt x="1360172" y="1907969"/>
                      </a:lnTo>
                      <a:lnTo>
                        <a:pt x="1360172" y="1703105"/>
                      </a:lnTo>
                      <a:lnTo>
                        <a:pt x="2054991" y="1703105"/>
                      </a:lnTo>
                      <a:lnTo>
                        <a:pt x="2054991" y="1602521"/>
                      </a:lnTo>
                      <a:lnTo>
                        <a:pt x="1360172" y="1602521"/>
                      </a:lnTo>
                      <a:lnTo>
                        <a:pt x="1360172" y="1474130"/>
                      </a:lnTo>
                      <a:lnTo>
                        <a:pt x="2054991" y="1474130"/>
                      </a:lnTo>
                      <a:lnTo>
                        <a:pt x="2054991" y="1373546"/>
                      </a:lnTo>
                      <a:lnTo>
                        <a:pt x="1360172" y="1373546"/>
                      </a:lnTo>
                      <a:lnTo>
                        <a:pt x="1360172" y="1245157"/>
                      </a:lnTo>
                      <a:lnTo>
                        <a:pt x="2054991" y="1245157"/>
                      </a:lnTo>
                      <a:lnTo>
                        <a:pt x="2054991" y="1144573"/>
                      </a:lnTo>
                      <a:lnTo>
                        <a:pt x="1360172" y="1144573"/>
                      </a:lnTo>
                      <a:lnTo>
                        <a:pt x="1360172" y="1016184"/>
                      </a:lnTo>
                      <a:lnTo>
                        <a:pt x="2054991" y="1016184"/>
                      </a:lnTo>
                      <a:lnTo>
                        <a:pt x="2054991" y="915600"/>
                      </a:lnTo>
                      <a:lnTo>
                        <a:pt x="1360172" y="915600"/>
                      </a:lnTo>
                      <a:lnTo>
                        <a:pt x="1360172" y="787211"/>
                      </a:lnTo>
                      <a:lnTo>
                        <a:pt x="2054991" y="787211"/>
                      </a:lnTo>
                      <a:lnTo>
                        <a:pt x="2054991" y="686627"/>
                      </a:lnTo>
                      <a:lnTo>
                        <a:pt x="1360172" y="686627"/>
                      </a:lnTo>
                      <a:lnTo>
                        <a:pt x="1360172" y="558238"/>
                      </a:lnTo>
                      <a:lnTo>
                        <a:pt x="2054991" y="558238"/>
                      </a:lnTo>
                      <a:lnTo>
                        <a:pt x="2054991" y="457654"/>
                      </a:lnTo>
                      <a:lnTo>
                        <a:pt x="1360172" y="457654"/>
                      </a:lnTo>
                      <a:close/>
                      <a:moveTo>
                        <a:pt x="1301212" y="0"/>
                      </a:moveTo>
                      <a:lnTo>
                        <a:pt x="1301212" y="2158661"/>
                      </a:lnTo>
                      <a:lnTo>
                        <a:pt x="0" y="1936675"/>
                      </a:lnTo>
                      <a:lnTo>
                        <a:pt x="0" y="22385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079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-2500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479" name="Rectangle 478"/>
          <p:cNvSpPr/>
          <p:nvPr/>
        </p:nvSpPr>
        <p:spPr>
          <a:xfrm>
            <a:off x="1737642" y="5323193"/>
            <a:ext cx="7364185" cy="725182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Join us for a live webcast on Thursday, 9/17!</a:t>
            </a:r>
            <a:endParaRPr lang="en-US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98785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1528482" y="638175"/>
            <a:ext cx="5715000" cy="2381250"/>
            <a:chOff x="1528482" y="638175"/>
            <a:chExt cx="5715000" cy="2381250"/>
          </a:xfrm>
        </p:grpSpPr>
        <p:pic>
          <p:nvPicPr>
            <p:cNvPr id="2" name="Picture 1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28482" y="638175"/>
              <a:ext cx="5715000" cy="2381250"/>
            </a:xfrm>
            <a:prstGeom prst="rect">
              <a:avLst/>
            </a:prstGeom>
          </p:spPr>
        </p:pic>
        <p:sp>
          <p:nvSpPr>
            <p:cNvPr id="3" name="Rectangle 2"/>
            <p:cNvSpPr/>
            <p:nvPr/>
          </p:nvSpPr>
          <p:spPr>
            <a:xfrm>
              <a:off x="1541933" y="1411941"/>
              <a:ext cx="2745441" cy="524435"/>
            </a:xfrm>
            <a:prstGeom prst="rect">
              <a:avLst/>
            </a:prstGeom>
            <a:solidFill>
              <a:srgbClr val="AB00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dirty="0" smtClean="0">
                  <a:latin typeface="Segoe UI Light" panose="020B0502040204020203" pitchFamily="34" charset="0"/>
                  <a:cs typeface="Segoe UI Light" panose="020B0502040204020203" pitchFamily="34" charset="0"/>
                </a:rPr>
                <a:t>Business Anywhere</a:t>
              </a:r>
              <a:endParaRPr lang="en-US" sz="2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1437154" y="4948516"/>
            <a:ext cx="2647950" cy="1704975"/>
            <a:chOff x="1437154" y="4948516"/>
            <a:chExt cx="2647950" cy="1704975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37154" y="4948516"/>
              <a:ext cx="2647950" cy="1704975"/>
            </a:xfrm>
            <a:prstGeom prst="rect">
              <a:avLst/>
            </a:prstGeom>
          </p:spPr>
        </p:pic>
        <p:sp>
          <p:nvSpPr>
            <p:cNvPr id="7" name="Rectangle 6"/>
            <p:cNvSpPr/>
            <p:nvPr/>
          </p:nvSpPr>
          <p:spPr>
            <a:xfrm>
              <a:off x="1437154" y="5480934"/>
              <a:ext cx="1884270" cy="398091"/>
            </a:xfrm>
            <a:prstGeom prst="rect">
              <a:avLst/>
            </a:prstGeom>
            <a:solidFill>
              <a:srgbClr val="AB00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 smtClean="0">
                  <a:latin typeface="Segoe UI Light" panose="020B0502040204020203" pitchFamily="34" charset="0"/>
                  <a:cs typeface="Segoe UI Light" panose="020B0502040204020203" pitchFamily="34" charset="0"/>
                </a:rPr>
                <a:t>Business Anywhere</a:t>
              </a:r>
              <a:endParaRPr lang="en-US" sz="16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4330355" y="4948517"/>
            <a:ext cx="2647950" cy="1704975"/>
            <a:chOff x="4330355" y="4948517"/>
            <a:chExt cx="2647950" cy="1704975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30355" y="4948517"/>
              <a:ext cx="2647950" cy="1704975"/>
            </a:xfrm>
            <a:prstGeom prst="rect">
              <a:avLst/>
            </a:prstGeom>
          </p:spPr>
        </p:pic>
        <p:sp>
          <p:nvSpPr>
            <p:cNvPr id="8" name="Rectangle 7"/>
            <p:cNvSpPr/>
            <p:nvPr/>
          </p:nvSpPr>
          <p:spPr>
            <a:xfrm>
              <a:off x="4330355" y="5480933"/>
              <a:ext cx="1884270" cy="398091"/>
            </a:xfrm>
            <a:prstGeom prst="rect">
              <a:avLst/>
            </a:prstGeom>
            <a:solidFill>
              <a:srgbClr val="ED00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 smtClean="0">
                  <a:latin typeface="Segoe UI Light" panose="020B0502040204020203" pitchFamily="34" charset="0"/>
                  <a:cs typeface="Segoe UI Light" panose="020B0502040204020203" pitchFamily="34" charset="0"/>
                </a:rPr>
                <a:t>Business Anywhere</a:t>
              </a:r>
              <a:endParaRPr lang="en-US" sz="16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11" name="Rectangle 10"/>
          <p:cNvSpPr/>
          <p:nvPr/>
        </p:nvSpPr>
        <p:spPr>
          <a:xfrm>
            <a:off x="1528482" y="638175"/>
            <a:ext cx="5715000" cy="23812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202385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3792478" y="2071137"/>
            <a:ext cx="317241" cy="317241"/>
            <a:chOff x="1468378" y="3760237"/>
            <a:chExt cx="438538" cy="438538"/>
          </a:xfrm>
        </p:grpSpPr>
        <p:sp>
          <p:nvSpPr>
            <p:cNvPr id="2" name="Oval 1"/>
            <p:cNvSpPr/>
            <p:nvPr/>
          </p:nvSpPr>
          <p:spPr>
            <a:xfrm>
              <a:off x="1468378" y="3760237"/>
              <a:ext cx="438538" cy="438538"/>
            </a:xfrm>
            <a:prstGeom prst="ellipse">
              <a:avLst/>
            </a:prstGeom>
            <a:solidFill>
              <a:srgbClr val="EAEDF9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" name="Group 2"/>
            <p:cNvGrpSpPr/>
            <p:nvPr/>
          </p:nvGrpSpPr>
          <p:grpSpPr>
            <a:xfrm>
              <a:off x="1553165" y="3882623"/>
              <a:ext cx="268963" cy="193766"/>
              <a:chOff x="567796" y="2127476"/>
              <a:chExt cx="268963" cy="193766"/>
            </a:xfrm>
          </p:grpSpPr>
          <p:sp>
            <p:nvSpPr>
              <p:cNvPr id="4" name="Chevron 3"/>
              <p:cNvSpPr/>
              <p:nvPr/>
            </p:nvSpPr>
            <p:spPr>
              <a:xfrm>
                <a:off x="692624" y="2127476"/>
                <a:ext cx="144135" cy="193766"/>
              </a:xfrm>
              <a:prstGeom prst="chevron">
                <a:avLst/>
              </a:prstGeom>
              <a:solidFill>
                <a:schemeClr val="tx1"/>
              </a:solidFill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5" name="Straight Connector 4"/>
              <p:cNvCxnSpPr/>
              <p:nvPr/>
            </p:nvCxnSpPr>
            <p:spPr>
              <a:xfrm>
                <a:off x="567796" y="2230349"/>
                <a:ext cx="196998" cy="0"/>
              </a:xfrm>
              <a:prstGeom prst="line">
                <a:avLst/>
              </a:prstGeom>
              <a:ln w="571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0" name="Group 19"/>
          <p:cNvGrpSpPr/>
          <p:nvPr/>
        </p:nvGrpSpPr>
        <p:grpSpPr>
          <a:xfrm>
            <a:off x="1299707" y="932781"/>
            <a:ext cx="382217" cy="382216"/>
            <a:chOff x="4674918" y="4200935"/>
            <a:chExt cx="544705" cy="544704"/>
          </a:xfrm>
        </p:grpSpPr>
        <p:sp>
          <p:nvSpPr>
            <p:cNvPr id="19" name="Rectangle 18"/>
            <p:cNvSpPr/>
            <p:nvPr/>
          </p:nvSpPr>
          <p:spPr>
            <a:xfrm>
              <a:off x="4674918" y="4200935"/>
              <a:ext cx="544705" cy="544704"/>
            </a:xfrm>
            <a:prstGeom prst="rect">
              <a:avLst/>
            </a:prstGeom>
            <a:solidFill>
              <a:srgbClr val="EAED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Oval 17"/>
            <p:cNvSpPr/>
            <p:nvPr/>
          </p:nvSpPr>
          <p:spPr>
            <a:xfrm>
              <a:off x="4718671" y="4244687"/>
              <a:ext cx="457201" cy="457201"/>
            </a:xfrm>
            <a:prstGeom prst="ellipse">
              <a:avLst/>
            </a:prstGeom>
            <a:solidFill>
              <a:srgbClr val="EAEDF7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6" name="Group 15"/>
            <p:cNvGrpSpPr/>
            <p:nvPr/>
          </p:nvGrpSpPr>
          <p:grpSpPr>
            <a:xfrm>
              <a:off x="4806176" y="4353982"/>
              <a:ext cx="278782" cy="238613"/>
              <a:chOff x="6969513" y="1231642"/>
              <a:chExt cx="278781" cy="238612"/>
            </a:xfrm>
          </p:grpSpPr>
          <p:sp>
            <p:nvSpPr>
              <p:cNvPr id="8" name="Chevron 7"/>
              <p:cNvSpPr/>
              <p:nvPr/>
            </p:nvSpPr>
            <p:spPr>
              <a:xfrm>
                <a:off x="7110608" y="1231642"/>
                <a:ext cx="137686" cy="238612"/>
              </a:xfrm>
              <a:prstGeom prst="chevron">
                <a:avLst/>
              </a:prstGeom>
              <a:solidFill>
                <a:schemeClr val="tx1"/>
              </a:solidFill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14" name="Straight Connector 13"/>
              <p:cNvCxnSpPr>
                <a:stCxn id="8" idx="1"/>
              </p:cNvCxnSpPr>
              <p:nvPr/>
            </p:nvCxnSpPr>
            <p:spPr>
              <a:xfrm flipH="1">
                <a:off x="6969513" y="1350948"/>
                <a:ext cx="209938" cy="0"/>
              </a:xfrm>
              <a:prstGeom prst="line">
                <a:avLst/>
              </a:prstGeom>
              <a:ln w="571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2" name="Group 31"/>
          <p:cNvGrpSpPr/>
          <p:nvPr/>
        </p:nvGrpSpPr>
        <p:grpSpPr>
          <a:xfrm>
            <a:off x="512255" y="4256276"/>
            <a:ext cx="3280223" cy="1348599"/>
            <a:chOff x="512255" y="4131975"/>
            <a:chExt cx="4341044" cy="1784736"/>
          </a:xfrm>
        </p:grpSpPr>
        <p:sp>
          <p:nvSpPr>
            <p:cNvPr id="29" name="Rectangle 28"/>
            <p:cNvSpPr/>
            <p:nvPr/>
          </p:nvSpPr>
          <p:spPr>
            <a:xfrm>
              <a:off x="512255" y="4131975"/>
              <a:ext cx="4341044" cy="1784736"/>
            </a:xfrm>
            <a:prstGeom prst="rect">
              <a:avLst/>
            </a:prstGeom>
            <a:solidFill>
              <a:srgbClr val="4B0045"/>
            </a:solidFill>
            <a:ln w="3175">
              <a:noFill/>
            </a:ln>
          </p:spPr>
          <p:txBody>
            <a:bodyPr wrap="square" lIns="179285" tIns="134464" rIns="179285" bIns="134464" anchor="t" anchorCtr="0">
              <a:noAutofit/>
            </a:bodyPr>
            <a:lstStyle/>
            <a:p>
              <a:pPr marL="0" marR="0" lvl="0" indent="0" defTabSz="932035" eaLnBrk="1" fontAlgn="base" latinLnBrk="0" hangingPunct="1">
                <a:lnSpc>
                  <a:spcPct val="100000"/>
                </a:lnSpc>
                <a:spcBef>
                  <a:spcPts val="588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2746740" algn="l"/>
                </a:tabLst>
                <a:defRPr/>
              </a:pPr>
              <a:r>
                <a:rPr kumimoji="0" lang="en-US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Segoe UI" panose="020B0502040204020203" pitchFamily="34" charset="0"/>
                  <a:cs typeface="Segoe UI" panose="020B0502040204020203" pitchFamily="34" charset="0"/>
                </a:rPr>
                <a:t>“Technology leaders far outperform their peers in the marketplace.”</a:t>
              </a:r>
            </a:p>
          </p:txBody>
        </p:sp>
        <p:pic>
          <p:nvPicPr>
            <p:cNvPr id="30" name="Picture 21" descr="http://upload.wikimedia.org/wikipedia/de/thumb/4/40/Boston_Consulting_Group_logo.svg/800px-Boston_Consulting_Group_logo.svg.png"/>
            <p:cNvPicPr>
              <a:picLocks noChangeAspect="1" noChangeArrowheads="1"/>
            </p:cNvPicPr>
            <p:nvPr/>
          </p:nvPicPr>
          <p:blipFill>
            <a:blip r:embed="rId2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31116" y="5129564"/>
              <a:ext cx="2050284" cy="6278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6" name="Group 35"/>
          <p:cNvGrpSpPr/>
          <p:nvPr/>
        </p:nvGrpSpPr>
        <p:grpSpPr>
          <a:xfrm>
            <a:off x="2152366" y="961023"/>
            <a:ext cx="7337322" cy="761774"/>
            <a:chOff x="2152366" y="961023"/>
            <a:chExt cx="7337322" cy="761774"/>
          </a:xfrm>
        </p:grpSpPr>
        <p:sp>
          <p:nvSpPr>
            <p:cNvPr id="34" name="Rectangle 33"/>
            <p:cNvSpPr/>
            <p:nvPr/>
          </p:nvSpPr>
          <p:spPr>
            <a:xfrm>
              <a:off x="2152366" y="961023"/>
              <a:ext cx="7337322" cy="761774"/>
            </a:xfrm>
            <a:prstGeom prst="rect">
              <a:avLst/>
            </a:prstGeom>
            <a:solidFill>
              <a:srgbClr val="4B0045"/>
            </a:solidFill>
            <a:ln w="3175">
              <a:noFill/>
            </a:ln>
          </p:spPr>
          <p:txBody>
            <a:bodyPr wrap="square" lIns="179285" tIns="134464" rIns="179285" bIns="134464" anchor="t" anchorCtr="0">
              <a:noAutofit/>
            </a:bodyPr>
            <a:lstStyle/>
            <a:p>
              <a:pPr marL="0" marR="0" lvl="0" indent="0" defTabSz="932035" eaLnBrk="1" fontAlgn="base" latinLnBrk="0" hangingPunct="1">
                <a:lnSpc>
                  <a:spcPct val="100000"/>
                </a:lnSpc>
                <a:spcBef>
                  <a:spcPts val="588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2746740" algn="l"/>
                </a:tabLst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Segoe UI" panose="020B0502040204020203" pitchFamily="34" charset="0"/>
                  <a:cs typeface="Segoe UI" panose="020B0502040204020203" pitchFamily="34" charset="0"/>
                </a:rPr>
                <a:t>“Technology leaders far outperform their peers in the marketplace.”</a:t>
              </a:r>
            </a:p>
          </p:txBody>
        </p:sp>
        <p:pic>
          <p:nvPicPr>
            <p:cNvPr id="35" name="Picture 21" descr="http://upload.wikimedia.org/wikipedia/de/thumb/4/40/Boston_Consulting_Group_logo.svg/800px-Boston_Consulting_Group_logo.svg.png"/>
            <p:cNvPicPr>
              <a:picLocks noChangeAspect="1" noChangeArrowheads="1"/>
            </p:cNvPicPr>
            <p:nvPr/>
          </p:nvPicPr>
          <p:blipFill>
            <a:blip r:embed="rId2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48072" y="1096792"/>
              <a:ext cx="1549256" cy="4744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5" name="Group 14"/>
          <p:cNvGrpSpPr/>
          <p:nvPr/>
        </p:nvGrpSpPr>
        <p:grpSpPr>
          <a:xfrm>
            <a:off x="7345218" y="2219798"/>
            <a:ext cx="2034083" cy="390955"/>
            <a:chOff x="7263245" y="3917373"/>
            <a:chExt cx="2034083" cy="390955"/>
          </a:xfrm>
        </p:grpSpPr>
        <p:sp>
          <p:nvSpPr>
            <p:cNvPr id="11" name="Rectangle 10"/>
            <p:cNvSpPr/>
            <p:nvPr/>
          </p:nvSpPr>
          <p:spPr>
            <a:xfrm>
              <a:off x="7263245" y="3917373"/>
              <a:ext cx="2034083" cy="390955"/>
            </a:xfrm>
            <a:prstGeom prst="rect">
              <a:avLst/>
            </a:prstGeom>
            <a:solidFill>
              <a:srgbClr val="E0E0E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Pentagon 6"/>
            <p:cNvSpPr/>
            <p:nvPr/>
          </p:nvSpPr>
          <p:spPr>
            <a:xfrm>
              <a:off x="7263245" y="3948546"/>
              <a:ext cx="2034083" cy="338903"/>
            </a:xfrm>
            <a:prstGeom prst="homePlate">
              <a:avLst/>
            </a:prstGeom>
            <a:solidFill>
              <a:srgbClr val="6600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 smtClean="0">
                  <a:latin typeface="Segoe UI" panose="020B0502040204020203" pitchFamily="34" charset="0"/>
                  <a:cs typeface="Segoe UI" panose="020B0502040204020203" pitchFamily="34" charset="0"/>
                </a:rPr>
                <a:t>REGISTER NOW</a:t>
              </a:r>
              <a:endParaRPr lang="en-US" sz="1200" b="1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4483501" y="2867891"/>
            <a:ext cx="2078747" cy="368372"/>
            <a:chOff x="4483501" y="2867891"/>
            <a:chExt cx="2078747" cy="368372"/>
          </a:xfrm>
        </p:grpSpPr>
        <p:sp>
          <p:nvSpPr>
            <p:cNvPr id="9" name="Rectangle 8"/>
            <p:cNvSpPr/>
            <p:nvPr/>
          </p:nvSpPr>
          <p:spPr>
            <a:xfrm>
              <a:off x="4483501" y="2867891"/>
              <a:ext cx="2078747" cy="368372"/>
            </a:xfrm>
            <a:prstGeom prst="rect">
              <a:avLst/>
            </a:prstGeom>
            <a:solidFill>
              <a:srgbClr val="660066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b="1" dirty="0" smtClean="0"/>
                <a:t>Click here to register</a:t>
              </a:r>
              <a:endParaRPr lang="en-US" sz="1400" b="1" dirty="0"/>
            </a:p>
          </p:txBody>
        </p:sp>
        <p:sp>
          <p:nvSpPr>
            <p:cNvPr id="24" name="Freeform 9"/>
            <p:cNvSpPr>
              <a:spLocks noEditPoints="1"/>
            </p:cNvSpPr>
            <p:nvPr/>
          </p:nvSpPr>
          <p:spPr bwMode="black">
            <a:xfrm>
              <a:off x="6236815" y="2919998"/>
              <a:ext cx="263088" cy="264157"/>
            </a:xfrm>
            <a:custGeom>
              <a:avLst/>
              <a:gdLst>
                <a:gd name="T0" fmla="*/ 88 w 149"/>
                <a:gd name="T1" fmla="*/ 67 h 149"/>
                <a:gd name="T2" fmla="*/ 65 w 149"/>
                <a:gd name="T3" fmla="*/ 46 h 149"/>
                <a:gd name="T4" fmla="*/ 84 w 149"/>
                <a:gd name="T5" fmla="*/ 46 h 149"/>
                <a:gd name="T6" fmla="*/ 115 w 149"/>
                <a:gd name="T7" fmla="*/ 75 h 149"/>
                <a:gd name="T8" fmla="*/ 84 w 149"/>
                <a:gd name="T9" fmla="*/ 104 h 149"/>
                <a:gd name="T10" fmla="*/ 65 w 149"/>
                <a:gd name="T11" fmla="*/ 104 h 149"/>
                <a:gd name="T12" fmla="*/ 88 w 149"/>
                <a:gd name="T13" fmla="*/ 82 h 149"/>
                <a:gd name="T14" fmla="*/ 36 w 149"/>
                <a:gd name="T15" fmla="*/ 82 h 149"/>
                <a:gd name="T16" fmla="*/ 36 w 149"/>
                <a:gd name="T17" fmla="*/ 67 h 149"/>
                <a:gd name="T18" fmla="*/ 88 w 149"/>
                <a:gd name="T19" fmla="*/ 67 h 149"/>
                <a:gd name="T20" fmla="*/ 74 w 149"/>
                <a:gd name="T21" fmla="*/ 9 h 149"/>
                <a:gd name="T22" fmla="*/ 140 w 149"/>
                <a:gd name="T23" fmla="*/ 75 h 149"/>
                <a:gd name="T24" fmla="*/ 74 w 149"/>
                <a:gd name="T25" fmla="*/ 140 h 149"/>
                <a:gd name="T26" fmla="*/ 9 w 149"/>
                <a:gd name="T27" fmla="*/ 75 h 149"/>
                <a:gd name="T28" fmla="*/ 74 w 149"/>
                <a:gd name="T29" fmla="*/ 9 h 149"/>
                <a:gd name="T30" fmla="*/ 74 w 149"/>
                <a:gd name="T31" fmla="*/ 0 h 149"/>
                <a:gd name="T32" fmla="*/ 0 w 149"/>
                <a:gd name="T33" fmla="*/ 75 h 149"/>
                <a:gd name="T34" fmla="*/ 74 w 149"/>
                <a:gd name="T35" fmla="*/ 149 h 149"/>
                <a:gd name="T36" fmla="*/ 149 w 149"/>
                <a:gd name="T37" fmla="*/ 75 h 149"/>
                <a:gd name="T38" fmla="*/ 74 w 149"/>
                <a:gd name="T3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9" h="149">
                  <a:moveTo>
                    <a:pt x="88" y="67"/>
                  </a:moveTo>
                  <a:cubicBezTo>
                    <a:pt x="65" y="46"/>
                    <a:pt x="65" y="46"/>
                    <a:pt x="65" y="46"/>
                  </a:cubicBezTo>
                  <a:cubicBezTo>
                    <a:pt x="84" y="46"/>
                    <a:pt x="84" y="46"/>
                    <a:pt x="84" y="46"/>
                  </a:cubicBezTo>
                  <a:cubicBezTo>
                    <a:pt x="115" y="75"/>
                    <a:pt x="115" y="75"/>
                    <a:pt x="115" y="75"/>
                  </a:cubicBezTo>
                  <a:cubicBezTo>
                    <a:pt x="84" y="104"/>
                    <a:pt x="84" y="104"/>
                    <a:pt x="84" y="104"/>
                  </a:cubicBezTo>
                  <a:cubicBezTo>
                    <a:pt x="65" y="104"/>
                    <a:pt x="65" y="104"/>
                    <a:pt x="65" y="104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6" y="67"/>
                    <a:pt x="36" y="67"/>
                    <a:pt x="36" y="67"/>
                  </a:cubicBezTo>
                  <a:lnTo>
                    <a:pt x="88" y="67"/>
                  </a:lnTo>
                  <a:close/>
                  <a:moveTo>
                    <a:pt x="74" y="9"/>
                  </a:moveTo>
                  <a:cubicBezTo>
                    <a:pt x="110" y="9"/>
                    <a:pt x="140" y="39"/>
                    <a:pt x="140" y="75"/>
                  </a:cubicBezTo>
                  <a:cubicBezTo>
                    <a:pt x="140" y="111"/>
                    <a:pt x="110" y="140"/>
                    <a:pt x="74" y="140"/>
                  </a:cubicBezTo>
                  <a:cubicBezTo>
                    <a:pt x="38" y="140"/>
                    <a:pt x="9" y="111"/>
                    <a:pt x="9" y="75"/>
                  </a:cubicBezTo>
                  <a:cubicBezTo>
                    <a:pt x="9" y="39"/>
                    <a:pt x="38" y="9"/>
                    <a:pt x="74" y="9"/>
                  </a:cubicBezTo>
                  <a:moveTo>
                    <a:pt x="74" y="0"/>
                  </a:moveTo>
                  <a:cubicBezTo>
                    <a:pt x="33" y="0"/>
                    <a:pt x="0" y="33"/>
                    <a:pt x="0" y="75"/>
                  </a:cubicBezTo>
                  <a:cubicBezTo>
                    <a:pt x="0" y="116"/>
                    <a:pt x="33" y="149"/>
                    <a:pt x="74" y="149"/>
                  </a:cubicBezTo>
                  <a:cubicBezTo>
                    <a:pt x="116" y="149"/>
                    <a:pt x="149" y="116"/>
                    <a:pt x="149" y="75"/>
                  </a:cubicBezTo>
                  <a:cubicBezTo>
                    <a:pt x="149" y="33"/>
                    <a:pt x="116" y="0"/>
                    <a:pt x="74" y="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8" tIns="34293" rIns="68588" bIns="34293" numCol="1" anchor="t" anchorCtr="0" compatLnSpc="1">
              <a:prstTxWarp prst="textNoShape">
                <a:avLst/>
              </a:prstTxWarp>
            </a:bodyPr>
            <a:lstStyle/>
            <a:p>
              <a:endParaRPr lang="en-US" sz="1324" dirty="0">
                <a:solidFill>
                  <a:srgbClr val="000000"/>
                </a:solidFill>
              </a:endParaRPr>
            </a:p>
          </p:txBody>
        </p:sp>
      </p:grpSp>
      <p:sp>
        <p:nvSpPr>
          <p:cNvPr id="17" name="Rectangle 16"/>
          <p:cNvSpPr/>
          <p:nvPr/>
        </p:nvSpPr>
        <p:spPr>
          <a:xfrm>
            <a:off x="1111827" y="2299843"/>
            <a:ext cx="2036618" cy="1316193"/>
          </a:xfrm>
          <a:prstGeom prst="rect">
            <a:avLst/>
          </a:prstGeom>
          <a:solidFill>
            <a:srgbClr val="666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/>
          <p:cNvSpPr/>
          <p:nvPr/>
        </p:nvSpPr>
        <p:spPr>
          <a:xfrm>
            <a:off x="4483501" y="3755847"/>
            <a:ext cx="5173320" cy="2588584"/>
          </a:xfrm>
          <a:prstGeom prst="rect">
            <a:avLst/>
          </a:prstGeom>
          <a:solidFill>
            <a:srgbClr val="4423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2880">
              <a:lnSpc>
                <a:spcPct val="150000"/>
              </a:lnSpc>
            </a:pPr>
            <a:r>
              <a:rPr lang="en-US" sz="2000" dirty="0" smtClean="0">
                <a:latin typeface="Segoe UI" panose="020B0502040204020203" pitchFamily="34" charset="0"/>
                <a:cs typeface="Segoe UI" panose="020B0502040204020203" pitchFamily="34" charset="0"/>
              </a:rPr>
              <a:t>Maximize your </a:t>
            </a:r>
          </a:p>
          <a:p>
            <a:pPr marL="182880">
              <a:lnSpc>
                <a:spcPct val="150000"/>
              </a:lnSpc>
            </a:pPr>
            <a:r>
              <a:rPr lang="en-US" sz="2000" dirty="0" smtClean="0">
                <a:latin typeface="Segoe UI" panose="020B0502040204020203" pitchFamily="34" charset="0"/>
                <a:cs typeface="Segoe UI" panose="020B0502040204020203" pitchFamily="34" charset="0"/>
              </a:rPr>
              <a:t>opportunity with</a:t>
            </a:r>
          </a:p>
          <a:p>
            <a:pPr marL="182880">
              <a:lnSpc>
                <a:spcPct val="150000"/>
              </a:lnSpc>
            </a:pPr>
            <a:r>
              <a:rPr lang="en-US" sz="2000" dirty="0" smtClean="0">
                <a:latin typeface="Segoe UI" panose="020B0502040204020203" pitchFamily="34" charset="0"/>
                <a:cs typeface="Segoe UI" panose="020B0502040204020203" pitchFamily="34" charset="0"/>
              </a:rPr>
              <a:t>server licensing</a:t>
            </a:r>
            <a:endParaRPr lang="en-US" sz="20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7060783" y="3839256"/>
            <a:ext cx="2317533" cy="2391675"/>
            <a:chOff x="7842076" y="3694301"/>
            <a:chExt cx="2317533" cy="2391675"/>
          </a:xfrm>
        </p:grpSpPr>
        <p:sp>
          <p:nvSpPr>
            <p:cNvPr id="28" name="Rectangle 31"/>
            <p:cNvSpPr>
              <a:spLocks noChangeArrowheads="1"/>
            </p:cNvSpPr>
            <p:nvPr/>
          </p:nvSpPr>
          <p:spPr bwMode="auto">
            <a:xfrm>
              <a:off x="7842076" y="4902785"/>
              <a:ext cx="547780" cy="118319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Rectangle 32"/>
            <p:cNvSpPr>
              <a:spLocks noChangeArrowheads="1"/>
            </p:cNvSpPr>
            <p:nvPr/>
          </p:nvSpPr>
          <p:spPr bwMode="auto">
            <a:xfrm>
              <a:off x="7985724" y="4502008"/>
              <a:ext cx="674192" cy="1583967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Rectangle 33"/>
            <p:cNvSpPr>
              <a:spLocks noChangeArrowheads="1"/>
            </p:cNvSpPr>
            <p:nvPr/>
          </p:nvSpPr>
          <p:spPr bwMode="auto">
            <a:xfrm>
              <a:off x="8516267" y="4729931"/>
              <a:ext cx="1643342" cy="1356045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Rectangle 34"/>
            <p:cNvSpPr>
              <a:spLocks noChangeArrowheads="1"/>
            </p:cNvSpPr>
            <p:nvPr/>
          </p:nvSpPr>
          <p:spPr bwMode="auto">
            <a:xfrm>
              <a:off x="7922097" y="5050633"/>
              <a:ext cx="494419" cy="1035343"/>
            </a:xfrm>
            <a:prstGeom prst="rect">
              <a:avLst/>
            </a:prstGeom>
            <a:solidFill>
              <a:srgbClr val="6821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Rectangle 35"/>
            <p:cNvSpPr>
              <a:spLocks noChangeArrowheads="1"/>
            </p:cNvSpPr>
            <p:nvPr/>
          </p:nvSpPr>
          <p:spPr bwMode="auto">
            <a:xfrm>
              <a:off x="7966153" y="5102032"/>
              <a:ext cx="401410" cy="898276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Rectangle 36"/>
            <p:cNvSpPr>
              <a:spLocks noChangeArrowheads="1"/>
            </p:cNvSpPr>
            <p:nvPr/>
          </p:nvSpPr>
          <p:spPr bwMode="auto">
            <a:xfrm>
              <a:off x="7990631" y="5131405"/>
              <a:ext cx="357352" cy="9056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Rectangle 37"/>
            <p:cNvSpPr>
              <a:spLocks noChangeArrowheads="1"/>
            </p:cNvSpPr>
            <p:nvPr/>
          </p:nvSpPr>
          <p:spPr bwMode="auto">
            <a:xfrm>
              <a:off x="8005314" y="5143641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38"/>
            <p:cNvSpPr>
              <a:spLocks noChangeArrowheads="1"/>
            </p:cNvSpPr>
            <p:nvPr/>
          </p:nvSpPr>
          <p:spPr bwMode="auto">
            <a:xfrm>
              <a:off x="8024896" y="5143641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Rectangle 39"/>
            <p:cNvSpPr>
              <a:spLocks noChangeArrowheads="1"/>
            </p:cNvSpPr>
            <p:nvPr/>
          </p:nvSpPr>
          <p:spPr bwMode="auto">
            <a:xfrm>
              <a:off x="8044477" y="5143641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Rectangle 40"/>
            <p:cNvSpPr>
              <a:spLocks noChangeArrowheads="1"/>
            </p:cNvSpPr>
            <p:nvPr/>
          </p:nvSpPr>
          <p:spPr bwMode="auto">
            <a:xfrm>
              <a:off x="8066506" y="5143641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Rectangle 41"/>
            <p:cNvSpPr>
              <a:spLocks noChangeArrowheads="1"/>
            </p:cNvSpPr>
            <p:nvPr/>
          </p:nvSpPr>
          <p:spPr bwMode="auto">
            <a:xfrm>
              <a:off x="8086087" y="5143641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Rectangle 42"/>
            <p:cNvSpPr>
              <a:spLocks noChangeArrowheads="1"/>
            </p:cNvSpPr>
            <p:nvPr/>
          </p:nvSpPr>
          <p:spPr bwMode="auto">
            <a:xfrm>
              <a:off x="8108115" y="5143641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Oval 43"/>
            <p:cNvSpPr>
              <a:spLocks noChangeArrowheads="1"/>
            </p:cNvSpPr>
            <p:nvPr/>
          </p:nvSpPr>
          <p:spPr bwMode="auto">
            <a:xfrm>
              <a:off x="8291687" y="5165671"/>
              <a:ext cx="24475" cy="22029"/>
            </a:xfrm>
            <a:prstGeom prst="ellipse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Rectangle 44"/>
            <p:cNvSpPr>
              <a:spLocks noChangeArrowheads="1"/>
            </p:cNvSpPr>
            <p:nvPr/>
          </p:nvSpPr>
          <p:spPr bwMode="auto">
            <a:xfrm>
              <a:off x="7990631" y="5246442"/>
              <a:ext cx="357352" cy="93009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Rectangle 45"/>
            <p:cNvSpPr>
              <a:spLocks noChangeArrowheads="1"/>
            </p:cNvSpPr>
            <p:nvPr/>
          </p:nvSpPr>
          <p:spPr bwMode="auto">
            <a:xfrm>
              <a:off x="8005314" y="5261126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Rectangle 46"/>
            <p:cNvSpPr>
              <a:spLocks noChangeArrowheads="1"/>
            </p:cNvSpPr>
            <p:nvPr/>
          </p:nvSpPr>
          <p:spPr bwMode="auto">
            <a:xfrm>
              <a:off x="8024896" y="5261126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Rectangle 47"/>
            <p:cNvSpPr>
              <a:spLocks noChangeArrowheads="1"/>
            </p:cNvSpPr>
            <p:nvPr/>
          </p:nvSpPr>
          <p:spPr bwMode="auto">
            <a:xfrm>
              <a:off x="8044477" y="5261126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Rectangle 48"/>
            <p:cNvSpPr>
              <a:spLocks noChangeArrowheads="1"/>
            </p:cNvSpPr>
            <p:nvPr/>
          </p:nvSpPr>
          <p:spPr bwMode="auto">
            <a:xfrm>
              <a:off x="8066506" y="5261126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Rectangle 49"/>
            <p:cNvSpPr>
              <a:spLocks noChangeArrowheads="1"/>
            </p:cNvSpPr>
            <p:nvPr/>
          </p:nvSpPr>
          <p:spPr bwMode="auto">
            <a:xfrm>
              <a:off x="8086087" y="5261126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Rectangle 50"/>
            <p:cNvSpPr>
              <a:spLocks noChangeArrowheads="1"/>
            </p:cNvSpPr>
            <p:nvPr/>
          </p:nvSpPr>
          <p:spPr bwMode="auto">
            <a:xfrm>
              <a:off x="8108115" y="5261126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Oval 51"/>
            <p:cNvSpPr>
              <a:spLocks noChangeArrowheads="1"/>
            </p:cNvSpPr>
            <p:nvPr/>
          </p:nvSpPr>
          <p:spPr bwMode="auto">
            <a:xfrm>
              <a:off x="8291687" y="5280709"/>
              <a:ext cx="24475" cy="24475"/>
            </a:xfrm>
            <a:prstGeom prst="ellipse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Rectangle 52"/>
            <p:cNvSpPr>
              <a:spLocks noChangeArrowheads="1"/>
            </p:cNvSpPr>
            <p:nvPr/>
          </p:nvSpPr>
          <p:spPr bwMode="auto">
            <a:xfrm>
              <a:off x="7990631" y="5363927"/>
              <a:ext cx="357352" cy="93009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Rectangle 53"/>
            <p:cNvSpPr>
              <a:spLocks noChangeArrowheads="1"/>
            </p:cNvSpPr>
            <p:nvPr/>
          </p:nvSpPr>
          <p:spPr bwMode="auto">
            <a:xfrm>
              <a:off x="8005314" y="5376167"/>
              <a:ext cx="9790" cy="63637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Rectangle 54"/>
            <p:cNvSpPr>
              <a:spLocks noChangeArrowheads="1"/>
            </p:cNvSpPr>
            <p:nvPr/>
          </p:nvSpPr>
          <p:spPr bwMode="auto">
            <a:xfrm>
              <a:off x="8024896" y="5376167"/>
              <a:ext cx="9790" cy="63637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Rectangle 55"/>
            <p:cNvSpPr>
              <a:spLocks noChangeArrowheads="1"/>
            </p:cNvSpPr>
            <p:nvPr/>
          </p:nvSpPr>
          <p:spPr bwMode="auto">
            <a:xfrm>
              <a:off x="8044477" y="5376167"/>
              <a:ext cx="12238" cy="63637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Rectangle 56"/>
            <p:cNvSpPr>
              <a:spLocks noChangeArrowheads="1"/>
            </p:cNvSpPr>
            <p:nvPr/>
          </p:nvSpPr>
          <p:spPr bwMode="auto">
            <a:xfrm>
              <a:off x="8066506" y="5376167"/>
              <a:ext cx="9790" cy="63637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Rectangle 57"/>
            <p:cNvSpPr>
              <a:spLocks noChangeArrowheads="1"/>
            </p:cNvSpPr>
            <p:nvPr/>
          </p:nvSpPr>
          <p:spPr bwMode="auto">
            <a:xfrm>
              <a:off x="8086087" y="5376167"/>
              <a:ext cx="9790" cy="63637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Rectangle 58"/>
            <p:cNvSpPr>
              <a:spLocks noChangeArrowheads="1"/>
            </p:cNvSpPr>
            <p:nvPr/>
          </p:nvSpPr>
          <p:spPr bwMode="auto">
            <a:xfrm>
              <a:off x="8108115" y="5376167"/>
              <a:ext cx="9790" cy="63637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Oval 59"/>
            <p:cNvSpPr>
              <a:spLocks noChangeArrowheads="1"/>
            </p:cNvSpPr>
            <p:nvPr/>
          </p:nvSpPr>
          <p:spPr bwMode="auto">
            <a:xfrm>
              <a:off x="8291687" y="5398193"/>
              <a:ext cx="24475" cy="24475"/>
            </a:xfrm>
            <a:prstGeom prst="ellipse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Rectangle 60"/>
            <p:cNvSpPr>
              <a:spLocks noChangeArrowheads="1"/>
            </p:cNvSpPr>
            <p:nvPr/>
          </p:nvSpPr>
          <p:spPr bwMode="auto">
            <a:xfrm>
              <a:off x="7990631" y="5478965"/>
              <a:ext cx="357352" cy="93009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Rectangle 61"/>
            <p:cNvSpPr>
              <a:spLocks noChangeArrowheads="1"/>
            </p:cNvSpPr>
            <p:nvPr/>
          </p:nvSpPr>
          <p:spPr bwMode="auto">
            <a:xfrm>
              <a:off x="8005314" y="5493652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Rectangle 62"/>
            <p:cNvSpPr>
              <a:spLocks noChangeArrowheads="1"/>
            </p:cNvSpPr>
            <p:nvPr/>
          </p:nvSpPr>
          <p:spPr bwMode="auto">
            <a:xfrm>
              <a:off x="8024896" y="5493652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Rectangle 63"/>
            <p:cNvSpPr>
              <a:spLocks noChangeArrowheads="1"/>
            </p:cNvSpPr>
            <p:nvPr/>
          </p:nvSpPr>
          <p:spPr bwMode="auto">
            <a:xfrm>
              <a:off x="8044477" y="5493652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Rectangle 64"/>
            <p:cNvSpPr>
              <a:spLocks noChangeArrowheads="1"/>
            </p:cNvSpPr>
            <p:nvPr/>
          </p:nvSpPr>
          <p:spPr bwMode="auto">
            <a:xfrm>
              <a:off x="8066506" y="5493652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Rectangle 65"/>
            <p:cNvSpPr>
              <a:spLocks noChangeArrowheads="1"/>
            </p:cNvSpPr>
            <p:nvPr/>
          </p:nvSpPr>
          <p:spPr bwMode="auto">
            <a:xfrm>
              <a:off x="8086087" y="5493652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Rectangle 66"/>
            <p:cNvSpPr>
              <a:spLocks noChangeArrowheads="1"/>
            </p:cNvSpPr>
            <p:nvPr/>
          </p:nvSpPr>
          <p:spPr bwMode="auto">
            <a:xfrm>
              <a:off x="8108115" y="5493652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Oval 67"/>
            <p:cNvSpPr>
              <a:spLocks noChangeArrowheads="1"/>
            </p:cNvSpPr>
            <p:nvPr/>
          </p:nvSpPr>
          <p:spPr bwMode="auto">
            <a:xfrm>
              <a:off x="8291687" y="5513234"/>
              <a:ext cx="24475" cy="22029"/>
            </a:xfrm>
            <a:prstGeom prst="ellipse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Rectangle 68"/>
            <p:cNvSpPr>
              <a:spLocks noChangeArrowheads="1"/>
            </p:cNvSpPr>
            <p:nvPr/>
          </p:nvSpPr>
          <p:spPr bwMode="auto">
            <a:xfrm>
              <a:off x="7990631" y="5596451"/>
              <a:ext cx="357352" cy="93009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Rectangle 69"/>
            <p:cNvSpPr>
              <a:spLocks noChangeArrowheads="1"/>
            </p:cNvSpPr>
            <p:nvPr/>
          </p:nvSpPr>
          <p:spPr bwMode="auto">
            <a:xfrm>
              <a:off x="8005314" y="5611137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Rectangle 70"/>
            <p:cNvSpPr>
              <a:spLocks noChangeArrowheads="1"/>
            </p:cNvSpPr>
            <p:nvPr/>
          </p:nvSpPr>
          <p:spPr bwMode="auto">
            <a:xfrm>
              <a:off x="8024896" y="5611137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Rectangle 71"/>
            <p:cNvSpPr>
              <a:spLocks noChangeArrowheads="1"/>
            </p:cNvSpPr>
            <p:nvPr/>
          </p:nvSpPr>
          <p:spPr bwMode="auto">
            <a:xfrm>
              <a:off x="8044477" y="5611137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Rectangle 72"/>
            <p:cNvSpPr>
              <a:spLocks noChangeArrowheads="1"/>
            </p:cNvSpPr>
            <p:nvPr/>
          </p:nvSpPr>
          <p:spPr bwMode="auto">
            <a:xfrm>
              <a:off x="8066506" y="5611137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Rectangle 73"/>
            <p:cNvSpPr>
              <a:spLocks noChangeArrowheads="1"/>
            </p:cNvSpPr>
            <p:nvPr/>
          </p:nvSpPr>
          <p:spPr bwMode="auto">
            <a:xfrm>
              <a:off x="8086087" y="5611137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Rectangle 74"/>
            <p:cNvSpPr>
              <a:spLocks noChangeArrowheads="1"/>
            </p:cNvSpPr>
            <p:nvPr/>
          </p:nvSpPr>
          <p:spPr bwMode="auto">
            <a:xfrm>
              <a:off x="8108115" y="5611137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Oval 75"/>
            <p:cNvSpPr>
              <a:spLocks noChangeArrowheads="1"/>
            </p:cNvSpPr>
            <p:nvPr/>
          </p:nvSpPr>
          <p:spPr bwMode="auto">
            <a:xfrm>
              <a:off x="8291687" y="5630720"/>
              <a:ext cx="24475" cy="19581"/>
            </a:xfrm>
            <a:prstGeom prst="ellipse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Rectangle 76"/>
            <p:cNvSpPr>
              <a:spLocks noChangeArrowheads="1"/>
            </p:cNvSpPr>
            <p:nvPr/>
          </p:nvSpPr>
          <p:spPr bwMode="auto">
            <a:xfrm>
              <a:off x="7990631" y="5713937"/>
              <a:ext cx="357352" cy="9056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Rectangle 77"/>
            <p:cNvSpPr>
              <a:spLocks noChangeArrowheads="1"/>
            </p:cNvSpPr>
            <p:nvPr/>
          </p:nvSpPr>
          <p:spPr bwMode="auto">
            <a:xfrm>
              <a:off x="8005314" y="5726175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Rectangle 78"/>
            <p:cNvSpPr>
              <a:spLocks noChangeArrowheads="1"/>
            </p:cNvSpPr>
            <p:nvPr/>
          </p:nvSpPr>
          <p:spPr bwMode="auto">
            <a:xfrm>
              <a:off x="8024896" y="5726175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Rectangle 79"/>
            <p:cNvSpPr>
              <a:spLocks noChangeArrowheads="1"/>
            </p:cNvSpPr>
            <p:nvPr/>
          </p:nvSpPr>
          <p:spPr bwMode="auto">
            <a:xfrm>
              <a:off x="8044477" y="5726175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Rectangle 80"/>
            <p:cNvSpPr>
              <a:spLocks noChangeArrowheads="1"/>
            </p:cNvSpPr>
            <p:nvPr/>
          </p:nvSpPr>
          <p:spPr bwMode="auto">
            <a:xfrm>
              <a:off x="8066506" y="5726175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Rectangle 81"/>
            <p:cNvSpPr>
              <a:spLocks noChangeArrowheads="1"/>
            </p:cNvSpPr>
            <p:nvPr/>
          </p:nvSpPr>
          <p:spPr bwMode="auto">
            <a:xfrm>
              <a:off x="8086087" y="5726175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Rectangle 82"/>
            <p:cNvSpPr>
              <a:spLocks noChangeArrowheads="1"/>
            </p:cNvSpPr>
            <p:nvPr/>
          </p:nvSpPr>
          <p:spPr bwMode="auto">
            <a:xfrm>
              <a:off x="8108115" y="5726175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Oval 83"/>
            <p:cNvSpPr>
              <a:spLocks noChangeArrowheads="1"/>
            </p:cNvSpPr>
            <p:nvPr/>
          </p:nvSpPr>
          <p:spPr bwMode="auto">
            <a:xfrm>
              <a:off x="8291687" y="5748204"/>
              <a:ext cx="24475" cy="19581"/>
            </a:xfrm>
            <a:prstGeom prst="ellipse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Rectangle 84"/>
            <p:cNvSpPr>
              <a:spLocks noChangeArrowheads="1"/>
            </p:cNvSpPr>
            <p:nvPr/>
          </p:nvSpPr>
          <p:spPr bwMode="auto">
            <a:xfrm>
              <a:off x="7990631" y="5828975"/>
              <a:ext cx="357352" cy="88115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Rectangle 85"/>
            <p:cNvSpPr>
              <a:spLocks noChangeArrowheads="1"/>
            </p:cNvSpPr>
            <p:nvPr/>
          </p:nvSpPr>
          <p:spPr bwMode="auto">
            <a:xfrm>
              <a:off x="8005314" y="5843661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Rectangle 86"/>
            <p:cNvSpPr>
              <a:spLocks noChangeArrowheads="1"/>
            </p:cNvSpPr>
            <p:nvPr/>
          </p:nvSpPr>
          <p:spPr bwMode="auto">
            <a:xfrm>
              <a:off x="8024896" y="5843661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Rectangle 87"/>
            <p:cNvSpPr>
              <a:spLocks noChangeArrowheads="1"/>
            </p:cNvSpPr>
            <p:nvPr/>
          </p:nvSpPr>
          <p:spPr bwMode="auto">
            <a:xfrm>
              <a:off x="8044477" y="5843661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Rectangle 88"/>
            <p:cNvSpPr>
              <a:spLocks noChangeArrowheads="1"/>
            </p:cNvSpPr>
            <p:nvPr/>
          </p:nvSpPr>
          <p:spPr bwMode="auto">
            <a:xfrm>
              <a:off x="8066506" y="5843661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Rectangle 89"/>
            <p:cNvSpPr>
              <a:spLocks noChangeArrowheads="1"/>
            </p:cNvSpPr>
            <p:nvPr/>
          </p:nvSpPr>
          <p:spPr bwMode="auto">
            <a:xfrm>
              <a:off x="8086087" y="5843661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Rectangle 90"/>
            <p:cNvSpPr>
              <a:spLocks noChangeArrowheads="1"/>
            </p:cNvSpPr>
            <p:nvPr/>
          </p:nvSpPr>
          <p:spPr bwMode="auto">
            <a:xfrm>
              <a:off x="8108115" y="5843661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Oval 91"/>
            <p:cNvSpPr>
              <a:spLocks noChangeArrowheads="1"/>
            </p:cNvSpPr>
            <p:nvPr/>
          </p:nvSpPr>
          <p:spPr bwMode="auto">
            <a:xfrm>
              <a:off x="8291687" y="5863242"/>
              <a:ext cx="24475" cy="19581"/>
            </a:xfrm>
            <a:prstGeom prst="ellipse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Rectangle 92"/>
            <p:cNvSpPr>
              <a:spLocks noChangeArrowheads="1"/>
            </p:cNvSpPr>
            <p:nvPr/>
          </p:nvSpPr>
          <p:spPr bwMode="auto">
            <a:xfrm>
              <a:off x="7922097" y="5050633"/>
              <a:ext cx="494419" cy="1035343"/>
            </a:xfrm>
            <a:prstGeom prst="rect">
              <a:avLst/>
            </a:prstGeom>
            <a:solidFill>
              <a:srgbClr val="6821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Rectangle 93"/>
            <p:cNvSpPr>
              <a:spLocks noChangeArrowheads="1"/>
            </p:cNvSpPr>
            <p:nvPr/>
          </p:nvSpPr>
          <p:spPr bwMode="auto">
            <a:xfrm>
              <a:off x="7966153" y="5102032"/>
              <a:ext cx="401410" cy="898276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Rectangle 94"/>
            <p:cNvSpPr>
              <a:spLocks noChangeArrowheads="1"/>
            </p:cNvSpPr>
            <p:nvPr/>
          </p:nvSpPr>
          <p:spPr bwMode="auto">
            <a:xfrm>
              <a:off x="7990631" y="5131405"/>
              <a:ext cx="357352" cy="9056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Rectangle 95"/>
            <p:cNvSpPr>
              <a:spLocks noChangeArrowheads="1"/>
            </p:cNvSpPr>
            <p:nvPr/>
          </p:nvSpPr>
          <p:spPr bwMode="auto">
            <a:xfrm>
              <a:off x="8005314" y="5143641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Rectangle 96"/>
            <p:cNvSpPr>
              <a:spLocks noChangeArrowheads="1"/>
            </p:cNvSpPr>
            <p:nvPr/>
          </p:nvSpPr>
          <p:spPr bwMode="auto">
            <a:xfrm>
              <a:off x="8024896" y="5143641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Rectangle 97"/>
            <p:cNvSpPr>
              <a:spLocks noChangeArrowheads="1"/>
            </p:cNvSpPr>
            <p:nvPr/>
          </p:nvSpPr>
          <p:spPr bwMode="auto">
            <a:xfrm>
              <a:off x="8044477" y="5143641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Rectangle 98"/>
            <p:cNvSpPr>
              <a:spLocks noChangeArrowheads="1"/>
            </p:cNvSpPr>
            <p:nvPr/>
          </p:nvSpPr>
          <p:spPr bwMode="auto">
            <a:xfrm>
              <a:off x="8066506" y="5143641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Rectangle 99"/>
            <p:cNvSpPr>
              <a:spLocks noChangeArrowheads="1"/>
            </p:cNvSpPr>
            <p:nvPr/>
          </p:nvSpPr>
          <p:spPr bwMode="auto">
            <a:xfrm>
              <a:off x="8086087" y="5143641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Rectangle 100"/>
            <p:cNvSpPr>
              <a:spLocks noChangeArrowheads="1"/>
            </p:cNvSpPr>
            <p:nvPr/>
          </p:nvSpPr>
          <p:spPr bwMode="auto">
            <a:xfrm>
              <a:off x="8108115" y="5143641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Oval 101"/>
            <p:cNvSpPr>
              <a:spLocks noChangeArrowheads="1"/>
            </p:cNvSpPr>
            <p:nvPr/>
          </p:nvSpPr>
          <p:spPr bwMode="auto">
            <a:xfrm>
              <a:off x="8291687" y="5165671"/>
              <a:ext cx="24475" cy="22029"/>
            </a:xfrm>
            <a:prstGeom prst="ellipse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Rectangle 102"/>
            <p:cNvSpPr>
              <a:spLocks noChangeArrowheads="1"/>
            </p:cNvSpPr>
            <p:nvPr/>
          </p:nvSpPr>
          <p:spPr bwMode="auto">
            <a:xfrm>
              <a:off x="7990631" y="5246442"/>
              <a:ext cx="357352" cy="93009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Rectangle 103"/>
            <p:cNvSpPr>
              <a:spLocks noChangeArrowheads="1"/>
            </p:cNvSpPr>
            <p:nvPr/>
          </p:nvSpPr>
          <p:spPr bwMode="auto">
            <a:xfrm>
              <a:off x="8005314" y="5261126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Rectangle 104"/>
            <p:cNvSpPr>
              <a:spLocks noChangeArrowheads="1"/>
            </p:cNvSpPr>
            <p:nvPr/>
          </p:nvSpPr>
          <p:spPr bwMode="auto">
            <a:xfrm>
              <a:off x="8024896" y="5261126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Rectangle 105"/>
            <p:cNvSpPr>
              <a:spLocks noChangeArrowheads="1"/>
            </p:cNvSpPr>
            <p:nvPr/>
          </p:nvSpPr>
          <p:spPr bwMode="auto">
            <a:xfrm>
              <a:off x="8044477" y="5261126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Rectangle 106"/>
            <p:cNvSpPr>
              <a:spLocks noChangeArrowheads="1"/>
            </p:cNvSpPr>
            <p:nvPr/>
          </p:nvSpPr>
          <p:spPr bwMode="auto">
            <a:xfrm>
              <a:off x="8066506" y="5261126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Rectangle 107"/>
            <p:cNvSpPr>
              <a:spLocks noChangeArrowheads="1"/>
            </p:cNvSpPr>
            <p:nvPr/>
          </p:nvSpPr>
          <p:spPr bwMode="auto">
            <a:xfrm>
              <a:off x="8086087" y="5261126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Rectangle 108"/>
            <p:cNvSpPr>
              <a:spLocks noChangeArrowheads="1"/>
            </p:cNvSpPr>
            <p:nvPr/>
          </p:nvSpPr>
          <p:spPr bwMode="auto">
            <a:xfrm>
              <a:off x="8108115" y="5261126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Oval 109"/>
            <p:cNvSpPr>
              <a:spLocks noChangeArrowheads="1"/>
            </p:cNvSpPr>
            <p:nvPr/>
          </p:nvSpPr>
          <p:spPr bwMode="auto">
            <a:xfrm>
              <a:off x="8291687" y="5280709"/>
              <a:ext cx="24475" cy="24475"/>
            </a:xfrm>
            <a:prstGeom prst="ellipse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Rectangle 110"/>
            <p:cNvSpPr>
              <a:spLocks noChangeArrowheads="1"/>
            </p:cNvSpPr>
            <p:nvPr/>
          </p:nvSpPr>
          <p:spPr bwMode="auto">
            <a:xfrm>
              <a:off x="7990631" y="5363927"/>
              <a:ext cx="357352" cy="93009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Rectangle 111"/>
            <p:cNvSpPr>
              <a:spLocks noChangeArrowheads="1"/>
            </p:cNvSpPr>
            <p:nvPr/>
          </p:nvSpPr>
          <p:spPr bwMode="auto">
            <a:xfrm>
              <a:off x="8005314" y="5376167"/>
              <a:ext cx="9790" cy="63637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Rectangle 112"/>
            <p:cNvSpPr>
              <a:spLocks noChangeArrowheads="1"/>
            </p:cNvSpPr>
            <p:nvPr/>
          </p:nvSpPr>
          <p:spPr bwMode="auto">
            <a:xfrm>
              <a:off x="8024896" y="5376167"/>
              <a:ext cx="9790" cy="63637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Rectangle 113"/>
            <p:cNvSpPr>
              <a:spLocks noChangeArrowheads="1"/>
            </p:cNvSpPr>
            <p:nvPr/>
          </p:nvSpPr>
          <p:spPr bwMode="auto">
            <a:xfrm>
              <a:off x="8044477" y="5376167"/>
              <a:ext cx="12238" cy="63637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Rectangle 114"/>
            <p:cNvSpPr>
              <a:spLocks noChangeArrowheads="1"/>
            </p:cNvSpPr>
            <p:nvPr/>
          </p:nvSpPr>
          <p:spPr bwMode="auto">
            <a:xfrm>
              <a:off x="8066506" y="5376167"/>
              <a:ext cx="9790" cy="63637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Rectangle 115"/>
            <p:cNvSpPr>
              <a:spLocks noChangeArrowheads="1"/>
            </p:cNvSpPr>
            <p:nvPr/>
          </p:nvSpPr>
          <p:spPr bwMode="auto">
            <a:xfrm>
              <a:off x="8086087" y="5376167"/>
              <a:ext cx="9790" cy="63637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Rectangle 116"/>
            <p:cNvSpPr>
              <a:spLocks noChangeArrowheads="1"/>
            </p:cNvSpPr>
            <p:nvPr/>
          </p:nvSpPr>
          <p:spPr bwMode="auto">
            <a:xfrm>
              <a:off x="8108115" y="5376167"/>
              <a:ext cx="9790" cy="63637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Oval 117"/>
            <p:cNvSpPr>
              <a:spLocks noChangeArrowheads="1"/>
            </p:cNvSpPr>
            <p:nvPr/>
          </p:nvSpPr>
          <p:spPr bwMode="auto">
            <a:xfrm>
              <a:off x="8291687" y="5398193"/>
              <a:ext cx="24475" cy="24475"/>
            </a:xfrm>
            <a:prstGeom prst="ellipse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Rectangle 118"/>
            <p:cNvSpPr>
              <a:spLocks noChangeArrowheads="1"/>
            </p:cNvSpPr>
            <p:nvPr/>
          </p:nvSpPr>
          <p:spPr bwMode="auto">
            <a:xfrm>
              <a:off x="7990631" y="5478965"/>
              <a:ext cx="357352" cy="93009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Rectangle 119"/>
            <p:cNvSpPr>
              <a:spLocks noChangeArrowheads="1"/>
            </p:cNvSpPr>
            <p:nvPr/>
          </p:nvSpPr>
          <p:spPr bwMode="auto">
            <a:xfrm>
              <a:off x="8005314" y="5493652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Rectangle 120"/>
            <p:cNvSpPr>
              <a:spLocks noChangeArrowheads="1"/>
            </p:cNvSpPr>
            <p:nvPr/>
          </p:nvSpPr>
          <p:spPr bwMode="auto">
            <a:xfrm>
              <a:off x="8024896" y="5493652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Rectangle 121"/>
            <p:cNvSpPr>
              <a:spLocks noChangeArrowheads="1"/>
            </p:cNvSpPr>
            <p:nvPr/>
          </p:nvSpPr>
          <p:spPr bwMode="auto">
            <a:xfrm>
              <a:off x="8044477" y="5493652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Rectangle 122"/>
            <p:cNvSpPr>
              <a:spLocks noChangeArrowheads="1"/>
            </p:cNvSpPr>
            <p:nvPr/>
          </p:nvSpPr>
          <p:spPr bwMode="auto">
            <a:xfrm>
              <a:off x="8066506" y="5493652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Rectangle 123"/>
            <p:cNvSpPr>
              <a:spLocks noChangeArrowheads="1"/>
            </p:cNvSpPr>
            <p:nvPr/>
          </p:nvSpPr>
          <p:spPr bwMode="auto">
            <a:xfrm>
              <a:off x="8086087" y="5493652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Rectangle 124"/>
            <p:cNvSpPr>
              <a:spLocks noChangeArrowheads="1"/>
            </p:cNvSpPr>
            <p:nvPr/>
          </p:nvSpPr>
          <p:spPr bwMode="auto">
            <a:xfrm>
              <a:off x="8108115" y="5493652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Oval 125"/>
            <p:cNvSpPr>
              <a:spLocks noChangeArrowheads="1"/>
            </p:cNvSpPr>
            <p:nvPr/>
          </p:nvSpPr>
          <p:spPr bwMode="auto">
            <a:xfrm>
              <a:off x="8291687" y="5513234"/>
              <a:ext cx="24475" cy="22029"/>
            </a:xfrm>
            <a:prstGeom prst="ellipse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Rectangle 126"/>
            <p:cNvSpPr>
              <a:spLocks noChangeArrowheads="1"/>
            </p:cNvSpPr>
            <p:nvPr/>
          </p:nvSpPr>
          <p:spPr bwMode="auto">
            <a:xfrm>
              <a:off x="7990631" y="5596451"/>
              <a:ext cx="357352" cy="93009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Rectangle 127"/>
            <p:cNvSpPr>
              <a:spLocks noChangeArrowheads="1"/>
            </p:cNvSpPr>
            <p:nvPr/>
          </p:nvSpPr>
          <p:spPr bwMode="auto">
            <a:xfrm>
              <a:off x="8005314" y="5611137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Rectangle 128"/>
            <p:cNvSpPr>
              <a:spLocks noChangeArrowheads="1"/>
            </p:cNvSpPr>
            <p:nvPr/>
          </p:nvSpPr>
          <p:spPr bwMode="auto">
            <a:xfrm>
              <a:off x="8024896" y="5611137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Rectangle 129"/>
            <p:cNvSpPr>
              <a:spLocks noChangeArrowheads="1"/>
            </p:cNvSpPr>
            <p:nvPr/>
          </p:nvSpPr>
          <p:spPr bwMode="auto">
            <a:xfrm>
              <a:off x="8044477" y="5611137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Rectangle 130"/>
            <p:cNvSpPr>
              <a:spLocks noChangeArrowheads="1"/>
            </p:cNvSpPr>
            <p:nvPr/>
          </p:nvSpPr>
          <p:spPr bwMode="auto">
            <a:xfrm>
              <a:off x="8066506" y="5611137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Rectangle 131"/>
            <p:cNvSpPr>
              <a:spLocks noChangeArrowheads="1"/>
            </p:cNvSpPr>
            <p:nvPr/>
          </p:nvSpPr>
          <p:spPr bwMode="auto">
            <a:xfrm>
              <a:off x="8086087" y="5611137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Rectangle 132"/>
            <p:cNvSpPr>
              <a:spLocks noChangeArrowheads="1"/>
            </p:cNvSpPr>
            <p:nvPr/>
          </p:nvSpPr>
          <p:spPr bwMode="auto">
            <a:xfrm>
              <a:off x="8108115" y="5611137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Oval 133"/>
            <p:cNvSpPr>
              <a:spLocks noChangeArrowheads="1"/>
            </p:cNvSpPr>
            <p:nvPr/>
          </p:nvSpPr>
          <p:spPr bwMode="auto">
            <a:xfrm>
              <a:off x="8291687" y="5630720"/>
              <a:ext cx="24475" cy="19581"/>
            </a:xfrm>
            <a:prstGeom prst="ellipse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Rectangle 134"/>
            <p:cNvSpPr>
              <a:spLocks noChangeArrowheads="1"/>
            </p:cNvSpPr>
            <p:nvPr/>
          </p:nvSpPr>
          <p:spPr bwMode="auto">
            <a:xfrm>
              <a:off x="7990631" y="5713937"/>
              <a:ext cx="357352" cy="9056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Rectangle 135"/>
            <p:cNvSpPr>
              <a:spLocks noChangeArrowheads="1"/>
            </p:cNvSpPr>
            <p:nvPr/>
          </p:nvSpPr>
          <p:spPr bwMode="auto">
            <a:xfrm>
              <a:off x="8005314" y="5726175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Rectangle 136"/>
            <p:cNvSpPr>
              <a:spLocks noChangeArrowheads="1"/>
            </p:cNvSpPr>
            <p:nvPr/>
          </p:nvSpPr>
          <p:spPr bwMode="auto">
            <a:xfrm>
              <a:off x="8024896" y="5726175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Rectangle 137"/>
            <p:cNvSpPr>
              <a:spLocks noChangeArrowheads="1"/>
            </p:cNvSpPr>
            <p:nvPr/>
          </p:nvSpPr>
          <p:spPr bwMode="auto">
            <a:xfrm>
              <a:off x="8044477" y="5726175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Rectangle 138"/>
            <p:cNvSpPr>
              <a:spLocks noChangeArrowheads="1"/>
            </p:cNvSpPr>
            <p:nvPr/>
          </p:nvSpPr>
          <p:spPr bwMode="auto">
            <a:xfrm>
              <a:off x="8066506" y="5726175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Rectangle 139"/>
            <p:cNvSpPr>
              <a:spLocks noChangeArrowheads="1"/>
            </p:cNvSpPr>
            <p:nvPr/>
          </p:nvSpPr>
          <p:spPr bwMode="auto">
            <a:xfrm>
              <a:off x="8086087" y="5726175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Rectangle 140"/>
            <p:cNvSpPr>
              <a:spLocks noChangeArrowheads="1"/>
            </p:cNvSpPr>
            <p:nvPr/>
          </p:nvSpPr>
          <p:spPr bwMode="auto">
            <a:xfrm>
              <a:off x="8108115" y="5726175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Oval 141"/>
            <p:cNvSpPr>
              <a:spLocks noChangeArrowheads="1"/>
            </p:cNvSpPr>
            <p:nvPr/>
          </p:nvSpPr>
          <p:spPr bwMode="auto">
            <a:xfrm>
              <a:off x="8291687" y="5748204"/>
              <a:ext cx="24475" cy="19581"/>
            </a:xfrm>
            <a:prstGeom prst="ellipse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Rectangle 142"/>
            <p:cNvSpPr>
              <a:spLocks noChangeArrowheads="1"/>
            </p:cNvSpPr>
            <p:nvPr/>
          </p:nvSpPr>
          <p:spPr bwMode="auto">
            <a:xfrm>
              <a:off x="7990631" y="5828975"/>
              <a:ext cx="357352" cy="88115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Rectangle 143"/>
            <p:cNvSpPr>
              <a:spLocks noChangeArrowheads="1"/>
            </p:cNvSpPr>
            <p:nvPr/>
          </p:nvSpPr>
          <p:spPr bwMode="auto">
            <a:xfrm>
              <a:off x="8005314" y="5843661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Rectangle 144"/>
            <p:cNvSpPr>
              <a:spLocks noChangeArrowheads="1"/>
            </p:cNvSpPr>
            <p:nvPr/>
          </p:nvSpPr>
          <p:spPr bwMode="auto">
            <a:xfrm>
              <a:off x="8024896" y="5843661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Rectangle 145"/>
            <p:cNvSpPr>
              <a:spLocks noChangeArrowheads="1"/>
            </p:cNvSpPr>
            <p:nvPr/>
          </p:nvSpPr>
          <p:spPr bwMode="auto">
            <a:xfrm>
              <a:off x="8044477" y="5843661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Rectangle 146"/>
            <p:cNvSpPr>
              <a:spLocks noChangeArrowheads="1"/>
            </p:cNvSpPr>
            <p:nvPr/>
          </p:nvSpPr>
          <p:spPr bwMode="auto">
            <a:xfrm>
              <a:off x="8066506" y="5843661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Rectangle 147"/>
            <p:cNvSpPr>
              <a:spLocks noChangeArrowheads="1"/>
            </p:cNvSpPr>
            <p:nvPr/>
          </p:nvSpPr>
          <p:spPr bwMode="auto">
            <a:xfrm>
              <a:off x="8086087" y="5843661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Rectangle 148"/>
            <p:cNvSpPr>
              <a:spLocks noChangeArrowheads="1"/>
            </p:cNvSpPr>
            <p:nvPr/>
          </p:nvSpPr>
          <p:spPr bwMode="auto">
            <a:xfrm>
              <a:off x="8108115" y="5843661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Oval 149"/>
            <p:cNvSpPr>
              <a:spLocks noChangeArrowheads="1"/>
            </p:cNvSpPr>
            <p:nvPr/>
          </p:nvSpPr>
          <p:spPr bwMode="auto">
            <a:xfrm>
              <a:off x="8291687" y="5863242"/>
              <a:ext cx="24475" cy="19581"/>
            </a:xfrm>
            <a:prstGeom prst="ellipse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Rectangle 150"/>
            <p:cNvSpPr>
              <a:spLocks noChangeArrowheads="1"/>
            </p:cNvSpPr>
            <p:nvPr/>
          </p:nvSpPr>
          <p:spPr bwMode="auto">
            <a:xfrm>
              <a:off x="8477706" y="5050633"/>
              <a:ext cx="491972" cy="1035343"/>
            </a:xfrm>
            <a:prstGeom prst="rect">
              <a:avLst/>
            </a:prstGeom>
            <a:solidFill>
              <a:srgbClr val="6821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Rectangle 151"/>
            <p:cNvSpPr>
              <a:spLocks noChangeArrowheads="1"/>
            </p:cNvSpPr>
            <p:nvPr/>
          </p:nvSpPr>
          <p:spPr bwMode="auto">
            <a:xfrm>
              <a:off x="8524210" y="5102032"/>
              <a:ext cx="401410" cy="898276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Rectangle 152"/>
            <p:cNvSpPr>
              <a:spLocks noChangeArrowheads="1"/>
            </p:cNvSpPr>
            <p:nvPr/>
          </p:nvSpPr>
          <p:spPr bwMode="auto">
            <a:xfrm>
              <a:off x="8546240" y="5131405"/>
              <a:ext cx="354906" cy="9056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Rectangle 153"/>
            <p:cNvSpPr>
              <a:spLocks noChangeArrowheads="1"/>
            </p:cNvSpPr>
            <p:nvPr/>
          </p:nvSpPr>
          <p:spPr bwMode="auto">
            <a:xfrm>
              <a:off x="8563373" y="5143641"/>
              <a:ext cx="7342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Rectangle 154"/>
            <p:cNvSpPr>
              <a:spLocks noChangeArrowheads="1"/>
            </p:cNvSpPr>
            <p:nvPr/>
          </p:nvSpPr>
          <p:spPr bwMode="auto">
            <a:xfrm>
              <a:off x="8580505" y="5143641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Rectangle 155"/>
            <p:cNvSpPr>
              <a:spLocks noChangeArrowheads="1"/>
            </p:cNvSpPr>
            <p:nvPr/>
          </p:nvSpPr>
          <p:spPr bwMode="auto">
            <a:xfrm>
              <a:off x="8600086" y="5143641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Rectangle 156"/>
            <p:cNvSpPr>
              <a:spLocks noChangeArrowheads="1"/>
            </p:cNvSpPr>
            <p:nvPr/>
          </p:nvSpPr>
          <p:spPr bwMode="auto">
            <a:xfrm>
              <a:off x="8622115" y="5143641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57"/>
            <p:cNvSpPr>
              <a:spLocks noChangeArrowheads="1"/>
            </p:cNvSpPr>
            <p:nvPr/>
          </p:nvSpPr>
          <p:spPr bwMode="auto">
            <a:xfrm>
              <a:off x="8641696" y="5143641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Rectangle 158"/>
            <p:cNvSpPr>
              <a:spLocks noChangeArrowheads="1"/>
            </p:cNvSpPr>
            <p:nvPr/>
          </p:nvSpPr>
          <p:spPr bwMode="auto">
            <a:xfrm>
              <a:off x="8661276" y="5143641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Oval 159"/>
            <p:cNvSpPr>
              <a:spLocks noChangeArrowheads="1"/>
            </p:cNvSpPr>
            <p:nvPr/>
          </p:nvSpPr>
          <p:spPr bwMode="auto">
            <a:xfrm>
              <a:off x="8847296" y="5165671"/>
              <a:ext cx="24475" cy="22029"/>
            </a:xfrm>
            <a:prstGeom prst="ellipse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Rectangle 160"/>
            <p:cNvSpPr>
              <a:spLocks noChangeArrowheads="1"/>
            </p:cNvSpPr>
            <p:nvPr/>
          </p:nvSpPr>
          <p:spPr bwMode="auto">
            <a:xfrm>
              <a:off x="8546240" y="5246442"/>
              <a:ext cx="354906" cy="93009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Rectangle 161"/>
            <p:cNvSpPr>
              <a:spLocks noChangeArrowheads="1"/>
            </p:cNvSpPr>
            <p:nvPr/>
          </p:nvSpPr>
          <p:spPr bwMode="auto">
            <a:xfrm>
              <a:off x="8563373" y="5261126"/>
              <a:ext cx="7342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Rectangle 162"/>
            <p:cNvSpPr>
              <a:spLocks noChangeArrowheads="1"/>
            </p:cNvSpPr>
            <p:nvPr/>
          </p:nvSpPr>
          <p:spPr bwMode="auto">
            <a:xfrm>
              <a:off x="8580505" y="5261126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163"/>
            <p:cNvSpPr>
              <a:spLocks noChangeArrowheads="1"/>
            </p:cNvSpPr>
            <p:nvPr/>
          </p:nvSpPr>
          <p:spPr bwMode="auto">
            <a:xfrm>
              <a:off x="8600086" y="5261126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Rectangle 164"/>
            <p:cNvSpPr>
              <a:spLocks noChangeArrowheads="1"/>
            </p:cNvSpPr>
            <p:nvPr/>
          </p:nvSpPr>
          <p:spPr bwMode="auto">
            <a:xfrm>
              <a:off x="8622115" y="5261126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Rectangle 165"/>
            <p:cNvSpPr>
              <a:spLocks noChangeArrowheads="1"/>
            </p:cNvSpPr>
            <p:nvPr/>
          </p:nvSpPr>
          <p:spPr bwMode="auto">
            <a:xfrm>
              <a:off x="8641696" y="5261126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Rectangle 166"/>
            <p:cNvSpPr>
              <a:spLocks noChangeArrowheads="1"/>
            </p:cNvSpPr>
            <p:nvPr/>
          </p:nvSpPr>
          <p:spPr bwMode="auto">
            <a:xfrm>
              <a:off x="8661276" y="5261126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Oval 167"/>
            <p:cNvSpPr>
              <a:spLocks noChangeArrowheads="1"/>
            </p:cNvSpPr>
            <p:nvPr/>
          </p:nvSpPr>
          <p:spPr bwMode="auto">
            <a:xfrm>
              <a:off x="8847296" y="5280709"/>
              <a:ext cx="24475" cy="24475"/>
            </a:xfrm>
            <a:prstGeom prst="ellipse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Rectangle 168"/>
            <p:cNvSpPr>
              <a:spLocks noChangeArrowheads="1"/>
            </p:cNvSpPr>
            <p:nvPr/>
          </p:nvSpPr>
          <p:spPr bwMode="auto">
            <a:xfrm>
              <a:off x="8546240" y="5363927"/>
              <a:ext cx="354906" cy="93009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Rectangle 169"/>
            <p:cNvSpPr>
              <a:spLocks noChangeArrowheads="1"/>
            </p:cNvSpPr>
            <p:nvPr/>
          </p:nvSpPr>
          <p:spPr bwMode="auto">
            <a:xfrm>
              <a:off x="8563373" y="5376167"/>
              <a:ext cx="7342" cy="63637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Rectangle 170"/>
            <p:cNvSpPr>
              <a:spLocks noChangeArrowheads="1"/>
            </p:cNvSpPr>
            <p:nvPr/>
          </p:nvSpPr>
          <p:spPr bwMode="auto">
            <a:xfrm>
              <a:off x="8580505" y="5376167"/>
              <a:ext cx="9790" cy="63637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Rectangle 171"/>
            <p:cNvSpPr>
              <a:spLocks noChangeArrowheads="1"/>
            </p:cNvSpPr>
            <p:nvPr/>
          </p:nvSpPr>
          <p:spPr bwMode="auto">
            <a:xfrm>
              <a:off x="8600086" y="5376167"/>
              <a:ext cx="9790" cy="63637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172"/>
            <p:cNvSpPr>
              <a:spLocks noChangeArrowheads="1"/>
            </p:cNvSpPr>
            <p:nvPr/>
          </p:nvSpPr>
          <p:spPr bwMode="auto">
            <a:xfrm>
              <a:off x="8622115" y="5376167"/>
              <a:ext cx="9790" cy="63637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Rectangle 173"/>
            <p:cNvSpPr>
              <a:spLocks noChangeArrowheads="1"/>
            </p:cNvSpPr>
            <p:nvPr/>
          </p:nvSpPr>
          <p:spPr bwMode="auto">
            <a:xfrm>
              <a:off x="8641696" y="5376167"/>
              <a:ext cx="9790" cy="63637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Rectangle 174"/>
            <p:cNvSpPr>
              <a:spLocks noChangeArrowheads="1"/>
            </p:cNvSpPr>
            <p:nvPr/>
          </p:nvSpPr>
          <p:spPr bwMode="auto">
            <a:xfrm>
              <a:off x="8661276" y="5376167"/>
              <a:ext cx="12238" cy="63637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Oval 175"/>
            <p:cNvSpPr>
              <a:spLocks noChangeArrowheads="1"/>
            </p:cNvSpPr>
            <p:nvPr/>
          </p:nvSpPr>
          <p:spPr bwMode="auto">
            <a:xfrm>
              <a:off x="8847296" y="5398193"/>
              <a:ext cx="24475" cy="24475"/>
            </a:xfrm>
            <a:prstGeom prst="ellipse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Rectangle 176"/>
            <p:cNvSpPr>
              <a:spLocks noChangeArrowheads="1"/>
            </p:cNvSpPr>
            <p:nvPr/>
          </p:nvSpPr>
          <p:spPr bwMode="auto">
            <a:xfrm>
              <a:off x="8546240" y="5478965"/>
              <a:ext cx="354906" cy="93009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Rectangle 177"/>
            <p:cNvSpPr>
              <a:spLocks noChangeArrowheads="1"/>
            </p:cNvSpPr>
            <p:nvPr/>
          </p:nvSpPr>
          <p:spPr bwMode="auto">
            <a:xfrm>
              <a:off x="8563373" y="5493652"/>
              <a:ext cx="7342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Rectangle 178"/>
            <p:cNvSpPr>
              <a:spLocks noChangeArrowheads="1"/>
            </p:cNvSpPr>
            <p:nvPr/>
          </p:nvSpPr>
          <p:spPr bwMode="auto">
            <a:xfrm>
              <a:off x="8580505" y="5493652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Rectangle 179"/>
            <p:cNvSpPr>
              <a:spLocks noChangeArrowheads="1"/>
            </p:cNvSpPr>
            <p:nvPr/>
          </p:nvSpPr>
          <p:spPr bwMode="auto">
            <a:xfrm>
              <a:off x="8600086" y="5493652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Rectangle 180"/>
            <p:cNvSpPr>
              <a:spLocks noChangeArrowheads="1"/>
            </p:cNvSpPr>
            <p:nvPr/>
          </p:nvSpPr>
          <p:spPr bwMode="auto">
            <a:xfrm>
              <a:off x="8622115" y="5493652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Rectangle 181"/>
            <p:cNvSpPr>
              <a:spLocks noChangeArrowheads="1"/>
            </p:cNvSpPr>
            <p:nvPr/>
          </p:nvSpPr>
          <p:spPr bwMode="auto">
            <a:xfrm>
              <a:off x="8641696" y="5493652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182"/>
            <p:cNvSpPr>
              <a:spLocks noChangeArrowheads="1"/>
            </p:cNvSpPr>
            <p:nvPr/>
          </p:nvSpPr>
          <p:spPr bwMode="auto">
            <a:xfrm>
              <a:off x="8661276" y="5493652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Oval 183"/>
            <p:cNvSpPr>
              <a:spLocks noChangeArrowheads="1"/>
            </p:cNvSpPr>
            <p:nvPr/>
          </p:nvSpPr>
          <p:spPr bwMode="auto">
            <a:xfrm>
              <a:off x="8847296" y="5513234"/>
              <a:ext cx="24475" cy="22029"/>
            </a:xfrm>
            <a:prstGeom prst="ellipse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Rectangle 184"/>
            <p:cNvSpPr>
              <a:spLocks noChangeArrowheads="1"/>
            </p:cNvSpPr>
            <p:nvPr/>
          </p:nvSpPr>
          <p:spPr bwMode="auto">
            <a:xfrm>
              <a:off x="8546240" y="5596451"/>
              <a:ext cx="354906" cy="93009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Rectangle 185"/>
            <p:cNvSpPr>
              <a:spLocks noChangeArrowheads="1"/>
            </p:cNvSpPr>
            <p:nvPr/>
          </p:nvSpPr>
          <p:spPr bwMode="auto">
            <a:xfrm>
              <a:off x="8563373" y="5611137"/>
              <a:ext cx="7342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Rectangle 186"/>
            <p:cNvSpPr>
              <a:spLocks noChangeArrowheads="1"/>
            </p:cNvSpPr>
            <p:nvPr/>
          </p:nvSpPr>
          <p:spPr bwMode="auto">
            <a:xfrm>
              <a:off x="8580505" y="5611137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Rectangle 187"/>
            <p:cNvSpPr>
              <a:spLocks noChangeArrowheads="1"/>
            </p:cNvSpPr>
            <p:nvPr/>
          </p:nvSpPr>
          <p:spPr bwMode="auto">
            <a:xfrm>
              <a:off x="8600086" y="5611137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Rectangle 188"/>
            <p:cNvSpPr>
              <a:spLocks noChangeArrowheads="1"/>
            </p:cNvSpPr>
            <p:nvPr/>
          </p:nvSpPr>
          <p:spPr bwMode="auto">
            <a:xfrm>
              <a:off x="8622115" y="5611137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Rectangle 189"/>
            <p:cNvSpPr>
              <a:spLocks noChangeArrowheads="1"/>
            </p:cNvSpPr>
            <p:nvPr/>
          </p:nvSpPr>
          <p:spPr bwMode="auto">
            <a:xfrm>
              <a:off x="8641696" y="5611137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Rectangle 190"/>
            <p:cNvSpPr>
              <a:spLocks noChangeArrowheads="1"/>
            </p:cNvSpPr>
            <p:nvPr/>
          </p:nvSpPr>
          <p:spPr bwMode="auto">
            <a:xfrm>
              <a:off x="8661276" y="5611137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Oval 191"/>
            <p:cNvSpPr>
              <a:spLocks noChangeArrowheads="1"/>
            </p:cNvSpPr>
            <p:nvPr/>
          </p:nvSpPr>
          <p:spPr bwMode="auto">
            <a:xfrm>
              <a:off x="8847296" y="5630720"/>
              <a:ext cx="24475" cy="19581"/>
            </a:xfrm>
            <a:prstGeom prst="ellipse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Rectangle 192"/>
            <p:cNvSpPr>
              <a:spLocks noChangeArrowheads="1"/>
            </p:cNvSpPr>
            <p:nvPr/>
          </p:nvSpPr>
          <p:spPr bwMode="auto">
            <a:xfrm>
              <a:off x="8546240" y="5713937"/>
              <a:ext cx="354906" cy="9056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Rectangle 193"/>
            <p:cNvSpPr>
              <a:spLocks noChangeArrowheads="1"/>
            </p:cNvSpPr>
            <p:nvPr/>
          </p:nvSpPr>
          <p:spPr bwMode="auto">
            <a:xfrm>
              <a:off x="8563373" y="5726175"/>
              <a:ext cx="7342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Rectangle 194"/>
            <p:cNvSpPr>
              <a:spLocks noChangeArrowheads="1"/>
            </p:cNvSpPr>
            <p:nvPr/>
          </p:nvSpPr>
          <p:spPr bwMode="auto">
            <a:xfrm>
              <a:off x="8580505" y="5726175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Rectangle 195"/>
            <p:cNvSpPr>
              <a:spLocks noChangeArrowheads="1"/>
            </p:cNvSpPr>
            <p:nvPr/>
          </p:nvSpPr>
          <p:spPr bwMode="auto">
            <a:xfrm>
              <a:off x="8600086" y="5726175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Rectangle 196"/>
            <p:cNvSpPr>
              <a:spLocks noChangeArrowheads="1"/>
            </p:cNvSpPr>
            <p:nvPr/>
          </p:nvSpPr>
          <p:spPr bwMode="auto">
            <a:xfrm>
              <a:off x="8622115" y="5726175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Rectangle 197"/>
            <p:cNvSpPr>
              <a:spLocks noChangeArrowheads="1"/>
            </p:cNvSpPr>
            <p:nvPr/>
          </p:nvSpPr>
          <p:spPr bwMode="auto">
            <a:xfrm>
              <a:off x="8641696" y="5726175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Rectangle 198"/>
            <p:cNvSpPr>
              <a:spLocks noChangeArrowheads="1"/>
            </p:cNvSpPr>
            <p:nvPr/>
          </p:nvSpPr>
          <p:spPr bwMode="auto">
            <a:xfrm>
              <a:off x="8661276" y="5726175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Oval 199"/>
            <p:cNvSpPr>
              <a:spLocks noChangeArrowheads="1"/>
            </p:cNvSpPr>
            <p:nvPr/>
          </p:nvSpPr>
          <p:spPr bwMode="auto">
            <a:xfrm>
              <a:off x="8847296" y="5748204"/>
              <a:ext cx="24475" cy="19581"/>
            </a:xfrm>
            <a:prstGeom prst="ellipse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Rectangle 200"/>
            <p:cNvSpPr>
              <a:spLocks noChangeArrowheads="1"/>
            </p:cNvSpPr>
            <p:nvPr/>
          </p:nvSpPr>
          <p:spPr bwMode="auto">
            <a:xfrm>
              <a:off x="8546240" y="5828975"/>
              <a:ext cx="354906" cy="88115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Rectangle 201"/>
            <p:cNvSpPr>
              <a:spLocks noChangeArrowheads="1"/>
            </p:cNvSpPr>
            <p:nvPr/>
          </p:nvSpPr>
          <p:spPr bwMode="auto">
            <a:xfrm>
              <a:off x="8563373" y="5843661"/>
              <a:ext cx="7342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Rectangle 202"/>
            <p:cNvSpPr>
              <a:spLocks noChangeArrowheads="1"/>
            </p:cNvSpPr>
            <p:nvPr/>
          </p:nvSpPr>
          <p:spPr bwMode="auto">
            <a:xfrm>
              <a:off x="8580505" y="5843661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203"/>
            <p:cNvSpPr>
              <a:spLocks noChangeArrowheads="1"/>
            </p:cNvSpPr>
            <p:nvPr/>
          </p:nvSpPr>
          <p:spPr bwMode="auto">
            <a:xfrm>
              <a:off x="8600086" y="5843661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Rectangle 204"/>
            <p:cNvSpPr>
              <a:spLocks noChangeArrowheads="1"/>
            </p:cNvSpPr>
            <p:nvPr/>
          </p:nvSpPr>
          <p:spPr bwMode="auto">
            <a:xfrm>
              <a:off x="8622115" y="5843661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Rectangle 205"/>
            <p:cNvSpPr>
              <a:spLocks noChangeArrowheads="1"/>
            </p:cNvSpPr>
            <p:nvPr/>
          </p:nvSpPr>
          <p:spPr bwMode="auto">
            <a:xfrm>
              <a:off x="8641696" y="5843661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Rectangle 206"/>
            <p:cNvSpPr>
              <a:spLocks noChangeArrowheads="1"/>
            </p:cNvSpPr>
            <p:nvPr/>
          </p:nvSpPr>
          <p:spPr bwMode="auto">
            <a:xfrm>
              <a:off x="8661276" y="5843661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207"/>
            <p:cNvSpPr>
              <a:spLocks noChangeArrowheads="1"/>
            </p:cNvSpPr>
            <p:nvPr/>
          </p:nvSpPr>
          <p:spPr bwMode="auto">
            <a:xfrm>
              <a:off x="8847296" y="5863242"/>
              <a:ext cx="24475" cy="19581"/>
            </a:xfrm>
            <a:prstGeom prst="ellipse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Rectangle 208"/>
            <p:cNvSpPr>
              <a:spLocks noChangeArrowheads="1"/>
            </p:cNvSpPr>
            <p:nvPr/>
          </p:nvSpPr>
          <p:spPr bwMode="auto">
            <a:xfrm>
              <a:off x="8477706" y="5050633"/>
              <a:ext cx="491972" cy="1035343"/>
            </a:xfrm>
            <a:prstGeom prst="rect">
              <a:avLst/>
            </a:prstGeom>
            <a:solidFill>
              <a:srgbClr val="6821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Rectangle 209"/>
            <p:cNvSpPr>
              <a:spLocks noChangeArrowheads="1"/>
            </p:cNvSpPr>
            <p:nvPr/>
          </p:nvSpPr>
          <p:spPr bwMode="auto">
            <a:xfrm>
              <a:off x="8524210" y="5102032"/>
              <a:ext cx="401410" cy="898276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Rectangle 210"/>
            <p:cNvSpPr>
              <a:spLocks noChangeArrowheads="1"/>
            </p:cNvSpPr>
            <p:nvPr/>
          </p:nvSpPr>
          <p:spPr bwMode="auto">
            <a:xfrm>
              <a:off x="8546240" y="5131405"/>
              <a:ext cx="354906" cy="9056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Rectangle 211"/>
            <p:cNvSpPr>
              <a:spLocks noChangeArrowheads="1"/>
            </p:cNvSpPr>
            <p:nvPr/>
          </p:nvSpPr>
          <p:spPr bwMode="auto">
            <a:xfrm>
              <a:off x="8563373" y="5143641"/>
              <a:ext cx="7342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Rectangle 212"/>
            <p:cNvSpPr>
              <a:spLocks noChangeArrowheads="1"/>
            </p:cNvSpPr>
            <p:nvPr/>
          </p:nvSpPr>
          <p:spPr bwMode="auto">
            <a:xfrm>
              <a:off x="8580505" y="5143641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Rectangle 213"/>
            <p:cNvSpPr>
              <a:spLocks noChangeArrowheads="1"/>
            </p:cNvSpPr>
            <p:nvPr/>
          </p:nvSpPr>
          <p:spPr bwMode="auto">
            <a:xfrm>
              <a:off x="8600086" y="5143641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Rectangle 214"/>
            <p:cNvSpPr>
              <a:spLocks noChangeArrowheads="1"/>
            </p:cNvSpPr>
            <p:nvPr/>
          </p:nvSpPr>
          <p:spPr bwMode="auto">
            <a:xfrm>
              <a:off x="8622115" y="5143641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Rectangle 215"/>
            <p:cNvSpPr>
              <a:spLocks noChangeArrowheads="1"/>
            </p:cNvSpPr>
            <p:nvPr/>
          </p:nvSpPr>
          <p:spPr bwMode="auto">
            <a:xfrm>
              <a:off x="8641696" y="5143641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Rectangle 216"/>
            <p:cNvSpPr>
              <a:spLocks noChangeArrowheads="1"/>
            </p:cNvSpPr>
            <p:nvPr/>
          </p:nvSpPr>
          <p:spPr bwMode="auto">
            <a:xfrm>
              <a:off x="8661276" y="5143641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Oval 217"/>
            <p:cNvSpPr>
              <a:spLocks noChangeArrowheads="1"/>
            </p:cNvSpPr>
            <p:nvPr/>
          </p:nvSpPr>
          <p:spPr bwMode="auto">
            <a:xfrm>
              <a:off x="8847296" y="5165671"/>
              <a:ext cx="24475" cy="22029"/>
            </a:xfrm>
            <a:prstGeom prst="ellipse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Rectangle 218"/>
            <p:cNvSpPr>
              <a:spLocks noChangeArrowheads="1"/>
            </p:cNvSpPr>
            <p:nvPr/>
          </p:nvSpPr>
          <p:spPr bwMode="auto">
            <a:xfrm>
              <a:off x="8546240" y="5246442"/>
              <a:ext cx="354906" cy="93009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Rectangle 219"/>
            <p:cNvSpPr>
              <a:spLocks noChangeArrowheads="1"/>
            </p:cNvSpPr>
            <p:nvPr/>
          </p:nvSpPr>
          <p:spPr bwMode="auto">
            <a:xfrm>
              <a:off x="8563373" y="5261126"/>
              <a:ext cx="7342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Rectangle 220"/>
            <p:cNvSpPr>
              <a:spLocks noChangeArrowheads="1"/>
            </p:cNvSpPr>
            <p:nvPr/>
          </p:nvSpPr>
          <p:spPr bwMode="auto">
            <a:xfrm>
              <a:off x="8580505" y="5261126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Rectangle 221"/>
            <p:cNvSpPr>
              <a:spLocks noChangeArrowheads="1"/>
            </p:cNvSpPr>
            <p:nvPr/>
          </p:nvSpPr>
          <p:spPr bwMode="auto">
            <a:xfrm>
              <a:off x="8600086" y="5261126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Rectangle 222"/>
            <p:cNvSpPr>
              <a:spLocks noChangeArrowheads="1"/>
            </p:cNvSpPr>
            <p:nvPr/>
          </p:nvSpPr>
          <p:spPr bwMode="auto">
            <a:xfrm>
              <a:off x="8622115" y="5261126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Rectangle 223"/>
            <p:cNvSpPr>
              <a:spLocks noChangeArrowheads="1"/>
            </p:cNvSpPr>
            <p:nvPr/>
          </p:nvSpPr>
          <p:spPr bwMode="auto">
            <a:xfrm>
              <a:off x="8641696" y="5261126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Rectangle 224"/>
            <p:cNvSpPr>
              <a:spLocks noChangeArrowheads="1"/>
            </p:cNvSpPr>
            <p:nvPr/>
          </p:nvSpPr>
          <p:spPr bwMode="auto">
            <a:xfrm>
              <a:off x="8661276" y="5261126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8" name="Oval 225"/>
            <p:cNvSpPr>
              <a:spLocks noChangeArrowheads="1"/>
            </p:cNvSpPr>
            <p:nvPr/>
          </p:nvSpPr>
          <p:spPr bwMode="auto">
            <a:xfrm>
              <a:off x="8847296" y="5280709"/>
              <a:ext cx="24475" cy="24475"/>
            </a:xfrm>
            <a:prstGeom prst="ellipse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Rectangle 226"/>
            <p:cNvSpPr>
              <a:spLocks noChangeArrowheads="1"/>
            </p:cNvSpPr>
            <p:nvPr/>
          </p:nvSpPr>
          <p:spPr bwMode="auto">
            <a:xfrm>
              <a:off x="8546240" y="5363927"/>
              <a:ext cx="354906" cy="93009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Rectangle 227"/>
            <p:cNvSpPr>
              <a:spLocks noChangeArrowheads="1"/>
            </p:cNvSpPr>
            <p:nvPr/>
          </p:nvSpPr>
          <p:spPr bwMode="auto">
            <a:xfrm>
              <a:off x="8563373" y="5376167"/>
              <a:ext cx="7342" cy="63637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Rectangle 228"/>
            <p:cNvSpPr>
              <a:spLocks noChangeArrowheads="1"/>
            </p:cNvSpPr>
            <p:nvPr/>
          </p:nvSpPr>
          <p:spPr bwMode="auto">
            <a:xfrm>
              <a:off x="8580505" y="5376167"/>
              <a:ext cx="9790" cy="63637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2" name="Rectangle 229"/>
            <p:cNvSpPr>
              <a:spLocks noChangeArrowheads="1"/>
            </p:cNvSpPr>
            <p:nvPr/>
          </p:nvSpPr>
          <p:spPr bwMode="auto">
            <a:xfrm>
              <a:off x="8600086" y="5376167"/>
              <a:ext cx="9790" cy="63637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3" name="Rectangle 230"/>
            <p:cNvSpPr>
              <a:spLocks noChangeArrowheads="1"/>
            </p:cNvSpPr>
            <p:nvPr/>
          </p:nvSpPr>
          <p:spPr bwMode="auto">
            <a:xfrm>
              <a:off x="8622115" y="5376167"/>
              <a:ext cx="9790" cy="63637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4" name="Rectangle 232"/>
            <p:cNvSpPr>
              <a:spLocks noChangeArrowheads="1"/>
            </p:cNvSpPr>
            <p:nvPr/>
          </p:nvSpPr>
          <p:spPr bwMode="auto">
            <a:xfrm>
              <a:off x="8641696" y="5376167"/>
              <a:ext cx="9790" cy="63637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5" name="Rectangle 233"/>
            <p:cNvSpPr>
              <a:spLocks noChangeArrowheads="1"/>
            </p:cNvSpPr>
            <p:nvPr/>
          </p:nvSpPr>
          <p:spPr bwMode="auto">
            <a:xfrm>
              <a:off x="8661276" y="5376167"/>
              <a:ext cx="12238" cy="63637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6" name="Oval 234"/>
            <p:cNvSpPr>
              <a:spLocks noChangeArrowheads="1"/>
            </p:cNvSpPr>
            <p:nvPr/>
          </p:nvSpPr>
          <p:spPr bwMode="auto">
            <a:xfrm>
              <a:off x="8847296" y="5398193"/>
              <a:ext cx="24475" cy="24475"/>
            </a:xfrm>
            <a:prstGeom prst="ellipse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Rectangle 235"/>
            <p:cNvSpPr>
              <a:spLocks noChangeArrowheads="1"/>
            </p:cNvSpPr>
            <p:nvPr/>
          </p:nvSpPr>
          <p:spPr bwMode="auto">
            <a:xfrm>
              <a:off x="8546240" y="5478965"/>
              <a:ext cx="354906" cy="93009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8" name="Rectangle 236"/>
            <p:cNvSpPr>
              <a:spLocks noChangeArrowheads="1"/>
            </p:cNvSpPr>
            <p:nvPr/>
          </p:nvSpPr>
          <p:spPr bwMode="auto">
            <a:xfrm>
              <a:off x="8563373" y="5493652"/>
              <a:ext cx="7342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9" name="Rectangle 237"/>
            <p:cNvSpPr>
              <a:spLocks noChangeArrowheads="1"/>
            </p:cNvSpPr>
            <p:nvPr/>
          </p:nvSpPr>
          <p:spPr bwMode="auto">
            <a:xfrm>
              <a:off x="8580505" y="5493652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0" name="Rectangle 238"/>
            <p:cNvSpPr>
              <a:spLocks noChangeArrowheads="1"/>
            </p:cNvSpPr>
            <p:nvPr/>
          </p:nvSpPr>
          <p:spPr bwMode="auto">
            <a:xfrm>
              <a:off x="8600086" y="5493652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1" name="Rectangle 239"/>
            <p:cNvSpPr>
              <a:spLocks noChangeArrowheads="1"/>
            </p:cNvSpPr>
            <p:nvPr/>
          </p:nvSpPr>
          <p:spPr bwMode="auto">
            <a:xfrm>
              <a:off x="8622115" y="5493652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2" name="Rectangle 240"/>
            <p:cNvSpPr>
              <a:spLocks noChangeArrowheads="1"/>
            </p:cNvSpPr>
            <p:nvPr/>
          </p:nvSpPr>
          <p:spPr bwMode="auto">
            <a:xfrm>
              <a:off x="8641696" y="5493652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3" name="Rectangle 241"/>
            <p:cNvSpPr>
              <a:spLocks noChangeArrowheads="1"/>
            </p:cNvSpPr>
            <p:nvPr/>
          </p:nvSpPr>
          <p:spPr bwMode="auto">
            <a:xfrm>
              <a:off x="8661276" y="5493652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4" name="Oval 242"/>
            <p:cNvSpPr>
              <a:spLocks noChangeArrowheads="1"/>
            </p:cNvSpPr>
            <p:nvPr/>
          </p:nvSpPr>
          <p:spPr bwMode="auto">
            <a:xfrm>
              <a:off x="8847296" y="5513234"/>
              <a:ext cx="24475" cy="22029"/>
            </a:xfrm>
            <a:prstGeom prst="ellipse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5" name="Rectangle 243"/>
            <p:cNvSpPr>
              <a:spLocks noChangeArrowheads="1"/>
            </p:cNvSpPr>
            <p:nvPr/>
          </p:nvSpPr>
          <p:spPr bwMode="auto">
            <a:xfrm>
              <a:off x="8546240" y="5596451"/>
              <a:ext cx="354906" cy="93009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6" name="Rectangle 244"/>
            <p:cNvSpPr>
              <a:spLocks noChangeArrowheads="1"/>
            </p:cNvSpPr>
            <p:nvPr/>
          </p:nvSpPr>
          <p:spPr bwMode="auto">
            <a:xfrm>
              <a:off x="8563373" y="5611137"/>
              <a:ext cx="7342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7" name="Rectangle 245"/>
            <p:cNvSpPr>
              <a:spLocks noChangeArrowheads="1"/>
            </p:cNvSpPr>
            <p:nvPr/>
          </p:nvSpPr>
          <p:spPr bwMode="auto">
            <a:xfrm>
              <a:off x="8580505" y="5611137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8" name="Rectangle 246"/>
            <p:cNvSpPr>
              <a:spLocks noChangeArrowheads="1"/>
            </p:cNvSpPr>
            <p:nvPr/>
          </p:nvSpPr>
          <p:spPr bwMode="auto">
            <a:xfrm>
              <a:off x="8600086" y="5611137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9" name="Rectangle 247"/>
            <p:cNvSpPr>
              <a:spLocks noChangeArrowheads="1"/>
            </p:cNvSpPr>
            <p:nvPr/>
          </p:nvSpPr>
          <p:spPr bwMode="auto">
            <a:xfrm>
              <a:off x="8622115" y="5611137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0" name="Rectangle 248"/>
            <p:cNvSpPr>
              <a:spLocks noChangeArrowheads="1"/>
            </p:cNvSpPr>
            <p:nvPr/>
          </p:nvSpPr>
          <p:spPr bwMode="auto">
            <a:xfrm>
              <a:off x="8641696" y="5611137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1" name="Rectangle 249"/>
            <p:cNvSpPr>
              <a:spLocks noChangeArrowheads="1"/>
            </p:cNvSpPr>
            <p:nvPr/>
          </p:nvSpPr>
          <p:spPr bwMode="auto">
            <a:xfrm>
              <a:off x="8661276" y="5611137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2" name="Oval 250"/>
            <p:cNvSpPr>
              <a:spLocks noChangeArrowheads="1"/>
            </p:cNvSpPr>
            <p:nvPr/>
          </p:nvSpPr>
          <p:spPr bwMode="auto">
            <a:xfrm>
              <a:off x="8847296" y="5630720"/>
              <a:ext cx="24475" cy="19581"/>
            </a:xfrm>
            <a:prstGeom prst="ellipse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3" name="Rectangle 251"/>
            <p:cNvSpPr>
              <a:spLocks noChangeArrowheads="1"/>
            </p:cNvSpPr>
            <p:nvPr/>
          </p:nvSpPr>
          <p:spPr bwMode="auto">
            <a:xfrm>
              <a:off x="8546240" y="5713937"/>
              <a:ext cx="354906" cy="9056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4" name="Rectangle 252"/>
            <p:cNvSpPr>
              <a:spLocks noChangeArrowheads="1"/>
            </p:cNvSpPr>
            <p:nvPr/>
          </p:nvSpPr>
          <p:spPr bwMode="auto">
            <a:xfrm>
              <a:off x="8563373" y="5726175"/>
              <a:ext cx="7342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5" name="Rectangle 253"/>
            <p:cNvSpPr>
              <a:spLocks noChangeArrowheads="1"/>
            </p:cNvSpPr>
            <p:nvPr/>
          </p:nvSpPr>
          <p:spPr bwMode="auto">
            <a:xfrm>
              <a:off x="8580505" y="5726175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6" name="Rectangle 254"/>
            <p:cNvSpPr>
              <a:spLocks noChangeArrowheads="1"/>
            </p:cNvSpPr>
            <p:nvPr/>
          </p:nvSpPr>
          <p:spPr bwMode="auto">
            <a:xfrm>
              <a:off x="8600086" y="5726175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7" name="Rectangle 255"/>
            <p:cNvSpPr>
              <a:spLocks noChangeArrowheads="1"/>
            </p:cNvSpPr>
            <p:nvPr/>
          </p:nvSpPr>
          <p:spPr bwMode="auto">
            <a:xfrm>
              <a:off x="8622115" y="5726175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8" name="Rectangle 256"/>
            <p:cNvSpPr>
              <a:spLocks noChangeArrowheads="1"/>
            </p:cNvSpPr>
            <p:nvPr/>
          </p:nvSpPr>
          <p:spPr bwMode="auto">
            <a:xfrm>
              <a:off x="8641696" y="5726175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9" name="Rectangle 257"/>
            <p:cNvSpPr>
              <a:spLocks noChangeArrowheads="1"/>
            </p:cNvSpPr>
            <p:nvPr/>
          </p:nvSpPr>
          <p:spPr bwMode="auto">
            <a:xfrm>
              <a:off x="8661276" y="5726175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0" name="Oval 258"/>
            <p:cNvSpPr>
              <a:spLocks noChangeArrowheads="1"/>
            </p:cNvSpPr>
            <p:nvPr/>
          </p:nvSpPr>
          <p:spPr bwMode="auto">
            <a:xfrm>
              <a:off x="8847296" y="5748204"/>
              <a:ext cx="24475" cy="19581"/>
            </a:xfrm>
            <a:prstGeom prst="ellipse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" name="Rectangle 259"/>
            <p:cNvSpPr>
              <a:spLocks noChangeArrowheads="1"/>
            </p:cNvSpPr>
            <p:nvPr/>
          </p:nvSpPr>
          <p:spPr bwMode="auto">
            <a:xfrm>
              <a:off x="8546240" y="5828975"/>
              <a:ext cx="354906" cy="88115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" name="Rectangle 260"/>
            <p:cNvSpPr>
              <a:spLocks noChangeArrowheads="1"/>
            </p:cNvSpPr>
            <p:nvPr/>
          </p:nvSpPr>
          <p:spPr bwMode="auto">
            <a:xfrm>
              <a:off x="8563373" y="5843661"/>
              <a:ext cx="7342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" name="Rectangle 261"/>
            <p:cNvSpPr>
              <a:spLocks noChangeArrowheads="1"/>
            </p:cNvSpPr>
            <p:nvPr/>
          </p:nvSpPr>
          <p:spPr bwMode="auto">
            <a:xfrm>
              <a:off x="8580505" y="5843661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" name="Rectangle 262"/>
            <p:cNvSpPr>
              <a:spLocks noChangeArrowheads="1"/>
            </p:cNvSpPr>
            <p:nvPr/>
          </p:nvSpPr>
          <p:spPr bwMode="auto">
            <a:xfrm>
              <a:off x="8600086" y="5843661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" name="Rectangle 263"/>
            <p:cNvSpPr>
              <a:spLocks noChangeArrowheads="1"/>
            </p:cNvSpPr>
            <p:nvPr/>
          </p:nvSpPr>
          <p:spPr bwMode="auto">
            <a:xfrm>
              <a:off x="8622115" y="5843661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" name="Rectangle 264"/>
            <p:cNvSpPr>
              <a:spLocks noChangeArrowheads="1"/>
            </p:cNvSpPr>
            <p:nvPr/>
          </p:nvSpPr>
          <p:spPr bwMode="auto">
            <a:xfrm>
              <a:off x="8641696" y="5843661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" name="Rectangle 265"/>
            <p:cNvSpPr>
              <a:spLocks noChangeArrowheads="1"/>
            </p:cNvSpPr>
            <p:nvPr/>
          </p:nvSpPr>
          <p:spPr bwMode="auto">
            <a:xfrm>
              <a:off x="8661276" y="5843661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" name="Oval 266"/>
            <p:cNvSpPr>
              <a:spLocks noChangeArrowheads="1"/>
            </p:cNvSpPr>
            <p:nvPr/>
          </p:nvSpPr>
          <p:spPr bwMode="auto">
            <a:xfrm>
              <a:off x="8847296" y="5863242"/>
              <a:ext cx="24475" cy="19581"/>
            </a:xfrm>
            <a:prstGeom prst="ellipse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" name="Rectangle 267"/>
            <p:cNvSpPr>
              <a:spLocks noChangeArrowheads="1"/>
            </p:cNvSpPr>
            <p:nvPr/>
          </p:nvSpPr>
          <p:spPr bwMode="auto">
            <a:xfrm>
              <a:off x="9033315" y="5050633"/>
              <a:ext cx="496867" cy="1035343"/>
            </a:xfrm>
            <a:prstGeom prst="rect">
              <a:avLst/>
            </a:prstGeom>
            <a:solidFill>
              <a:srgbClr val="6821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" name="Rectangle 268"/>
            <p:cNvSpPr>
              <a:spLocks noChangeArrowheads="1"/>
            </p:cNvSpPr>
            <p:nvPr/>
          </p:nvSpPr>
          <p:spPr bwMode="auto">
            <a:xfrm>
              <a:off x="9079820" y="5102032"/>
              <a:ext cx="401410" cy="898276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" name="Rectangle 269"/>
            <p:cNvSpPr>
              <a:spLocks noChangeArrowheads="1"/>
            </p:cNvSpPr>
            <p:nvPr/>
          </p:nvSpPr>
          <p:spPr bwMode="auto">
            <a:xfrm>
              <a:off x="9104297" y="5131405"/>
              <a:ext cx="352458" cy="9056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" name="Rectangle 270"/>
            <p:cNvSpPr>
              <a:spLocks noChangeArrowheads="1"/>
            </p:cNvSpPr>
            <p:nvPr/>
          </p:nvSpPr>
          <p:spPr bwMode="auto">
            <a:xfrm>
              <a:off x="9118982" y="5143641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" name="Rectangle 271"/>
            <p:cNvSpPr>
              <a:spLocks noChangeArrowheads="1"/>
            </p:cNvSpPr>
            <p:nvPr/>
          </p:nvSpPr>
          <p:spPr bwMode="auto">
            <a:xfrm>
              <a:off x="9138562" y="5143641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" name="Rectangle 272"/>
            <p:cNvSpPr>
              <a:spLocks noChangeArrowheads="1"/>
            </p:cNvSpPr>
            <p:nvPr/>
          </p:nvSpPr>
          <p:spPr bwMode="auto">
            <a:xfrm>
              <a:off x="9158143" y="5143641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" name="Rectangle 273"/>
            <p:cNvSpPr>
              <a:spLocks noChangeArrowheads="1"/>
            </p:cNvSpPr>
            <p:nvPr/>
          </p:nvSpPr>
          <p:spPr bwMode="auto">
            <a:xfrm>
              <a:off x="9175276" y="5143641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" name="Rectangle 274"/>
            <p:cNvSpPr>
              <a:spLocks noChangeArrowheads="1"/>
            </p:cNvSpPr>
            <p:nvPr/>
          </p:nvSpPr>
          <p:spPr bwMode="auto">
            <a:xfrm>
              <a:off x="9197305" y="5143641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" name="Rectangle 275"/>
            <p:cNvSpPr>
              <a:spLocks noChangeArrowheads="1"/>
            </p:cNvSpPr>
            <p:nvPr/>
          </p:nvSpPr>
          <p:spPr bwMode="auto">
            <a:xfrm>
              <a:off x="9216887" y="5143641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" name="Oval 276"/>
            <p:cNvSpPr>
              <a:spLocks noChangeArrowheads="1"/>
            </p:cNvSpPr>
            <p:nvPr/>
          </p:nvSpPr>
          <p:spPr bwMode="auto">
            <a:xfrm>
              <a:off x="9405353" y="5165671"/>
              <a:ext cx="22029" cy="22029"/>
            </a:xfrm>
            <a:prstGeom prst="ellipse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9" name="Rectangle 277"/>
            <p:cNvSpPr>
              <a:spLocks noChangeArrowheads="1"/>
            </p:cNvSpPr>
            <p:nvPr/>
          </p:nvSpPr>
          <p:spPr bwMode="auto">
            <a:xfrm>
              <a:off x="9104297" y="5246442"/>
              <a:ext cx="352458" cy="93009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" name="Rectangle 278"/>
            <p:cNvSpPr>
              <a:spLocks noChangeArrowheads="1"/>
            </p:cNvSpPr>
            <p:nvPr/>
          </p:nvSpPr>
          <p:spPr bwMode="auto">
            <a:xfrm>
              <a:off x="9118982" y="5261126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" name="Rectangle 279"/>
            <p:cNvSpPr>
              <a:spLocks noChangeArrowheads="1"/>
            </p:cNvSpPr>
            <p:nvPr/>
          </p:nvSpPr>
          <p:spPr bwMode="auto">
            <a:xfrm>
              <a:off x="9138562" y="5261126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" name="Rectangle 280"/>
            <p:cNvSpPr>
              <a:spLocks noChangeArrowheads="1"/>
            </p:cNvSpPr>
            <p:nvPr/>
          </p:nvSpPr>
          <p:spPr bwMode="auto">
            <a:xfrm>
              <a:off x="9158143" y="5261126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" name="Rectangle 281"/>
            <p:cNvSpPr>
              <a:spLocks noChangeArrowheads="1"/>
            </p:cNvSpPr>
            <p:nvPr/>
          </p:nvSpPr>
          <p:spPr bwMode="auto">
            <a:xfrm>
              <a:off x="9175276" y="5261126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" name="Rectangle 282"/>
            <p:cNvSpPr>
              <a:spLocks noChangeArrowheads="1"/>
            </p:cNvSpPr>
            <p:nvPr/>
          </p:nvSpPr>
          <p:spPr bwMode="auto">
            <a:xfrm>
              <a:off x="9197305" y="5261126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" name="Rectangle 283"/>
            <p:cNvSpPr>
              <a:spLocks noChangeArrowheads="1"/>
            </p:cNvSpPr>
            <p:nvPr/>
          </p:nvSpPr>
          <p:spPr bwMode="auto">
            <a:xfrm>
              <a:off x="9216887" y="5261126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" name="Oval 284"/>
            <p:cNvSpPr>
              <a:spLocks noChangeArrowheads="1"/>
            </p:cNvSpPr>
            <p:nvPr/>
          </p:nvSpPr>
          <p:spPr bwMode="auto">
            <a:xfrm>
              <a:off x="9405353" y="5280709"/>
              <a:ext cx="22029" cy="24475"/>
            </a:xfrm>
            <a:prstGeom prst="ellipse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7" name="Rectangle 285"/>
            <p:cNvSpPr>
              <a:spLocks noChangeArrowheads="1"/>
            </p:cNvSpPr>
            <p:nvPr/>
          </p:nvSpPr>
          <p:spPr bwMode="auto">
            <a:xfrm>
              <a:off x="9104297" y="5363927"/>
              <a:ext cx="352458" cy="93009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8" name="Rectangle 286"/>
            <p:cNvSpPr>
              <a:spLocks noChangeArrowheads="1"/>
            </p:cNvSpPr>
            <p:nvPr/>
          </p:nvSpPr>
          <p:spPr bwMode="auto">
            <a:xfrm>
              <a:off x="9118982" y="5376167"/>
              <a:ext cx="9790" cy="63637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9" name="Rectangle 287"/>
            <p:cNvSpPr>
              <a:spLocks noChangeArrowheads="1"/>
            </p:cNvSpPr>
            <p:nvPr/>
          </p:nvSpPr>
          <p:spPr bwMode="auto">
            <a:xfrm>
              <a:off x="9138562" y="5376167"/>
              <a:ext cx="9790" cy="63637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0" name="Rectangle 288"/>
            <p:cNvSpPr>
              <a:spLocks noChangeArrowheads="1"/>
            </p:cNvSpPr>
            <p:nvPr/>
          </p:nvSpPr>
          <p:spPr bwMode="auto">
            <a:xfrm>
              <a:off x="9158143" y="5376167"/>
              <a:ext cx="12238" cy="63637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1" name="Rectangle 289"/>
            <p:cNvSpPr>
              <a:spLocks noChangeArrowheads="1"/>
            </p:cNvSpPr>
            <p:nvPr/>
          </p:nvSpPr>
          <p:spPr bwMode="auto">
            <a:xfrm>
              <a:off x="9175276" y="5376167"/>
              <a:ext cx="12238" cy="63637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2" name="Rectangle 290"/>
            <p:cNvSpPr>
              <a:spLocks noChangeArrowheads="1"/>
            </p:cNvSpPr>
            <p:nvPr/>
          </p:nvSpPr>
          <p:spPr bwMode="auto">
            <a:xfrm>
              <a:off x="9197305" y="5376167"/>
              <a:ext cx="9790" cy="63637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3" name="Rectangle 291"/>
            <p:cNvSpPr>
              <a:spLocks noChangeArrowheads="1"/>
            </p:cNvSpPr>
            <p:nvPr/>
          </p:nvSpPr>
          <p:spPr bwMode="auto">
            <a:xfrm>
              <a:off x="9216887" y="5376167"/>
              <a:ext cx="9790" cy="63637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4" name="Oval 292"/>
            <p:cNvSpPr>
              <a:spLocks noChangeArrowheads="1"/>
            </p:cNvSpPr>
            <p:nvPr/>
          </p:nvSpPr>
          <p:spPr bwMode="auto">
            <a:xfrm>
              <a:off x="9405353" y="5398193"/>
              <a:ext cx="22029" cy="24475"/>
            </a:xfrm>
            <a:prstGeom prst="ellipse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5" name="Rectangle 293"/>
            <p:cNvSpPr>
              <a:spLocks noChangeArrowheads="1"/>
            </p:cNvSpPr>
            <p:nvPr/>
          </p:nvSpPr>
          <p:spPr bwMode="auto">
            <a:xfrm>
              <a:off x="9104297" y="5478965"/>
              <a:ext cx="352458" cy="93009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6" name="Rectangle 294"/>
            <p:cNvSpPr>
              <a:spLocks noChangeArrowheads="1"/>
            </p:cNvSpPr>
            <p:nvPr/>
          </p:nvSpPr>
          <p:spPr bwMode="auto">
            <a:xfrm>
              <a:off x="9118982" y="5493652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7" name="Rectangle 295"/>
            <p:cNvSpPr>
              <a:spLocks noChangeArrowheads="1"/>
            </p:cNvSpPr>
            <p:nvPr/>
          </p:nvSpPr>
          <p:spPr bwMode="auto">
            <a:xfrm>
              <a:off x="9138562" y="5493652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8" name="Rectangle 296"/>
            <p:cNvSpPr>
              <a:spLocks noChangeArrowheads="1"/>
            </p:cNvSpPr>
            <p:nvPr/>
          </p:nvSpPr>
          <p:spPr bwMode="auto">
            <a:xfrm>
              <a:off x="9158143" y="5493652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9" name="Rectangle 297"/>
            <p:cNvSpPr>
              <a:spLocks noChangeArrowheads="1"/>
            </p:cNvSpPr>
            <p:nvPr/>
          </p:nvSpPr>
          <p:spPr bwMode="auto">
            <a:xfrm>
              <a:off x="9175276" y="5493652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0" name="Rectangle 298"/>
            <p:cNvSpPr>
              <a:spLocks noChangeArrowheads="1"/>
            </p:cNvSpPr>
            <p:nvPr/>
          </p:nvSpPr>
          <p:spPr bwMode="auto">
            <a:xfrm>
              <a:off x="9197305" y="5493652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1" name="Rectangle 299"/>
            <p:cNvSpPr>
              <a:spLocks noChangeArrowheads="1"/>
            </p:cNvSpPr>
            <p:nvPr/>
          </p:nvSpPr>
          <p:spPr bwMode="auto">
            <a:xfrm>
              <a:off x="9216887" y="5493652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2" name="Oval 300"/>
            <p:cNvSpPr>
              <a:spLocks noChangeArrowheads="1"/>
            </p:cNvSpPr>
            <p:nvPr/>
          </p:nvSpPr>
          <p:spPr bwMode="auto">
            <a:xfrm>
              <a:off x="9405353" y="5513234"/>
              <a:ext cx="22029" cy="22029"/>
            </a:xfrm>
            <a:prstGeom prst="ellipse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3" name="Rectangle 301"/>
            <p:cNvSpPr>
              <a:spLocks noChangeArrowheads="1"/>
            </p:cNvSpPr>
            <p:nvPr/>
          </p:nvSpPr>
          <p:spPr bwMode="auto">
            <a:xfrm>
              <a:off x="9104297" y="5596451"/>
              <a:ext cx="352458" cy="93009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4" name="Rectangle 302"/>
            <p:cNvSpPr>
              <a:spLocks noChangeArrowheads="1"/>
            </p:cNvSpPr>
            <p:nvPr/>
          </p:nvSpPr>
          <p:spPr bwMode="auto">
            <a:xfrm>
              <a:off x="9118982" y="5611137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5" name="Rectangle 303"/>
            <p:cNvSpPr>
              <a:spLocks noChangeArrowheads="1"/>
            </p:cNvSpPr>
            <p:nvPr/>
          </p:nvSpPr>
          <p:spPr bwMode="auto">
            <a:xfrm>
              <a:off x="9138562" y="5611137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6" name="Rectangle 304"/>
            <p:cNvSpPr>
              <a:spLocks noChangeArrowheads="1"/>
            </p:cNvSpPr>
            <p:nvPr/>
          </p:nvSpPr>
          <p:spPr bwMode="auto">
            <a:xfrm>
              <a:off x="9158143" y="5611137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7" name="Rectangle 305"/>
            <p:cNvSpPr>
              <a:spLocks noChangeArrowheads="1"/>
            </p:cNvSpPr>
            <p:nvPr/>
          </p:nvSpPr>
          <p:spPr bwMode="auto">
            <a:xfrm>
              <a:off x="9175276" y="5611137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8" name="Rectangle 306"/>
            <p:cNvSpPr>
              <a:spLocks noChangeArrowheads="1"/>
            </p:cNvSpPr>
            <p:nvPr/>
          </p:nvSpPr>
          <p:spPr bwMode="auto">
            <a:xfrm>
              <a:off x="9197305" y="5611137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9" name="Rectangle 307"/>
            <p:cNvSpPr>
              <a:spLocks noChangeArrowheads="1"/>
            </p:cNvSpPr>
            <p:nvPr/>
          </p:nvSpPr>
          <p:spPr bwMode="auto">
            <a:xfrm>
              <a:off x="9216887" y="5611137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0" name="Oval 308"/>
            <p:cNvSpPr>
              <a:spLocks noChangeArrowheads="1"/>
            </p:cNvSpPr>
            <p:nvPr/>
          </p:nvSpPr>
          <p:spPr bwMode="auto">
            <a:xfrm>
              <a:off x="9405353" y="5630720"/>
              <a:ext cx="22029" cy="19581"/>
            </a:xfrm>
            <a:prstGeom prst="ellipse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1" name="Rectangle 309"/>
            <p:cNvSpPr>
              <a:spLocks noChangeArrowheads="1"/>
            </p:cNvSpPr>
            <p:nvPr/>
          </p:nvSpPr>
          <p:spPr bwMode="auto">
            <a:xfrm>
              <a:off x="9104297" y="5713937"/>
              <a:ext cx="352458" cy="9056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2" name="Rectangle 310"/>
            <p:cNvSpPr>
              <a:spLocks noChangeArrowheads="1"/>
            </p:cNvSpPr>
            <p:nvPr/>
          </p:nvSpPr>
          <p:spPr bwMode="auto">
            <a:xfrm>
              <a:off x="9118982" y="5726175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3" name="Rectangle 311"/>
            <p:cNvSpPr>
              <a:spLocks noChangeArrowheads="1"/>
            </p:cNvSpPr>
            <p:nvPr/>
          </p:nvSpPr>
          <p:spPr bwMode="auto">
            <a:xfrm>
              <a:off x="9138562" y="5726175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4" name="Rectangle 312"/>
            <p:cNvSpPr>
              <a:spLocks noChangeArrowheads="1"/>
            </p:cNvSpPr>
            <p:nvPr/>
          </p:nvSpPr>
          <p:spPr bwMode="auto">
            <a:xfrm>
              <a:off x="9158143" y="5726175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5" name="Rectangle 313"/>
            <p:cNvSpPr>
              <a:spLocks noChangeArrowheads="1"/>
            </p:cNvSpPr>
            <p:nvPr/>
          </p:nvSpPr>
          <p:spPr bwMode="auto">
            <a:xfrm>
              <a:off x="9175276" y="5726175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6" name="Rectangle 314"/>
            <p:cNvSpPr>
              <a:spLocks noChangeArrowheads="1"/>
            </p:cNvSpPr>
            <p:nvPr/>
          </p:nvSpPr>
          <p:spPr bwMode="auto">
            <a:xfrm>
              <a:off x="9197305" y="5726175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7" name="Rectangle 315"/>
            <p:cNvSpPr>
              <a:spLocks noChangeArrowheads="1"/>
            </p:cNvSpPr>
            <p:nvPr/>
          </p:nvSpPr>
          <p:spPr bwMode="auto">
            <a:xfrm>
              <a:off x="9216887" y="5726175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8" name="Oval 316"/>
            <p:cNvSpPr>
              <a:spLocks noChangeArrowheads="1"/>
            </p:cNvSpPr>
            <p:nvPr/>
          </p:nvSpPr>
          <p:spPr bwMode="auto">
            <a:xfrm>
              <a:off x="9405353" y="5748204"/>
              <a:ext cx="22029" cy="19581"/>
            </a:xfrm>
            <a:prstGeom prst="ellipse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9" name="Rectangle 317"/>
            <p:cNvSpPr>
              <a:spLocks noChangeArrowheads="1"/>
            </p:cNvSpPr>
            <p:nvPr/>
          </p:nvSpPr>
          <p:spPr bwMode="auto">
            <a:xfrm>
              <a:off x="9104297" y="5828975"/>
              <a:ext cx="352458" cy="88115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0" name="Rectangle 318"/>
            <p:cNvSpPr>
              <a:spLocks noChangeArrowheads="1"/>
            </p:cNvSpPr>
            <p:nvPr/>
          </p:nvSpPr>
          <p:spPr bwMode="auto">
            <a:xfrm>
              <a:off x="9118982" y="5843661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1" name="Rectangle 319"/>
            <p:cNvSpPr>
              <a:spLocks noChangeArrowheads="1"/>
            </p:cNvSpPr>
            <p:nvPr/>
          </p:nvSpPr>
          <p:spPr bwMode="auto">
            <a:xfrm>
              <a:off x="9138562" y="5843661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2" name="Rectangle 320"/>
            <p:cNvSpPr>
              <a:spLocks noChangeArrowheads="1"/>
            </p:cNvSpPr>
            <p:nvPr/>
          </p:nvSpPr>
          <p:spPr bwMode="auto">
            <a:xfrm>
              <a:off x="9158143" y="5843661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3" name="Rectangle 321"/>
            <p:cNvSpPr>
              <a:spLocks noChangeArrowheads="1"/>
            </p:cNvSpPr>
            <p:nvPr/>
          </p:nvSpPr>
          <p:spPr bwMode="auto">
            <a:xfrm>
              <a:off x="9175276" y="5843661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4" name="Rectangle 322"/>
            <p:cNvSpPr>
              <a:spLocks noChangeArrowheads="1"/>
            </p:cNvSpPr>
            <p:nvPr/>
          </p:nvSpPr>
          <p:spPr bwMode="auto">
            <a:xfrm>
              <a:off x="9197305" y="5843661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5" name="Rectangle 323"/>
            <p:cNvSpPr>
              <a:spLocks noChangeArrowheads="1"/>
            </p:cNvSpPr>
            <p:nvPr/>
          </p:nvSpPr>
          <p:spPr bwMode="auto">
            <a:xfrm>
              <a:off x="9216887" y="5843661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6" name="Oval 324"/>
            <p:cNvSpPr>
              <a:spLocks noChangeArrowheads="1"/>
            </p:cNvSpPr>
            <p:nvPr/>
          </p:nvSpPr>
          <p:spPr bwMode="auto">
            <a:xfrm>
              <a:off x="9405353" y="5863242"/>
              <a:ext cx="22029" cy="19581"/>
            </a:xfrm>
            <a:prstGeom prst="ellipse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7" name="Rectangle 325"/>
            <p:cNvSpPr>
              <a:spLocks noChangeArrowheads="1"/>
            </p:cNvSpPr>
            <p:nvPr/>
          </p:nvSpPr>
          <p:spPr bwMode="auto">
            <a:xfrm>
              <a:off x="9033315" y="5050633"/>
              <a:ext cx="496867" cy="1035343"/>
            </a:xfrm>
            <a:prstGeom prst="rect">
              <a:avLst/>
            </a:prstGeom>
            <a:solidFill>
              <a:srgbClr val="6821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8" name="Rectangle 326"/>
            <p:cNvSpPr>
              <a:spLocks noChangeArrowheads="1"/>
            </p:cNvSpPr>
            <p:nvPr/>
          </p:nvSpPr>
          <p:spPr bwMode="auto">
            <a:xfrm>
              <a:off x="9079820" y="5102032"/>
              <a:ext cx="401410" cy="898276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9" name="Rectangle 327"/>
            <p:cNvSpPr>
              <a:spLocks noChangeArrowheads="1"/>
            </p:cNvSpPr>
            <p:nvPr/>
          </p:nvSpPr>
          <p:spPr bwMode="auto">
            <a:xfrm>
              <a:off x="9104297" y="5131405"/>
              <a:ext cx="352458" cy="9056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0" name="Rectangle 328"/>
            <p:cNvSpPr>
              <a:spLocks noChangeArrowheads="1"/>
            </p:cNvSpPr>
            <p:nvPr/>
          </p:nvSpPr>
          <p:spPr bwMode="auto">
            <a:xfrm>
              <a:off x="9118982" y="5143641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1" name="Rectangle 329"/>
            <p:cNvSpPr>
              <a:spLocks noChangeArrowheads="1"/>
            </p:cNvSpPr>
            <p:nvPr/>
          </p:nvSpPr>
          <p:spPr bwMode="auto">
            <a:xfrm>
              <a:off x="9138562" y="5143641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2" name="Rectangle 330"/>
            <p:cNvSpPr>
              <a:spLocks noChangeArrowheads="1"/>
            </p:cNvSpPr>
            <p:nvPr/>
          </p:nvSpPr>
          <p:spPr bwMode="auto">
            <a:xfrm>
              <a:off x="9158143" y="5143641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3" name="Rectangle 331"/>
            <p:cNvSpPr>
              <a:spLocks noChangeArrowheads="1"/>
            </p:cNvSpPr>
            <p:nvPr/>
          </p:nvSpPr>
          <p:spPr bwMode="auto">
            <a:xfrm>
              <a:off x="9175276" y="5143641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4" name="Rectangle 332"/>
            <p:cNvSpPr>
              <a:spLocks noChangeArrowheads="1"/>
            </p:cNvSpPr>
            <p:nvPr/>
          </p:nvSpPr>
          <p:spPr bwMode="auto">
            <a:xfrm>
              <a:off x="9197305" y="5143641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5" name="Rectangle 333"/>
            <p:cNvSpPr>
              <a:spLocks noChangeArrowheads="1"/>
            </p:cNvSpPr>
            <p:nvPr/>
          </p:nvSpPr>
          <p:spPr bwMode="auto">
            <a:xfrm>
              <a:off x="9216887" y="5143641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6" name="Oval 334"/>
            <p:cNvSpPr>
              <a:spLocks noChangeArrowheads="1"/>
            </p:cNvSpPr>
            <p:nvPr/>
          </p:nvSpPr>
          <p:spPr bwMode="auto">
            <a:xfrm>
              <a:off x="9405353" y="5165671"/>
              <a:ext cx="22029" cy="22029"/>
            </a:xfrm>
            <a:prstGeom prst="ellipse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7" name="Rectangle 335"/>
            <p:cNvSpPr>
              <a:spLocks noChangeArrowheads="1"/>
            </p:cNvSpPr>
            <p:nvPr/>
          </p:nvSpPr>
          <p:spPr bwMode="auto">
            <a:xfrm>
              <a:off x="9104297" y="5246442"/>
              <a:ext cx="352458" cy="93009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8" name="Rectangle 336"/>
            <p:cNvSpPr>
              <a:spLocks noChangeArrowheads="1"/>
            </p:cNvSpPr>
            <p:nvPr/>
          </p:nvSpPr>
          <p:spPr bwMode="auto">
            <a:xfrm>
              <a:off x="9118982" y="5261126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9" name="Rectangle 337"/>
            <p:cNvSpPr>
              <a:spLocks noChangeArrowheads="1"/>
            </p:cNvSpPr>
            <p:nvPr/>
          </p:nvSpPr>
          <p:spPr bwMode="auto">
            <a:xfrm>
              <a:off x="9138562" y="5261126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0" name="Rectangle 338"/>
            <p:cNvSpPr>
              <a:spLocks noChangeArrowheads="1"/>
            </p:cNvSpPr>
            <p:nvPr/>
          </p:nvSpPr>
          <p:spPr bwMode="auto">
            <a:xfrm>
              <a:off x="9158143" y="5261126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1" name="Rectangle 339"/>
            <p:cNvSpPr>
              <a:spLocks noChangeArrowheads="1"/>
            </p:cNvSpPr>
            <p:nvPr/>
          </p:nvSpPr>
          <p:spPr bwMode="auto">
            <a:xfrm>
              <a:off x="9175276" y="5261126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2" name="Rectangle 340"/>
            <p:cNvSpPr>
              <a:spLocks noChangeArrowheads="1"/>
            </p:cNvSpPr>
            <p:nvPr/>
          </p:nvSpPr>
          <p:spPr bwMode="auto">
            <a:xfrm>
              <a:off x="9197305" y="5261126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3" name="Rectangle 341"/>
            <p:cNvSpPr>
              <a:spLocks noChangeArrowheads="1"/>
            </p:cNvSpPr>
            <p:nvPr/>
          </p:nvSpPr>
          <p:spPr bwMode="auto">
            <a:xfrm>
              <a:off x="9216887" y="5261126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4" name="Oval 342"/>
            <p:cNvSpPr>
              <a:spLocks noChangeArrowheads="1"/>
            </p:cNvSpPr>
            <p:nvPr/>
          </p:nvSpPr>
          <p:spPr bwMode="auto">
            <a:xfrm>
              <a:off x="9405353" y="5280709"/>
              <a:ext cx="22029" cy="24475"/>
            </a:xfrm>
            <a:prstGeom prst="ellipse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5" name="Rectangle 343"/>
            <p:cNvSpPr>
              <a:spLocks noChangeArrowheads="1"/>
            </p:cNvSpPr>
            <p:nvPr/>
          </p:nvSpPr>
          <p:spPr bwMode="auto">
            <a:xfrm>
              <a:off x="9104297" y="5363927"/>
              <a:ext cx="352458" cy="93009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6" name="Rectangle 344"/>
            <p:cNvSpPr>
              <a:spLocks noChangeArrowheads="1"/>
            </p:cNvSpPr>
            <p:nvPr/>
          </p:nvSpPr>
          <p:spPr bwMode="auto">
            <a:xfrm>
              <a:off x="9118982" y="5376167"/>
              <a:ext cx="9790" cy="63637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7" name="Rectangle 345"/>
            <p:cNvSpPr>
              <a:spLocks noChangeArrowheads="1"/>
            </p:cNvSpPr>
            <p:nvPr/>
          </p:nvSpPr>
          <p:spPr bwMode="auto">
            <a:xfrm>
              <a:off x="9138562" y="5376167"/>
              <a:ext cx="9790" cy="63637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8" name="Rectangle 346"/>
            <p:cNvSpPr>
              <a:spLocks noChangeArrowheads="1"/>
            </p:cNvSpPr>
            <p:nvPr/>
          </p:nvSpPr>
          <p:spPr bwMode="auto">
            <a:xfrm>
              <a:off x="9158143" y="5376167"/>
              <a:ext cx="12238" cy="63637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9" name="Rectangle 347"/>
            <p:cNvSpPr>
              <a:spLocks noChangeArrowheads="1"/>
            </p:cNvSpPr>
            <p:nvPr/>
          </p:nvSpPr>
          <p:spPr bwMode="auto">
            <a:xfrm>
              <a:off x="9175276" y="5376167"/>
              <a:ext cx="12238" cy="63637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0" name="Rectangle 348"/>
            <p:cNvSpPr>
              <a:spLocks noChangeArrowheads="1"/>
            </p:cNvSpPr>
            <p:nvPr/>
          </p:nvSpPr>
          <p:spPr bwMode="auto">
            <a:xfrm>
              <a:off x="9197305" y="5376167"/>
              <a:ext cx="9790" cy="63637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1" name="Rectangle 349"/>
            <p:cNvSpPr>
              <a:spLocks noChangeArrowheads="1"/>
            </p:cNvSpPr>
            <p:nvPr/>
          </p:nvSpPr>
          <p:spPr bwMode="auto">
            <a:xfrm>
              <a:off x="9216887" y="5376167"/>
              <a:ext cx="9790" cy="63637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2" name="Oval 350"/>
            <p:cNvSpPr>
              <a:spLocks noChangeArrowheads="1"/>
            </p:cNvSpPr>
            <p:nvPr/>
          </p:nvSpPr>
          <p:spPr bwMode="auto">
            <a:xfrm>
              <a:off x="9405353" y="5398193"/>
              <a:ext cx="22029" cy="24475"/>
            </a:xfrm>
            <a:prstGeom prst="ellipse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3" name="Rectangle 351"/>
            <p:cNvSpPr>
              <a:spLocks noChangeArrowheads="1"/>
            </p:cNvSpPr>
            <p:nvPr/>
          </p:nvSpPr>
          <p:spPr bwMode="auto">
            <a:xfrm>
              <a:off x="9104297" y="5478965"/>
              <a:ext cx="352458" cy="93009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4" name="Rectangle 352"/>
            <p:cNvSpPr>
              <a:spLocks noChangeArrowheads="1"/>
            </p:cNvSpPr>
            <p:nvPr/>
          </p:nvSpPr>
          <p:spPr bwMode="auto">
            <a:xfrm>
              <a:off x="9118982" y="5493652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5" name="Rectangle 353"/>
            <p:cNvSpPr>
              <a:spLocks noChangeArrowheads="1"/>
            </p:cNvSpPr>
            <p:nvPr/>
          </p:nvSpPr>
          <p:spPr bwMode="auto">
            <a:xfrm>
              <a:off x="9138562" y="5493652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6" name="Rectangle 354"/>
            <p:cNvSpPr>
              <a:spLocks noChangeArrowheads="1"/>
            </p:cNvSpPr>
            <p:nvPr/>
          </p:nvSpPr>
          <p:spPr bwMode="auto">
            <a:xfrm>
              <a:off x="9158143" y="5493652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7" name="Rectangle 355"/>
            <p:cNvSpPr>
              <a:spLocks noChangeArrowheads="1"/>
            </p:cNvSpPr>
            <p:nvPr/>
          </p:nvSpPr>
          <p:spPr bwMode="auto">
            <a:xfrm>
              <a:off x="9175276" y="5493652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" name="Rectangle 356"/>
            <p:cNvSpPr>
              <a:spLocks noChangeArrowheads="1"/>
            </p:cNvSpPr>
            <p:nvPr/>
          </p:nvSpPr>
          <p:spPr bwMode="auto">
            <a:xfrm>
              <a:off x="9197305" y="5493652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" name="Rectangle 357"/>
            <p:cNvSpPr>
              <a:spLocks noChangeArrowheads="1"/>
            </p:cNvSpPr>
            <p:nvPr/>
          </p:nvSpPr>
          <p:spPr bwMode="auto">
            <a:xfrm>
              <a:off x="9216887" y="5493652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0" name="Oval 358"/>
            <p:cNvSpPr>
              <a:spLocks noChangeArrowheads="1"/>
            </p:cNvSpPr>
            <p:nvPr/>
          </p:nvSpPr>
          <p:spPr bwMode="auto">
            <a:xfrm>
              <a:off x="9405353" y="5513234"/>
              <a:ext cx="22029" cy="22029"/>
            </a:xfrm>
            <a:prstGeom prst="ellipse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1" name="Rectangle 359"/>
            <p:cNvSpPr>
              <a:spLocks noChangeArrowheads="1"/>
            </p:cNvSpPr>
            <p:nvPr/>
          </p:nvSpPr>
          <p:spPr bwMode="auto">
            <a:xfrm>
              <a:off x="9104297" y="5596451"/>
              <a:ext cx="352458" cy="93009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2" name="Rectangle 360"/>
            <p:cNvSpPr>
              <a:spLocks noChangeArrowheads="1"/>
            </p:cNvSpPr>
            <p:nvPr/>
          </p:nvSpPr>
          <p:spPr bwMode="auto">
            <a:xfrm>
              <a:off x="9118982" y="5611137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" name="Rectangle 361"/>
            <p:cNvSpPr>
              <a:spLocks noChangeArrowheads="1"/>
            </p:cNvSpPr>
            <p:nvPr/>
          </p:nvSpPr>
          <p:spPr bwMode="auto">
            <a:xfrm>
              <a:off x="9138562" y="5611137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4" name="Rectangle 362"/>
            <p:cNvSpPr>
              <a:spLocks noChangeArrowheads="1"/>
            </p:cNvSpPr>
            <p:nvPr/>
          </p:nvSpPr>
          <p:spPr bwMode="auto">
            <a:xfrm>
              <a:off x="9158143" y="5611137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5" name="Rectangle 363"/>
            <p:cNvSpPr>
              <a:spLocks noChangeArrowheads="1"/>
            </p:cNvSpPr>
            <p:nvPr/>
          </p:nvSpPr>
          <p:spPr bwMode="auto">
            <a:xfrm>
              <a:off x="9175276" y="5611137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6" name="Rectangle 364"/>
            <p:cNvSpPr>
              <a:spLocks noChangeArrowheads="1"/>
            </p:cNvSpPr>
            <p:nvPr/>
          </p:nvSpPr>
          <p:spPr bwMode="auto">
            <a:xfrm>
              <a:off x="9197305" y="5611137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7" name="Rectangle 365"/>
            <p:cNvSpPr>
              <a:spLocks noChangeArrowheads="1"/>
            </p:cNvSpPr>
            <p:nvPr/>
          </p:nvSpPr>
          <p:spPr bwMode="auto">
            <a:xfrm>
              <a:off x="9216887" y="5611137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8" name="Oval 366"/>
            <p:cNvSpPr>
              <a:spLocks noChangeArrowheads="1"/>
            </p:cNvSpPr>
            <p:nvPr/>
          </p:nvSpPr>
          <p:spPr bwMode="auto">
            <a:xfrm>
              <a:off x="9405353" y="5630720"/>
              <a:ext cx="22029" cy="19581"/>
            </a:xfrm>
            <a:prstGeom prst="ellipse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" name="Rectangle 367"/>
            <p:cNvSpPr>
              <a:spLocks noChangeArrowheads="1"/>
            </p:cNvSpPr>
            <p:nvPr/>
          </p:nvSpPr>
          <p:spPr bwMode="auto">
            <a:xfrm>
              <a:off x="9104297" y="5713937"/>
              <a:ext cx="352458" cy="9056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" name="Rectangle 368"/>
            <p:cNvSpPr>
              <a:spLocks noChangeArrowheads="1"/>
            </p:cNvSpPr>
            <p:nvPr/>
          </p:nvSpPr>
          <p:spPr bwMode="auto">
            <a:xfrm>
              <a:off x="9118982" y="5726175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" name="Rectangle 369"/>
            <p:cNvSpPr>
              <a:spLocks noChangeArrowheads="1"/>
            </p:cNvSpPr>
            <p:nvPr/>
          </p:nvSpPr>
          <p:spPr bwMode="auto">
            <a:xfrm>
              <a:off x="9138562" y="5726175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2" name="Rectangle 370"/>
            <p:cNvSpPr>
              <a:spLocks noChangeArrowheads="1"/>
            </p:cNvSpPr>
            <p:nvPr/>
          </p:nvSpPr>
          <p:spPr bwMode="auto">
            <a:xfrm>
              <a:off x="9158143" y="5726175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3" name="Rectangle 371"/>
            <p:cNvSpPr>
              <a:spLocks noChangeArrowheads="1"/>
            </p:cNvSpPr>
            <p:nvPr/>
          </p:nvSpPr>
          <p:spPr bwMode="auto">
            <a:xfrm>
              <a:off x="9175276" y="5726175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4" name="Rectangle 372"/>
            <p:cNvSpPr>
              <a:spLocks noChangeArrowheads="1"/>
            </p:cNvSpPr>
            <p:nvPr/>
          </p:nvSpPr>
          <p:spPr bwMode="auto">
            <a:xfrm>
              <a:off x="9197305" y="5726175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5" name="Rectangle 373"/>
            <p:cNvSpPr>
              <a:spLocks noChangeArrowheads="1"/>
            </p:cNvSpPr>
            <p:nvPr/>
          </p:nvSpPr>
          <p:spPr bwMode="auto">
            <a:xfrm>
              <a:off x="9216887" y="5726175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6" name="Oval 374"/>
            <p:cNvSpPr>
              <a:spLocks noChangeArrowheads="1"/>
            </p:cNvSpPr>
            <p:nvPr/>
          </p:nvSpPr>
          <p:spPr bwMode="auto">
            <a:xfrm>
              <a:off x="9405353" y="5748204"/>
              <a:ext cx="22029" cy="19581"/>
            </a:xfrm>
            <a:prstGeom prst="ellipse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7" name="Rectangle 375"/>
            <p:cNvSpPr>
              <a:spLocks noChangeArrowheads="1"/>
            </p:cNvSpPr>
            <p:nvPr/>
          </p:nvSpPr>
          <p:spPr bwMode="auto">
            <a:xfrm>
              <a:off x="9104297" y="5828975"/>
              <a:ext cx="352458" cy="88115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8" name="Rectangle 376"/>
            <p:cNvSpPr>
              <a:spLocks noChangeArrowheads="1"/>
            </p:cNvSpPr>
            <p:nvPr/>
          </p:nvSpPr>
          <p:spPr bwMode="auto">
            <a:xfrm>
              <a:off x="9118982" y="5843661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9" name="Rectangle 377"/>
            <p:cNvSpPr>
              <a:spLocks noChangeArrowheads="1"/>
            </p:cNvSpPr>
            <p:nvPr/>
          </p:nvSpPr>
          <p:spPr bwMode="auto">
            <a:xfrm>
              <a:off x="9138562" y="5843661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0" name="Rectangle 378"/>
            <p:cNvSpPr>
              <a:spLocks noChangeArrowheads="1"/>
            </p:cNvSpPr>
            <p:nvPr/>
          </p:nvSpPr>
          <p:spPr bwMode="auto">
            <a:xfrm>
              <a:off x="9158143" y="5843661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1" name="Rectangle 379"/>
            <p:cNvSpPr>
              <a:spLocks noChangeArrowheads="1"/>
            </p:cNvSpPr>
            <p:nvPr/>
          </p:nvSpPr>
          <p:spPr bwMode="auto">
            <a:xfrm>
              <a:off x="9175276" y="5843661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2" name="Rectangle 380"/>
            <p:cNvSpPr>
              <a:spLocks noChangeArrowheads="1"/>
            </p:cNvSpPr>
            <p:nvPr/>
          </p:nvSpPr>
          <p:spPr bwMode="auto">
            <a:xfrm>
              <a:off x="9197305" y="5843661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3" name="Rectangle 381"/>
            <p:cNvSpPr>
              <a:spLocks noChangeArrowheads="1"/>
            </p:cNvSpPr>
            <p:nvPr/>
          </p:nvSpPr>
          <p:spPr bwMode="auto">
            <a:xfrm>
              <a:off x="9216887" y="5843661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4" name="Oval 382"/>
            <p:cNvSpPr>
              <a:spLocks noChangeArrowheads="1"/>
            </p:cNvSpPr>
            <p:nvPr/>
          </p:nvSpPr>
          <p:spPr bwMode="auto">
            <a:xfrm>
              <a:off x="9405353" y="5863242"/>
              <a:ext cx="22029" cy="19581"/>
            </a:xfrm>
            <a:prstGeom prst="ellipse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5" name="Rectangle 383"/>
            <p:cNvSpPr>
              <a:spLocks noChangeArrowheads="1"/>
            </p:cNvSpPr>
            <p:nvPr/>
          </p:nvSpPr>
          <p:spPr bwMode="auto">
            <a:xfrm>
              <a:off x="9591372" y="5050633"/>
              <a:ext cx="494419" cy="1035343"/>
            </a:xfrm>
            <a:prstGeom prst="rect">
              <a:avLst/>
            </a:prstGeom>
            <a:solidFill>
              <a:srgbClr val="6821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6" name="Rectangle 384"/>
            <p:cNvSpPr>
              <a:spLocks noChangeArrowheads="1"/>
            </p:cNvSpPr>
            <p:nvPr/>
          </p:nvSpPr>
          <p:spPr bwMode="auto">
            <a:xfrm>
              <a:off x="9635429" y="5102032"/>
              <a:ext cx="401410" cy="898276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7" name="Rectangle 385"/>
            <p:cNvSpPr>
              <a:spLocks noChangeArrowheads="1"/>
            </p:cNvSpPr>
            <p:nvPr/>
          </p:nvSpPr>
          <p:spPr bwMode="auto">
            <a:xfrm>
              <a:off x="9659906" y="5131405"/>
              <a:ext cx="357352" cy="9056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8" name="Rectangle 386"/>
            <p:cNvSpPr>
              <a:spLocks noChangeArrowheads="1"/>
            </p:cNvSpPr>
            <p:nvPr/>
          </p:nvSpPr>
          <p:spPr bwMode="auto">
            <a:xfrm>
              <a:off x="9672143" y="5143641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9" name="Rectangle 387"/>
            <p:cNvSpPr>
              <a:spLocks noChangeArrowheads="1"/>
            </p:cNvSpPr>
            <p:nvPr/>
          </p:nvSpPr>
          <p:spPr bwMode="auto">
            <a:xfrm>
              <a:off x="9694171" y="5143641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0" name="Rectangle 388"/>
            <p:cNvSpPr>
              <a:spLocks noChangeArrowheads="1"/>
            </p:cNvSpPr>
            <p:nvPr/>
          </p:nvSpPr>
          <p:spPr bwMode="auto">
            <a:xfrm>
              <a:off x="9713752" y="5143641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1" name="Rectangle 389"/>
            <p:cNvSpPr>
              <a:spLocks noChangeArrowheads="1"/>
            </p:cNvSpPr>
            <p:nvPr/>
          </p:nvSpPr>
          <p:spPr bwMode="auto">
            <a:xfrm>
              <a:off x="9735781" y="5143641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2" name="Rectangle 390"/>
            <p:cNvSpPr>
              <a:spLocks noChangeArrowheads="1"/>
            </p:cNvSpPr>
            <p:nvPr/>
          </p:nvSpPr>
          <p:spPr bwMode="auto">
            <a:xfrm>
              <a:off x="9755363" y="5143641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3" name="Rectangle 391"/>
            <p:cNvSpPr>
              <a:spLocks noChangeArrowheads="1"/>
            </p:cNvSpPr>
            <p:nvPr/>
          </p:nvSpPr>
          <p:spPr bwMode="auto">
            <a:xfrm>
              <a:off x="9777392" y="5143641"/>
              <a:ext cx="4895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4" name="Oval 392"/>
            <p:cNvSpPr>
              <a:spLocks noChangeArrowheads="1"/>
            </p:cNvSpPr>
            <p:nvPr/>
          </p:nvSpPr>
          <p:spPr bwMode="auto">
            <a:xfrm>
              <a:off x="9960962" y="5165671"/>
              <a:ext cx="24475" cy="22029"/>
            </a:xfrm>
            <a:prstGeom prst="ellipse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5" name="Rectangle 393"/>
            <p:cNvSpPr>
              <a:spLocks noChangeArrowheads="1"/>
            </p:cNvSpPr>
            <p:nvPr/>
          </p:nvSpPr>
          <p:spPr bwMode="auto">
            <a:xfrm>
              <a:off x="9659906" y="5246442"/>
              <a:ext cx="357352" cy="93009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6" name="Rectangle 394"/>
            <p:cNvSpPr>
              <a:spLocks noChangeArrowheads="1"/>
            </p:cNvSpPr>
            <p:nvPr/>
          </p:nvSpPr>
          <p:spPr bwMode="auto">
            <a:xfrm>
              <a:off x="9672143" y="5261126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7" name="Rectangle 395"/>
            <p:cNvSpPr>
              <a:spLocks noChangeArrowheads="1"/>
            </p:cNvSpPr>
            <p:nvPr/>
          </p:nvSpPr>
          <p:spPr bwMode="auto">
            <a:xfrm>
              <a:off x="9694171" y="5261126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8" name="Rectangle 396"/>
            <p:cNvSpPr>
              <a:spLocks noChangeArrowheads="1"/>
            </p:cNvSpPr>
            <p:nvPr/>
          </p:nvSpPr>
          <p:spPr bwMode="auto">
            <a:xfrm>
              <a:off x="9713752" y="5261126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9" name="Rectangle 397"/>
            <p:cNvSpPr>
              <a:spLocks noChangeArrowheads="1"/>
            </p:cNvSpPr>
            <p:nvPr/>
          </p:nvSpPr>
          <p:spPr bwMode="auto">
            <a:xfrm>
              <a:off x="9735781" y="5261126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0" name="Rectangle 398"/>
            <p:cNvSpPr>
              <a:spLocks noChangeArrowheads="1"/>
            </p:cNvSpPr>
            <p:nvPr/>
          </p:nvSpPr>
          <p:spPr bwMode="auto">
            <a:xfrm>
              <a:off x="9755363" y="5261126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1" name="Rectangle 399"/>
            <p:cNvSpPr>
              <a:spLocks noChangeArrowheads="1"/>
            </p:cNvSpPr>
            <p:nvPr/>
          </p:nvSpPr>
          <p:spPr bwMode="auto">
            <a:xfrm>
              <a:off x="9777392" y="5261126"/>
              <a:ext cx="4895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2" name="Oval 400"/>
            <p:cNvSpPr>
              <a:spLocks noChangeArrowheads="1"/>
            </p:cNvSpPr>
            <p:nvPr/>
          </p:nvSpPr>
          <p:spPr bwMode="auto">
            <a:xfrm>
              <a:off x="9960962" y="5280709"/>
              <a:ext cx="24475" cy="24475"/>
            </a:xfrm>
            <a:prstGeom prst="ellipse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3" name="Rectangle 401"/>
            <p:cNvSpPr>
              <a:spLocks noChangeArrowheads="1"/>
            </p:cNvSpPr>
            <p:nvPr/>
          </p:nvSpPr>
          <p:spPr bwMode="auto">
            <a:xfrm>
              <a:off x="9659906" y="5363927"/>
              <a:ext cx="357352" cy="93009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4" name="Rectangle 402"/>
            <p:cNvSpPr>
              <a:spLocks noChangeArrowheads="1"/>
            </p:cNvSpPr>
            <p:nvPr/>
          </p:nvSpPr>
          <p:spPr bwMode="auto">
            <a:xfrm>
              <a:off x="9672143" y="5376167"/>
              <a:ext cx="12238" cy="63637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5" name="Rectangle 403"/>
            <p:cNvSpPr>
              <a:spLocks noChangeArrowheads="1"/>
            </p:cNvSpPr>
            <p:nvPr/>
          </p:nvSpPr>
          <p:spPr bwMode="auto">
            <a:xfrm>
              <a:off x="9694171" y="5376167"/>
              <a:ext cx="9790" cy="63637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6" name="Rectangle 404"/>
            <p:cNvSpPr>
              <a:spLocks noChangeArrowheads="1"/>
            </p:cNvSpPr>
            <p:nvPr/>
          </p:nvSpPr>
          <p:spPr bwMode="auto">
            <a:xfrm>
              <a:off x="9713752" y="5376167"/>
              <a:ext cx="12238" cy="63637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7" name="Rectangle 405"/>
            <p:cNvSpPr>
              <a:spLocks noChangeArrowheads="1"/>
            </p:cNvSpPr>
            <p:nvPr/>
          </p:nvSpPr>
          <p:spPr bwMode="auto">
            <a:xfrm>
              <a:off x="9735781" y="5376167"/>
              <a:ext cx="9790" cy="63637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8" name="Rectangle 406"/>
            <p:cNvSpPr>
              <a:spLocks noChangeArrowheads="1"/>
            </p:cNvSpPr>
            <p:nvPr/>
          </p:nvSpPr>
          <p:spPr bwMode="auto">
            <a:xfrm>
              <a:off x="9755363" y="5376167"/>
              <a:ext cx="9790" cy="63637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9" name="Rectangle 407"/>
            <p:cNvSpPr>
              <a:spLocks noChangeArrowheads="1"/>
            </p:cNvSpPr>
            <p:nvPr/>
          </p:nvSpPr>
          <p:spPr bwMode="auto">
            <a:xfrm>
              <a:off x="9777392" y="5376167"/>
              <a:ext cx="4895" cy="63637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0" name="Oval 408"/>
            <p:cNvSpPr>
              <a:spLocks noChangeArrowheads="1"/>
            </p:cNvSpPr>
            <p:nvPr/>
          </p:nvSpPr>
          <p:spPr bwMode="auto">
            <a:xfrm>
              <a:off x="9960962" y="5398193"/>
              <a:ext cx="24475" cy="24475"/>
            </a:xfrm>
            <a:prstGeom prst="ellipse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1" name="Rectangle 409"/>
            <p:cNvSpPr>
              <a:spLocks noChangeArrowheads="1"/>
            </p:cNvSpPr>
            <p:nvPr/>
          </p:nvSpPr>
          <p:spPr bwMode="auto">
            <a:xfrm>
              <a:off x="9659906" y="5478965"/>
              <a:ext cx="357352" cy="93009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2" name="Rectangle 410"/>
            <p:cNvSpPr>
              <a:spLocks noChangeArrowheads="1"/>
            </p:cNvSpPr>
            <p:nvPr/>
          </p:nvSpPr>
          <p:spPr bwMode="auto">
            <a:xfrm>
              <a:off x="9672143" y="5493652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3" name="Rectangle 411"/>
            <p:cNvSpPr>
              <a:spLocks noChangeArrowheads="1"/>
            </p:cNvSpPr>
            <p:nvPr/>
          </p:nvSpPr>
          <p:spPr bwMode="auto">
            <a:xfrm>
              <a:off x="9694171" y="5493652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4" name="Rectangle 412"/>
            <p:cNvSpPr>
              <a:spLocks noChangeArrowheads="1"/>
            </p:cNvSpPr>
            <p:nvPr/>
          </p:nvSpPr>
          <p:spPr bwMode="auto">
            <a:xfrm>
              <a:off x="9713752" y="5493652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5" name="Rectangle 413"/>
            <p:cNvSpPr>
              <a:spLocks noChangeArrowheads="1"/>
            </p:cNvSpPr>
            <p:nvPr/>
          </p:nvSpPr>
          <p:spPr bwMode="auto">
            <a:xfrm>
              <a:off x="9735781" y="5493652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6" name="Rectangle 414"/>
            <p:cNvSpPr>
              <a:spLocks noChangeArrowheads="1"/>
            </p:cNvSpPr>
            <p:nvPr/>
          </p:nvSpPr>
          <p:spPr bwMode="auto">
            <a:xfrm>
              <a:off x="9755363" y="5493652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7" name="Rectangle 415"/>
            <p:cNvSpPr>
              <a:spLocks noChangeArrowheads="1"/>
            </p:cNvSpPr>
            <p:nvPr/>
          </p:nvSpPr>
          <p:spPr bwMode="auto">
            <a:xfrm>
              <a:off x="9777392" y="5493652"/>
              <a:ext cx="4895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8" name="Oval 416"/>
            <p:cNvSpPr>
              <a:spLocks noChangeArrowheads="1"/>
            </p:cNvSpPr>
            <p:nvPr/>
          </p:nvSpPr>
          <p:spPr bwMode="auto">
            <a:xfrm>
              <a:off x="9960962" y="5513234"/>
              <a:ext cx="24475" cy="22029"/>
            </a:xfrm>
            <a:prstGeom prst="ellipse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9" name="Rectangle 417"/>
            <p:cNvSpPr>
              <a:spLocks noChangeArrowheads="1"/>
            </p:cNvSpPr>
            <p:nvPr/>
          </p:nvSpPr>
          <p:spPr bwMode="auto">
            <a:xfrm>
              <a:off x="9659906" y="5596451"/>
              <a:ext cx="357352" cy="93009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0" name="Rectangle 418"/>
            <p:cNvSpPr>
              <a:spLocks noChangeArrowheads="1"/>
            </p:cNvSpPr>
            <p:nvPr/>
          </p:nvSpPr>
          <p:spPr bwMode="auto">
            <a:xfrm>
              <a:off x="9672143" y="5611137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1" name="Rectangle 419"/>
            <p:cNvSpPr>
              <a:spLocks noChangeArrowheads="1"/>
            </p:cNvSpPr>
            <p:nvPr/>
          </p:nvSpPr>
          <p:spPr bwMode="auto">
            <a:xfrm>
              <a:off x="9694171" y="5611137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2" name="Rectangle 420"/>
            <p:cNvSpPr>
              <a:spLocks noChangeArrowheads="1"/>
            </p:cNvSpPr>
            <p:nvPr/>
          </p:nvSpPr>
          <p:spPr bwMode="auto">
            <a:xfrm>
              <a:off x="9713752" y="5611137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3" name="Rectangle 421"/>
            <p:cNvSpPr>
              <a:spLocks noChangeArrowheads="1"/>
            </p:cNvSpPr>
            <p:nvPr/>
          </p:nvSpPr>
          <p:spPr bwMode="auto">
            <a:xfrm>
              <a:off x="9735781" y="5611137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4" name="Rectangle 422"/>
            <p:cNvSpPr>
              <a:spLocks noChangeArrowheads="1"/>
            </p:cNvSpPr>
            <p:nvPr/>
          </p:nvSpPr>
          <p:spPr bwMode="auto">
            <a:xfrm>
              <a:off x="9755363" y="5611137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5" name="Rectangle 423"/>
            <p:cNvSpPr>
              <a:spLocks noChangeArrowheads="1"/>
            </p:cNvSpPr>
            <p:nvPr/>
          </p:nvSpPr>
          <p:spPr bwMode="auto">
            <a:xfrm>
              <a:off x="9777392" y="5611137"/>
              <a:ext cx="4895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6" name="Oval 424"/>
            <p:cNvSpPr>
              <a:spLocks noChangeArrowheads="1"/>
            </p:cNvSpPr>
            <p:nvPr/>
          </p:nvSpPr>
          <p:spPr bwMode="auto">
            <a:xfrm>
              <a:off x="9960962" y="5630720"/>
              <a:ext cx="24475" cy="19581"/>
            </a:xfrm>
            <a:prstGeom prst="ellipse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7" name="Rectangle 425"/>
            <p:cNvSpPr>
              <a:spLocks noChangeArrowheads="1"/>
            </p:cNvSpPr>
            <p:nvPr/>
          </p:nvSpPr>
          <p:spPr bwMode="auto">
            <a:xfrm>
              <a:off x="9659906" y="5713937"/>
              <a:ext cx="357352" cy="9056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8" name="Rectangle 426"/>
            <p:cNvSpPr>
              <a:spLocks noChangeArrowheads="1"/>
            </p:cNvSpPr>
            <p:nvPr/>
          </p:nvSpPr>
          <p:spPr bwMode="auto">
            <a:xfrm>
              <a:off x="9672143" y="5726175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9" name="Rectangle 427"/>
            <p:cNvSpPr>
              <a:spLocks noChangeArrowheads="1"/>
            </p:cNvSpPr>
            <p:nvPr/>
          </p:nvSpPr>
          <p:spPr bwMode="auto">
            <a:xfrm>
              <a:off x="9694171" y="5726175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0" name="Rectangle 428"/>
            <p:cNvSpPr>
              <a:spLocks noChangeArrowheads="1"/>
            </p:cNvSpPr>
            <p:nvPr/>
          </p:nvSpPr>
          <p:spPr bwMode="auto">
            <a:xfrm>
              <a:off x="9713752" y="5726175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1" name="Rectangle 429"/>
            <p:cNvSpPr>
              <a:spLocks noChangeArrowheads="1"/>
            </p:cNvSpPr>
            <p:nvPr/>
          </p:nvSpPr>
          <p:spPr bwMode="auto">
            <a:xfrm>
              <a:off x="9735781" y="5726175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2" name="Rectangle 430"/>
            <p:cNvSpPr>
              <a:spLocks noChangeArrowheads="1"/>
            </p:cNvSpPr>
            <p:nvPr/>
          </p:nvSpPr>
          <p:spPr bwMode="auto">
            <a:xfrm>
              <a:off x="9755363" y="5726175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3" name="Rectangle 431"/>
            <p:cNvSpPr>
              <a:spLocks noChangeArrowheads="1"/>
            </p:cNvSpPr>
            <p:nvPr/>
          </p:nvSpPr>
          <p:spPr bwMode="auto">
            <a:xfrm>
              <a:off x="9777392" y="5726175"/>
              <a:ext cx="4895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4" name="Oval 433"/>
            <p:cNvSpPr>
              <a:spLocks noChangeArrowheads="1"/>
            </p:cNvSpPr>
            <p:nvPr/>
          </p:nvSpPr>
          <p:spPr bwMode="auto">
            <a:xfrm>
              <a:off x="9960962" y="5748204"/>
              <a:ext cx="24475" cy="19581"/>
            </a:xfrm>
            <a:prstGeom prst="ellipse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5" name="Rectangle 434"/>
            <p:cNvSpPr>
              <a:spLocks noChangeArrowheads="1"/>
            </p:cNvSpPr>
            <p:nvPr/>
          </p:nvSpPr>
          <p:spPr bwMode="auto">
            <a:xfrm>
              <a:off x="9659906" y="5828975"/>
              <a:ext cx="357352" cy="88115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6" name="Rectangle 435"/>
            <p:cNvSpPr>
              <a:spLocks noChangeArrowheads="1"/>
            </p:cNvSpPr>
            <p:nvPr/>
          </p:nvSpPr>
          <p:spPr bwMode="auto">
            <a:xfrm>
              <a:off x="9672144" y="5843661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7" name="Rectangle 436"/>
            <p:cNvSpPr>
              <a:spLocks noChangeArrowheads="1"/>
            </p:cNvSpPr>
            <p:nvPr/>
          </p:nvSpPr>
          <p:spPr bwMode="auto">
            <a:xfrm>
              <a:off x="9694171" y="5843661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8" name="Rectangle 437"/>
            <p:cNvSpPr>
              <a:spLocks noChangeArrowheads="1"/>
            </p:cNvSpPr>
            <p:nvPr/>
          </p:nvSpPr>
          <p:spPr bwMode="auto">
            <a:xfrm>
              <a:off x="9713752" y="5843661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9" name="Rectangle 438"/>
            <p:cNvSpPr>
              <a:spLocks noChangeArrowheads="1"/>
            </p:cNvSpPr>
            <p:nvPr/>
          </p:nvSpPr>
          <p:spPr bwMode="auto">
            <a:xfrm>
              <a:off x="9735781" y="5843661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0" name="Rectangle 439"/>
            <p:cNvSpPr>
              <a:spLocks noChangeArrowheads="1"/>
            </p:cNvSpPr>
            <p:nvPr/>
          </p:nvSpPr>
          <p:spPr bwMode="auto">
            <a:xfrm>
              <a:off x="9755363" y="5843661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1" name="Rectangle 440"/>
            <p:cNvSpPr>
              <a:spLocks noChangeArrowheads="1"/>
            </p:cNvSpPr>
            <p:nvPr/>
          </p:nvSpPr>
          <p:spPr bwMode="auto">
            <a:xfrm>
              <a:off x="9777392" y="5843661"/>
              <a:ext cx="4895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2" name="Oval 441"/>
            <p:cNvSpPr>
              <a:spLocks noChangeArrowheads="1"/>
            </p:cNvSpPr>
            <p:nvPr/>
          </p:nvSpPr>
          <p:spPr bwMode="auto">
            <a:xfrm>
              <a:off x="9960962" y="5863242"/>
              <a:ext cx="24475" cy="19581"/>
            </a:xfrm>
            <a:prstGeom prst="ellipse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3" name="Rectangle 442"/>
            <p:cNvSpPr>
              <a:spLocks noChangeArrowheads="1"/>
            </p:cNvSpPr>
            <p:nvPr/>
          </p:nvSpPr>
          <p:spPr bwMode="auto">
            <a:xfrm>
              <a:off x="9591372" y="5050633"/>
              <a:ext cx="494419" cy="1035343"/>
            </a:xfrm>
            <a:prstGeom prst="rect">
              <a:avLst/>
            </a:prstGeom>
            <a:solidFill>
              <a:srgbClr val="6821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4" name="Rectangle 443"/>
            <p:cNvSpPr>
              <a:spLocks noChangeArrowheads="1"/>
            </p:cNvSpPr>
            <p:nvPr/>
          </p:nvSpPr>
          <p:spPr bwMode="auto">
            <a:xfrm>
              <a:off x="9635429" y="5102032"/>
              <a:ext cx="401410" cy="898276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5" name="Rectangle 444"/>
            <p:cNvSpPr>
              <a:spLocks noChangeArrowheads="1"/>
            </p:cNvSpPr>
            <p:nvPr/>
          </p:nvSpPr>
          <p:spPr bwMode="auto">
            <a:xfrm>
              <a:off x="9659906" y="5131405"/>
              <a:ext cx="357352" cy="9056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6" name="Rectangle 445"/>
            <p:cNvSpPr>
              <a:spLocks noChangeArrowheads="1"/>
            </p:cNvSpPr>
            <p:nvPr/>
          </p:nvSpPr>
          <p:spPr bwMode="auto">
            <a:xfrm>
              <a:off x="9672144" y="5143641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7" name="Rectangle 446"/>
            <p:cNvSpPr>
              <a:spLocks noChangeArrowheads="1"/>
            </p:cNvSpPr>
            <p:nvPr/>
          </p:nvSpPr>
          <p:spPr bwMode="auto">
            <a:xfrm>
              <a:off x="9694171" y="5143641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8" name="Rectangle 447"/>
            <p:cNvSpPr>
              <a:spLocks noChangeArrowheads="1"/>
            </p:cNvSpPr>
            <p:nvPr/>
          </p:nvSpPr>
          <p:spPr bwMode="auto">
            <a:xfrm>
              <a:off x="9713752" y="5143641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9" name="Rectangle 448"/>
            <p:cNvSpPr>
              <a:spLocks noChangeArrowheads="1"/>
            </p:cNvSpPr>
            <p:nvPr/>
          </p:nvSpPr>
          <p:spPr bwMode="auto">
            <a:xfrm>
              <a:off x="9735781" y="5143641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0" name="Rectangle 449"/>
            <p:cNvSpPr>
              <a:spLocks noChangeArrowheads="1"/>
            </p:cNvSpPr>
            <p:nvPr/>
          </p:nvSpPr>
          <p:spPr bwMode="auto">
            <a:xfrm>
              <a:off x="9755363" y="5143641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" name="Rectangle 450"/>
            <p:cNvSpPr>
              <a:spLocks noChangeArrowheads="1"/>
            </p:cNvSpPr>
            <p:nvPr/>
          </p:nvSpPr>
          <p:spPr bwMode="auto">
            <a:xfrm>
              <a:off x="9777392" y="5143641"/>
              <a:ext cx="4895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" name="Oval 451"/>
            <p:cNvSpPr>
              <a:spLocks noChangeArrowheads="1"/>
            </p:cNvSpPr>
            <p:nvPr/>
          </p:nvSpPr>
          <p:spPr bwMode="auto">
            <a:xfrm>
              <a:off x="9960962" y="5165671"/>
              <a:ext cx="24475" cy="22029"/>
            </a:xfrm>
            <a:prstGeom prst="ellipse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" name="Rectangle 452"/>
            <p:cNvSpPr>
              <a:spLocks noChangeArrowheads="1"/>
            </p:cNvSpPr>
            <p:nvPr/>
          </p:nvSpPr>
          <p:spPr bwMode="auto">
            <a:xfrm>
              <a:off x="9659906" y="5246442"/>
              <a:ext cx="357352" cy="93009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" name="Rectangle 453"/>
            <p:cNvSpPr>
              <a:spLocks noChangeArrowheads="1"/>
            </p:cNvSpPr>
            <p:nvPr/>
          </p:nvSpPr>
          <p:spPr bwMode="auto">
            <a:xfrm>
              <a:off x="9672144" y="5261126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" name="Rectangle 454"/>
            <p:cNvSpPr>
              <a:spLocks noChangeArrowheads="1"/>
            </p:cNvSpPr>
            <p:nvPr/>
          </p:nvSpPr>
          <p:spPr bwMode="auto">
            <a:xfrm>
              <a:off x="9694171" y="5261126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6" name="Rectangle 455"/>
            <p:cNvSpPr>
              <a:spLocks noChangeArrowheads="1"/>
            </p:cNvSpPr>
            <p:nvPr/>
          </p:nvSpPr>
          <p:spPr bwMode="auto">
            <a:xfrm>
              <a:off x="9713752" y="5261126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7" name="Rectangle 456"/>
            <p:cNvSpPr>
              <a:spLocks noChangeArrowheads="1"/>
            </p:cNvSpPr>
            <p:nvPr/>
          </p:nvSpPr>
          <p:spPr bwMode="auto">
            <a:xfrm>
              <a:off x="9735781" y="5261126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8" name="Rectangle 457"/>
            <p:cNvSpPr>
              <a:spLocks noChangeArrowheads="1"/>
            </p:cNvSpPr>
            <p:nvPr/>
          </p:nvSpPr>
          <p:spPr bwMode="auto">
            <a:xfrm>
              <a:off x="9755363" y="5261126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9" name="Rectangle 458"/>
            <p:cNvSpPr>
              <a:spLocks noChangeArrowheads="1"/>
            </p:cNvSpPr>
            <p:nvPr/>
          </p:nvSpPr>
          <p:spPr bwMode="auto">
            <a:xfrm>
              <a:off x="9777392" y="5261126"/>
              <a:ext cx="4895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0" name="Oval 459"/>
            <p:cNvSpPr>
              <a:spLocks noChangeArrowheads="1"/>
            </p:cNvSpPr>
            <p:nvPr/>
          </p:nvSpPr>
          <p:spPr bwMode="auto">
            <a:xfrm>
              <a:off x="9960962" y="5280709"/>
              <a:ext cx="24475" cy="24475"/>
            </a:xfrm>
            <a:prstGeom prst="ellipse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" name="Rectangle 460"/>
            <p:cNvSpPr>
              <a:spLocks noChangeArrowheads="1"/>
            </p:cNvSpPr>
            <p:nvPr/>
          </p:nvSpPr>
          <p:spPr bwMode="auto">
            <a:xfrm>
              <a:off x="9659906" y="5363927"/>
              <a:ext cx="357352" cy="93009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" name="Rectangle 461"/>
            <p:cNvSpPr>
              <a:spLocks noChangeArrowheads="1"/>
            </p:cNvSpPr>
            <p:nvPr/>
          </p:nvSpPr>
          <p:spPr bwMode="auto">
            <a:xfrm>
              <a:off x="9672144" y="5376167"/>
              <a:ext cx="12238" cy="63637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" name="Rectangle 462"/>
            <p:cNvSpPr>
              <a:spLocks noChangeArrowheads="1"/>
            </p:cNvSpPr>
            <p:nvPr/>
          </p:nvSpPr>
          <p:spPr bwMode="auto">
            <a:xfrm>
              <a:off x="9694171" y="5376167"/>
              <a:ext cx="9790" cy="63637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4" name="Rectangle 463"/>
            <p:cNvSpPr>
              <a:spLocks noChangeArrowheads="1"/>
            </p:cNvSpPr>
            <p:nvPr/>
          </p:nvSpPr>
          <p:spPr bwMode="auto">
            <a:xfrm>
              <a:off x="9713752" y="5376167"/>
              <a:ext cx="12238" cy="63637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5" name="Rectangle 464"/>
            <p:cNvSpPr>
              <a:spLocks noChangeArrowheads="1"/>
            </p:cNvSpPr>
            <p:nvPr/>
          </p:nvSpPr>
          <p:spPr bwMode="auto">
            <a:xfrm>
              <a:off x="9735781" y="5376167"/>
              <a:ext cx="9790" cy="63637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6" name="Rectangle 465"/>
            <p:cNvSpPr>
              <a:spLocks noChangeArrowheads="1"/>
            </p:cNvSpPr>
            <p:nvPr/>
          </p:nvSpPr>
          <p:spPr bwMode="auto">
            <a:xfrm>
              <a:off x="9755363" y="5376167"/>
              <a:ext cx="9790" cy="63637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7" name="Rectangle 466"/>
            <p:cNvSpPr>
              <a:spLocks noChangeArrowheads="1"/>
            </p:cNvSpPr>
            <p:nvPr/>
          </p:nvSpPr>
          <p:spPr bwMode="auto">
            <a:xfrm>
              <a:off x="9777392" y="5376167"/>
              <a:ext cx="4895" cy="63637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8" name="Oval 467"/>
            <p:cNvSpPr>
              <a:spLocks noChangeArrowheads="1"/>
            </p:cNvSpPr>
            <p:nvPr/>
          </p:nvSpPr>
          <p:spPr bwMode="auto">
            <a:xfrm>
              <a:off x="9960962" y="5398193"/>
              <a:ext cx="24475" cy="24475"/>
            </a:xfrm>
            <a:prstGeom prst="ellipse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9" name="Rectangle 468"/>
            <p:cNvSpPr>
              <a:spLocks noChangeArrowheads="1"/>
            </p:cNvSpPr>
            <p:nvPr/>
          </p:nvSpPr>
          <p:spPr bwMode="auto">
            <a:xfrm>
              <a:off x="9659906" y="5478965"/>
              <a:ext cx="357352" cy="93009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0" name="Rectangle 469"/>
            <p:cNvSpPr>
              <a:spLocks noChangeArrowheads="1"/>
            </p:cNvSpPr>
            <p:nvPr/>
          </p:nvSpPr>
          <p:spPr bwMode="auto">
            <a:xfrm>
              <a:off x="9672144" y="5493652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1" name="Rectangle 470"/>
            <p:cNvSpPr>
              <a:spLocks noChangeArrowheads="1"/>
            </p:cNvSpPr>
            <p:nvPr/>
          </p:nvSpPr>
          <p:spPr bwMode="auto">
            <a:xfrm>
              <a:off x="9694171" y="5493652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2" name="Rectangle 471"/>
            <p:cNvSpPr>
              <a:spLocks noChangeArrowheads="1"/>
            </p:cNvSpPr>
            <p:nvPr/>
          </p:nvSpPr>
          <p:spPr bwMode="auto">
            <a:xfrm>
              <a:off x="9713752" y="5493652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3" name="Rectangle 472"/>
            <p:cNvSpPr>
              <a:spLocks noChangeArrowheads="1"/>
            </p:cNvSpPr>
            <p:nvPr/>
          </p:nvSpPr>
          <p:spPr bwMode="auto">
            <a:xfrm>
              <a:off x="9735781" y="5493652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4" name="Rectangle 473"/>
            <p:cNvSpPr>
              <a:spLocks noChangeArrowheads="1"/>
            </p:cNvSpPr>
            <p:nvPr/>
          </p:nvSpPr>
          <p:spPr bwMode="auto">
            <a:xfrm>
              <a:off x="9755363" y="5493652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5" name="Rectangle 474"/>
            <p:cNvSpPr>
              <a:spLocks noChangeArrowheads="1"/>
            </p:cNvSpPr>
            <p:nvPr/>
          </p:nvSpPr>
          <p:spPr bwMode="auto">
            <a:xfrm>
              <a:off x="9777392" y="5493652"/>
              <a:ext cx="4895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6" name="Oval 475"/>
            <p:cNvSpPr>
              <a:spLocks noChangeArrowheads="1"/>
            </p:cNvSpPr>
            <p:nvPr/>
          </p:nvSpPr>
          <p:spPr bwMode="auto">
            <a:xfrm>
              <a:off x="9960962" y="5513234"/>
              <a:ext cx="24475" cy="22029"/>
            </a:xfrm>
            <a:prstGeom prst="ellipse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7" name="Rectangle 476"/>
            <p:cNvSpPr>
              <a:spLocks noChangeArrowheads="1"/>
            </p:cNvSpPr>
            <p:nvPr/>
          </p:nvSpPr>
          <p:spPr bwMode="auto">
            <a:xfrm>
              <a:off x="9659906" y="5596451"/>
              <a:ext cx="357352" cy="93009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8" name="Rectangle 477"/>
            <p:cNvSpPr>
              <a:spLocks noChangeArrowheads="1"/>
            </p:cNvSpPr>
            <p:nvPr/>
          </p:nvSpPr>
          <p:spPr bwMode="auto">
            <a:xfrm>
              <a:off x="9672144" y="5611137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9" name="Rectangle 478"/>
            <p:cNvSpPr>
              <a:spLocks noChangeArrowheads="1"/>
            </p:cNvSpPr>
            <p:nvPr/>
          </p:nvSpPr>
          <p:spPr bwMode="auto">
            <a:xfrm>
              <a:off x="9694171" y="5611137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0" name="Rectangle 479"/>
            <p:cNvSpPr>
              <a:spLocks noChangeArrowheads="1"/>
            </p:cNvSpPr>
            <p:nvPr/>
          </p:nvSpPr>
          <p:spPr bwMode="auto">
            <a:xfrm>
              <a:off x="9713752" y="5611137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1" name="Rectangle 480"/>
            <p:cNvSpPr>
              <a:spLocks noChangeArrowheads="1"/>
            </p:cNvSpPr>
            <p:nvPr/>
          </p:nvSpPr>
          <p:spPr bwMode="auto">
            <a:xfrm>
              <a:off x="9735781" y="5611137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2" name="Rectangle 481"/>
            <p:cNvSpPr>
              <a:spLocks noChangeArrowheads="1"/>
            </p:cNvSpPr>
            <p:nvPr/>
          </p:nvSpPr>
          <p:spPr bwMode="auto">
            <a:xfrm>
              <a:off x="9755363" y="5611137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3" name="Rectangle 482"/>
            <p:cNvSpPr>
              <a:spLocks noChangeArrowheads="1"/>
            </p:cNvSpPr>
            <p:nvPr/>
          </p:nvSpPr>
          <p:spPr bwMode="auto">
            <a:xfrm>
              <a:off x="9777392" y="5611137"/>
              <a:ext cx="4895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4" name="Oval 483"/>
            <p:cNvSpPr>
              <a:spLocks noChangeArrowheads="1"/>
            </p:cNvSpPr>
            <p:nvPr/>
          </p:nvSpPr>
          <p:spPr bwMode="auto">
            <a:xfrm>
              <a:off x="9960962" y="5630720"/>
              <a:ext cx="24475" cy="19581"/>
            </a:xfrm>
            <a:prstGeom prst="ellipse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5" name="Rectangle 484"/>
            <p:cNvSpPr>
              <a:spLocks noChangeArrowheads="1"/>
            </p:cNvSpPr>
            <p:nvPr/>
          </p:nvSpPr>
          <p:spPr bwMode="auto">
            <a:xfrm>
              <a:off x="9659906" y="5713937"/>
              <a:ext cx="357352" cy="9056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6" name="Rectangle 485"/>
            <p:cNvSpPr>
              <a:spLocks noChangeArrowheads="1"/>
            </p:cNvSpPr>
            <p:nvPr/>
          </p:nvSpPr>
          <p:spPr bwMode="auto">
            <a:xfrm>
              <a:off x="9672144" y="5726175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7" name="Rectangle 486"/>
            <p:cNvSpPr>
              <a:spLocks noChangeArrowheads="1"/>
            </p:cNvSpPr>
            <p:nvPr/>
          </p:nvSpPr>
          <p:spPr bwMode="auto">
            <a:xfrm>
              <a:off x="9694171" y="5726175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8" name="Rectangle 487"/>
            <p:cNvSpPr>
              <a:spLocks noChangeArrowheads="1"/>
            </p:cNvSpPr>
            <p:nvPr/>
          </p:nvSpPr>
          <p:spPr bwMode="auto">
            <a:xfrm>
              <a:off x="9713752" y="5726175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9" name="Rectangle 488"/>
            <p:cNvSpPr>
              <a:spLocks noChangeArrowheads="1"/>
            </p:cNvSpPr>
            <p:nvPr/>
          </p:nvSpPr>
          <p:spPr bwMode="auto">
            <a:xfrm>
              <a:off x="9735781" y="5726175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0" name="Rectangle 489"/>
            <p:cNvSpPr>
              <a:spLocks noChangeArrowheads="1"/>
            </p:cNvSpPr>
            <p:nvPr/>
          </p:nvSpPr>
          <p:spPr bwMode="auto">
            <a:xfrm>
              <a:off x="9755363" y="5726175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1" name="Rectangle 490"/>
            <p:cNvSpPr>
              <a:spLocks noChangeArrowheads="1"/>
            </p:cNvSpPr>
            <p:nvPr/>
          </p:nvSpPr>
          <p:spPr bwMode="auto">
            <a:xfrm>
              <a:off x="9777392" y="5726175"/>
              <a:ext cx="4895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" name="Oval 491"/>
            <p:cNvSpPr>
              <a:spLocks noChangeArrowheads="1"/>
            </p:cNvSpPr>
            <p:nvPr/>
          </p:nvSpPr>
          <p:spPr bwMode="auto">
            <a:xfrm>
              <a:off x="9960962" y="5748204"/>
              <a:ext cx="24475" cy="19581"/>
            </a:xfrm>
            <a:prstGeom prst="ellipse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" name="Rectangle 492"/>
            <p:cNvSpPr>
              <a:spLocks noChangeArrowheads="1"/>
            </p:cNvSpPr>
            <p:nvPr/>
          </p:nvSpPr>
          <p:spPr bwMode="auto">
            <a:xfrm>
              <a:off x="9659906" y="5828975"/>
              <a:ext cx="357352" cy="88115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4" name="Rectangle 493"/>
            <p:cNvSpPr>
              <a:spLocks noChangeArrowheads="1"/>
            </p:cNvSpPr>
            <p:nvPr/>
          </p:nvSpPr>
          <p:spPr bwMode="auto">
            <a:xfrm>
              <a:off x="9672144" y="5843661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5" name="Rectangle 494"/>
            <p:cNvSpPr>
              <a:spLocks noChangeArrowheads="1"/>
            </p:cNvSpPr>
            <p:nvPr/>
          </p:nvSpPr>
          <p:spPr bwMode="auto">
            <a:xfrm>
              <a:off x="9694171" y="5843661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6" name="Rectangle 495"/>
            <p:cNvSpPr>
              <a:spLocks noChangeArrowheads="1"/>
            </p:cNvSpPr>
            <p:nvPr/>
          </p:nvSpPr>
          <p:spPr bwMode="auto">
            <a:xfrm>
              <a:off x="9713752" y="5843661"/>
              <a:ext cx="12238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7" name="Rectangle 496"/>
            <p:cNvSpPr>
              <a:spLocks noChangeArrowheads="1"/>
            </p:cNvSpPr>
            <p:nvPr/>
          </p:nvSpPr>
          <p:spPr bwMode="auto">
            <a:xfrm>
              <a:off x="9735781" y="5843661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8" name="Rectangle 497"/>
            <p:cNvSpPr>
              <a:spLocks noChangeArrowheads="1"/>
            </p:cNvSpPr>
            <p:nvPr/>
          </p:nvSpPr>
          <p:spPr bwMode="auto">
            <a:xfrm>
              <a:off x="9755363" y="5843661"/>
              <a:ext cx="9790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9" name="Rectangle 498"/>
            <p:cNvSpPr>
              <a:spLocks noChangeArrowheads="1"/>
            </p:cNvSpPr>
            <p:nvPr/>
          </p:nvSpPr>
          <p:spPr bwMode="auto">
            <a:xfrm>
              <a:off x="9777392" y="5843661"/>
              <a:ext cx="4895" cy="6119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0" name="Oval 499"/>
            <p:cNvSpPr>
              <a:spLocks noChangeArrowheads="1"/>
            </p:cNvSpPr>
            <p:nvPr/>
          </p:nvSpPr>
          <p:spPr bwMode="auto">
            <a:xfrm>
              <a:off x="9960962" y="5863242"/>
              <a:ext cx="24475" cy="19581"/>
            </a:xfrm>
            <a:prstGeom prst="ellipse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501" name="Group 500"/>
            <p:cNvGrpSpPr/>
            <p:nvPr/>
          </p:nvGrpSpPr>
          <p:grpSpPr>
            <a:xfrm>
              <a:off x="8106570" y="3935906"/>
              <a:ext cx="1022202" cy="1018989"/>
              <a:chOff x="1788763" y="2298419"/>
              <a:chExt cx="576142" cy="574331"/>
            </a:xfrm>
          </p:grpSpPr>
          <p:sp>
            <p:nvSpPr>
              <p:cNvPr id="506" name="Oval 616"/>
              <p:cNvSpPr>
                <a:spLocks noChangeArrowheads="1"/>
              </p:cNvSpPr>
              <p:nvPr/>
            </p:nvSpPr>
            <p:spPr bwMode="auto">
              <a:xfrm>
                <a:off x="1788763" y="2298419"/>
                <a:ext cx="576142" cy="574331"/>
              </a:xfrm>
              <a:prstGeom prst="ellipse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7" name="Freeform 617"/>
              <p:cNvSpPr>
                <a:spLocks noEditPoints="1"/>
              </p:cNvSpPr>
              <p:nvPr/>
            </p:nvSpPr>
            <p:spPr bwMode="auto">
              <a:xfrm>
                <a:off x="1933705" y="2465102"/>
                <a:ext cx="286259" cy="244589"/>
              </a:xfrm>
              <a:custGeom>
                <a:avLst/>
                <a:gdLst>
                  <a:gd name="T0" fmla="*/ 108 w 113"/>
                  <a:gd name="T1" fmla="*/ 90 h 96"/>
                  <a:gd name="T2" fmla="*/ 0 w 113"/>
                  <a:gd name="T3" fmla="*/ 17 h 96"/>
                  <a:gd name="T4" fmla="*/ 0 w 113"/>
                  <a:gd name="T5" fmla="*/ 96 h 96"/>
                  <a:gd name="T6" fmla="*/ 113 w 113"/>
                  <a:gd name="T7" fmla="*/ 0 h 96"/>
                  <a:gd name="T8" fmla="*/ 0 w 113"/>
                  <a:gd name="T9" fmla="*/ 0 h 96"/>
                  <a:gd name="T10" fmla="*/ 66 w 113"/>
                  <a:gd name="T11" fmla="*/ 54 h 96"/>
                  <a:gd name="T12" fmla="*/ 63 w 113"/>
                  <a:gd name="T13" fmla="*/ 48 h 96"/>
                  <a:gd name="T14" fmla="*/ 59 w 113"/>
                  <a:gd name="T15" fmla="*/ 45 h 96"/>
                  <a:gd name="T16" fmla="*/ 53 w 113"/>
                  <a:gd name="T17" fmla="*/ 42 h 96"/>
                  <a:gd name="T18" fmla="*/ 48 w 113"/>
                  <a:gd name="T19" fmla="*/ 42 h 96"/>
                  <a:gd name="T20" fmla="*/ 42 w 113"/>
                  <a:gd name="T21" fmla="*/ 45 h 96"/>
                  <a:gd name="T22" fmla="*/ 38 w 113"/>
                  <a:gd name="T23" fmla="*/ 48 h 96"/>
                  <a:gd name="T24" fmla="*/ 35 w 113"/>
                  <a:gd name="T25" fmla="*/ 54 h 96"/>
                  <a:gd name="T26" fmla="*/ 34 w 113"/>
                  <a:gd name="T27" fmla="*/ 59 h 96"/>
                  <a:gd name="T28" fmla="*/ 35 w 113"/>
                  <a:gd name="T29" fmla="*/ 65 h 96"/>
                  <a:gd name="T30" fmla="*/ 38 w 113"/>
                  <a:gd name="T31" fmla="*/ 70 h 96"/>
                  <a:gd name="T32" fmla="*/ 43 w 113"/>
                  <a:gd name="T33" fmla="*/ 74 h 96"/>
                  <a:gd name="T34" fmla="*/ 47 w 113"/>
                  <a:gd name="T35" fmla="*/ 76 h 96"/>
                  <a:gd name="T36" fmla="*/ 51 w 113"/>
                  <a:gd name="T37" fmla="*/ 71 h 96"/>
                  <a:gd name="T38" fmla="*/ 58 w 113"/>
                  <a:gd name="T39" fmla="*/ 75 h 96"/>
                  <a:gd name="T40" fmla="*/ 59 w 113"/>
                  <a:gd name="T41" fmla="*/ 68 h 96"/>
                  <a:gd name="T42" fmla="*/ 66 w 113"/>
                  <a:gd name="T43" fmla="*/ 67 h 96"/>
                  <a:gd name="T44" fmla="*/ 63 w 113"/>
                  <a:gd name="T45" fmla="*/ 61 h 96"/>
                  <a:gd name="T46" fmla="*/ 57 w 113"/>
                  <a:gd name="T47" fmla="*/ 59 h 96"/>
                  <a:gd name="T48" fmla="*/ 46 w 113"/>
                  <a:gd name="T49" fmla="*/ 64 h 96"/>
                  <a:gd name="T50" fmla="*/ 51 w 113"/>
                  <a:gd name="T51" fmla="*/ 53 h 96"/>
                  <a:gd name="T52" fmla="*/ 47 w 113"/>
                  <a:gd name="T53" fmla="*/ 59 h 96"/>
                  <a:gd name="T54" fmla="*/ 51 w 113"/>
                  <a:gd name="T55" fmla="*/ 62 h 96"/>
                  <a:gd name="T56" fmla="*/ 78 w 113"/>
                  <a:gd name="T57" fmla="*/ 47 h 96"/>
                  <a:gd name="T58" fmla="*/ 80 w 113"/>
                  <a:gd name="T59" fmla="*/ 44 h 96"/>
                  <a:gd name="T60" fmla="*/ 78 w 113"/>
                  <a:gd name="T61" fmla="*/ 42 h 96"/>
                  <a:gd name="T62" fmla="*/ 74 w 113"/>
                  <a:gd name="T63" fmla="*/ 41 h 96"/>
                  <a:gd name="T64" fmla="*/ 71 w 113"/>
                  <a:gd name="T65" fmla="*/ 38 h 96"/>
                  <a:gd name="T66" fmla="*/ 67 w 113"/>
                  <a:gd name="T67" fmla="*/ 42 h 96"/>
                  <a:gd name="T68" fmla="*/ 64 w 113"/>
                  <a:gd name="T69" fmla="*/ 42 h 96"/>
                  <a:gd name="T70" fmla="*/ 63 w 113"/>
                  <a:gd name="T71" fmla="*/ 44 h 96"/>
                  <a:gd name="T72" fmla="*/ 65 w 113"/>
                  <a:gd name="T73" fmla="*/ 48 h 96"/>
                  <a:gd name="T74" fmla="*/ 63 w 113"/>
                  <a:gd name="T75" fmla="*/ 51 h 96"/>
                  <a:gd name="T76" fmla="*/ 65 w 113"/>
                  <a:gd name="T77" fmla="*/ 53 h 96"/>
                  <a:gd name="T78" fmla="*/ 70 w 113"/>
                  <a:gd name="T79" fmla="*/ 56 h 96"/>
                  <a:gd name="T80" fmla="*/ 73 w 113"/>
                  <a:gd name="T81" fmla="*/ 56 h 96"/>
                  <a:gd name="T82" fmla="*/ 78 w 113"/>
                  <a:gd name="T83" fmla="*/ 53 h 96"/>
                  <a:gd name="T84" fmla="*/ 80 w 113"/>
                  <a:gd name="T85" fmla="*/ 51 h 96"/>
                  <a:gd name="T86" fmla="*/ 78 w 113"/>
                  <a:gd name="T87" fmla="*/ 48 h 96"/>
                  <a:gd name="T88" fmla="*/ 71 w 113"/>
                  <a:gd name="T89" fmla="*/ 50 h 96"/>
                  <a:gd name="T90" fmla="*/ 74 w 113"/>
                  <a:gd name="T91" fmla="*/ 47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13" h="96">
                    <a:moveTo>
                      <a:pt x="6" y="22"/>
                    </a:moveTo>
                    <a:cubicBezTo>
                      <a:pt x="6" y="90"/>
                      <a:pt x="6" y="90"/>
                      <a:pt x="6" y="90"/>
                    </a:cubicBezTo>
                    <a:cubicBezTo>
                      <a:pt x="108" y="90"/>
                      <a:pt x="108" y="90"/>
                      <a:pt x="108" y="90"/>
                    </a:cubicBezTo>
                    <a:cubicBezTo>
                      <a:pt x="108" y="22"/>
                      <a:pt x="108" y="22"/>
                      <a:pt x="108" y="22"/>
                    </a:cubicBezTo>
                    <a:cubicBezTo>
                      <a:pt x="6" y="22"/>
                      <a:pt x="6" y="22"/>
                      <a:pt x="6" y="22"/>
                    </a:cubicBezTo>
                    <a:close/>
                    <a:moveTo>
                      <a:pt x="0" y="17"/>
                    </a:moveTo>
                    <a:cubicBezTo>
                      <a:pt x="113" y="17"/>
                      <a:pt x="113" y="17"/>
                      <a:pt x="113" y="17"/>
                    </a:cubicBezTo>
                    <a:cubicBezTo>
                      <a:pt x="113" y="96"/>
                      <a:pt x="113" y="96"/>
                      <a:pt x="113" y="96"/>
                    </a:cubicBezTo>
                    <a:cubicBezTo>
                      <a:pt x="0" y="96"/>
                      <a:pt x="0" y="96"/>
                      <a:pt x="0" y="96"/>
                    </a:cubicBezTo>
                    <a:cubicBezTo>
                      <a:pt x="0" y="17"/>
                      <a:pt x="0" y="17"/>
                      <a:pt x="0" y="17"/>
                    </a:cubicBezTo>
                    <a:close/>
                    <a:moveTo>
                      <a:pt x="0" y="0"/>
                    </a:moveTo>
                    <a:cubicBezTo>
                      <a:pt x="113" y="0"/>
                      <a:pt x="113" y="0"/>
                      <a:pt x="113" y="0"/>
                    </a:cubicBezTo>
                    <a:cubicBezTo>
                      <a:pt x="113" y="11"/>
                      <a:pt x="113" y="11"/>
                      <a:pt x="113" y="11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  <a:moveTo>
                      <a:pt x="67" y="58"/>
                    </a:moveTo>
                    <a:cubicBezTo>
                      <a:pt x="67" y="55"/>
                      <a:pt x="67" y="55"/>
                      <a:pt x="67" y="55"/>
                    </a:cubicBezTo>
                    <a:cubicBezTo>
                      <a:pt x="67" y="55"/>
                      <a:pt x="67" y="54"/>
                      <a:pt x="66" y="54"/>
                    </a:cubicBezTo>
                    <a:cubicBezTo>
                      <a:pt x="61" y="54"/>
                      <a:pt x="61" y="54"/>
                      <a:pt x="61" y="54"/>
                    </a:cubicBezTo>
                    <a:cubicBezTo>
                      <a:pt x="61" y="54"/>
                      <a:pt x="61" y="53"/>
                      <a:pt x="61" y="53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7"/>
                    </a:cubicBezTo>
                    <a:cubicBezTo>
                      <a:pt x="60" y="45"/>
                      <a:pt x="60" y="45"/>
                      <a:pt x="60" y="45"/>
                    </a:cubicBezTo>
                    <a:cubicBezTo>
                      <a:pt x="60" y="45"/>
                      <a:pt x="59" y="45"/>
                      <a:pt x="59" y="45"/>
                    </a:cubicBezTo>
                    <a:cubicBezTo>
                      <a:pt x="55" y="48"/>
                      <a:pt x="55" y="48"/>
                      <a:pt x="55" y="48"/>
                    </a:cubicBezTo>
                    <a:cubicBezTo>
                      <a:pt x="55" y="48"/>
                      <a:pt x="55" y="48"/>
                      <a:pt x="54" y="48"/>
                    </a:cubicBezTo>
                    <a:cubicBezTo>
                      <a:pt x="53" y="42"/>
                      <a:pt x="53" y="42"/>
                      <a:pt x="53" y="42"/>
                    </a:cubicBezTo>
                    <a:cubicBezTo>
                      <a:pt x="53" y="42"/>
                      <a:pt x="53" y="42"/>
                      <a:pt x="52" y="42"/>
                    </a:cubicBezTo>
                    <a:cubicBezTo>
                      <a:pt x="49" y="42"/>
                      <a:pt x="49" y="42"/>
                      <a:pt x="49" y="42"/>
                    </a:cubicBezTo>
                    <a:cubicBezTo>
                      <a:pt x="49" y="42"/>
                      <a:pt x="48" y="42"/>
                      <a:pt x="48" y="42"/>
                    </a:cubicBezTo>
                    <a:cubicBezTo>
                      <a:pt x="47" y="48"/>
                      <a:pt x="47" y="48"/>
                      <a:pt x="47" y="48"/>
                    </a:cubicBezTo>
                    <a:cubicBezTo>
                      <a:pt x="46" y="48"/>
                      <a:pt x="46" y="48"/>
                      <a:pt x="46" y="48"/>
                    </a:cubicBezTo>
                    <a:cubicBezTo>
                      <a:pt x="42" y="45"/>
                      <a:pt x="42" y="45"/>
                      <a:pt x="42" y="45"/>
                    </a:cubicBezTo>
                    <a:cubicBezTo>
                      <a:pt x="41" y="45"/>
                      <a:pt x="41" y="45"/>
                      <a:pt x="41" y="45"/>
                    </a:cubicBezTo>
                    <a:cubicBezTo>
                      <a:pt x="38" y="47"/>
                      <a:pt x="38" y="47"/>
                      <a:pt x="38" y="47"/>
                    </a:cubicBezTo>
                    <a:cubicBezTo>
                      <a:pt x="38" y="48"/>
                      <a:pt x="38" y="48"/>
                      <a:pt x="38" y="48"/>
                    </a:cubicBezTo>
                    <a:cubicBezTo>
                      <a:pt x="40" y="53"/>
                      <a:pt x="40" y="53"/>
                      <a:pt x="40" y="53"/>
                    </a:cubicBezTo>
                    <a:cubicBezTo>
                      <a:pt x="40" y="53"/>
                      <a:pt x="40" y="54"/>
                      <a:pt x="40" y="54"/>
                    </a:cubicBezTo>
                    <a:cubicBezTo>
                      <a:pt x="35" y="54"/>
                      <a:pt x="35" y="54"/>
                      <a:pt x="35" y="54"/>
                    </a:cubicBezTo>
                    <a:cubicBezTo>
                      <a:pt x="34" y="54"/>
                      <a:pt x="34" y="55"/>
                      <a:pt x="34" y="55"/>
                    </a:cubicBezTo>
                    <a:cubicBezTo>
                      <a:pt x="33" y="58"/>
                      <a:pt x="33" y="58"/>
                      <a:pt x="33" y="58"/>
                    </a:cubicBezTo>
                    <a:cubicBezTo>
                      <a:pt x="33" y="58"/>
                      <a:pt x="34" y="59"/>
                      <a:pt x="34" y="59"/>
                    </a:cubicBezTo>
                    <a:cubicBezTo>
                      <a:pt x="39" y="61"/>
                      <a:pt x="39" y="61"/>
                      <a:pt x="39" y="61"/>
                    </a:cubicBezTo>
                    <a:cubicBezTo>
                      <a:pt x="39" y="61"/>
                      <a:pt x="39" y="62"/>
                      <a:pt x="39" y="62"/>
                    </a:cubicBezTo>
                    <a:cubicBezTo>
                      <a:pt x="35" y="65"/>
                      <a:pt x="35" y="65"/>
                      <a:pt x="35" y="65"/>
                    </a:cubicBezTo>
                    <a:cubicBezTo>
                      <a:pt x="35" y="66"/>
                      <a:pt x="35" y="66"/>
                      <a:pt x="35" y="67"/>
                    </a:cubicBezTo>
                    <a:cubicBezTo>
                      <a:pt x="37" y="69"/>
                      <a:pt x="37" y="69"/>
                      <a:pt x="37" y="69"/>
                    </a:cubicBezTo>
                    <a:cubicBezTo>
                      <a:pt x="37" y="70"/>
                      <a:pt x="37" y="70"/>
                      <a:pt x="38" y="70"/>
                    </a:cubicBezTo>
                    <a:cubicBezTo>
                      <a:pt x="42" y="68"/>
                      <a:pt x="42" y="68"/>
                      <a:pt x="42" y="68"/>
                    </a:cubicBezTo>
                    <a:cubicBezTo>
                      <a:pt x="43" y="69"/>
                      <a:pt x="43" y="69"/>
                      <a:pt x="43" y="69"/>
                    </a:cubicBezTo>
                    <a:cubicBezTo>
                      <a:pt x="43" y="74"/>
                      <a:pt x="43" y="74"/>
                      <a:pt x="43" y="74"/>
                    </a:cubicBezTo>
                    <a:cubicBezTo>
                      <a:pt x="43" y="74"/>
                      <a:pt x="43" y="75"/>
                      <a:pt x="43" y="75"/>
                    </a:cubicBezTo>
                    <a:cubicBezTo>
                      <a:pt x="46" y="76"/>
                      <a:pt x="46" y="76"/>
                      <a:pt x="46" y="76"/>
                    </a:cubicBezTo>
                    <a:cubicBezTo>
                      <a:pt x="47" y="76"/>
                      <a:pt x="47" y="76"/>
                      <a:pt x="47" y="76"/>
                    </a:cubicBezTo>
                    <a:cubicBezTo>
                      <a:pt x="50" y="71"/>
                      <a:pt x="50" y="71"/>
                      <a:pt x="50" y="71"/>
                    </a:cubicBezTo>
                    <a:cubicBezTo>
                      <a:pt x="50" y="71"/>
                      <a:pt x="50" y="71"/>
                      <a:pt x="51" y="71"/>
                    </a:cubicBezTo>
                    <a:cubicBezTo>
                      <a:pt x="51" y="71"/>
                      <a:pt x="51" y="71"/>
                      <a:pt x="51" y="71"/>
                    </a:cubicBezTo>
                    <a:cubicBezTo>
                      <a:pt x="54" y="76"/>
                      <a:pt x="54" y="76"/>
                      <a:pt x="54" y="76"/>
                    </a:cubicBezTo>
                    <a:cubicBezTo>
                      <a:pt x="54" y="76"/>
                      <a:pt x="54" y="76"/>
                      <a:pt x="55" y="76"/>
                    </a:cubicBezTo>
                    <a:cubicBezTo>
                      <a:pt x="58" y="75"/>
                      <a:pt x="58" y="75"/>
                      <a:pt x="58" y="75"/>
                    </a:cubicBezTo>
                    <a:cubicBezTo>
                      <a:pt x="58" y="75"/>
                      <a:pt x="58" y="74"/>
                      <a:pt x="58" y="74"/>
                    </a:cubicBezTo>
                    <a:cubicBezTo>
                      <a:pt x="58" y="69"/>
                      <a:pt x="58" y="69"/>
                      <a:pt x="58" y="69"/>
                    </a:cubicBezTo>
                    <a:cubicBezTo>
                      <a:pt x="58" y="69"/>
                      <a:pt x="58" y="69"/>
                      <a:pt x="59" y="68"/>
                    </a:cubicBezTo>
                    <a:cubicBezTo>
                      <a:pt x="64" y="70"/>
                      <a:pt x="64" y="70"/>
                      <a:pt x="64" y="70"/>
                    </a:cubicBezTo>
                    <a:cubicBezTo>
                      <a:pt x="64" y="70"/>
                      <a:pt x="64" y="70"/>
                      <a:pt x="64" y="69"/>
                    </a:cubicBezTo>
                    <a:cubicBezTo>
                      <a:pt x="66" y="67"/>
                      <a:pt x="66" y="67"/>
                      <a:pt x="66" y="67"/>
                    </a:cubicBezTo>
                    <a:cubicBezTo>
                      <a:pt x="66" y="66"/>
                      <a:pt x="66" y="66"/>
                      <a:pt x="66" y="65"/>
                    </a:cubicBezTo>
                    <a:cubicBezTo>
                      <a:pt x="62" y="62"/>
                      <a:pt x="62" y="62"/>
                      <a:pt x="62" y="62"/>
                    </a:cubicBezTo>
                    <a:cubicBezTo>
                      <a:pt x="62" y="62"/>
                      <a:pt x="62" y="61"/>
                      <a:pt x="63" y="61"/>
                    </a:cubicBezTo>
                    <a:cubicBezTo>
                      <a:pt x="67" y="59"/>
                      <a:pt x="67" y="59"/>
                      <a:pt x="67" y="59"/>
                    </a:cubicBezTo>
                    <a:cubicBezTo>
                      <a:pt x="67" y="59"/>
                      <a:pt x="67" y="58"/>
                      <a:pt x="67" y="58"/>
                    </a:cubicBezTo>
                    <a:close/>
                    <a:moveTo>
                      <a:pt x="57" y="59"/>
                    </a:moveTo>
                    <a:cubicBezTo>
                      <a:pt x="57" y="61"/>
                      <a:pt x="56" y="63"/>
                      <a:pt x="55" y="64"/>
                    </a:cubicBezTo>
                    <a:cubicBezTo>
                      <a:pt x="54" y="65"/>
                      <a:pt x="52" y="66"/>
                      <a:pt x="51" y="66"/>
                    </a:cubicBezTo>
                    <a:cubicBezTo>
                      <a:pt x="49" y="66"/>
                      <a:pt x="47" y="65"/>
                      <a:pt x="46" y="64"/>
                    </a:cubicBezTo>
                    <a:cubicBezTo>
                      <a:pt x="45" y="63"/>
                      <a:pt x="44" y="61"/>
                      <a:pt x="44" y="59"/>
                    </a:cubicBezTo>
                    <a:cubicBezTo>
                      <a:pt x="44" y="57"/>
                      <a:pt x="45" y="56"/>
                      <a:pt x="46" y="55"/>
                    </a:cubicBezTo>
                    <a:cubicBezTo>
                      <a:pt x="47" y="53"/>
                      <a:pt x="49" y="53"/>
                      <a:pt x="51" y="53"/>
                    </a:cubicBezTo>
                    <a:cubicBezTo>
                      <a:pt x="52" y="53"/>
                      <a:pt x="54" y="53"/>
                      <a:pt x="55" y="55"/>
                    </a:cubicBezTo>
                    <a:cubicBezTo>
                      <a:pt x="56" y="56"/>
                      <a:pt x="57" y="57"/>
                      <a:pt x="57" y="59"/>
                    </a:cubicBezTo>
                    <a:close/>
                    <a:moveTo>
                      <a:pt x="47" y="59"/>
                    </a:moveTo>
                    <a:cubicBezTo>
                      <a:pt x="47" y="58"/>
                      <a:pt x="49" y="56"/>
                      <a:pt x="51" y="56"/>
                    </a:cubicBezTo>
                    <a:cubicBezTo>
                      <a:pt x="52" y="56"/>
                      <a:pt x="54" y="58"/>
                      <a:pt x="54" y="59"/>
                    </a:cubicBezTo>
                    <a:cubicBezTo>
                      <a:pt x="54" y="61"/>
                      <a:pt x="52" y="62"/>
                      <a:pt x="51" y="62"/>
                    </a:cubicBezTo>
                    <a:cubicBezTo>
                      <a:pt x="49" y="62"/>
                      <a:pt x="47" y="61"/>
                      <a:pt x="47" y="59"/>
                    </a:cubicBezTo>
                    <a:close/>
                    <a:moveTo>
                      <a:pt x="78" y="48"/>
                    </a:moveTo>
                    <a:cubicBezTo>
                      <a:pt x="78" y="48"/>
                      <a:pt x="78" y="48"/>
                      <a:pt x="78" y="47"/>
                    </a:cubicBezTo>
                    <a:cubicBezTo>
                      <a:pt x="78" y="47"/>
                      <a:pt x="78" y="46"/>
                      <a:pt x="78" y="46"/>
                    </a:cubicBezTo>
                    <a:cubicBezTo>
                      <a:pt x="80" y="44"/>
                      <a:pt x="80" y="44"/>
                      <a:pt x="80" y="44"/>
                    </a:cubicBezTo>
                    <a:cubicBezTo>
                      <a:pt x="80" y="44"/>
                      <a:pt x="80" y="44"/>
                      <a:pt x="80" y="44"/>
                    </a:cubicBezTo>
                    <a:cubicBezTo>
                      <a:pt x="80" y="44"/>
                      <a:pt x="80" y="43"/>
                      <a:pt x="80" y="43"/>
                    </a:cubicBezTo>
                    <a:cubicBezTo>
                      <a:pt x="79" y="42"/>
                      <a:pt x="79" y="42"/>
                      <a:pt x="79" y="42"/>
                    </a:cubicBezTo>
                    <a:cubicBezTo>
                      <a:pt x="79" y="42"/>
                      <a:pt x="79" y="42"/>
                      <a:pt x="78" y="42"/>
                    </a:cubicBezTo>
                    <a:cubicBezTo>
                      <a:pt x="78" y="42"/>
                      <a:pt x="78" y="42"/>
                      <a:pt x="78" y="42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5" y="42"/>
                      <a:pt x="74" y="41"/>
                      <a:pt x="74" y="41"/>
                    </a:cubicBezTo>
                    <a:cubicBezTo>
                      <a:pt x="73" y="39"/>
                      <a:pt x="73" y="39"/>
                      <a:pt x="73" y="39"/>
                    </a:cubicBezTo>
                    <a:cubicBezTo>
                      <a:pt x="73" y="38"/>
                      <a:pt x="73" y="38"/>
                      <a:pt x="72" y="38"/>
                    </a:cubicBezTo>
                    <a:cubicBezTo>
                      <a:pt x="71" y="38"/>
                      <a:pt x="71" y="38"/>
                      <a:pt x="71" y="38"/>
                    </a:cubicBezTo>
                    <a:cubicBezTo>
                      <a:pt x="70" y="38"/>
                      <a:pt x="70" y="38"/>
                      <a:pt x="70" y="39"/>
                    </a:cubicBezTo>
                    <a:cubicBezTo>
                      <a:pt x="69" y="41"/>
                      <a:pt x="69" y="41"/>
                      <a:pt x="69" y="41"/>
                    </a:cubicBezTo>
                    <a:cubicBezTo>
                      <a:pt x="68" y="41"/>
                      <a:pt x="68" y="42"/>
                      <a:pt x="67" y="42"/>
                    </a:cubicBezTo>
                    <a:cubicBezTo>
                      <a:pt x="65" y="42"/>
                      <a:pt x="65" y="42"/>
                      <a:pt x="65" y="42"/>
                    </a:cubicBezTo>
                    <a:cubicBezTo>
                      <a:pt x="64" y="42"/>
                      <a:pt x="64" y="42"/>
                      <a:pt x="64" y="42"/>
                    </a:cubicBezTo>
                    <a:cubicBezTo>
                      <a:pt x="64" y="42"/>
                      <a:pt x="64" y="42"/>
                      <a:pt x="64" y="42"/>
                    </a:cubicBezTo>
                    <a:cubicBezTo>
                      <a:pt x="63" y="43"/>
                      <a:pt x="63" y="43"/>
                      <a:pt x="63" y="43"/>
                    </a:cubicBezTo>
                    <a:cubicBezTo>
                      <a:pt x="63" y="43"/>
                      <a:pt x="63" y="44"/>
                      <a:pt x="63" y="44"/>
                    </a:cubicBezTo>
                    <a:cubicBezTo>
                      <a:pt x="63" y="44"/>
                      <a:pt x="63" y="44"/>
                      <a:pt x="63" y="44"/>
                    </a:cubicBezTo>
                    <a:cubicBezTo>
                      <a:pt x="65" y="46"/>
                      <a:pt x="65" y="46"/>
                      <a:pt x="65" y="46"/>
                    </a:cubicBezTo>
                    <a:cubicBezTo>
                      <a:pt x="65" y="46"/>
                      <a:pt x="65" y="47"/>
                      <a:pt x="65" y="47"/>
                    </a:cubicBezTo>
                    <a:cubicBezTo>
                      <a:pt x="65" y="48"/>
                      <a:pt x="65" y="48"/>
                      <a:pt x="65" y="48"/>
                    </a:cubicBezTo>
                    <a:cubicBezTo>
                      <a:pt x="63" y="50"/>
                      <a:pt x="63" y="50"/>
                      <a:pt x="63" y="50"/>
                    </a:cubicBezTo>
                    <a:cubicBezTo>
                      <a:pt x="63" y="50"/>
                      <a:pt x="63" y="51"/>
                      <a:pt x="63" y="51"/>
                    </a:cubicBezTo>
                    <a:cubicBezTo>
                      <a:pt x="63" y="51"/>
                      <a:pt x="63" y="51"/>
                      <a:pt x="63" y="51"/>
                    </a:cubicBezTo>
                    <a:cubicBezTo>
                      <a:pt x="64" y="53"/>
                      <a:pt x="64" y="53"/>
                      <a:pt x="64" y="53"/>
                    </a:cubicBezTo>
                    <a:cubicBezTo>
                      <a:pt x="64" y="53"/>
                      <a:pt x="64" y="53"/>
                      <a:pt x="64" y="53"/>
                    </a:cubicBezTo>
                    <a:cubicBezTo>
                      <a:pt x="64" y="53"/>
                      <a:pt x="64" y="53"/>
                      <a:pt x="65" y="53"/>
                    </a:cubicBezTo>
                    <a:cubicBezTo>
                      <a:pt x="67" y="52"/>
                      <a:pt x="67" y="52"/>
                      <a:pt x="67" y="52"/>
                    </a:cubicBezTo>
                    <a:cubicBezTo>
                      <a:pt x="68" y="53"/>
                      <a:pt x="68" y="53"/>
                      <a:pt x="69" y="53"/>
                    </a:cubicBezTo>
                    <a:cubicBezTo>
                      <a:pt x="70" y="56"/>
                      <a:pt x="70" y="56"/>
                      <a:pt x="70" y="56"/>
                    </a:cubicBezTo>
                    <a:cubicBezTo>
                      <a:pt x="70" y="56"/>
                      <a:pt x="70" y="56"/>
                      <a:pt x="71" y="56"/>
                    </a:cubicBezTo>
                    <a:cubicBezTo>
                      <a:pt x="72" y="56"/>
                      <a:pt x="72" y="56"/>
                      <a:pt x="72" y="56"/>
                    </a:cubicBezTo>
                    <a:cubicBezTo>
                      <a:pt x="73" y="56"/>
                      <a:pt x="73" y="56"/>
                      <a:pt x="73" y="56"/>
                    </a:cubicBezTo>
                    <a:cubicBezTo>
                      <a:pt x="74" y="54"/>
                      <a:pt x="74" y="54"/>
                      <a:pt x="74" y="54"/>
                    </a:cubicBezTo>
                    <a:cubicBezTo>
                      <a:pt x="74" y="53"/>
                      <a:pt x="75" y="53"/>
                      <a:pt x="76" y="52"/>
                    </a:cubicBezTo>
                    <a:cubicBezTo>
                      <a:pt x="78" y="53"/>
                      <a:pt x="78" y="53"/>
                      <a:pt x="78" y="53"/>
                    </a:cubicBezTo>
                    <a:cubicBezTo>
                      <a:pt x="78" y="53"/>
                      <a:pt x="78" y="53"/>
                      <a:pt x="78" y="53"/>
                    </a:cubicBezTo>
                    <a:cubicBezTo>
                      <a:pt x="79" y="53"/>
                      <a:pt x="79" y="53"/>
                      <a:pt x="79" y="53"/>
                    </a:cubicBezTo>
                    <a:cubicBezTo>
                      <a:pt x="80" y="51"/>
                      <a:pt x="80" y="51"/>
                      <a:pt x="80" y="51"/>
                    </a:cubicBezTo>
                    <a:cubicBezTo>
                      <a:pt x="80" y="51"/>
                      <a:pt x="80" y="51"/>
                      <a:pt x="80" y="51"/>
                    </a:cubicBezTo>
                    <a:cubicBezTo>
                      <a:pt x="80" y="51"/>
                      <a:pt x="80" y="50"/>
                      <a:pt x="80" y="50"/>
                    </a:cubicBezTo>
                    <a:cubicBezTo>
                      <a:pt x="78" y="48"/>
                      <a:pt x="78" y="48"/>
                      <a:pt x="78" y="48"/>
                    </a:cubicBezTo>
                    <a:cubicBezTo>
                      <a:pt x="78" y="48"/>
                      <a:pt x="78" y="48"/>
                      <a:pt x="78" y="48"/>
                    </a:cubicBezTo>
                    <a:close/>
                    <a:moveTo>
                      <a:pt x="74" y="47"/>
                    </a:moveTo>
                    <a:cubicBezTo>
                      <a:pt x="74" y="49"/>
                      <a:pt x="73" y="50"/>
                      <a:pt x="71" y="50"/>
                    </a:cubicBezTo>
                    <a:cubicBezTo>
                      <a:pt x="70" y="50"/>
                      <a:pt x="69" y="49"/>
                      <a:pt x="69" y="47"/>
                    </a:cubicBezTo>
                    <a:cubicBezTo>
                      <a:pt x="69" y="46"/>
                      <a:pt x="70" y="45"/>
                      <a:pt x="71" y="45"/>
                    </a:cubicBezTo>
                    <a:cubicBezTo>
                      <a:pt x="73" y="45"/>
                      <a:pt x="74" y="46"/>
                      <a:pt x="74" y="47"/>
                    </a:cubicBez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02" name="Group 501"/>
            <p:cNvGrpSpPr/>
            <p:nvPr/>
          </p:nvGrpSpPr>
          <p:grpSpPr>
            <a:xfrm>
              <a:off x="9148350" y="3694301"/>
              <a:ext cx="950357" cy="1294231"/>
              <a:chOff x="2441167" y="2021295"/>
              <a:chExt cx="538621" cy="733513"/>
            </a:xfrm>
          </p:grpSpPr>
          <p:sp>
            <p:nvSpPr>
              <p:cNvPr id="503" name="Freeform 7"/>
              <p:cNvSpPr>
                <a:spLocks/>
              </p:cNvSpPr>
              <p:nvPr/>
            </p:nvSpPr>
            <p:spPr bwMode="auto">
              <a:xfrm>
                <a:off x="2441167" y="2121956"/>
                <a:ext cx="144610" cy="266537"/>
              </a:xfrm>
              <a:custGeom>
                <a:avLst/>
                <a:gdLst>
                  <a:gd name="T0" fmla="*/ 73 w 73"/>
                  <a:gd name="T1" fmla="*/ 86 h 134"/>
                  <a:gd name="T2" fmla="*/ 72 w 73"/>
                  <a:gd name="T3" fmla="*/ 95 h 134"/>
                  <a:gd name="T4" fmla="*/ 68 w 73"/>
                  <a:gd name="T5" fmla="*/ 103 h 134"/>
                  <a:gd name="T6" fmla="*/ 60 w 73"/>
                  <a:gd name="T7" fmla="*/ 111 h 134"/>
                  <a:gd name="T8" fmla="*/ 47 w 73"/>
                  <a:gd name="T9" fmla="*/ 117 h 134"/>
                  <a:gd name="T10" fmla="*/ 47 w 73"/>
                  <a:gd name="T11" fmla="*/ 134 h 134"/>
                  <a:gd name="T12" fmla="*/ 29 w 73"/>
                  <a:gd name="T13" fmla="*/ 134 h 134"/>
                  <a:gd name="T14" fmla="*/ 29 w 73"/>
                  <a:gd name="T15" fmla="*/ 119 h 134"/>
                  <a:gd name="T16" fmla="*/ 21 w 73"/>
                  <a:gd name="T17" fmla="*/ 118 h 134"/>
                  <a:gd name="T18" fmla="*/ 13 w 73"/>
                  <a:gd name="T19" fmla="*/ 117 h 134"/>
                  <a:gd name="T20" fmla="*/ 6 w 73"/>
                  <a:gd name="T21" fmla="*/ 115 h 134"/>
                  <a:gd name="T22" fmla="*/ 1 w 73"/>
                  <a:gd name="T23" fmla="*/ 113 h 134"/>
                  <a:gd name="T24" fmla="*/ 1 w 73"/>
                  <a:gd name="T25" fmla="*/ 85 h 134"/>
                  <a:gd name="T26" fmla="*/ 16 w 73"/>
                  <a:gd name="T27" fmla="*/ 93 h 134"/>
                  <a:gd name="T28" fmla="*/ 31 w 73"/>
                  <a:gd name="T29" fmla="*/ 96 h 134"/>
                  <a:gd name="T30" fmla="*/ 35 w 73"/>
                  <a:gd name="T31" fmla="*/ 95 h 134"/>
                  <a:gd name="T32" fmla="*/ 38 w 73"/>
                  <a:gd name="T33" fmla="*/ 94 h 134"/>
                  <a:gd name="T34" fmla="*/ 39 w 73"/>
                  <a:gd name="T35" fmla="*/ 92 h 134"/>
                  <a:gd name="T36" fmla="*/ 40 w 73"/>
                  <a:gd name="T37" fmla="*/ 89 h 134"/>
                  <a:gd name="T38" fmla="*/ 39 w 73"/>
                  <a:gd name="T39" fmla="*/ 86 h 134"/>
                  <a:gd name="T40" fmla="*/ 37 w 73"/>
                  <a:gd name="T41" fmla="*/ 83 h 134"/>
                  <a:gd name="T42" fmla="*/ 32 w 73"/>
                  <a:gd name="T43" fmla="*/ 80 h 134"/>
                  <a:gd name="T44" fmla="*/ 24 w 73"/>
                  <a:gd name="T45" fmla="*/ 77 h 134"/>
                  <a:gd name="T46" fmla="*/ 13 w 73"/>
                  <a:gd name="T47" fmla="*/ 71 h 134"/>
                  <a:gd name="T48" fmla="*/ 5 w 73"/>
                  <a:gd name="T49" fmla="*/ 63 h 134"/>
                  <a:gd name="T50" fmla="*/ 1 w 73"/>
                  <a:gd name="T51" fmla="*/ 55 h 134"/>
                  <a:gd name="T52" fmla="*/ 0 w 73"/>
                  <a:gd name="T53" fmla="*/ 46 h 134"/>
                  <a:gd name="T54" fmla="*/ 2 w 73"/>
                  <a:gd name="T55" fmla="*/ 34 h 134"/>
                  <a:gd name="T56" fmla="*/ 8 w 73"/>
                  <a:gd name="T57" fmla="*/ 25 h 134"/>
                  <a:gd name="T58" fmla="*/ 17 w 73"/>
                  <a:gd name="T59" fmla="*/ 18 h 134"/>
                  <a:gd name="T60" fmla="*/ 29 w 73"/>
                  <a:gd name="T61" fmla="*/ 15 h 134"/>
                  <a:gd name="T62" fmla="*/ 29 w 73"/>
                  <a:gd name="T63" fmla="*/ 0 h 134"/>
                  <a:gd name="T64" fmla="*/ 47 w 73"/>
                  <a:gd name="T65" fmla="*/ 0 h 134"/>
                  <a:gd name="T66" fmla="*/ 47 w 73"/>
                  <a:gd name="T67" fmla="*/ 14 h 134"/>
                  <a:gd name="T68" fmla="*/ 59 w 73"/>
                  <a:gd name="T69" fmla="*/ 15 h 134"/>
                  <a:gd name="T70" fmla="*/ 68 w 73"/>
                  <a:gd name="T71" fmla="*/ 17 h 134"/>
                  <a:gd name="T72" fmla="*/ 68 w 73"/>
                  <a:gd name="T73" fmla="*/ 44 h 134"/>
                  <a:gd name="T74" fmla="*/ 63 w 73"/>
                  <a:gd name="T75" fmla="*/ 41 h 134"/>
                  <a:gd name="T76" fmla="*/ 56 w 73"/>
                  <a:gd name="T77" fmla="*/ 39 h 134"/>
                  <a:gd name="T78" fmla="*/ 49 w 73"/>
                  <a:gd name="T79" fmla="*/ 37 h 134"/>
                  <a:gd name="T80" fmla="*/ 41 w 73"/>
                  <a:gd name="T81" fmla="*/ 36 h 134"/>
                  <a:gd name="T82" fmla="*/ 37 w 73"/>
                  <a:gd name="T83" fmla="*/ 37 h 134"/>
                  <a:gd name="T84" fmla="*/ 34 w 73"/>
                  <a:gd name="T85" fmla="*/ 38 h 134"/>
                  <a:gd name="T86" fmla="*/ 33 w 73"/>
                  <a:gd name="T87" fmla="*/ 40 h 134"/>
                  <a:gd name="T88" fmla="*/ 32 w 73"/>
                  <a:gd name="T89" fmla="*/ 43 h 134"/>
                  <a:gd name="T90" fmla="*/ 32 w 73"/>
                  <a:gd name="T91" fmla="*/ 45 h 134"/>
                  <a:gd name="T92" fmla="*/ 34 w 73"/>
                  <a:gd name="T93" fmla="*/ 48 h 134"/>
                  <a:gd name="T94" fmla="*/ 38 w 73"/>
                  <a:gd name="T95" fmla="*/ 51 h 134"/>
                  <a:gd name="T96" fmla="*/ 45 w 73"/>
                  <a:gd name="T97" fmla="*/ 54 h 134"/>
                  <a:gd name="T98" fmla="*/ 58 w 73"/>
                  <a:gd name="T99" fmla="*/ 61 h 134"/>
                  <a:gd name="T100" fmla="*/ 67 w 73"/>
                  <a:gd name="T101" fmla="*/ 69 h 134"/>
                  <a:gd name="T102" fmla="*/ 72 w 73"/>
                  <a:gd name="T103" fmla="*/ 77 h 134"/>
                  <a:gd name="T104" fmla="*/ 73 w 73"/>
                  <a:gd name="T105" fmla="*/ 86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73" h="134">
                    <a:moveTo>
                      <a:pt x="73" y="86"/>
                    </a:moveTo>
                    <a:cubicBezTo>
                      <a:pt x="73" y="89"/>
                      <a:pt x="73" y="92"/>
                      <a:pt x="72" y="95"/>
                    </a:cubicBezTo>
                    <a:cubicBezTo>
                      <a:pt x="71" y="98"/>
                      <a:pt x="70" y="101"/>
                      <a:pt x="68" y="103"/>
                    </a:cubicBezTo>
                    <a:cubicBezTo>
                      <a:pt x="66" y="106"/>
                      <a:pt x="63" y="109"/>
                      <a:pt x="60" y="111"/>
                    </a:cubicBezTo>
                    <a:cubicBezTo>
                      <a:pt x="56" y="114"/>
                      <a:pt x="52" y="115"/>
                      <a:pt x="47" y="117"/>
                    </a:cubicBezTo>
                    <a:cubicBezTo>
                      <a:pt x="47" y="134"/>
                      <a:pt x="47" y="134"/>
                      <a:pt x="47" y="134"/>
                    </a:cubicBezTo>
                    <a:cubicBezTo>
                      <a:pt x="29" y="134"/>
                      <a:pt x="29" y="134"/>
                      <a:pt x="29" y="134"/>
                    </a:cubicBezTo>
                    <a:cubicBezTo>
                      <a:pt x="29" y="119"/>
                      <a:pt x="29" y="119"/>
                      <a:pt x="29" y="119"/>
                    </a:cubicBezTo>
                    <a:cubicBezTo>
                      <a:pt x="27" y="119"/>
                      <a:pt x="24" y="119"/>
                      <a:pt x="21" y="118"/>
                    </a:cubicBezTo>
                    <a:cubicBezTo>
                      <a:pt x="18" y="118"/>
                      <a:pt x="15" y="117"/>
                      <a:pt x="13" y="117"/>
                    </a:cubicBezTo>
                    <a:cubicBezTo>
                      <a:pt x="10" y="116"/>
                      <a:pt x="8" y="116"/>
                      <a:pt x="6" y="115"/>
                    </a:cubicBezTo>
                    <a:cubicBezTo>
                      <a:pt x="4" y="114"/>
                      <a:pt x="2" y="113"/>
                      <a:pt x="1" y="113"/>
                    </a:cubicBezTo>
                    <a:cubicBezTo>
                      <a:pt x="1" y="85"/>
                      <a:pt x="1" y="85"/>
                      <a:pt x="1" y="85"/>
                    </a:cubicBezTo>
                    <a:cubicBezTo>
                      <a:pt x="6" y="88"/>
                      <a:pt x="11" y="91"/>
                      <a:pt x="16" y="93"/>
                    </a:cubicBezTo>
                    <a:cubicBezTo>
                      <a:pt x="21" y="95"/>
                      <a:pt x="26" y="96"/>
                      <a:pt x="31" y="96"/>
                    </a:cubicBezTo>
                    <a:cubicBezTo>
                      <a:pt x="33" y="96"/>
                      <a:pt x="34" y="96"/>
                      <a:pt x="35" y="95"/>
                    </a:cubicBezTo>
                    <a:cubicBezTo>
                      <a:pt x="36" y="95"/>
                      <a:pt x="37" y="94"/>
                      <a:pt x="38" y="94"/>
                    </a:cubicBezTo>
                    <a:cubicBezTo>
                      <a:pt x="38" y="93"/>
                      <a:pt x="39" y="92"/>
                      <a:pt x="39" y="92"/>
                    </a:cubicBezTo>
                    <a:cubicBezTo>
                      <a:pt x="39" y="91"/>
                      <a:pt x="40" y="90"/>
                      <a:pt x="40" y="89"/>
                    </a:cubicBezTo>
                    <a:cubicBezTo>
                      <a:pt x="40" y="88"/>
                      <a:pt x="40" y="87"/>
                      <a:pt x="39" y="86"/>
                    </a:cubicBezTo>
                    <a:cubicBezTo>
                      <a:pt x="39" y="85"/>
                      <a:pt x="38" y="84"/>
                      <a:pt x="37" y="83"/>
                    </a:cubicBezTo>
                    <a:cubicBezTo>
                      <a:pt x="36" y="82"/>
                      <a:pt x="35" y="81"/>
                      <a:pt x="32" y="80"/>
                    </a:cubicBezTo>
                    <a:cubicBezTo>
                      <a:pt x="30" y="79"/>
                      <a:pt x="28" y="78"/>
                      <a:pt x="24" y="77"/>
                    </a:cubicBezTo>
                    <a:cubicBezTo>
                      <a:pt x="20" y="75"/>
                      <a:pt x="16" y="73"/>
                      <a:pt x="13" y="71"/>
                    </a:cubicBezTo>
                    <a:cubicBezTo>
                      <a:pt x="10" y="68"/>
                      <a:pt x="7" y="66"/>
                      <a:pt x="5" y="63"/>
                    </a:cubicBezTo>
                    <a:cubicBezTo>
                      <a:pt x="3" y="61"/>
                      <a:pt x="2" y="58"/>
                      <a:pt x="1" y="55"/>
                    </a:cubicBezTo>
                    <a:cubicBezTo>
                      <a:pt x="0" y="52"/>
                      <a:pt x="0" y="49"/>
                      <a:pt x="0" y="46"/>
                    </a:cubicBezTo>
                    <a:cubicBezTo>
                      <a:pt x="0" y="42"/>
                      <a:pt x="1" y="38"/>
                      <a:pt x="2" y="34"/>
                    </a:cubicBezTo>
                    <a:cubicBezTo>
                      <a:pt x="3" y="31"/>
                      <a:pt x="5" y="28"/>
                      <a:pt x="8" y="25"/>
                    </a:cubicBezTo>
                    <a:cubicBezTo>
                      <a:pt x="10" y="22"/>
                      <a:pt x="13" y="20"/>
                      <a:pt x="17" y="18"/>
                    </a:cubicBezTo>
                    <a:cubicBezTo>
                      <a:pt x="21" y="17"/>
                      <a:pt x="25" y="15"/>
                      <a:pt x="29" y="15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7" y="14"/>
                      <a:pt x="47" y="14"/>
                      <a:pt x="47" y="14"/>
                    </a:cubicBezTo>
                    <a:cubicBezTo>
                      <a:pt x="51" y="14"/>
                      <a:pt x="55" y="14"/>
                      <a:pt x="59" y="15"/>
                    </a:cubicBezTo>
                    <a:cubicBezTo>
                      <a:pt x="63" y="16"/>
                      <a:pt x="66" y="16"/>
                      <a:pt x="68" y="17"/>
                    </a:cubicBezTo>
                    <a:cubicBezTo>
                      <a:pt x="68" y="44"/>
                      <a:pt x="68" y="44"/>
                      <a:pt x="68" y="44"/>
                    </a:cubicBezTo>
                    <a:cubicBezTo>
                      <a:pt x="67" y="43"/>
                      <a:pt x="65" y="42"/>
                      <a:pt x="63" y="41"/>
                    </a:cubicBezTo>
                    <a:cubicBezTo>
                      <a:pt x="61" y="41"/>
                      <a:pt x="59" y="40"/>
                      <a:pt x="56" y="39"/>
                    </a:cubicBezTo>
                    <a:cubicBezTo>
                      <a:pt x="54" y="38"/>
                      <a:pt x="52" y="38"/>
                      <a:pt x="49" y="37"/>
                    </a:cubicBezTo>
                    <a:cubicBezTo>
                      <a:pt x="46" y="37"/>
                      <a:pt x="44" y="36"/>
                      <a:pt x="41" y="36"/>
                    </a:cubicBezTo>
                    <a:cubicBezTo>
                      <a:pt x="40" y="36"/>
                      <a:pt x="38" y="37"/>
                      <a:pt x="37" y="37"/>
                    </a:cubicBezTo>
                    <a:cubicBezTo>
                      <a:pt x="36" y="37"/>
                      <a:pt x="35" y="38"/>
                      <a:pt x="34" y="38"/>
                    </a:cubicBezTo>
                    <a:cubicBezTo>
                      <a:pt x="34" y="39"/>
                      <a:pt x="33" y="40"/>
                      <a:pt x="33" y="40"/>
                    </a:cubicBezTo>
                    <a:cubicBezTo>
                      <a:pt x="32" y="41"/>
                      <a:pt x="32" y="42"/>
                      <a:pt x="32" y="43"/>
                    </a:cubicBezTo>
                    <a:cubicBezTo>
                      <a:pt x="32" y="44"/>
                      <a:pt x="32" y="45"/>
                      <a:pt x="32" y="45"/>
                    </a:cubicBezTo>
                    <a:cubicBezTo>
                      <a:pt x="33" y="46"/>
                      <a:pt x="33" y="47"/>
                      <a:pt x="34" y="48"/>
                    </a:cubicBezTo>
                    <a:cubicBezTo>
                      <a:pt x="35" y="49"/>
                      <a:pt x="36" y="50"/>
                      <a:pt x="38" y="51"/>
                    </a:cubicBezTo>
                    <a:cubicBezTo>
                      <a:pt x="40" y="52"/>
                      <a:pt x="42" y="53"/>
                      <a:pt x="45" y="54"/>
                    </a:cubicBezTo>
                    <a:cubicBezTo>
                      <a:pt x="50" y="57"/>
                      <a:pt x="55" y="59"/>
                      <a:pt x="58" y="61"/>
                    </a:cubicBezTo>
                    <a:cubicBezTo>
                      <a:pt x="62" y="64"/>
                      <a:pt x="65" y="66"/>
                      <a:pt x="67" y="69"/>
                    </a:cubicBezTo>
                    <a:cubicBezTo>
                      <a:pt x="69" y="72"/>
                      <a:pt x="71" y="74"/>
                      <a:pt x="72" y="77"/>
                    </a:cubicBezTo>
                    <a:cubicBezTo>
                      <a:pt x="73" y="80"/>
                      <a:pt x="73" y="83"/>
                      <a:pt x="73" y="86"/>
                    </a:cubicBezTo>
                    <a:close/>
                  </a:path>
                </a:pathLst>
              </a:custGeom>
              <a:solidFill>
                <a:srgbClr val="00B2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4" name="Freeform 8"/>
              <p:cNvSpPr>
                <a:spLocks/>
              </p:cNvSpPr>
              <p:nvPr/>
            </p:nvSpPr>
            <p:spPr bwMode="auto">
              <a:xfrm>
                <a:off x="2616968" y="2021295"/>
                <a:ext cx="109167" cy="199903"/>
              </a:xfrm>
              <a:custGeom>
                <a:avLst/>
                <a:gdLst>
                  <a:gd name="T0" fmla="*/ 55 w 55"/>
                  <a:gd name="T1" fmla="*/ 66 h 101"/>
                  <a:gd name="T2" fmla="*/ 55 w 55"/>
                  <a:gd name="T3" fmla="*/ 72 h 101"/>
                  <a:gd name="T4" fmla="*/ 51 w 55"/>
                  <a:gd name="T5" fmla="*/ 78 h 101"/>
                  <a:gd name="T6" fmla="*/ 45 w 55"/>
                  <a:gd name="T7" fmla="*/ 84 h 101"/>
                  <a:gd name="T8" fmla="*/ 35 w 55"/>
                  <a:gd name="T9" fmla="*/ 89 h 101"/>
                  <a:gd name="T10" fmla="*/ 35 w 55"/>
                  <a:gd name="T11" fmla="*/ 101 h 101"/>
                  <a:gd name="T12" fmla="*/ 22 w 55"/>
                  <a:gd name="T13" fmla="*/ 101 h 101"/>
                  <a:gd name="T14" fmla="*/ 22 w 55"/>
                  <a:gd name="T15" fmla="*/ 90 h 101"/>
                  <a:gd name="T16" fmla="*/ 16 w 55"/>
                  <a:gd name="T17" fmla="*/ 90 h 101"/>
                  <a:gd name="T18" fmla="*/ 10 w 55"/>
                  <a:gd name="T19" fmla="*/ 89 h 101"/>
                  <a:gd name="T20" fmla="*/ 4 w 55"/>
                  <a:gd name="T21" fmla="*/ 87 h 101"/>
                  <a:gd name="T22" fmla="*/ 1 w 55"/>
                  <a:gd name="T23" fmla="*/ 85 h 101"/>
                  <a:gd name="T24" fmla="*/ 1 w 55"/>
                  <a:gd name="T25" fmla="*/ 64 h 101"/>
                  <a:gd name="T26" fmla="*/ 12 w 55"/>
                  <a:gd name="T27" fmla="*/ 71 h 101"/>
                  <a:gd name="T28" fmla="*/ 24 w 55"/>
                  <a:gd name="T29" fmla="*/ 73 h 101"/>
                  <a:gd name="T30" fmla="*/ 27 w 55"/>
                  <a:gd name="T31" fmla="*/ 72 h 101"/>
                  <a:gd name="T32" fmla="*/ 29 w 55"/>
                  <a:gd name="T33" fmla="*/ 71 h 101"/>
                  <a:gd name="T34" fmla="*/ 30 w 55"/>
                  <a:gd name="T35" fmla="*/ 69 h 101"/>
                  <a:gd name="T36" fmla="*/ 30 w 55"/>
                  <a:gd name="T37" fmla="*/ 67 h 101"/>
                  <a:gd name="T38" fmla="*/ 30 w 55"/>
                  <a:gd name="T39" fmla="*/ 65 h 101"/>
                  <a:gd name="T40" fmla="*/ 28 w 55"/>
                  <a:gd name="T41" fmla="*/ 63 h 101"/>
                  <a:gd name="T42" fmla="*/ 25 w 55"/>
                  <a:gd name="T43" fmla="*/ 61 h 101"/>
                  <a:gd name="T44" fmla="*/ 18 w 55"/>
                  <a:gd name="T45" fmla="*/ 58 h 101"/>
                  <a:gd name="T46" fmla="*/ 10 w 55"/>
                  <a:gd name="T47" fmla="*/ 54 h 101"/>
                  <a:gd name="T48" fmla="*/ 4 w 55"/>
                  <a:gd name="T49" fmla="*/ 48 h 101"/>
                  <a:gd name="T50" fmla="*/ 1 w 55"/>
                  <a:gd name="T51" fmla="*/ 42 h 101"/>
                  <a:gd name="T52" fmla="*/ 0 w 55"/>
                  <a:gd name="T53" fmla="*/ 35 h 101"/>
                  <a:gd name="T54" fmla="*/ 2 w 55"/>
                  <a:gd name="T55" fmla="*/ 26 h 101"/>
                  <a:gd name="T56" fmla="*/ 6 w 55"/>
                  <a:gd name="T57" fmla="*/ 19 h 101"/>
                  <a:gd name="T58" fmla="*/ 13 w 55"/>
                  <a:gd name="T59" fmla="*/ 14 h 101"/>
                  <a:gd name="T60" fmla="*/ 22 w 55"/>
                  <a:gd name="T61" fmla="*/ 11 h 101"/>
                  <a:gd name="T62" fmla="*/ 22 w 55"/>
                  <a:gd name="T63" fmla="*/ 0 h 101"/>
                  <a:gd name="T64" fmla="*/ 35 w 55"/>
                  <a:gd name="T65" fmla="*/ 0 h 101"/>
                  <a:gd name="T66" fmla="*/ 35 w 55"/>
                  <a:gd name="T67" fmla="*/ 11 h 101"/>
                  <a:gd name="T68" fmla="*/ 45 w 55"/>
                  <a:gd name="T69" fmla="*/ 12 h 101"/>
                  <a:gd name="T70" fmla="*/ 52 w 55"/>
                  <a:gd name="T71" fmla="*/ 13 h 101"/>
                  <a:gd name="T72" fmla="*/ 52 w 55"/>
                  <a:gd name="T73" fmla="*/ 34 h 101"/>
                  <a:gd name="T74" fmla="*/ 48 w 55"/>
                  <a:gd name="T75" fmla="*/ 32 h 101"/>
                  <a:gd name="T76" fmla="*/ 43 w 55"/>
                  <a:gd name="T77" fmla="*/ 30 h 101"/>
                  <a:gd name="T78" fmla="*/ 37 w 55"/>
                  <a:gd name="T79" fmla="*/ 28 h 101"/>
                  <a:gd name="T80" fmla="*/ 31 w 55"/>
                  <a:gd name="T81" fmla="*/ 28 h 101"/>
                  <a:gd name="T82" fmla="*/ 28 w 55"/>
                  <a:gd name="T83" fmla="*/ 28 h 101"/>
                  <a:gd name="T84" fmla="*/ 26 w 55"/>
                  <a:gd name="T85" fmla="*/ 29 h 101"/>
                  <a:gd name="T86" fmla="*/ 25 w 55"/>
                  <a:gd name="T87" fmla="*/ 31 h 101"/>
                  <a:gd name="T88" fmla="*/ 24 w 55"/>
                  <a:gd name="T89" fmla="*/ 33 h 101"/>
                  <a:gd name="T90" fmla="*/ 25 w 55"/>
                  <a:gd name="T91" fmla="*/ 35 h 101"/>
                  <a:gd name="T92" fmla="*/ 26 w 55"/>
                  <a:gd name="T93" fmla="*/ 37 h 101"/>
                  <a:gd name="T94" fmla="*/ 29 w 55"/>
                  <a:gd name="T95" fmla="*/ 39 h 101"/>
                  <a:gd name="T96" fmla="*/ 34 w 55"/>
                  <a:gd name="T97" fmla="*/ 41 h 101"/>
                  <a:gd name="T98" fmla="*/ 44 w 55"/>
                  <a:gd name="T99" fmla="*/ 46 h 101"/>
                  <a:gd name="T100" fmla="*/ 51 w 55"/>
                  <a:gd name="T101" fmla="*/ 52 h 101"/>
                  <a:gd name="T102" fmla="*/ 54 w 55"/>
                  <a:gd name="T103" fmla="*/ 59 h 101"/>
                  <a:gd name="T104" fmla="*/ 55 w 55"/>
                  <a:gd name="T105" fmla="*/ 66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55" h="101">
                    <a:moveTo>
                      <a:pt x="55" y="66"/>
                    </a:moveTo>
                    <a:cubicBezTo>
                      <a:pt x="55" y="67"/>
                      <a:pt x="55" y="70"/>
                      <a:pt x="55" y="72"/>
                    </a:cubicBezTo>
                    <a:cubicBezTo>
                      <a:pt x="54" y="74"/>
                      <a:pt x="53" y="76"/>
                      <a:pt x="51" y="78"/>
                    </a:cubicBezTo>
                    <a:cubicBezTo>
                      <a:pt x="50" y="81"/>
                      <a:pt x="48" y="82"/>
                      <a:pt x="45" y="84"/>
                    </a:cubicBezTo>
                    <a:cubicBezTo>
                      <a:pt x="43" y="86"/>
                      <a:pt x="39" y="88"/>
                      <a:pt x="35" y="89"/>
                    </a:cubicBezTo>
                    <a:cubicBezTo>
                      <a:pt x="35" y="101"/>
                      <a:pt x="35" y="101"/>
                      <a:pt x="35" y="101"/>
                    </a:cubicBezTo>
                    <a:cubicBezTo>
                      <a:pt x="22" y="101"/>
                      <a:pt x="22" y="101"/>
                      <a:pt x="22" y="101"/>
                    </a:cubicBezTo>
                    <a:cubicBezTo>
                      <a:pt x="22" y="90"/>
                      <a:pt x="22" y="90"/>
                      <a:pt x="22" y="90"/>
                    </a:cubicBezTo>
                    <a:cubicBezTo>
                      <a:pt x="20" y="90"/>
                      <a:pt x="18" y="90"/>
                      <a:pt x="16" y="90"/>
                    </a:cubicBezTo>
                    <a:cubicBezTo>
                      <a:pt x="14" y="89"/>
                      <a:pt x="12" y="89"/>
                      <a:pt x="10" y="89"/>
                    </a:cubicBezTo>
                    <a:cubicBezTo>
                      <a:pt x="8" y="88"/>
                      <a:pt x="6" y="88"/>
                      <a:pt x="4" y="87"/>
                    </a:cubicBezTo>
                    <a:cubicBezTo>
                      <a:pt x="3" y="87"/>
                      <a:pt x="2" y="86"/>
                      <a:pt x="1" y="85"/>
                    </a:cubicBezTo>
                    <a:cubicBezTo>
                      <a:pt x="1" y="64"/>
                      <a:pt x="1" y="64"/>
                      <a:pt x="1" y="64"/>
                    </a:cubicBezTo>
                    <a:cubicBezTo>
                      <a:pt x="5" y="67"/>
                      <a:pt x="8" y="69"/>
                      <a:pt x="12" y="71"/>
                    </a:cubicBezTo>
                    <a:cubicBezTo>
                      <a:pt x="16" y="72"/>
                      <a:pt x="20" y="73"/>
                      <a:pt x="24" y="73"/>
                    </a:cubicBezTo>
                    <a:cubicBezTo>
                      <a:pt x="25" y="73"/>
                      <a:pt x="26" y="73"/>
                      <a:pt x="27" y="72"/>
                    </a:cubicBezTo>
                    <a:cubicBezTo>
                      <a:pt x="27" y="72"/>
                      <a:pt x="28" y="72"/>
                      <a:pt x="29" y="71"/>
                    </a:cubicBezTo>
                    <a:cubicBezTo>
                      <a:pt x="29" y="71"/>
                      <a:pt x="30" y="70"/>
                      <a:pt x="30" y="69"/>
                    </a:cubicBezTo>
                    <a:cubicBezTo>
                      <a:pt x="30" y="69"/>
                      <a:pt x="30" y="68"/>
                      <a:pt x="30" y="67"/>
                    </a:cubicBezTo>
                    <a:cubicBezTo>
                      <a:pt x="30" y="67"/>
                      <a:pt x="30" y="66"/>
                      <a:pt x="30" y="65"/>
                    </a:cubicBezTo>
                    <a:cubicBezTo>
                      <a:pt x="30" y="65"/>
                      <a:pt x="29" y="64"/>
                      <a:pt x="28" y="63"/>
                    </a:cubicBezTo>
                    <a:cubicBezTo>
                      <a:pt x="27" y="63"/>
                      <a:pt x="26" y="62"/>
                      <a:pt x="25" y="61"/>
                    </a:cubicBezTo>
                    <a:cubicBezTo>
                      <a:pt x="23" y="60"/>
                      <a:pt x="21" y="59"/>
                      <a:pt x="18" y="58"/>
                    </a:cubicBezTo>
                    <a:cubicBezTo>
                      <a:pt x="15" y="57"/>
                      <a:pt x="12" y="55"/>
                      <a:pt x="10" y="54"/>
                    </a:cubicBezTo>
                    <a:cubicBezTo>
                      <a:pt x="7" y="52"/>
                      <a:pt x="6" y="50"/>
                      <a:pt x="4" y="48"/>
                    </a:cubicBezTo>
                    <a:cubicBezTo>
                      <a:pt x="3" y="46"/>
                      <a:pt x="2" y="44"/>
                      <a:pt x="1" y="42"/>
                    </a:cubicBezTo>
                    <a:cubicBezTo>
                      <a:pt x="0" y="40"/>
                      <a:pt x="0" y="37"/>
                      <a:pt x="0" y="35"/>
                    </a:cubicBezTo>
                    <a:cubicBezTo>
                      <a:pt x="0" y="32"/>
                      <a:pt x="1" y="29"/>
                      <a:pt x="2" y="26"/>
                    </a:cubicBezTo>
                    <a:cubicBezTo>
                      <a:pt x="3" y="24"/>
                      <a:pt x="4" y="21"/>
                      <a:pt x="6" y="19"/>
                    </a:cubicBezTo>
                    <a:cubicBezTo>
                      <a:pt x="8" y="17"/>
                      <a:pt x="10" y="15"/>
                      <a:pt x="13" y="14"/>
                    </a:cubicBezTo>
                    <a:cubicBezTo>
                      <a:pt x="16" y="13"/>
                      <a:pt x="19" y="12"/>
                      <a:pt x="22" y="11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35" y="11"/>
                      <a:pt x="35" y="11"/>
                      <a:pt x="35" y="11"/>
                    </a:cubicBezTo>
                    <a:cubicBezTo>
                      <a:pt x="39" y="11"/>
                      <a:pt x="42" y="11"/>
                      <a:pt x="45" y="12"/>
                    </a:cubicBezTo>
                    <a:cubicBezTo>
                      <a:pt x="47" y="12"/>
                      <a:pt x="50" y="13"/>
                      <a:pt x="52" y="13"/>
                    </a:cubicBezTo>
                    <a:cubicBezTo>
                      <a:pt x="52" y="34"/>
                      <a:pt x="52" y="34"/>
                      <a:pt x="52" y="34"/>
                    </a:cubicBezTo>
                    <a:cubicBezTo>
                      <a:pt x="50" y="33"/>
                      <a:pt x="49" y="32"/>
                      <a:pt x="48" y="32"/>
                    </a:cubicBezTo>
                    <a:cubicBezTo>
                      <a:pt x="46" y="31"/>
                      <a:pt x="45" y="30"/>
                      <a:pt x="43" y="30"/>
                    </a:cubicBezTo>
                    <a:cubicBezTo>
                      <a:pt x="41" y="29"/>
                      <a:pt x="39" y="29"/>
                      <a:pt x="37" y="28"/>
                    </a:cubicBezTo>
                    <a:cubicBezTo>
                      <a:pt x="35" y="28"/>
                      <a:pt x="33" y="28"/>
                      <a:pt x="31" y="28"/>
                    </a:cubicBezTo>
                    <a:cubicBezTo>
                      <a:pt x="30" y="28"/>
                      <a:pt x="29" y="28"/>
                      <a:pt x="28" y="28"/>
                    </a:cubicBezTo>
                    <a:cubicBezTo>
                      <a:pt x="27" y="28"/>
                      <a:pt x="27" y="29"/>
                      <a:pt x="26" y="29"/>
                    </a:cubicBezTo>
                    <a:cubicBezTo>
                      <a:pt x="26" y="30"/>
                      <a:pt x="25" y="30"/>
                      <a:pt x="25" y="31"/>
                    </a:cubicBezTo>
                    <a:cubicBezTo>
                      <a:pt x="24" y="31"/>
                      <a:pt x="24" y="32"/>
                      <a:pt x="24" y="33"/>
                    </a:cubicBezTo>
                    <a:cubicBezTo>
                      <a:pt x="24" y="33"/>
                      <a:pt x="24" y="34"/>
                      <a:pt x="25" y="35"/>
                    </a:cubicBezTo>
                    <a:cubicBezTo>
                      <a:pt x="25" y="35"/>
                      <a:pt x="25" y="36"/>
                      <a:pt x="26" y="37"/>
                    </a:cubicBezTo>
                    <a:cubicBezTo>
                      <a:pt x="26" y="37"/>
                      <a:pt x="27" y="38"/>
                      <a:pt x="29" y="39"/>
                    </a:cubicBezTo>
                    <a:cubicBezTo>
                      <a:pt x="30" y="39"/>
                      <a:pt x="32" y="40"/>
                      <a:pt x="34" y="41"/>
                    </a:cubicBezTo>
                    <a:cubicBezTo>
                      <a:pt x="38" y="43"/>
                      <a:pt x="41" y="45"/>
                      <a:pt x="44" y="46"/>
                    </a:cubicBezTo>
                    <a:cubicBezTo>
                      <a:pt x="47" y="48"/>
                      <a:pt x="49" y="50"/>
                      <a:pt x="51" y="52"/>
                    </a:cubicBezTo>
                    <a:cubicBezTo>
                      <a:pt x="52" y="54"/>
                      <a:pt x="54" y="56"/>
                      <a:pt x="54" y="59"/>
                    </a:cubicBezTo>
                    <a:cubicBezTo>
                      <a:pt x="55" y="61"/>
                      <a:pt x="55" y="63"/>
                      <a:pt x="55" y="66"/>
                    </a:cubicBezTo>
                    <a:close/>
                  </a:path>
                </a:pathLst>
              </a:custGeom>
              <a:solidFill>
                <a:srgbClr val="00B2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5" name="Freeform 7"/>
              <p:cNvSpPr>
                <a:spLocks/>
              </p:cNvSpPr>
              <p:nvPr/>
            </p:nvSpPr>
            <p:spPr bwMode="auto">
              <a:xfrm>
                <a:off x="2693158" y="2226506"/>
                <a:ext cx="286630" cy="528302"/>
              </a:xfrm>
              <a:custGeom>
                <a:avLst/>
                <a:gdLst>
                  <a:gd name="T0" fmla="*/ 73 w 73"/>
                  <a:gd name="T1" fmla="*/ 86 h 134"/>
                  <a:gd name="T2" fmla="*/ 72 w 73"/>
                  <a:gd name="T3" fmla="*/ 95 h 134"/>
                  <a:gd name="T4" fmla="*/ 68 w 73"/>
                  <a:gd name="T5" fmla="*/ 103 h 134"/>
                  <a:gd name="T6" fmla="*/ 60 w 73"/>
                  <a:gd name="T7" fmla="*/ 111 h 134"/>
                  <a:gd name="T8" fmla="*/ 47 w 73"/>
                  <a:gd name="T9" fmla="*/ 117 h 134"/>
                  <a:gd name="T10" fmla="*/ 47 w 73"/>
                  <a:gd name="T11" fmla="*/ 134 h 134"/>
                  <a:gd name="T12" fmla="*/ 29 w 73"/>
                  <a:gd name="T13" fmla="*/ 134 h 134"/>
                  <a:gd name="T14" fmla="*/ 29 w 73"/>
                  <a:gd name="T15" fmla="*/ 119 h 134"/>
                  <a:gd name="T16" fmla="*/ 21 w 73"/>
                  <a:gd name="T17" fmla="*/ 118 h 134"/>
                  <a:gd name="T18" fmla="*/ 13 w 73"/>
                  <a:gd name="T19" fmla="*/ 117 h 134"/>
                  <a:gd name="T20" fmla="*/ 6 w 73"/>
                  <a:gd name="T21" fmla="*/ 115 h 134"/>
                  <a:gd name="T22" fmla="*/ 1 w 73"/>
                  <a:gd name="T23" fmla="*/ 113 h 134"/>
                  <a:gd name="T24" fmla="*/ 1 w 73"/>
                  <a:gd name="T25" fmla="*/ 85 h 134"/>
                  <a:gd name="T26" fmla="*/ 16 w 73"/>
                  <a:gd name="T27" fmla="*/ 93 h 134"/>
                  <a:gd name="T28" fmla="*/ 31 w 73"/>
                  <a:gd name="T29" fmla="*/ 96 h 134"/>
                  <a:gd name="T30" fmla="*/ 35 w 73"/>
                  <a:gd name="T31" fmla="*/ 95 h 134"/>
                  <a:gd name="T32" fmla="*/ 38 w 73"/>
                  <a:gd name="T33" fmla="*/ 94 h 134"/>
                  <a:gd name="T34" fmla="*/ 39 w 73"/>
                  <a:gd name="T35" fmla="*/ 92 h 134"/>
                  <a:gd name="T36" fmla="*/ 40 w 73"/>
                  <a:gd name="T37" fmla="*/ 89 h 134"/>
                  <a:gd name="T38" fmla="*/ 39 w 73"/>
                  <a:gd name="T39" fmla="*/ 86 h 134"/>
                  <a:gd name="T40" fmla="*/ 37 w 73"/>
                  <a:gd name="T41" fmla="*/ 83 h 134"/>
                  <a:gd name="T42" fmla="*/ 32 w 73"/>
                  <a:gd name="T43" fmla="*/ 80 h 134"/>
                  <a:gd name="T44" fmla="*/ 24 w 73"/>
                  <a:gd name="T45" fmla="*/ 77 h 134"/>
                  <a:gd name="T46" fmla="*/ 13 w 73"/>
                  <a:gd name="T47" fmla="*/ 71 h 134"/>
                  <a:gd name="T48" fmla="*/ 5 w 73"/>
                  <a:gd name="T49" fmla="*/ 63 h 134"/>
                  <a:gd name="T50" fmla="*/ 1 w 73"/>
                  <a:gd name="T51" fmla="*/ 55 h 134"/>
                  <a:gd name="T52" fmla="*/ 0 w 73"/>
                  <a:gd name="T53" fmla="*/ 46 h 134"/>
                  <a:gd name="T54" fmla="*/ 2 w 73"/>
                  <a:gd name="T55" fmla="*/ 34 h 134"/>
                  <a:gd name="T56" fmla="*/ 8 w 73"/>
                  <a:gd name="T57" fmla="*/ 25 h 134"/>
                  <a:gd name="T58" fmla="*/ 17 w 73"/>
                  <a:gd name="T59" fmla="*/ 18 h 134"/>
                  <a:gd name="T60" fmla="*/ 29 w 73"/>
                  <a:gd name="T61" fmla="*/ 15 h 134"/>
                  <a:gd name="T62" fmla="*/ 29 w 73"/>
                  <a:gd name="T63" fmla="*/ 0 h 134"/>
                  <a:gd name="T64" fmla="*/ 47 w 73"/>
                  <a:gd name="T65" fmla="*/ 0 h 134"/>
                  <a:gd name="T66" fmla="*/ 47 w 73"/>
                  <a:gd name="T67" fmla="*/ 14 h 134"/>
                  <a:gd name="T68" fmla="*/ 59 w 73"/>
                  <a:gd name="T69" fmla="*/ 15 h 134"/>
                  <a:gd name="T70" fmla="*/ 68 w 73"/>
                  <a:gd name="T71" fmla="*/ 17 h 134"/>
                  <a:gd name="T72" fmla="*/ 68 w 73"/>
                  <a:gd name="T73" fmla="*/ 44 h 134"/>
                  <a:gd name="T74" fmla="*/ 63 w 73"/>
                  <a:gd name="T75" fmla="*/ 41 h 134"/>
                  <a:gd name="T76" fmla="*/ 56 w 73"/>
                  <a:gd name="T77" fmla="*/ 39 h 134"/>
                  <a:gd name="T78" fmla="*/ 49 w 73"/>
                  <a:gd name="T79" fmla="*/ 37 h 134"/>
                  <a:gd name="T80" fmla="*/ 41 w 73"/>
                  <a:gd name="T81" fmla="*/ 36 h 134"/>
                  <a:gd name="T82" fmla="*/ 37 w 73"/>
                  <a:gd name="T83" fmla="*/ 37 h 134"/>
                  <a:gd name="T84" fmla="*/ 34 w 73"/>
                  <a:gd name="T85" fmla="*/ 38 h 134"/>
                  <a:gd name="T86" fmla="*/ 33 w 73"/>
                  <a:gd name="T87" fmla="*/ 40 h 134"/>
                  <a:gd name="T88" fmla="*/ 32 w 73"/>
                  <a:gd name="T89" fmla="*/ 43 h 134"/>
                  <a:gd name="T90" fmla="*/ 32 w 73"/>
                  <a:gd name="T91" fmla="*/ 45 h 134"/>
                  <a:gd name="T92" fmla="*/ 34 w 73"/>
                  <a:gd name="T93" fmla="*/ 48 h 134"/>
                  <a:gd name="T94" fmla="*/ 38 w 73"/>
                  <a:gd name="T95" fmla="*/ 51 h 134"/>
                  <a:gd name="T96" fmla="*/ 45 w 73"/>
                  <a:gd name="T97" fmla="*/ 54 h 134"/>
                  <a:gd name="T98" fmla="*/ 58 w 73"/>
                  <a:gd name="T99" fmla="*/ 61 h 134"/>
                  <a:gd name="T100" fmla="*/ 67 w 73"/>
                  <a:gd name="T101" fmla="*/ 69 h 134"/>
                  <a:gd name="T102" fmla="*/ 72 w 73"/>
                  <a:gd name="T103" fmla="*/ 77 h 134"/>
                  <a:gd name="T104" fmla="*/ 73 w 73"/>
                  <a:gd name="T105" fmla="*/ 86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73" h="134">
                    <a:moveTo>
                      <a:pt x="73" y="86"/>
                    </a:moveTo>
                    <a:cubicBezTo>
                      <a:pt x="73" y="89"/>
                      <a:pt x="73" y="92"/>
                      <a:pt x="72" y="95"/>
                    </a:cubicBezTo>
                    <a:cubicBezTo>
                      <a:pt x="71" y="98"/>
                      <a:pt x="70" y="101"/>
                      <a:pt x="68" y="103"/>
                    </a:cubicBezTo>
                    <a:cubicBezTo>
                      <a:pt x="66" y="106"/>
                      <a:pt x="63" y="109"/>
                      <a:pt x="60" y="111"/>
                    </a:cubicBezTo>
                    <a:cubicBezTo>
                      <a:pt x="56" y="114"/>
                      <a:pt x="52" y="115"/>
                      <a:pt x="47" y="117"/>
                    </a:cubicBezTo>
                    <a:cubicBezTo>
                      <a:pt x="47" y="134"/>
                      <a:pt x="47" y="134"/>
                      <a:pt x="47" y="134"/>
                    </a:cubicBezTo>
                    <a:cubicBezTo>
                      <a:pt x="29" y="134"/>
                      <a:pt x="29" y="134"/>
                      <a:pt x="29" y="134"/>
                    </a:cubicBezTo>
                    <a:cubicBezTo>
                      <a:pt x="29" y="119"/>
                      <a:pt x="29" y="119"/>
                      <a:pt x="29" y="119"/>
                    </a:cubicBezTo>
                    <a:cubicBezTo>
                      <a:pt x="27" y="119"/>
                      <a:pt x="24" y="119"/>
                      <a:pt x="21" y="118"/>
                    </a:cubicBezTo>
                    <a:cubicBezTo>
                      <a:pt x="18" y="118"/>
                      <a:pt x="15" y="117"/>
                      <a:pt x="13" y="117"/>
                    </a:cubicBezTo>
                    <a:cubicBezTo>
                      <a:pt x="10" y="116"/>
                      <a:pt x="8" y="116"/>
                      <a:pt x="6" y="115"/>
                    </a:cubicBezTo>
                    <a:cubicBezTo>
                      <a:pt x="4" y="114"/>
                      <a:pt x="2" y="113"/>
                      <a:pt x="1" y="113"/>
                    </a:cubicBezTo>
                    <a:cubicBezTo>
                      <a:pt x="1" y="85"/>
                      <a:pt x="1" y="85"/>
                      <a:pt x="1" y="85"/>
                    </a:cubicBezTo>
                    <a:cubicBezTo>
                      <a:pt x="6" y="88"/>
                      <a:pt x="11" y="91"/>
                      <a:pt x="16" y="93"/>
                    </a:cubicBezTo>
                    <a:cubicBezTo>
                      <a:pt x="21" y="95"/>
                      <a:pt x="26" y="96"/>
                      <a:pt x="31" y="96"/>
                    </a:cubicBezTo>
                    <a:cubicBezTo>
                      <a:pt x="33" y="96"/>
                      <a:pt x="34" y="96"/>
                      <a:pt x="35" y="95"/>
                    </a:cubicBezTo>
                    <a:cubicBezTo>
                      <a:pt x="36" y="95"/>
                      <a:pt x="37" y="94"/>
                      <a:pt x="38" y="94"/>
                    </a:cubicBezTo>
                    <a:cubicBezTo>
                      <a:pt x="38" y="93"/>
                      <a:pt x="39" y="92"/>
                      <a:pt x="39" y="92"/>
                    </a:cubicBezTo>
                    <a:cubicBezTo>
                      <a:pt x="39" y="91"/>
                      <a:pt x="40" y="90"/>
                      <a:pt x="40" y="89"/>
                    </a:cubicBezTo>
                    <a:cubicBezTo>
                      <a:pt x="40" y="88"/>
                      <a:pt x="40" y="87"/>
                      <a:pt x="39" y="86"/>
                    </a:cubicBezTo>
                    <a:cubicBezTo>
                      <a:pt x="39" y="85"/>
                      <a:pt x="38" y="84"/>
                      <a:pt x="37" y="83"/>
                    </a:cubicBezTo>
                    <a:cubicBezTo>
                      <a:pt x="36" y="82"/>
                      <a:pt x="35" y="81"/>
                      <a:pt x="32" y="80"/>
                    </a:cubicBezTo>
                    <a:cubicBezTo>
                      <a:pt x="30" y="79"/>
                      <a:pt x="28" y="78"/>
                      <a:pt x="24" y="77"/>
                    </a:cubicBezTo>
                    <a:cubicBezTo>
                      <a:pt x="20" y="75"/>
                      <a:pt x="16" y="73"/>
                      <a:pt x="13" y="71"/>
                    </a:cubicBezTo>
                    <a:cubicBezTo>
                      <a:pt x="10" y="68"/>
                      <a:pt x="7" y="66"/>
                      <a:pt x="5" y="63"/>
                    </a:cubicBezTo>
                    <a:cubicBezTo>
                      <a:pt x="3" y="61"/>
                      <a:pt x="2" y="58"/>
                      <a:pt x="1" y="55"/>
                    </a:cubicBezTo>
                    <a:cubicBezTo>
                      <a:pt x="0" y="52"/>
                      <a:pt x="0" y="49"/>
                      <a:pt x="0" y="46"/>
                    </a:cubicBezTo>
                    <a:cubicBezTo>
                      <a:pt x="0" y="42"/>
                      <a:pt x="1" y="38"/>
                      <a:pt x="2" y="34"/>
                    </a:cubicBezTo>
                    <a:cubicBezTo>
                      <a:pt x="3" y="31"/>
                      <a:pt x="5" y="28"/>
                      <a:pt x="8" y="25"/>
                    </a:cubicBezTo>
                    <a:cubicBezTo>
                      <a:pt x="10" y="22"/>
                      <a:pt x="13" y="20"/>
                      <a:pt x="17" y="18"/>
                    </a:cubicBezTo>
                    <a:cubicBezTo>
                      <a:pt x="21" y="17"/>
                      <a:pt x="25" y="15"/>
                      <a:pt x="29" y="15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7" y="14"/>
                      <a:pt x="47" y="14"/>
                      <a:pt x="47" y="14"/>
                    </a:cubicBezTo>
                    <a:cubicBezTo>
                      <a:pt x="51" y="14"/>
                      <a:pt x="55" y="14"/>
                      <a:pt x="59" y="15"/>
                    </a:cubicBezTo>
                    <a:cubicBezTo>
                      <a:pt x="63" y="16"/>
                      <a:pt x="66" y="16"/>
                      <a:pt x="68" y="17"/>
                    </a:cubicBezTo>
                    <a:cubicBezTo>
                      <a:pt x="68" y="44"/>
                      <a:pt x="68" y="44"/>
                      <a:pt x="68" y="44"/>
                    </a:cubicBezTo>
                    <a:cubicBezTo>
                      <a:pt x="67" y="43"/>
                      <a:pt x="65" y="42"/>
                      <a:pt x="63" y="41"/>
                    </a:cubicBezTo>
                    <a:cubicBezTo>
                      <a:pt x="61" y="41"/>
                      <a:pt x="59" y="40"/>
                      <a:pt x="56" y="39"/>
                    </a:cubicBezTo>
                    <a:cubicBezTo>
                      <a:pt x="54" y="38"/>
                      <a:pt x="52" y="38"/>
                      <a:pt x="49" y="37"/>
                    </a:cubicBezTo>
                    <a:cubicBezTo>
                      <a:pt x="46" y="37"/>
                      <a:pt x="44" y="36"/>
                      <a:pt x="41" y="36"/>
                    </a:cubicBezTo>
                    <a:cubicBezTo>
                      <a:pt x="40" y="36"/>
                      <a:pt x="38" y="37"/>
                      <a:pt x="37" y="37"/>
                    </a:cubicBezTo>
                    <a:cubicBezTo>
                      <a:pt x="36" y="37"/>
                      <a:pt x="35" y="38"/>
                      <a:pt x="34" y="38"/>
                    </a:cubicBezTo>
                    <a:cubicBezTo>
                      <a:pt x="34" y="39"/>
                      <a:pt x="33" y="40"/>
                      <a:pt x="33" y="40"/>
                    </a:cubicBezTo>
                    <a:cubicBezTo>
                      <a:pt x="32" y="41"/>
                      <a:pt x="32" y="42"/>
                      <a:pt x="32" y="43"/>
                    </a:cubicBezTo>
                    <a:cubicBezTo>
                      <a:pt x="32" y="44"/>
                      <a:pt x="32" y="45"/>
                      <a:pt x="32" y="45"/>
                    </a:cubicBezTo>
                    <a:cubicBezTo>
                      <a:pt x="33" y="46"/>
                      <a:pt x="33" y="47"/>
                      <a:pt x="34" y="48"/>
                    </a:cubicBezTo>
                    <a:cubicBezTo>
                      <a:pt x="35" y="49"/>
                      <a:pt x="36" y="50"/>
                      <a:pt x="38" y="51"/>
                    </a:cubicBezTo>
                    <a:cubicBezTo>
                      <a:pt x="40" y="52"/>
                      <a:pt x="42" y="53"/>
                      <a:pt x="45" y="54"/>
                    </a:cubicBezTo>
                    <a:cubicBezTo>
                      <a:pt x="50" y="57"/>
                      <a:pt x="55" y="59"/>
                      <a:pt x="58" y="61"/>
                    </a:cubicBezTo>
                    <a:cubicBezTo>
                      <a:pt x="62" y="64"/>
                      <a:pt x="65" y="66"/>
                      <a:pt x="67" y="69"/>
                    </a:cubicBezTo>
                    <a:cubicBezTo>
                      <a:pt x="69" y="72"/>
                      <a:pt x="71" y="74"/>
                      <a:pt x="72" y="77"/>
                    </a:cubicBezTo>
                    <a:cubicBezTo>
                      <a:pt x="73" y="80"/>
                      <a:pt x="73" y="83"/>
                      <a:pt x="73" y="86"/>
                    </a:cubicBezTo>
                    <a:close/>
                  </a:path>
                </a:pathLst>
              </a:custGeom>
              <a:solidFill>
                <a:srgbClr val="00B2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789092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669701"/>
            <a:ext cx="12192000" cy="682581"/>
          </a:xfrm>
          <a:prstGeom prst="rect">
            <a:avLst/>
          </a:prstGeom>
          <a:solidFill>
            <a:srgbClr val="3F47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4400" b="1" i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	SMB TV</a:t>
            </a:r>
            <a:endParaRPr lang="en-US" sz="4400" b="1" i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428" b="19732"/>
          <a:stretch/>
        </p:blipFill>
        <p:spPr>
          <a:xfrm>
            <a:off x="9401577" y="772731"/>
            <a:ext cx="2129242" cy="47652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0" y="2470597"/>
            <a:ext cx="12192000" cy="991674"/>
          </a:xfrm>
          <a:prstGeom prst="rect">
            <a:avLst/>
          </a:prstGeom>
          <a:solidFill>
            <a:srgbClr val="3F47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4400" b="1" i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	SMB TV</a:t>
            </a:r>
            <a:endParaRPr lang="en-US" sz="4400" b="1" i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5072" y="4453944"/>
            <a:ext cx="2693013" cy="990607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9636077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9" name="Group 328"/>
          <p:cNvGrpSpPr/>
          <p:nvPr/>
        </p:nvGrpSpPr>
        <p:grpSpPr>
          <a:xfrm>
            <a:off x="1291493" y="3405786"/>
            <a:ext cx="9334503" cy="3145293"/>
            <a:chOff x="1272606" y="2503041"/>
            <a:chExt cx="9334503" cy="3145293"/>
          </a:xfrm>
        </p:grpSpPr>
        <p:sp>
          <p:nvSpPr>
            <p:cNvPr id="51" name="Rectangle 50"/>
            <p:cNvSpPr/>
            <p:nvPr/>
          </p:nvSpPr>
          <p:spPr>
            <a:xfrm>
              <a:off x="1272606" y="2503041"/>
              <a:ext cx="9334503" cy="3143250"/>
            </a:xfrm>
            <a:prstGeom prst="rect">
              <a:avLst/>
            </a:prstGeom>
            <a:solidFill>
              <a:srgbClr val="B400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" name="Rectangle 51"/>
            <p:cNvSpPr/>
            <p:nvPr/>
          </p:nvSpPr>
          <p:spPr>
            <a:xfrm>
              <a:off x="1272607" y="2503041"/>
              <a:ext cx="2428536" cy="3143250"/>
            </a:xfrm>
            <a:prstGeom prst="rect">
              <a:avLst/>
            </a:prstGeom>
            <a:solidFill>
              <a:srgbClr val="5C00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Rectangle 52"/>
            <p:cNvSpPr/>
            <p:nvPr/>
          </p:nvSpPr>
          <p:spPr>
            <a:xfrm>
              <a:off x="3967758" y="3013805"/>
              <a:ext cx="5823322" cy="1587323"/>
            </a:xfrm>
            <a:prstGeom prst="rect">
              <a:avLst/>
            </a:prstGeom>
            <a:solidFill>
              <a:srgbClr val="B400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82880"/>
              <a:endParaRPr lang="en-US" sz="2800" dirty="0" smtClean="0"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82880"/>
              <a:r>
                <a:rPr lang="en-US" sz="3600" dirty="0" smtClean="0">
                  <a:latin typeface="Segoe UI Light" panose="020B0502040204020203" pitchFamily="34" charset="0"/>
                  <a:cs typeface="Segoe UI Light" panose="020B0502040204020203" pitchFamily="34" charset="0"/>
                </a:rPr>
                <a:t>Discover tools for better marketing</a:t>
              </a:r>
            </a:p>
            <a:p>
              <a:pPr marL="182880"/>
              <a:endParaRPr lang="en-US" sz="2800" dirty="0" smtClean="0"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82880"/>
              <a:r>
                <a:rPr lang="en-US" dirty="0" smtClean="0">
                  <a:latin typeface="Segoe UI" panose="020B0502040204020203" pitchFamily="34" charset="0"/>
                  <a:cs typeface="Segoe UI" panose="020B0502040204020203" pitchFamily="34" charset="0"/>
                </a:rPr>
                <a:t>Learn about marketing planning &amp; ROI, nurture marketing, and more with our marketing best practices resources.</a:t>
              </a:r>
            </a:p>
          </p:txBody>
        </p:sp>
        <p:sp>
          <p:nvSpPr>
            <p:cNvPr id="54" name="Freeform 9"/>
            <p:cNvSpPr>
              <a:spLocks noEditPoints="1"/>
            </p:cNvSpPr>
            <p:nvPr/>
          </p:nvSpPr>
          <p:spPr bwMode="black">
            <a:xfrm>
              <a:off x="9329726" y="4471520"/>
              <a:ext cx="718542" cy="721463"/>
            </a:xfrm>
            <a:custGeom>
              <a:avLst/>
              <a:gdLst>
                <a:gd name="T0" fmla="*/ 88 w 149"/>
                <a:gd name="T1" fmla="*/ 67 h 149"/>
                <a:gd name="T2" fmla="*/ 65 w 149"/>
                <a:gd name="T3" fmla="*/ 46 h 149"/>
                <a:gd name="T4" fmla="*/ 84 w 149"/>
                <a:gd name="T5" fmla="*/ 46 h 149"/>
                <a:gd name="T6" fmla="*/ 115 w 149"/>
                <a:gd name="T7" fmla="*/ 75 h 149"/>
                <a:gd name="T8" fmla="*/ 84 w 149"/>
                <a:gd name="T9" fmla="*/ 104 h 149"/>
                <a:gd name="T10" fmla="*/ 65 w 149"/>
                <a:gd name="T11" fmla="*/ 104 h 149"/>
                <a:gd name="T12" fmla="*/ 88 w 149"/>
                <a:gd name="T13" fmla="*/ 82 h 149"/>
                <a:gd name="T14" fmla="*/ 36 w 149"/>
                <a:gd name="T15" fmla="*/ 82 h 149"/>
                <a:gd name="T16" fmla="*/ 36 w 149"/>
                <a:gd name="T17" fmla="*/ 67 h 149"/>
                <a:gd name="T18" fmla="*/ 88 w 149"/>
                <a:gd name="T19" fmla="*/ 67 h 149"/>
                <a:gd name="T20" fmla="*/ 74 w 149"/>
                <a:gd name="T21" fmla="*/ 9 h 149"/>
                <a:gd name="T22" fmla="*/ 140 w 149"/>
                <a:gd name="T23" fmla="*/ 75 h 149"/>
                <a:gd name="T24" fmla="*/ 74 w 149"/>
                <a:gd name="T25" fmla="*/ 140 h 149"/>
                <a:gd name="T26" fmla="*/ 9 w 149"/>
                <a:gd name="T27" fmla="*/ 75 h 149"/>
                <a:gd name="T28" fmla="*/ 74 w 149"/>
                <a:gd name="T29" fmla="*/ 9 h 149"/>
                <a:gd name="T30" fmla="*/ 74 w 149"/>
                <a:gd name="T31" fmla="*/ 0 h 149"/>
                <a:gd name="T32" fmla="*/ 0 w 149"/>
                <a:gd name="T33" fmla="*/ 75 h 149"/>
                <a:gd name="T34" fmla="*/ 74 w 149"/>
                <a:gd name="T35" fmla="*/ 149 h 149"/>
                <a:gd name="T36" fmla="*/ 149 w 149"/>
                <a:gd name="T37" fmla="*/ 75 h 149"/>
                <a:gd name="T38" fmla="*/ 74 w 149"/>
                <a:gd name="T3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9" h="149">
                  <a:moveTo>
                    <a:pt x="88" y="67"/>
                  </a:moveTo>
                  <a:cubicBezTo>
                    <a:pt x="65" y="46"/>
                    <a:pt x="65" y="46"/>
                    <a:pt x="65" y="46"/>
                  </a:cubicBezTo>
                  <a:cubicBezTo>
                    <a:pt x="84" y="46"/>
                    <a:pt x="84" y="46"/>
                    <a:pt x="84" y="46"/>
                  </a:cubicBezTo>
                  <a:cubicBezTo>
                    <a:pt x="115" y="75"/>
                    <a:pt x="115" y="75"/>
                    <a:pt x="115" y="75"/>
                  </a:cubicBezTo>
                  <a:cubicBezTo>
                    <a:pt x="84" y="104"/>
                    <a:pt x="84" y="104"/>
                    <a:pt x="84" y="104"/>
                  </a:cubicBezTo>
                  <a:cubicBezTo>
                    <a:pt x="65" y="104"/>
                    <a:pt x="65" y="104"/>
                    <a:pt x="65" y="104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6" y="67"/>
                    <a:pt x="36" y="67"/>
                    <a:pt x="36" y="67"/>
                  </a:cubicBezTo>
                  <a:lnTo>
                    <a:pt x="88" y="67"/>
                  </a:lnTo>
                  <a:close/>
                  <a:moveTo>
                    <a:pt x="74" y="9"/>
                  </a:moveTo>
                  <a:cubicBezTo>
                    <a:pt x="110" y="9"/>
                    <a:pt x="140" y="39"/>
                    <a:pt x="140" y="75"/>
                  </a:cubicBezTo>
                  <a:cubicBezTo>
                    <a:pt x="140" y="111"/>
                    <a:pt x="110" y="140"/>
                    <a:pt x="74" y="140"/>
                  </a:cubicBezTo>
                  <a:cubicBezTo>
                    <a:pt x="38" y="140"/>
                    <a:pt x="9" y="111"/>
                    <a:pt x="9" y="75"/>
                  </a:cubicBezTo>
                  <a:cubicBezTo>
                    <a:pt x="9" y="39"/>
                    <a:pt x="38" y="9"/>
                    <a:pt x="74" y="9"/>
                  </a:cubicBezTo>
                  <a:moveTo>
                    <a:pt x="74" y="0"/>
                  </a:moveTo>
                  <a:cubicBezTo>
                    <a:pt x="33" y="0"/>
                    <a:pt x="0" y="33"/>
                    <a:pt x="0" y="75"/>
                  </a:cubicBezTo>
                  <a:cubicBezTo>
                    <a:pt x="0" y="116"/>
                    <a:pt x="33" y="149"/>
                    <a:pt x="74" y="149"/>
                  </a:cubicBezTo>
                  <a:cubicBezTo>
                    <a:pt x="116" y="149"/>
                    <a:pt x="149" y="116"/>
                    <a:pt x="149" y="75"/>
                  </a:cubicBezTo>
                  <a:cubicBezTo>
                    <a:pt x="149" y="33"/>
                    <a:pt x="116" y="0"/>
                    <a:pt x="74" y="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8" tIns="34293" rIns="68588" bIns="34293" numCol="1" anchor="t" anchorCtr="0" compatLnSpc="1">
              <a:prstTxWarp prst="textNoShape">
                <a:avLst/>
              </a:prstTxWarp>
            </a:bodyPr>
            <a:lstStyle/>
            <a:p>
              <a:endParaRPr lang="en-US" sz="1324" dirty="0">
                <a:solidFill>
                  <a:srgbClr val="000000"/>
                </a:solidFill>
              </a:endParaRPr>
            </a:p>
          </p:txBody>
        </p:sp>
        <p:grpSp>
          <p:nvGrpSpPr>
            <p:cNvPr id="4" name="Group 4"/>
            <p:cNvGrpSpPr>
              <a:grpSpLocks noChangeAspect="1"/>
            </p:cNvGrpSpPr>
            <p:nvPr/>
          </p:nvGrpSpPr>
          <p:grpSpPr bwMode="auto">
            <a:xfrm>
              <a:off x="1272606" y="2503041"/>
              <a:ext cx="2428537" cy="3145293"/>
              <a:chOff x="2341" y="2496"/>
              <a:chExt cx="1152" cy="1492"/>
            </a:xfrm>
          </p:grpSpPr>
          <p:sp>
            <p:nvSpPr>
              <p:cNvPr id="6" name="Rectangle 5"/>
              <p:cNvSpPr>
                <a:spLocks noChangeArrowheads="1"/>
              </p:cNvSpPr>
              <p:nvPr/>
            </p:nvSpPr>
            <p:spPr bwMode="auto">
              <a:xfrm>
                <a:off x="2990" y="2496"/>
                <a:ext cx="501" cy="1491"/>
              </a:xfrm>
              <a:prstGeom prst="rect">
                <a:avLst/>
              </a:prstGeom>
              <a:solidFill>
                <a:srgbClr val="FFB7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" name="Freeform 6"/>
              <p:cNvSpPr>
                <a:spLocks/>
              </p:cNvSpPr>
              <p:nvPr/>
            </p:nvSpPr>
            <p:spPr bwMode="auto">
              <a:xfrm>
                <a:off x="2405" y="2496"/>
                <a:ext cx="1088" cy="1492"/>
              </a:xfrm>
              <a:custGeom>
                <a:avLst/>
                <a:gdLst>
                  <a:gd name="T0" fmla="*/ 321 w 1088"/>
                  <a:gd name="T1" fmla="*/ 0 h 1492"/>
                  <a:gd name="T2" fmla="*/ 316 w 1088"/>
                  <a:gd name="T3" fmla="*/ 24 h 1492"/>
                  <a:gd name="T4" fmla="*/ 0 w 1088"/>
                  <a:gd name="T5" fmla="*/ 1492 h 1492"/>
                  <a:gd name="T6" fmla="*/ 692 w 1088"/>
                  <a:gd name="T7" fmla="*/ 1491 h 1492"/>
                  <a:gd name="T8" fmla="*/ 692 w 1088"/>
                  <a:gd name="T9" fmla="*/ 1338 h 1492"/>
                  <a:gd name="T10" fmla="*/ 715 w 1088"/>
                  <a:gd name="T11" fmla="*/ 925 h 1492"/>
                  <a:gd name="T12" fmla="*/ 743 w 1088"/>
                  <a:gd name="T13" fmla="*/ 1357 h 1492"/>
                  <a:gd name="T14" fmla="*/ 716 w 1088"/>
                  <a:gd name="T15" fmla="*/ 1491 h 1492"/>
                  <a:gd name="T16" fmla="*/ 1088 w 1088"/>
                  <a:gd name="T17" fmla="*/ 1492 h 1492"/>
                  <a:gd name="T18" fmla="*/ 1088 w 1088"/>
                  <a:gd name="T19" fmla="*/ 300 h 1492"/>
                  <a:gd name="T20" fmla="*/ 887 w 1088"/>
                  <a:gd name="T21" fmla="*/ 204 h 1492"/>
                  <a:gd name="T22" fmla="*/ 615 w 1088"/>
                  <a:gd name="T23" fmla="*/ 0 h 1492"/>
                  <a:gd name="T24" fmla="*/ 321 w 1088"/>
                  <a:gd name="T25" fmla="*/ 0 h 14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88" h="1492">
                    <a:moveTo>
                      <a:pt x="321" y="0"/>
                    </a:moveTo>
                    <a:lnTo>
                      <a:pt x="316" y="24"/>
                    </a:lnTo>
                    <a:lnTo>
                      <a:pt x="0" y="1492"/>
                    </a:lnTo>
                    <a:lnTo>
                      <a:pt x="692" y="1491"/>
                    </a:lnTo>
                    <a:lnTo>
                      <a:pt x="692" y="1338"/>
                    </a:lnTo>
                    <a:lnTo>
                      <a:pt x="715" y="925"/>
                    </a:lnTo>
                    <a:lnTo>
                      <a:pt x="743" y="1357"/>
                    </a:lnTo>
                    <a:lnTo>
                      <a:pt x="716" y="1491"/>
                    </a:lnTo>
                    <a:lnTo>
                      <a:pt x="1088" y="1492"/>
                    </a:lnTo>
                    <a:lnTo>
                      <a:pt x="1088" y="300"/>
                    </a:lnTo>
                    <a:lnTo>
                      <a:pt x="887" y="204"/>
                    </a:lnTo>
                    <a:lnTo>
                      <a:pt x="615" y="0"/>
                    </a:lnTo>
                    <a:lnTo>
                      <a:pt x="321" y="0"/>
                    </a:lnTo>
                    <a:close/>
                  </a:path>
                </a:pathLst>
              </a:custGeom>
              <a:solidFill>
                <a:srgbClr val="6524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" name="Freeform 7"/>
              <p:cNvSpPr>
                <a:spLocks/>
              </p:cNvSpPr>
              <p:nvPr/>
            </p:nvSpPr>
            <p:spPr bwMode="auto">
              <a:xfrm>
                <a:off x="2341" y="2744"/>
                <a:ext cx="177" cy="1243"/>
              </a:xfrm>
              <a:custGeom>
                <a:avLst/>
                <a:gdLst>
                  <a:gd name="T0" fmla="*/ 0 w 177"/>
                  <a:gd name="T1" fmla="*/ 0 h 1243"/>
                  <a:gd name="T2" fmla="*/ 0 w 177"/>
                  <a:gd name="T3" fmla="*/ 1243 h 1243"/>
                  <a:gd name="T4" fmla="*/ 64 w 177"/>
                  <a:gd name="T5" fmla="*/ 1243 h 1243"/>
                  <a:gd name="T6" fmla="*/ 177 w 177"/>
                  <a:gd name="T7" fmla="*/ 716 h 1243"/>
                  <a:gd name="T8" fmla="*/ 100 w 177"/>
                  <a:gd name="T9" fmla="*/ 0 h 1243"/>
                  <a:gd name="T10" fmla="*/ 0 w 177"/>
                  <a:gd name="T11" fmla="*/ 0 h 1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7" h="1243">
                    <a:moveTo>
                      <a:pt x="0" y="0"/>
                    </a:moveTo>
                    <a:lnTo>
                      <a:pt x="0" y="1243"/>
                    </a:lnTo>
                    <a:lnTo>
                      <a:pt x="64" y="1243"/>
                    </a:lnTo>
                    <a:lnTo>
                      <a:pt x="177" y="716"/>
                    </a:lnTo>
                    <a:lnTo>
                      <a:pt x="10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C530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" name="Freeform 8"/>
              <p:cNvSpPr>
                <a:spLocks/>
              </p:cNvSpPr>
              <p:nvPr/>
            </p:nvSpPr>
            <p:spPr bwMode="auto">
              <a:xfrm>
                <a:off x="2341" y="2496"/>
                <a:ext cx="228" cy="248"/>
              </a:xfrm>
              <a:custGeom>
                <a:avLst/>
                <a:gdLst>
                  <a:gd name="T0" fmla="*/ 0 w 228"/>
                  <a:gd name="T1" fmla="*/ 0 h 248"/>
                  <a:gd name="T2" fmla="*/ 0 w 228"/>
                  <a:gd name="T3" fmla="*/ 248 h 248"/>
                  <a:gd name="T4" fmla="*/ 100 w 228"/>
                  <a:gd name="T5" fmla="*/ 248 h 248"/>
                  <a:gd name="T6" fmla="*/ 228 w 228"/>
                  <a:gd name="T7" fmla="*/ 0 h 248"/>
                  <a:gd name="T8" fmla="*/ 0 w 228"/>
                  <a:gd name="T9" fmla="*/ 0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8" h="248">
                    <a:moveTo>
                      <a:pt x="0" y="0"/>
                    </a:moveTo>
                    <a:lnTo>
                      <a:pt x="0" y="248"/>
                    </a:lnTo>
                    <a:lnTo>
                      <a:pt x="100" y="248"/>
                    </a:lnTo>
                    <a:lnTo>
                      <a:pt x="228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4A0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" name="Rectangle 9"/>
              <p:cNvSpPr>
                <a:spLocks noChangeArrowheads="1"/>
              </p:cNvSpPr>
              <p:nvPr/>
            </p:nvSpPr>
            <p:spPr bwMode="auto">
              <a:xfrm>
                <a:off x="2341" y="3206"/>
                <a:ext cx="166" cy="24"/>
              </a:xfrm>
              <a:prstGeom prst="rect">
                <a:avLst/>
              </a:prstGeom>
              <a:solidFill>
                <a:srgbClr val="FCD1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" name="Freeform 10"/>
              <p:cNvSpPr>
                <a:spLocks/>
              </p:cNvSpPr>
              <p:nvPr/>
            </p:nvSpPr>
            <p:spPr bwMode="auto">
              <a:xfrm>
                <a:off x="2967" y="3041"/>
                <a:ext cx="19" cy="359"/>
              </a:xfrm>
              <a:custGeom>
                <a:avLst/>
                <a:gdLst>
                  <a:gd name="T0" fmla="*/ 19 w 19"/>
                  <a:gd name="T1" fmla="*/ 359 h 359"/>
                  <a:gd name="T2" fmla="*/ 0 w 19"/>
                  <a:gd name="T3" fmla="*/ 359 h 359"/>
                  <a:gd name="T4" fmla="*/ 0 w 19"/>
                  <a:gd name="T5" fmla="*/ 0 h 359"/>
                  <a:gd name="T6" fmla="*/ 19 w 19"/>
                  <a:gd name="T7" fmla="*/ 41 h 359"/>
                  <a:gd name="T8" fmla="*/ 19 w 19"/>
                  <a:gd name="T9" fmla="*/ 359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359">
                    <a:moveTo>
                      <a:pt x="19" y="359"/>
                    </a:moveTo>
                    <a:lnTo>
                      <a:pt x="0" y="359"/>
                    </a:lnTo>
                    <a:lnTo>
                      <a:pt x="0" y="0"/>
                    </a:lnTo>
                    <a:lnTo>
                      <a:pt x="19" y="41"/>
                    </a:lnTo>
                    <a:lnTo>
                      <a:pt x="19" y="359"/>
                    </a:lnTo>
                    <a:close/>
                  </a:path>
                </a:pathLst>
              </a:custGeom>
              <a:solidFill>
                <a:srgbClr val="BA14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" name="Freeform 11"/>
              <p:cNvSpPr>
                <a:spLocks/>
              </p:cNvSpPr>
              <p:nvPr/>
            </p:nvSpPr>
            <p:spPr bwMode="auto">
              <a:xfrm>
                <a:off x="2452" y="2496"/>
                <a:ext cx="598" cy="1276"/>
              </a:xfrm>
              <a:custGeom>
                <a:avLst/>
                <a:gdLst>
                  <a:gd name="T0" fmla="*/ 274 w 598"/>
                  <a:gd name="T1" fmla="*/ 0 h 1276"/>
                  <a:gd name="T2" fmla="*/ 0 w 598"/>
                  <a:gd name="T3" fmla="*/ 1276 h 1276"/>
                  <a:gd name="T4" fmla="*/ 485 w 598"/>
                  <a:gd name="T5" fmla="*/ 255 h 1276"/>
                  <a:gd name="T6" fmla="*/ 390 w 598"/>
                  <a:gd name="T7" fmla="*/ 150 h 1276"/>
                  <a:gd name="T8" fmla="*/ 598 w 598"/>
                  <a:gd name="T9" fmla="*/ 85 h 1276"/>
                  <a:gd name="T10" fmla="*/ 545 w 598"/>
                  <a:gd name="T11" fmla="*/ 0 h 1276"/>
                  <a:gd name="T12" fmla="*/ 274 w 598"/>
                  <a:gd name="T13" fmla="*/ 0 h 1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8" h="1276">
                    <a:moveTo>
                      <a:pt x="274" y="0"/>
                    </a:moveTo>
                    <a:lnTo>
                      <a:pt x="0" y="1276"/>
                    </a:lnTo>
                    <a:lnTo>
                      <a:pt x="485" y="255"/>
                    </a:lnTo>
                    <a:lnTo>
                      <a:pt x="390" y="150"/>
                    </a:lnTo>
                    <a:lnTo>
                      <a:pt x="598" y="85"/>
                    </a:lnTo>
                    <a:lnTo>
                      <a:pt x="545" y="0"/>
                    </a:lnTo>
                    <a:lnTo>
                      <a:pt x="274" y="0"/>
                    </a:lnTo>
                    <a:close/>
                  </a:path>
                </a:pathLst>
              </a:custGeom>
              <a:solidFill>
                <a:srgbClr val="4423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" name="Rectangle 12"/>
              <p:cNvSpPr>
                <a:spLocks noChangeArrowheads="1"/>
              </p:cNvSpPr>
              <p:nvPr/>
            </p:nvSpPr>
            <p:spPr bwMode="auto">
              <a:xfrm>
                <a:off x="3019" y="3158"/>
                <a:ext cx="27" cy="241"/>
              </a:xfrm>
              <a:prstGeom prst="rect">
                <a:avLst/>
              </a:prstGeom>
              <a:solidFill>
                <a:srgbClr val="FFB9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" name="Rectangle 13"/>
              <p:cNvSpPr>
                <a:spLocks noChangeArrowheads="1"/>
              </p:cNvSpPr>
              <p:nvPr/>
            </p:nvSpPr>
            <p:spPr bwMode="auto">
              <a:xfrm>
                <a:off x="3046" y="3158"/>
                <a:ext cx="15" cy="241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Rectangle 14"/>
              <p:cNvSpPr>
                <a:spLocks noChangeArrowheads="1"/>
              </p:cNvSpPr>
              <p:nvPr/>
            </p:nvSpPr>
            <p:spPr bwMode="auto">
              <a:xfrm>
                <a:off x="3019" y="3110"/>
                <a:ext cx="27" cy="48"/>
              </a:xfrm>
              <a:prstGeom prst="rect">
                <a:avLst/>
              </a:prstGeom>
              <a:solidFill>
                <a:srgbClr val="00B2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15"/>
              <p:cNvSpPr>
                <a:spLocks noChangeArrowheads="1"/>
              </p:cNvSpPr>
              <p:nvPr/>
            </p:nvSpPr>
            <p:spPr bwMode="auto">
              <a:xfrm>
                <a:off x="3046" y="3110"/>
                <a:ext cx="15" cy="48"/>
              </a:xfrm>
              <a:prstGeom prst="rect">
                <a:avLst/>
              </a:prstGeom>
              <a:solidFill>
                <a:srgbClr val="0083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Freeform 16"/>
              <p:cNvSpPr>
                <a:spLocks/>
              </p:cNvSpPr>
              <p:nvPr/>
            </p:nvSpPr>
            <p:spPr bwMode="auto">
              <a:xfrm>
                <a:off x="3019" y="3081"/>
                <a:ext cx="42" cy="29"/>
              </a:xfrm>
              <a:custGeom>
                <a:avLst/>
                <a:gdLst>
                  <a:gd name="T0" fmla="*/ 91 w 91"/>
                  <a:gd name="T1" fmla="*/ 61 h 61"/>
                  <a:gd name="T2" fmla="*/ 91 w 91"/>
                  <a:gd name="T3" fmla="*/ 29 h 61"/>
                  <a:gd name="T4" fmla="*/ 61 w 91"/>
                  <a:gd name="T5" fmla="*/ 0 h 61"/>
                  <a:gd name="T6" fmla="*/ 29 w 91"/>
                  <a:gd name="T7" fmla="*/ 0 h 61"/>
                  <a:gd name="T8" fmla="*/ 0 w 91"/>
                  <a:gd name="T9" fmla="*/ 29 h 61"/>
                  <a:gd name="T10" fmla="*/ 0 w 91"/>
                  <a:gd name="T11" fmla="*/ 61 h 61"/>
                  <a:gd name="T12" fmla="*/ 91 w 91"/>
                  <a:gd name="T13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1" h="61">
                    <a:moveTo>
                      <a:pt x="91" y="61"/>
                    </a:moveTo>
                    <a:cubicBezTo>
                      <a:pt x="91" y="29"/>
                      <a:pt x="91" y="29"/>
                      <a:pt x="91" y="29"/>
                    </a:cubicBezTo>
                    <a:cubicBezTo>
                      <a:pt x="91" y="29"/>
                      <a:pt x="91" y="0"/>
                      <a:pt x="61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29" y="0"/>
                      <a:pt x="0" y="0"/>
                      <a:pt x="0" y="29"/>
                    </a:cubicBezTo>
                    <a:cubicBezTo>
                      <a:pt x="0" y="61"/>
                      <a:pt x="0" y="61"/>
                      <a:pt x="0" y="61"/>
                    </a:cubicBezTo>
                    <a:lnTo>
                      <a:pt x="91" y="61"/>
                    </a:lnTo>
                    <a:close/>
                  </a:path>
                </a:pathLst>
              </a:custGeom>
              <a:solidFill>
                <a:srgbClr val="EC0B8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17"/>
              <p:cNvSpPr>
                <a:spLocks/>
              </p:cNvSpPr>
              <p:nvPr/>
            </p:nvSpPr>
            <p:spPr bwMode="auto">
              <a:xfrm>
                <a:off x="2965" y="2871"/>
                <a:ext cx="75" cy="161"/>
              </a:xfrm>
              <a:custGeom>
                <a:avLst/>
                <a:gdLst>
                  <a:gd name="T0" fmla="*/ 0 w 75"/>
                  <a:gd name="T1" fmla="*/ 0 h 161"/>
                  <a:gd name="T2" fmla="*/ 0 w 75"/>
                  <a:gd name="T3" fmla="*/ 119 h 161"/>
                  <a:gd name="T4" fmla="*/ 19 w 75"/>
                  <a:gd name="T5" fmla="*/ 161 h 161"/>
                  <a:gd name="T6" fmla="*/ 56 w 75"/>
                  <a:gd name="T7" fmla="*/ 161 h 161"/>
                  <a:gd name="T8" fmla="*/ 75 w 75"/>
                  <a:gd name="T9" fmla="*/ 119 h 161"/>
                  <a:gd name="T10" fmla="*/ 75 w 75"/>
                  <a:gd name="T11" fmla="*/ 0 h 161"/>
                  <a:gd name="T12" fmla="*/ 0 w 75"/>
                  <a:gd name="T13" fmla="*/ 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5" h="161">
                    <a:moveTo>
                      <a:pt x="0" y="0"/>
                    </a:moveTo>
                    <a:lnTo>
                      <a:pt x="0" y="119"/>
                    </a:lnTo>
                    <a:lnTo>
                      <a:pt x="19" y="161"/>
                    </a:lnTo>
                    <a:lnTo>
                      <a:pt x="56" y="161"/>
                    </a:lnTo>
                    <a:lnTo>
                      <a:pt x="75" y="119"/>
                    </a:lnTo>
                    <a:lnTo>
                      <a:pt x="7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B9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18"/>
              <p:cNvSpPr>
                <a:spLocks noChangeArrowheads="1"/>
              </p:cNvSpPr>
              <p:nvPr/>
            </p:nvSpPr>
            <p:spPr bwMode="auto">
              <a:xfrm>
                <a:off x="2975" y="2881"/>
                <a:ext cx="54" cy="9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19"/>
              <p:cNvSpPr>
                <a:spLocks noChangeArrowheads="1"/>
              </p:cNvSpPr>
              <p:nvPr/>
            </p:nvSpPr>
            <p:spPr bwMode="auto">
              <a:xfrm>
                <a:off x="2995" y="3026"/>
                <a:ext cx="15" cy="27"/>
              </a:xfrm>
              <a:prstGeom prst="rect">
                <a:avLst/>
              </a:prstGeom>
              <a:solidFill>
                <a:srgbClr val="FFB9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20"/>
              <p:cNvSpPr>
                <a:spLocks noChangeArrowheads="1"/>
              </p:cNvSpPr>
              <p:nvPr/>
            </p:nvSpPr>
            <p:spPr bwMode="auto">
              <a:xfrm>
                <a:off x="2975" y="2845"/>
                <a:ext cx="54" cy="26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21"/>
              <p:cNvSpPr>
                <a:spLocks noChangeArrowheads="1"/>
              </p:cNvSpPr>
              <p:nvPr/>
            </p:nvSpPr>
            <p:spPr bwMode="auto">
              <a:xfrm>
                <a:off x="3000" y="3053"/>
                <a:ext cx="4" cy="352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22"/>
              <p:cNvSpPr>
                <a:spLocks noChangeArrowheads="1"/>
              </p:cNvSpPr>
              <p:nvPr/>
            </p:nvSpPr>
            <p:spPr bwMode="auto">
              <a:xfrm>
                <a:off x="3019" y="3108"/>
                <a:ext cx="42" cy="7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23"/>
              <p:cNvSpPr>
                <a:spLocks/>
              </p:cNvSpPr>
              <p:nvPr/>
            </p:nvSpPr>
            <p:spPr bwMode="auto">
              <a:xfrm>
                <a:off x="3019" y="3108"/>
                <a:ext cx="42" cy="7"/>
              </a:xfrm>
              <a:custGeom>
                <a:avLst/>
                <a:gdLst>
                  <a:gd name="T0" fmla="*/ 42 w 42"/>
                  <a:gd name="T1" fmla="*/ 7 h 7"/>
                  <a:gd name="T2" fmla="*/ 42 w 42"/>
                  <a:gd name="T3" fmla="*/ 0 h 7"/>
                  <a:gd name="T4" fmla="*/ 0 w 42"/>
                  <a:gd name="T5" fmla="*/ 0 h 7"/>
                  <a:gd name="T6" fmla="*/ 0 w 42"/>
                  <a:gd name="T7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2" h="7">
                    <a:moveTo>
                      <a:pt x="42" y="7"/>
                    </a:moveTo>
                    <a:lnTo>
                      <a:pt x="42" y="0"/>
                    </a:lnTo>
                    <a:lnTo>
                      <a:pt x="0" y="0"/>
                    </a:lnTo>
                    <a:lnTo>
                      <a:pt x="0" y="7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24"/>
              <p:cNvSpPr>
                <a:spLocks/>
              </p:cNvSpPr>
              <p:nvPr/>
            </p:nvSpPr>
            <p:spPr bwMode="auto">
              <a:xfrm>
                <a:off x="3120" y="2696"/>
                <a:ext cx="173" cy="744"/>
              </a:xfrm>
              <a:custGeom>
                <a:avLst/>
                <a:gdLst>
                  <a:gd name="T0" fmla="*/ 173 w 173"/>
                  <a:gd name="T1" fmla="*/ 4 h 744"/>
                  <a:gd name="T2" fmla="*/ 166 w 173"/>
                  <a:gd name="T3" fmla="*/ 0 h 744"/>
                  <a:gd name="T4" fmla="*/ 0 w 173"/>
                  <a:gd name="T5" fmla="*/ 725 h 744"/>
                  <a:gd name="T6" fmla="*/ 2 w 173"/>
                  <a:gd name="T7" fmla="*/ 744 h 744"/>
                  <a:gd name="T8" fmla="*/ 173 w 173"/>
                  <a:gd name="T9" fmla="*/ 4 h 7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3" h="744">
                    <a:moveTo>
                      <a:pt x="173" y="4"/>
                    </a:moveTo>
                    <a:lnTo>
                      <a:pt x="166" y="0"/>
                    </a:lnTo>
                    <a:lnTo>
                      <a:pt x="0" y="725"/>
                    </a:lnTo>
                    <a:lnTo>
                      <a:pt x="2" y="744"/>
                    </a:lnTo>
                    <a:lnTo>
                      <a:pt x="173" y="4"/>
                    </a:lnTo>
                    <a:close/>
                  </a:path>
                </a:pathLst>
              </a:custGeom>
              <a:solidFill>
                <a:srgbClr val="4423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25"/>
              <p:cNvSpPr>
                <a:spLocks noChangeArrowheads="1"/>
              </p:cNvSpPr>
              <p:nvPr/>
            </p:nvSpPr>
            <p:spPr bwMode="auto">
              <a:xfrm>
                <a:off x="2815" y="3041"/>
                <a:ext cx="152" cy="358"/>
              </a:xfrm>
              <a:prstGeom prst="rect">
                <a:avLst/>
              </a:prstGeom>
              <a:solidFill>
                <a:srgbClr val="DC3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6"/>
              <p:cNvSpPr>
                <a:spLocks/>
              </p:cNvSpPr>
              <p:nvPr/>
            </p:nvSpPr>
            <p:spPr bwMode="auto">
              <a:xfrm>
                <a:off x="2831" y="3065"/>
                <a:ext cx="119" cy="21"/>
              </a:xfrm>
              <a:custGeom>
                <a:avLst/>
                <a:gdLst>
                  <a:gd name="T0" fmla="*/ 21 w 253"/>
                  <a:gd name="T1" fmla="*/ 0 h 44"/>
                  <a:gd name="T2" fmla="*/ 0 w 253"/>
                  <a:gd name="T3" fmla="*/ 20 h 44"/>
                  <a:gd name="T4" fmla="*/ 0 w 253"/>
                  <a:gd name="T5" fmla="*/ 24 h 44"/>
                  <a:gd name="T6" fmla="*/ 21 w 253"/>
                  <a:gd name="T7" fmla="*/ 44 h 44"/>
                  <a:gd name="T8" fmla="*/ 232 w 253"/>
                  <a:gd name="T9" fmla="*/ 44 h 44"/>
                  <a:gd name="T10" fmla="*/ 253 w 253"/>
                  <a:gd name="T11" fmla="*/ 24 h 44"/>
                  <a:gd name="T12" fmla="*/ 253 w 253"/>
                  <a:gd name="T13" fmla="*/ 20 h 44"/>
                  <a:gd name="T14" fmla="*/ 232 w 253"/>
                  <a:gd name="T15" fmla="*/ 0 h 44"/>
                  <a:gd name="T16" fmla="*/ 135 w 253"/>
                  <a:gd name="T17" fmla="*/ 0 h 44"/>
                  <a:gd name="T18" fmla="*/ 21 w 253"/>
                  <a:gd name="T19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53" h="44">
                    <a:moveTo>
                      <a:pt x="21" y="0"/>
                    </a:moveTo>
                    <a:cubicBezTo>
                      <a:pt x="21" y="0"/>
                      <a:pt x="0" y="0"/>
                      <a:pt x="0" y="20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4"/>
                      <a:pt x="0" y="44"/>
                      <a:pt x="21" y="44"/>
                    </a:cubicBezTo>
                    <a:cubicBezTo>
                      <a:pt x="232" y="44"/>
                      <a:pt x="232" y="44"/>
                      <a:pt x="232" y="44"/>
                    </a:cubicBezTo>
                    <a:cubicBezTo>
                      <a:pt x="232" y="44"/>
                      <a:pt x="253" y="44"/>
                      <a:pt x="253" y="24"/>
                    </a:cubicBezTo>
                    <a:cubicBezTo>
                      <a:pt x="253" y="20"/>
                      <a:pt x="253" y="20"/>
                      <a:pt x="253" y="20"/>
                    </a:cubicBezTo>
                    <a:cubicBezTo>
                      <a:pt x="253" y="20"/>
                      <a:pt x="253" y="0"/>
                      <a:pt x="232" y="0"/>
                    </a:cubicBezTo>
                    <a:cubicBezTo>
                      <a:pt x="135" y="0"/>
                      <a:pt x="135" y="0"/>
                      <a:pt x="135" y="0"/>
                    </a:cubicBez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BA14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7"/>
              <p:cNvSpPr>
                <a:spLocks/>
              </p:cNvSpPr>
              <p:nvPr/>
            </p:nvSpPr>
            <p:spPr bwMode="auto">
              <a:xfrm>
                <a:off x="2831" y="3102"/>
                <a:ext cx="119" cy="21"/>
              </a:xfrm>
              <a:custGeom>
                <a:avLst/>
                <a:gdLst>
                  <a:gd name="T0" fmla="*/ 21 w 253"/>
                  <a:gd name="T1" fmla="*/ 0 h 45"/>
                  <a:gd name="T2" fmla="*/ 0 w 253"/>
                  <a:gd name="T3" fmla="*/ 21 h 45"/>
                  <a:gd name="T4" fmla="*/ 0 w 253"/>
                  <a:gd name="T5" fmla="*/ 25 h 45"/>
                  <a:gd name="T6" fmla="*/ 21 w 253"/>
                  <a:gd name="T7" fmla="*/ 45 h 45"/>
                  <a:gd name="T8" fmla="*/ 232 w 253"/>
                  <a:gd name="T9" fmla="*/ 45 h 45"/>
                  <a:gd name="T10" fmla="*/ 253 w 253"/>
                  <a:gd name="T11" fmla="*/ 25 h 45"/>
                  <a:gd name="T12" fmla="*/ 253 w 253"/>
                  <a:gd name="T13" fmla="*/ 21 h 45"/>
                  <a:gd name="T14" fmla="*/ 232 w 253"/>
                  <a:gd name="T15" fmla="*/ 0 h 45"/>
                  <a:gd name="T16" fmla="*/ 135 w 253"/>
                  <a:gd name="T17" fmla="*/ 0 h 45"/>
                  <a:gd name="T18" fmla="*/ 21 w 253"/>
                  <a:gd name="T1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53" h="45">
                    <a:moveTo>
                      <a:pt x="21" y="0"/>
                    </a:moveTo>
                    <a:cubicBezTo>
                      <a:pt x="21" y="0"/>
                      <a:pt x="0" y="0"/>
                      <a:pt x="0" y="21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25"/>
                      <a:pt x="0" y="45"/>
                      <a:pt x="21" y="45"/>
                    </a:cubicBezTo>
                    <a:cubicBezTo>
                      <a:pt x="232" y="45"/>
                      <a:pt x="232" y="45"/>
                      <a:pt x="232" y="45"/>
                    </a:cubicBezTo>
                    <a:cubicBezTo>
                      <a:pt x="232" y="45"/>
                      <a:pt x="253" y="45"/>
                      <a:pt x="253" y="25"/>
                    </a:cubicBezTo>
                    <a:cubicBezTo>
                      <a:pt x="253" y="21"/>
                      <a:pt x="253" y="21"/>
                      <a:pt x="253" y="21"/>
                    </a:cubicBezTo>
                    <a:cubicBezTo>
                      <a:pt x="253" y="21"/>
                      <a:pt x="253" y="0"/>
                      <a:pt x="232" y="0"/>
                    </a:cubicBezTo>
                    <a:cubicBezTo>
                      <a:pt x="135" y="0"/>
                      <a:pt x="135" y="0"/>
                      <a:pt x="135" y="0"/>
                    </a:cubicBez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BA14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8"/>
              <p:cNvSpPr>
                <a:spLocks/>
              </p:cNvSpPr>
              <p:nvPr/>
            </p:nvSpPr>
            <p:spPr bwMode="auto">
              <a:xfrm>
                <a:off x="2831" y="3139"/>
                <a:ext cx="119" cy="21"/>
              </a:xfrm>
              <a:custGeom>
                <a:avLst/>
                <a:gdLst>
                  <a:gd name="T0" fmla="*/ 21 w 253"/>
                  <a:gd name="T1" fmla="*/ 0 h 45"/>
                  <a:gd name="T2" fmla="*/ 0 w 253"/>
                  <a:gd name="T3" fmla="*/ 21 h 45"/>
                  <a:gd name="T4" fmla="*/ 0 w 253"/>
                  <a:gd name="T5" fmla="*/ 25 h 45"/>
                  <a:gd name="T6" fmla="*/ 21 w 253"/>
                  <a:gd name="T7" fmla="*/ 45 h 45"/>
                  <a:gd name="T8" fmla="*/ 232 w 253"/>
                  <a:gd name="T9" fmla="*/ 45 h 45"/>
                  <a:gd name="T10" fmla="*/ 253 w 253"/>
                  <a:gd name="T11" fmla="*/ 25 h 45"/>
                  <a:gd name="T12" fmla="*/ 253 w 253"/>
                  <a:gd name="T13" fmla="*/ 21 h 45"/>
                  <a:gd name="T14" fmla="*/ 232 w 253"/>
                  <a:gd name="T15" fmla="*/ 0 h 45"/>
                  <a:gd name="T16" fmla="*/ 135 w 253"/>
                  <a:gd name="T17" fmla="*/ 0 h 45"/>
                  <a:gd name="T18" fmla="*/ 21 w 253"/>
                  <a:gd name="T1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53" h="45">
                    <a:moveTo>
                      <a:pt x="21" y="0"/>
                    </a:moveTo>
                    <a:cubicBezTo>
                      <a:pt x="21" y="0"/>
                      <a:pt x="0" y="0"/>
                      <a:pt x="0" y="21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25"/>
                      <a:pt x="0" y="45"/>
                      <a:pt x="21" y="45"/>
                    </a:cubicBezTo>
                    <a:cubicBezTo>
                      <a:pt x="232" y="45"/>
                      <a:pt x="232" y="45"/>
                      <a:pt x="232" y="45"/>
                    </a:cubicBezTo>
                    <a:cubicBezTo>
                      <a:pt x="232" y="45"/>
                      <a:pt x="253" y="45"/>
                      <a:pt x="253" y="25"/>
                    </a:cubicBezTo>
                    <a:cubicBezTo>
                      <a:pt x="253" y="21"/>
                      <a:pt x="253" y="21"/>
                      <a:pt x="253" y="21"/>
                    </a:cubicBezTo>
                    <a:cubicBezTo>
                      <a:pt x="253" y="21"/>
                      <a:pt x="253" y="0"/>
                      <a:pt x="232" y="0"/>
                    </a:cubicBezTo>
                    <a:cubicBezTo>
                      <a:pt x="135" y="0"/>
                      <a:pt x="135" y="0"/>
                      <a:pt x="135" y="0"/>
                    </a:cubicBez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BA14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9"/>
              <p:cNvSpPr>
                <a:spLocks/>
              </p:cNvSpPr>
              <p:nvPr/>
            </p:nvSpPr>
            <p:spPr bwMode="auto">
              <a:xfrm>
                <a:off x="2831" y="3176"/>
                <a:ext cx="119" cy="22"/>
              </a:xfrm>
              <a:custGeom>
                <a:avLst/>
                <a:gdLst>
                  <a:gd name="T0" fmla="*/ 21 w 253"/>
                  <a:gd name="T1" fmla="*/ 0 h 45"/>
                  <a:gd name="T2" fmla="*/ 0 w 253"/>
                  <a:gd name="T3" fmla="*/ 20 h 45"/>
                  <a:gd name="T4" fmla="*/ 0 w 253"/>
                  <a:gd name="T5" fmla="*/ 25 h 45"/>
                  <a:gd name="T6" fmla="*/ 21 w 253"/>
                  <a:gd name="T7" fmla="*/ 45 h 45"/>
                  <a:gd name="T8" fmla="*/ 232 w 253"/>
                  <a:gd name="T9" fmla="*/ 45 h 45"/>
                  <a:gd name="T10" fmla="*/ 253 w 253"/>
                  <a:gd name="T11" fmla="*/ 25 h 45"/>
                  <a:gd name="T12" fmla="*/ 253 w 253"/>
                  <a:gd name="T13" fmla="*/ 20 h 45"/>
                  <a:gd name="T14" fmla="*/ 232 w 253"/>
                  <a:gd name="T15" fmla="*/ 0 h 45"/>
                  <a:gd name="T16" fmla="*/ 135 w 253"/>
                  <a:gd name="T17" fmla="*/ 0 h 45"/>
                  <a:gd name="T18" fmla="*/ 21 w 253"/>
                  <a:gd name="T1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53" h="45">
                    <a:moveTo>
                      <a:pt x="21" y="0"/>
                    </a:moveTo>
                    <a:cubicBezTo>
                      <a:pt x="21" y="0"/>
                      <a:pt x="0" y="0"/>
                      <a:pt x="0" y="20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25"/>
                      <a:pt x="0" y="45"/>
                      <a:pt x="21" y="45"/>
                    </a:cubicBezTo>
                    <a:cubicBezTo>
                      <a:pt x="232" y="45"/>
                      <a:pt x="232" y="45"/>
                      <a:pt x="232" y="45"/>
                    </a:cubicBezTo>
                    <a:cubicBezTo>
                      <a:pt x="232" y="45"/>
                      <a:pt x="253" y="45"/>
                      <a:pt x="253" y="25"/>
                    </a:cubicBezTo>
                    <a:cubicBezTo>
                      <a:pt x="253" y="20"/>
                      <a:pt x="253" y="20"/>
                      <a:pt x="253" y="20"/>
                    </a:cubicBezTo>
                    <a:cubicBezTo>
                      <a:pt x="253" y="20"/>
                      <a:pt x="253" y="0"/>
                      <a:pt x="232" y="0"/>
                    </a:cubicBezTo>
                    <a:cubicBezTo>
                      <a:pt x="135" y="0"/>
                      <a:pt x="135" y="0"/>
                      <a:pt x="135" y="0"/>
                    </a:cubicBez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BA14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30"/>
              <p:cNvSpPr>
                <a:spLocks/>
              </p:cNvSpPr>
              <p:nvPr/>
            </p:nvSpPr>
            <p:spPr bwMode="auto">
              <a:xfrm>
                <a:off x="2831" y="3214"/>
                <a:ext cx="119" cy="21"/>
              </a:xfrm>
              <a:custGeom>
                <a:avLst/>
                <a:gdLst>
                  <a:gd name="T0" fmla="*/ 21 w 253"/>
                  <a:gd name="T1" fmla="*/ 0 h 45"/>
                  <a:gd name="T2" fmla="*/ 0 w 253"/>
                  <a:gd name="T3" fmla="*/ 20 h 45"/>
                  <a:gd name="T4" fmla="*/ 0 w 253"/>
                  <a:gd name="T5" fmla="*/ 24 h 45"/>
                  <a:gd name="T6" fmla="*/ 21 w 253"/>
                  <a:gd name="T7" fmla="*/ 45 h 45"/>
                  <a:gd name="T8" fmla="*/ 232 w 253"/>
                  <a:gd name="T9" fmla="*/ 45 h 45"/>
                  <a:gd name="T10" fmla="*/ 253 w 253"/>
                  <a:gd name="T11" fmla="*/ 24 h 45"/>
                  <a:gd name="T12" fmla="*/ 253 w 253"/>
                  <a:gd name="T13" fmla="*/ 20 h 45"/>
                  <a:gd name="T14" fmla="*/ 232 w 253"/>
                  <a:gd name="T15" fmla="*/ 0 h 45"/>
                  <a:gd name="T16" fmla="*/ 135 w 253"/>
                  <a:gd name="T17" fmla="*/ 0 h 45"/>
                  <a:gd name="T18" fmla="*/ 21 w 253"/>
                  <a:gd name="T1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53" h="45">
                    <a:moveTo>
                      <a:pt x="21" y="0"/>
                    </a:moveTo>
                    <a:cubicBezTo>
                      <a:pt x="21" y="0"/>
                      <a:pt x="0" y="0"/>
                      <a:pt x="0" y="20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4"/>
                      <a:pt x="0" y="45"/>
                      <a:pt x="21" y="45"/>
                    </a:cubicBezTo>
                    <a:cubicBezTo>
                      <a:pt x="232" y="45"/>
                      <a:pt x="232" y="45"/>
                      <a:pt x="232" y="45"/>
                    </a:cubicBezTo>
                    <a:cubicBezTo>
                      <a:pt x="232" y="45"/>
                      <a:pt x="253" y="45"/>
                      <a:pt x="253" y="24"/>
                    </a:cubicBezTo>
                    <a:cubicBezTo>
                      <a:pt x="253" y="20"/>
                      <a:pt x="253" y="20"/>
                      <a:pt x="253" y="20"/>
                    </a:cubicBezTo>
                    <a:cubicBezTo>
                      <a:pt x="253" y="20"/>
                      <a:pt x="253" y="0"/>
                      <a:pt x="232" y="0"/>
                    </a:cubicBezTo>
                    <a:cubicBezTo>
                      <a:pt x="135" y="0"/>
                      <a:pt x="135" y="0"/>
                      <a:pt x="135" y="0"/>
                    </a:cubicBez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BA14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Freeform 31"/>
              <p:cNvSpPr>
                <a:spLocks/>
              </p:cNvSpPr>
              <p:nvPr/>
            </p:nvSpPr>
            <p:spPr bwMode="auto">
              <a:xfrm>
                <a:off x="2831" y="3251"/>
                <a:ext cx="119" cy="21"/>
              </a:xfrm>
              <a:custGeom>
                <a:avLst/>
                <a:gdLst>
                  <a:gd name="T0" fmla="*/ 21 w 253"/>
                  <a:gd name="T1" fmla="*/ 0 h 45"/>
                  <a:gd name="T2" fmla="*/ 0 w 253"/>
                  <a:gd name="T3" fmla="*/ 20 h 45"/>
                  <a:gd name="T4" fmla="*/ 0 w 253"/>
                  <a:gd name="T5" fmla="*/ 24 h 45"/>
                  <a:gd name="T6" fmla="*/ 21 w 253"/>
                  <a:gd name="T7" fmla="*/ 45 h 45"/>
                  <a:gd name="T8" fmla="*/ 232 w 253"/>
                  <a:gd name="T9" fmla="*/ 45 h 45"/>
                  <a:gd name="T10" fmla="*/ 253 w 253"/>
                  <a:gd name="T11" fmla="*/ 24 h 45"/>
                  <a:gd name="T12" fmla="*/ 253 w 253"/>
                  <a:gd name="T13" fmla="*/ 20 h 45"/>
                  <a:gd name="T14" fmla="*/ 232 w 253"/>
                  <a:gd name="T15" fmla="*/ 0 h 45"/>
                  <a:gd name="T16" fmla="*/ 135 w 253"/>
                  <a:gd name="T17" fmla="*/ 0 h 45"/>
                  <a:gd name="T18" fmla="*/ 21 w 253"/>
                  <a:gd name="T1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53" h="45">
                    <a:moveTo>
                      <a:pt x="21" y="0"/>
                    </a:moveTo>
                    <a:cubicBezTo>
                      <a:pt x="21" y="0"/>
                      <a:pt x="0" y="0"/>
                      <a:pt x="0" y="20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4"/>
                      <a:pt x="0" y="45"/>
                      <a:pt x="21" y="45"/>
                    </a:cubicBezTo>
                    <a:cubicBezTo>
                      <a:pt x="232" y="45"/>
                      <a:pt x="232" y="45"/>
                      <a:pt x="232" y="45"/>
                    </a:cubicBezTo>
                    <a:cubicBezTo>
                      <a:pt x="232" y="45"/>
                      <a:pt x="253" y="45"/>
                      <a:pt x="253" y="24"/>
                    </a:cubicBezTo>
                    <a:cubicBezTo>
                      <a:pt x="253" y="20"/>
                      <a:pt x="253" y="20"/>
                      <a:pt x="253" y="20"/>
                    </a:cubicBezTo>
                    <a:cubicBezTo>
                      <a:pt x="253" y="20"/>
                      <a:pt x="253" y="0"/>
                      <a:pt x="232" y="0"/>
                    </a:cubicBezTo>
                    <a:cubicBezTo>
                      <a:pt x="135" y="0"/>
                      <a:pt x="135" y="0"/>
                      <a:pt x="135" y="0"/>
                    </a:cubicBez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BA14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Freeform 32"/>
              <p:cNvSpPr>
                <a:spLocks/>
              </p:cNvSpPr>
              <p:nvPr/>
            </p:nvSpPr>
            <p:spPr bwMode="auto">
              <a:xfrm>
                <a:off x="2831" y="3288"/>
                <a:ext cx="119" cy="21"/>
              </a:xfrm>
              <a:custGeom>
                <a:avLst/>
                <a:gdLst>
                  <a:gd name="T0" fmla="*/ 21 w 253"/>
                  <a:gd name="T1" fmla="*/ 0 h 44"/>
                  <a:gd name="T2" fmla="*/ 0 w 253"/>
                  <a:gd name="T3" fmla="*/ 20 h 44"/>
                  <a:gd name="T4" fmla="*/ 0 w 253"/>
                  <a:gd name="T5" fmla="*/ 24 h 44"/>
                  <a:gd name="T6" fmla="*/ 21 w 253"/>
                  <a:gd name="T7" fmla="*/ 44 h 44"/>
                  <a:gd name="T8" fmla="*/ 232 w 253"/>
                  <a:gd name="T9" fmla="*/ 44 h 44"/>
                  <a:gd name="T10" fmla="*/ 253 w 253"/>
                  <a:gd name="T11" fmla="*/ 24 h 44"/>
                  <a:gd name="T12" fmla="*/ 253 w 253"/>
                  <a:gd name="T13" fmla="*/ 20 h 44"/>
                  <a:gd name="T14" fmla="*/ 232 w 253"/>
                  <a:gd name="T15" fmla="*/ 0 h 44"/>
                  <a:gd name="T16" fmla="*/ 135 w 253"/>
                  <a:gd name="T17" fmla="*/ 0 h 44"/>
                  <a:gd name="T18" fmla="*/ 21 w 253"/>
                  <a:gd name="T19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53" h="44">
                    <a:moveTo>
                      <a:pt x="21" y="0"/>
                    </a:moveTo>
                    <a:cubicBezTo>
                      <a:pt x="21" y="0"/>
                      <a:pt x="0" y="0"/>
                      <a:pt x="0" y="20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4"/>
                      <a:pt x="0" y="44"/>
                      <a:pt x="21" y="44"/>
                    </a:cubicBezTo>
                    <a:cubicBezTo>
                      <a:pt x="232" y="44"/>
                      <a:pt x="232" y="44"/>
                      <a:pt x="232" y="44"/>
                    </a:cubicBezTo>
                    <a:cubicBezTo>
                      <a:pt x="232" y="44"/>
                      <a:pt x="253" y="44"/>
                      <a:pt x="253" y="24"/>
                    </a:cubicBezTo>
                    <a:cubicBezTo>
                      <a:pt x="253" y="20"/>
                      <a:pt x="253" y="20"/>
                      <a:pt x="253" y="20"/>
                    </a:cubicBezTo>
                    <a:cubicBezTo>
                      <a:pt x="253" y="20"/>
                      <a:pt x="253" y="0"/>
                      <a:pt x="232" y="0"/>
                    </a:cubicBezTo>
                    <a:cubicBezTo>
                      <a:pt x="135" y="0"/>
                      <a:pt x="135" y="0"/>
                      <a:pt x="135" y="0"/>
                    </a:cubicBez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BA14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Freeform 33"/>
              <p:cNvSpPr>
                <a:spLocks/>
              </p:cNvSpPr>
              <p:nvPr/>
            </p:nvSpPr>
            <p:spPr bwMode="auto">
              <a:xfrm>
                <a:off x="2831" y="3325"/>
                <a:ext cx="119" cy="21"/>
              </a:xfrm>
              <a:custGeom>
                <a:avLst/>
                <a:gdLst>
                  <a:gd name="T0" fmla="*/ 21 w 253"/>
                  <a:gd name="T1" fmla="*/ 0 h 44"/>
                  <a:gd name="T2" fmla="*/ 0 w 253"/>
                  <a:gd name="T3" fmla="*/ 20 h 44"/>
                  <a:gd name="T4" fmla="*/ 0 w 253"/>
                  <a:gd name="T5" fmla="*/ 24 h 44"/>
                  <a:gd name="T6" fmla="*/ 21 w 253"/>
                  <a:gd name="T7" fmla="*/ 44 h 44"/>
                  <a:gd name="T8" fmla="*/ 232 w 253"/>
                  <a:gd name="T9" fmla="*/ 44 h 44"/>
                  <a:gd name="T10" fmla="*/ 253 w 253"/>
                  <a:gd name="T11" fmla="*/ 24 h 44"/>
                  <a:gd name="T12" fmla="*/ 253 w 253"/>
                  <a:gd name="T13" fmla="*/ 20 h 44"/>
                  <a:gd name="T14" fmla="*/ 232 w 253"/>
                  <a:gd name="T15" fmla="*/ 0 h 44"/>
                  <a:gd name="T16" fmla="*/ 135 w 253"/>
                  <a:gd name="T17" fmla="*/ 0 h 44"/>
                  <a:gd name="T18" fmla="*/ 21 w 253"/>
                  <a:gd name="T19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53" h="44">
                    <a:moveTo>
                      <a:pt x="21" y="0"/>
                    </a:moveTo>
                    <a:cubicBezTo>
                      <a:pt x="21" y="0"/>
                      <a:pt x="0" y="0"/>
                      <a:pt x="0" y="20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4"/>
                      <a:pt x="0" y="44"/>
                      <a:pt x="21" y="44"/>
                    </a:cubicBezTo>
                    <a:cubicBezTo>
                      <a:pt x="232" y="44"/>
                      <a:pt x="232" y="44"/>
                      <a:pt x="232" y="44"/>
                    </a:cubicBezTo>
                    <a:cubicBezTo>
                      <a:pt x="232" y="44"/>
                      <a:pt x="253" y="44"/>
                      <a:pt x="253" y="24"/>
                    </a:cubicBezTo>
                    <a:cubicBezTo>
                      <a:pt x="253" y="20"/>
                      <a:pt x="253" y="20"/>
                      <a:pt x="253" y="20"/>
                    </a:cubicBezTo>
                    <a:cubicBezTo>
                      <a:pt x="253" y="20"/>
                      <a:pt x="253" y="0"/>
                      <a:pt x="232" y="0"/>
                    </a:cubicBezTo>
                    <a:cubicBezTo>
                      <a:pt x="135" y="0"/>
                      <a:pt x="135" y="0"/>
                      <a:pt x="135" y="0"/>
                    </a:cubicBez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BA14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Oval 34"/>
              <p:cNvSpPr>
                <a:spLocks noChangeArrowheads="1"/>
              </p:cNvSpPr>
              <p:nvPr/>
            </p:nvSpPr>
            <p:spPr bwMode="auto">
              <a:xfrm>
                <a:off x="2928" y="3070"/>
                <a:ext cx="12" cy="11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Oval 35"/>
              <p:cNvSpPr>
                <a:spLocks noChangeArrowheads="1"/>
              </p:cNvSpPr>
              <p:nvPr/>
            </p:nvSpPr>
            <p:spPr bwMode="auto">
              <a:xfrm>
                <a:off x="2928" y="3107"/>
                <a:ext cx="12" cy="1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Oval 36"/>
              <p:cNvSpPr>
                <a:spLocks noChangeArrowheads="1"/>
              </p:cNvSpPr>
              <p:nvPr/>
            </p:nvSpPr>
            <p:spPr bwMode="auto">
              <a:xfrm>
                <a:off x="2928" y="3144"/>
                <a:ext cx="12" cy="1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Oval 37"/>
              <p:cNvSpPr>
                <a:spLocks noChangeArrowheads="1"/>
              </p:cNvSpPr>
              <p:nvPr/>
            </p:nvSpPr>
            <p:spPr bwMode="auto">
              <a:xfrm>
                <a:off x="2928" y="3181"/>
                <a:ext cx="12" cy="1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Oval 38"/>
              <p:cNvSpPr>
                <a:spLocks noChangeArrowheads="1"/>
              </p:cNvSpPr>
              <p:nvPr/>
            </p:nvSpPr>
            <p:spPr bwMode="auto">
              <a:xfrm>
                <a:off x="2928" y="3218"/>
                <a:ext cx="12" cy="1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Oval 39"/>
              <p:cNvSpPr>
                <a:spLocks noChangeArrowheads="1"/>
              </p:cNvSpPr>
              <p:nvPr/>
            </p:nvSpPr>
            <p:spPr bwMode="auto">
              <a:xfrm>
                <a:off x="2928" y="3255"/>
                <a:ext cx="12" cy="1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Oval 40"/>
              <p:cNvSpPr>
                <a:spLocks noChangeArrowheads="1"/>
              </p:cNvSpPr>
              <p:nvPr/>
            </p:nvSpPr>
            <p:spPr bwMode="auto">
              <a:xfrm>
                <a:off x="2928" y="3293"/>
                <a:ext cx="12" cy="11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Oval 41"/>
              <p:cNvSpPr>
                <a:spLocks noChangeArrowheads="1"/>
              </p:cNvSpPr>
              <p:nvPr/>
            </p:nvSpPr>
            <p:spPr bwMode="auto">
              <a:xfrm>
                <a:off x="2928" y="3330"/>
                <a:ext cx="12" cy="1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42"/>
              <p:cNvSpPr>
                <a:spLocks/>
              </p:cNvSpPr>
              <p:nvPr/>
            </p:nvSpPr>
            <p:spPr bwMode="auto">
              <a:xfrm>
                <a:off x="2831" y="3362"/>
                <a:ext cx="119" cy="21"/>
              </a:xfrm>
              <a:custGeom>
                <a:avLst/>
                <a:gdLst>
                  <a:gd name="T0" fmla="*/ 21 w 253"/>
                  <a:gd name="T1" fmla="*/ 0 h 44"/>
                  <a:gd name="T2" fmla="*/ 0 w 253"/>
                  <a:gd name="T3" fmla="*/ 20 h 44"/>
                  <a:gd name="T4" fmla="*/ 0 w 253"/>
                  <a:gd name="T5" fmla="*/ 24 h 44"/>
                  <a:gd name="T6" fmla="*/ 21 w 253"/>
                  <a:gd name="T7" fmla="*/ 44 h 44"/>
                  <a:gd name="T8" fmla="*/ 232 w 253"/>
                  <a:gd name="T9" fmla="*/ 44 h 44"/>
                  <a:gd name="T10" fmla="*/ 253 w 253"/>
                  <a:gd name="T11" fmla="*/ 24 h 44"/>
                  <a:gd name="T12" fmla="*/ 253 w 253"/>
                  <a:gd name="T13" fmla="*/ 20 h 44"/>
                  <a:gd name="T14" fmla="*/ 232 w 253"/>
                  <a:gd name="T15" fmla="*/ 0 h 44"/>
                  <a:gd name="T16" fmla="*/ 135 w 253"/>
                  <a:gd name="T17" fmla="*/ 0 h 44"/>
                  <a:gd name="T18" fmla="*/ 21 w 253"/>
                  <a:gd name="T19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53" h="44">
                    <a:moveTo>
                      <a:pt x="21" y="0"/>
                    </a:moveTo>
                    <a:cubicBezTo>
                      <a:pt x="21" y="0"/>
                      <a:pt x="0" y="0"/>
                      <a:pt x="0" y="20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4"/>
                      <a:pt x="0" y="44"/>
                      <a:pt x="21" y="44"/>
                    </a:cubicBezTo>
                    <a:cubicBezTo>
                      <a:pt x="232" y="44"/>
                      <a:pt x="232" y="44"/>
                      <a:pt x="232" y="44"/>
                    </a:cubicBezTo>
                    <a:cubicBezTo>
                      <a:pt x="232" y="44"/>
                      <a:pt x="253" y="44"/>
                      <a:pt x="253" y="24"/>
                    </a:cubicBezTo>
                    <a:cubicBezTo>
                      <a:pt x="253" y="20"/>
                      <a:pt x="253" y="20"/>
                      <a:pt x="253" y="20"/>
                    </a:cubicBezTo>
                    <a:cubicBezTo>
                      <a:pt x="253" y="20"/>
                      <a:pt x="253" y="0"/>
                      <a:pt x="232" y="0"/>
                    </a:cubicBezTo>
                    <a:cubicBezTo>
                      <a:pt x="135" y="0"/>
                      <a:pt x="135" y="0"/>
                      <a:pt x="135" y="0"/>
                    </a:cubicBez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BA14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Oval 43"/>
              <p:cNvSpPr>
                <a:spLocks noChangeArrowheads="1"/>
              </p:cNvSpPr>
              <p:nvPr/>
            </p:nvSpPr>
            <p:spPr bwMode="auto">
              <a:xfrm>
                <a:off x="2885" y="3367"/>
                <a:ext cx="12" cy="1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44"/>
              <p:cNvSpPr>
                <a:spLocks/>
              </p:cNvSpPr>
              <p:nvPr/>
            </p:nvSpPr>
            <p:spPr bwMode="auto">
              <a:xfrm>
                <a:off x="2737" y="3251"/>
                <a:ext cx="78" cy="18"/>
              </a:xfrm>
              <a:custGeom>
                <a:avLst/>
                <a:gdLst>
                  <a:gd name="T0" fmla="*/ 78 w 166"/>
                  <a:gd name="T1" fmla="*/ 16 h 38"/>
                  <a:gd name="T2" fmla="*/ 166 w 166"/>
                  <a:gd name="T3" fmla="*/ 38 h 38"/>
                  <a:gd name="T4" fmla="*/ 166 w 166"/>
                  <a:gd name="T5" fmla="*/ 10 h 38"/>
                  <a:gd name="T6" fmla="*/ 106 w 166"/>
                  <a:gd name="T7" fmla="*/ 0 h 38"/>
                  <a:gd name="T8" fmla="*/ 0 w 166"/>
                  <a:gd name="T9" fmla="*/ 33 h 38"/>
                  <a:gd name="T10" fmla="*/ 78 w 166"/>
                  <a:gd name="T11" fmla="*/ 16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6" h="38">
                    <a:moveTo>
                      <a:pt x="78" y="16"/>
                    </a:moveTo>
                    <a:cubicBezTo>
                      <a:pt x="110" y="16"/>
                      <a:pt x="140" y="24"/>
                      <a:pt x="166" y="38"/>
                    </a:cubicBezTo>
                    <a:cubicBezTo>
                      <a:pt x="166" y="10"/>
                      <a:pt x="166" y="10"/>
                      <a:pt x="166" y="10"/>
                    </a:cubicBezTo>
                    <a:cubicBezTo>
                      <a:pt x="147" y="4"/>
                      <a:pt x="127" y="0"/>
                      <a:pt x="106" y="0"/>
                    </a:cubicBezTo>
                    <a:cubicBezTo>
                      <a:pt x="67" y="0"/>
                      <a:pt x="30" y="12"/>
                      <a:pt x="0" y="33"/>
                    </a:cubicBezTo>
                    <a:cubicBezTo>
                      <a:pt x="24" y="22"/>
                      <a:pt x="50" y="16"/>
                      <a:pt x="78" y="16"/>
                    </a:cubicBezTo>
                  </a:path>
                </a:pathLst>
              </a:custGeom>
              <a:solidFill>
                <a:srgbClr val="4423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45"/>
              <p:cNvSpPr>
                <a:spLocks/>
              </p:cNvSpPr>
              <p:nvPr/>
            </p:nvSpPr>
            <p:spPr bwMode="auto">
              <a:xfrm>
                <a:off x="2815" y="3255"/>
                <a:ext cx="132" cy="144"/>
              </a:xfrm>
              <a:custGeom>
                <a:avLst/>
                <a:gdLst>
                  <a:gd name="T0" fmla="*/ 280 w 280"/>
                  <a:gd name="T1" fmla="*/ 232 h 306"/>
                  <a:gd name="T2" fmla="*/ 151 w 280"/>
                  <a:gd name="T3" fmla="*/ 103 h 306"/>
                  <a:gd name="T4" fmla="*/ 115 w 280"/>
                  <a:gd name="T5" fmla="*/ 108 h 306"/>
                  <a:gd name="T6" fmla="*/ 0 w 280"/>
                  <a:gd name="T7" fmla="*/ 0 h 306"/>
                  <a:gd name="T8" fmla="*/ 0 w 280"/>
                  <a:gd name="T9" fmla="*/ 28 h 306"/>
                  <a:gd name="T10" fmla="*/ 87 w 280"/>
                  <a:gd name="T11" fmla="*/ 124 h 306"/>
                  <a:gd name="T12" fmla="*/ 123 w 280"/>
                  <a:gd name="T13" fmla="*/ 119 h 306"/>
                  <a:gd name="T14" fmla="*/ 253 w 280"/>
                  <a:gd name="T15" fmla="*/ 248 h 306"/>
                  <a:gd name="T16" fmla="*/ 238 w 280"/>
                  <a:gd name="T17" fmla="*/ 306 h 306"/>
                  <a:gd name="T18" fmla="*/ 267 w 280"/>
                  <a:gd name="T19" fmla="*/ 306 h 306"/>
                  <a:gd name="T20" fmla="*/ 280 w 280"/>
                  <a:gd name="T21" fmla="*/ 232 h 3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80" h="306">
                    <a:moveTo>
                      <a:pt x="280" y="232"/>
                    </a:moveTo>
                    <a:cubicBezTo>
                      <a:pt x="280" y="161"/>
                      <a:pt x="222" y="103"/>
                      <a:pt x="151" y="103"/>
                    </a:cubicBezTo>
                    <a:cubicBezTo>
                      <a:pt x="138" y="103"/>
                      <a:pt x="126" y="105"/>
                      <a:pt x="115" y="108"/>
                    </a:cubicBezTo>
                    <a:cubicBezTo>
                      <a:pt x="94" y="58"/>
                      <a:pt x="52" y="18"/>
                      <a:pt x="0" y="0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39" y="49"/>
                      <a:pt x="70" y="83"/>
                      <a:pt x="87" y="124"/>
                    </a:cubicBezTo>
                    <a:cubicBezTo>
                      <a:pt x="99" y="120"/>
                      <a:pt x="111" y="119"/>
                      <a:pt x="123" y="119"/>
                    </a:cubicBezTo>
                    <a:cubicBezTo>
                      <a:pt x="195" y="119"/>
                      <a:pt x="253" y="177"/>
                      <a:pt x="253" y="248"/>
                    </a:cubicBezTo>
                    <a:cubicBezTo>
                      <a:pt x="253" y="269"/>
                      <a:pt x="247" y="289"/>
                      <a:pt x="238" y="306"/>
                    </a:cubicBezTo>
                    <a:cubicBezTo>
                      <a:pt x="267" y="306"/>
                      <a:pt x="267" y="306"/>
                      <a:pt x="267" y="306"/>
                    </a:cubicBezTo>
                    <a:cubicBezTo>
                      <a:pt x="275" y="284"/>
                      <a:pt x="280" y="253"/>
                      <a:pt x="280" y="232"/>
                    </a:cubicBezTo>
                  </a:path>
                </a:pathLst>
              </a:custGeom>
              <a:solidFill>
                <a:srgbClr val="BA14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46"/>
              <p:cNvSpPr>
                <a:spLocks/>
              </p:cNvSpPr>
              <p:nvPr/>
            </p:nvSpPr>
            <p:spPr bwMode="auto">
              <a:xfrm>
                <a:off x="2640" y="3258"/>
                <a:ext cx="294" cy="141"/>
              </a:xfrm>
              <a:custGeom>
                <a:avLst/>
                <a:gdLst>
                  <a:gd name="T0" fmla="*/ 610 w 625"/>
                  <a:gd name="T1" fmla="*/ 300 h 300"/>
                  <a:gd name="T2" fmla="*/ 625 w 625"/>
                  <a:gd name="T3" fmla="*/ 242 h 300"/>
                  <a:gd name="T4" fmla="*/ 495 w 625"/>
                  <a:gd name="T5" fmla="*/ 113 h 300"/>
                  <a:gd name="T6" fmla="*/ 459 w 625"/>
                  <a:gd name="T7" fmla="*/ 118 h 300"/>
                  <a:gd name="T8" fmla="*/ 284 w 625"/>
                  <a:gd name="T9" fmla="*/ 0 h 300"/>
                  <a:gd name="T10" fmla="*/ 95 w 625"/>
                  <a:gd name="T11" fmla="*/ 178 h 300"/>
                  <a:gd name="T12" fmla="*/ 0 w 625"/>
                  <a:gd name="T13" fmla="*/ 276 h 300"/>
                  <a:gd name="T14" fmla="*/ 3 w 625"/>
                  <a:gd name="T15" fmla="*/ 300 h 300"/>
                  <a:gd name="T16" fmla="*/ 610 w 625"/>
                  <a:gd name="T17" fmla="*/ 30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25" h="300">
                    <a:moveTo>
                      <a:pt x="610" y="300"/>
                    </a:moveTo>
                    <a:cubicBezTo>
                      <a:pt x="619" y="283"/>
                      <a:pt x="625" y="263"/>
                      <a:pt x="625" y="242"/>
                    </a:cubicBezTo>
                    <a:cubicBezTo>
                      <a:pt x="625" y="171"/>
                      <a:pt x="567" y="113"/>
                      <a:pt x="495" y="113"/>
                    </a:cubicBezTo>
                    <a:cubicBezTo>
                      <a:pt x="483" y="113"/>
                      <a:pt x="471" y="114"/>
                      <a:pt x="459" y="118"/>
                    </a:cubicBezTo>
                    <a:cubicBezTo>
                      <a:pt x="431" y="49"/>
                      <a:pt x="363" y="0"/>
                      <a:pt x="284" y="0"/>
                    </a:cubicBezTo>
                    <a:cubicBezTo>
                      <a:pt x="183" y="0"/>
                      <a:pt x="101" y="79"/>
                      <a:pt x="95" y="178"/>
                    </a:cubicBezTo>
                    <a:cubicBezTo>
                      <a:pt x="42" y="179"/>
                      <a:pt x="0" y="223"/>
                      <a:pt x="0" y="276"/>
                    </a:cubicBezTo>
                    <a:cubicBezTo>
                      <a:pt x="0" y="284"/>
                      <a:pt x="1" y="293"/>
                      <a:pt x="3" y="300"/>
                    </a:cubicBezTo>
                    <a:lnTo>
                      <a:pt x="610" y="30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Rectangle 47"/>
              <p:cNvSpPr>
                <a:spLocks noChangeArrowheads="1"/>
              </p:cNvSpPr>
              <p:nvPr/>
            </p:nvSpPr>
            <p:spPr bwMode="auto">
              <a:xfrm>
                <a:off x="2583" y="3399"/>
                <a:ext cx="494" cy="100"/>
              </a:xfrm>
              <a:prstGeom prst="rect">
                <a:avLst/>
              </a:prstGeom>
              <a:solidFill>
                <a:srgbClr val="4423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89" name="Group 488"/>
          <p:cNvGrpSpPr/>
          <p:nvPr/>
        </p:nvGrpSpPr>
        <p:grpSpPr>
          <a:xfrm>
            <a:off x="1291492" y="112642"/>
            <a:ext cx="9334503" cy="3143250"/>
            <a:chOff x="1291492" y="112642"/>
            <a:chExt cx="9334503" cy="3143250"/>
          </a:xfrm>
        </p:grpSpPr>
        <p:sp>
          <p:nvSpPr>
            <p:cNvPr id="331" name="Rectangle 330"/>
            <p:cNvSpPr/>
            <p:nvPr/>
          </p:nvSpPr>
          <p:spPr>
            <a:xfrm>
              <a:off x="1291492" y="112642"/>
              <a:ext cx="9334503" cy="3143250"/>
            </a:xfrm>
            <a:prstGeom prst="rect">
              <a:avLst/>
            </a:prstGeom>
            <a:solidFill>
              <a:srgbClr val="B400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2" name="Rectangle 331"/>
            <p:cNvSpPr/>
            <p:nvPr/>
          </p:nvSpPr>
          <p:spPr>
            <a:xfrm>
              <a:off x="1291493" y="112642"/>
              <a:ext cx="3331938" cy="3143250"/>
            </a:xfrm>
            <a:prstGeom prst="rect">
              <a:avLst/>
            </a:prstGeom>
            <a:solidFill>
              <a:srgbClr val="4423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88" name="Group 487"/>
            <p:cNvGrpSpPr/>
            <p:nvPr/>
          </p:nvGrpSpPr>
          <p:grpSpPr>
            <a:xfrm>
              <a:off x="3016713" y="1031343"/>
              <a:ext cx="1267071" cy="856869"/>
              <a:chOff x="10781639" y="2903918"/>
              <a:chExt cx="1267071" cy="856869"/>
            </a:xfrm>
          </p:grpSpPr>
          <p:grpSp>
            <p:nvGrpSpPr>
              <p:cNvPr id="487" name="Group 486"/>
              <p:cNvGrpSpPr/>
              <p:nvPr/>
            </p:nvGrpSpPr>
            <p:grpSpPr>
              <a:xfrm>
                <a:off x="10781639" y="2903918"/>
                <a:ext cx="1267071" cy="856868"/>
                <a:chOff x="10781639" y="2903918"/>
                <a:chExt cx="1267071" cy="856868"/>
              </a:xfrm>
            </p:grpSpPr>
            <p:sp>
              <p:nvSpPr>
                <p:cNvPr id="341" name="Rectangle 12"/>
                <p:cNvSpPr>
                  <a:spLocks noChangeArrowheads="1"/>
                </p:cNvSpPr>
                <p:nvPr/>
              </p:nvSpPr>
              <p:spPr bwMode="auto">
                <a:xfrm>
                  <a:off x="10781639" y="2903918"/>
                  <a:ext cx="1267071" cy="856868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grpSp>
              <p:nvGrpSpPr>
                <p:cNvPr id="469" name="Group 468"/>
                <p:cNvGrpSpPr/>
                <p:nvPr/>
              </p:nvGrpSpPr>
              <p:grpSpPr>
                <a:xfrm>
                  <a:off x="11051099" y="2923906"/>
                  <a:ext cx="951030" cy="579194"/>
                  <a:chOff x="1881188" y="3570288"/>
                  <a:chExt cx="2373312" cy="1436688"/>
                </a:xfrm>
              </p:grpSpPr>
              <p:sp>
                <p:nvSpPr>
                  <p:cNvPr id="470" name="Freeform 5"/>
                  <p:cNvSpPr>
                    <a:spLocks/>
                  </p:cNvSpPr>
                  <p:nvPr/>
                </p:nvSpPr>
                <p:spPr bwMode="auto">
                  <a:xfrm>
                    <a:off x="1881188" y="4192588"/>
                    <a:ext cx="2343150" cy="814388"/>
                  </a:xfrm>
                  <a:custGeom>
                    <a:avLst/>
                    <a:gdLst>
                      <a:gd name="T0" fmla="*/ 8 w 1476"/>
                      <a:gd name="T1" fmla="*/ 513 h 513"/>
                      <a:gd name="T2" fmla="*/ 0 w 1476"/>
                      <a:gd name="T3" fmla="*/ 479 h 513"/>
                      <a:gd name="T4" fmla="*/ 429 w 1476"/>
                      <a:gd name="T5" fmla="*/ 374 h 513"/>
                      <a:gd name="T6" fmla="*/ 780 w 1476"/>
                      <a:gd name="T7" fmla="*/ 155 h 513"/>
                      <a:gd name="T8" fmla="*/ 1213 w 1476"/>
                      <a:gd name="T9" fmla="*/ 138 h 513"/>
                      <a:gd name="T10" fmla="*/ 1476 w 1476"/>
                      <a:gd name="T11" fmla="*/ 0 h 513"/>
                      <a:gd name="T12" fmla="*/ 1476 w 1476"/>
                      <a:gd name="T13" fmla="*/ 0 h 513"/>
                      <a:gd name="T14" fmla="*/ 1476 w 1476"/>
                      <a:gd name="T15" fmla="*/ 36 h 513"/>
                      <a:gd name="T16" fmla="*/ 1476 w 1476"/>
                      <a:gd name="T17" fmla="*/ 39 h 513"/>
                      <a:gd name="T18" fmla="*/ 1222 w 1476"/>
                      <a:gd name="T19" fmla="*/ 175 h 513"/>
                      <a:gd name="T20" fmla="*/ 792 w 1476"/>
                      <a:gd name="T21" fmla="*/ 190 h 513"/>
                      <a:gd name="T22" fmla="*/ 443 w 1476"/>
                      <a:gd name="T23" fmla="*/ 407 h 513"/>
                      <a:gd name="T24" fmla="*/ 8 w 1476"/>
                      <a:gd name="T25" fmla="*/ 513 h 51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476" h="513">
                        <a:moveTo>
                          <a:pt x="8" y="513"/>
                        </a:moveTo>
                        <a:lnTo>
                          <a:pt x="0" y="479"/>
                        </a:lnTo>
                        <a:lnTo>
                          <a:pt x="429" y="374"/>
                        </a:lnTo>
                        <a:lnTo>
                          <a:pt x="780" y="155"/>
                        </a:lnTo>
                        <a:lnTo>
                          <a:pt x="1213" y="138"/>
                        </a:lnTo>
                        <a:lnTo>
                          <a:pt x="1476" y="0"/>
                        </a:lnTo>
                        <a:lnTo>
                          <a:pt x="1476" y="0"/>
                        </a:lnTo>
                        <a:lnTo>
                          <a:pt x="1476" y="36"/>
                        </a:lnTo>
                        <a:lnTo>
                          <a:pt x="1476" y="39"/>
                        </a:lnTo>
                        <a:lnTo>
                          <a:pt x="1222" y="175"/>
                        </a:lnTo>
                        <a:lnTo>
                          <a:pt x="792" y="190"/>
                        </a:lnTo>
                        <a:lnTo>
                          <a:pt x="443" y="407"/>
                        </a:lnTo>
                        <a:lnTo>
                          <a:pt x="8" y="513"/>
                        </a:lnTo>
                        <a:close/>
                      </a:path>
                    </a:pathLst>
                  </a:custGeom>
                  <a:solidFill>
                    <a:srgbClr val="00BCF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71" name="Freeform 6"/>
                  <p:cNvSpPr>
                    <a:spLocks/>
                  </p:cNvSpPr>
                  <p:nvPr/>
                </p:nvSpPr>
                <p:spPr bwMode="auto">
                  <a:xfrm>
                    <a:off x="1887538" y="3570288"/>
                    <a:ext cx="2366962" cy="1341438"/>
                  </a:xfrm>
                  <a:custGeom>
                    <a:avLst/>
                    <a:gdLst>
                      <a:gd name="T0" fmla="*/ 14 w 1491"/>
                      <a:gd name="T1" fmla="*/ 845 h 845"/>
                      <a:gd name="T2" fmla="*/ 0 w 1491"/>
                      <a:gd name="T3" fmla="*/ 813 h 845"/>
                      <a:gd name="T4" fmla="*/ 348 w 1491"/>
                      <a:gd name="T5" fmla="*/ 652 h 845"/>
                      <a:gd name="T6" fmla="*/ 562 w 1491"/>
                      <a:gd name="T7" fmla="*/ 402 h 845"/>
                      <a:gd name="T8" fmla="*/ 915 w 1491"/>
                      <a:gd name="T9" fmla="*/ 328 h 845"/>
                      <a:gd name="T10" fmla="*/ 1128 w 1491"/>
                      <a:gd name="T11" fmla="*/ 77 h 845"/>
                      <a:gd name="T12" fmla="*/ 1491 w 1491"/>
                      <a:gd name="T13" fmla="*/ 0 h 845"/>
                      <a:gd name="T14" fmla="*/ 1491 w 1491"/>
                      <a:gd name="T15" fmla="*/ 37 h 845"/>
                      <a:gd name="T16" fmla="*/ 1147 w 1491"/>
                      <a:gd name="T17" fmla="*/ 111 h 845"/>
                      <a:gd name="T18" fmla="*/ 934 w 1491"/>
                      <a:gd name="T19" fmla="*/ 360 h 845"/>
                      <a:gd name="T20" fmla="*/ 582 w 1491"/>
                      <a:gd name="T21" fmla="*/ 434 h 845"/>
                      <a:gd name="T22" fmla="*/ 371 w 1491"/>
                      <a:gd name="T23" fmla="*/ 682 h 845"/>
                      <a:gd name="T24" fmla="*/ 14 w 1491"/>
                      <a:gd name="T25" fmla="*/ 845 h 84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491" h="845">
                        <a:moveTo>
                          <a:pt x="14" y="845"/>
                        </a:moveTo>
                        <a:lnTo>
                          <a:pt x="0" y="813"/>
                        </a:lnTo>
                        <a:lnTo>
                          <a:pt x="348" y="652"/>
                        </a:lnTo>
                        <a:lnTo>
                          <a:pt x="562" y="402"/>
                        </a:lnTo>
                        <a:lnTo>
                          <a:pt x="915" y="328"/>
                        </a:lnTo>
                        <a:lnTo>
                          <a:pt x="1128" y="77"/>
                        </a:lnTo>
                        <a:lnTo>
                          <a:pt x="1491" y="0"/>
                        </a:lnTo>
                        <a:lnTo>
                          <a:pt x="1491" y="37"/>
                        </a:lnTo>
                        <a:lnTo>
                          <a:pt x="1147" y="111"/>
                        </a:lnTo>
                        <a:lnTo>
                          <a:pt x="934" y="360"/>
                        </a:lnTo>
                        <a:lnTo>
                          <a:pt x="582" y="434"/>
                        </a:lnTo>
                        <a:lnTo>
                          <a:pt x="371" y="682"/>
                        </a:lnTo>
                        <a:lnTo>
                          <a:pt x="14" y="845"/>
                        </a:lnTo>
                        <a:close/>
                      </a:path>
                    </a:pathLst>
                  </a:custGeom>
                  <a:solidFill>
                    <a:srgbClr val="68217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</p:grpSp>
          </p:grpSp>
          <p:sp>
            <p:nvSpPr>
              <p:cNvPr id="476" name="Rectangle 26"/>
              <p:cNvSpPr>
                <a:spLocks noChangeArrowheads="1"/>
              </p:cNvSpPr>
              <p:nvPr/>
            </p:nvSpPr>
            <p:spPr bwMode="auto">
              <a:xfrm>
                <a:off x="11235933" y="3069514"/>
                <a:ext cx="70682" cy="691273"/>
              </a:xfrm>
              <a:prstGeom prst="rect">
                <a:avLst/>
              </a:prstGeom>
              <a:solidFill>
                <a:srgbClr val="3410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7" name="Rectangle 27"/>
              <p:cNvSpPr>
                <a:spLocks noChangeArrowheads="1"/>
              </p:cNvSpPr>
              <p:nvPr/>
            </p:nvSpPr>
            <p:spPr bwMode="auto">
              <a:xfrm>
                <a:off x="11235933" y="3069514"/>
                <a:ext cx="70682" cy="6912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8" name="Rectangle 28"/>
              <p:cNvSpPr>
                <a:spLocks noChangeArrowheads="1"/>
              </p:cNvSpPr>
              <p:nvPr/>
            </p:nvSpPr>
            <p:spPr bwMode="auto">
              <a:xfrm>
                <a:off x="11134151" y="3584081"/>
                <a:ext cx="72096" cy="176706"/>
              </a:xfrm>
              <a:prstGeom prst="rect">
                <a:avLst/>
              </a:prstGeom>
              <a:solidFill>
                <a:srgbClr val="4E195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9" name="Rectangle 29"/>
              <p:cNvSpPr>
                <a:spLocks noChangeArrowheads="1"/>
              </p:cNvSpPr>
              <p:nvPr/>
            </p:nvSpPr>
            <p:spPr bwMode="auto">
              <a:xfrm>
                <a:off x="11134151" y="3584081"/>
                <a:ext cx="72096" cy="17670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0" name="Rectangle 30"/>
              <p:cNvSpPr>
                <a:spLocks noChangeArrowheads="1"/>
              </p:cNvSpPr>
              <p:nvPr/>
            </p:nvSpPr>
            <p:spPr bwMode="auto">
              <a:xfrm>
                <a:off x="11030954" y="3282974"/>
                <a:ext cx="72096" cy="477812"/>
              </a:xfrm>
              <a:prstGeom prst="rect">
                <a:avLst/>
              </a:prstGeom>
              <a:solidFill>
                <a:srgbClr val="B957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1" name="Rectangle 31"/>
              <p:cNvSpPr>
                <a:spLocks noChangeArrowheads="1"/>
              </p:cNvSpPr>
              <p:nvPr/>
            </p:nvSpPr>
            <p:spPr bwMode="auto">
              <a:xfrm>
                <a:off x="11030954" y="3282974"/>
                <a:ext cx="72096" cy="47781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2" name="Rectangle 32"/>
              <p:cNvSpPr>
                <a:spLocks noChangeArrowheads="1"/>
              </p:cNvSpPr>
              <p:nvPr/>
            </p:nvSpPr>
            <p:spPr bwMode="auto">
              <a:xfrm>
                <a:off x="10926344" y="3158573"/>
                <a:ext cx="73510" cy="602213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3" name="Rectangle 33"/>
              <p:cNvSpPr>
                <a:spLocks noChangeArrowheads="1"/>
              </p:cNvSpPr>
              <p:nvPr/>
            </p:nvSpPr>
            <p:spPr bwMode="auto">
              <a:xfrm>
                <a:off x="10926344" y="3158573"/>
                <a:ext cx="73510" cy="6022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5" name="Freeform 62"/>
              <p:cNvSpPr>
                <a:spLocks/>
              </p:cNvSpPr>
              <p:nvPr/>
            </p:nvSpPr>
            <p:spPr bwMode="auto">
              <a:xfrm>
                <a:off x="10891004" y="3342347"/>
                <a:ext cx="33928" cy="32514"/>
              </a:xfrm>
              <a:custGeom>
                <a:avLst/>
                <a:gdLst>
                  <a:gd name="T0" fmla="*/ 17 w 17"/>
                  <a:gd name="T1" fmla="*/ 8 h 16"/>
                  <a:gd name="T2" fmla="*/ 9 w 17"/>
                  <a:gd name="T3" fmla="*/ 16 h 16"/>
                  <a:gd name="T4" fmla="*/ 1 w 17"/>
                  <a:gd name="T5" fmla="*/ 9 h 16"/>
                  <a:gd name="T6" fmla="*/ 9 w 17"/>
                  <a:gd name="T7" fmla="*/ 0 h 16"/>
                  <a:gd name="T8" fmla="*/ 17 w 17"/>
                  <a:gd name="T9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16">
                    <a:moveTo>
                      <a:pt x="17" y="8"/>
                    </a:moveTo>
                    <a:cubicBezTo>
                      <a:pt x="17" y="13"/>
                      <a:pt x="14" y="16"/>
                      <a:pt x="9" y="16"/>
                    </a:cubicBezTo>
                    <a:cubicBezTo>
                      <a:pt x="5" y="16"/>
                      <a:pt x="1" y="13"/>
                      <a:pt x="1" y="9"/>
                    </a:cubicBezTo>
                    <a:cubicBezTo>
                      <a:pt x="0" y="4"/>
                      <a:pt x="4" y="1"/>
                      <a:pt x="9" y="0"/>
                    </a:cubicBezTo>
                    <a:cubicBezTo>
                      <a:pt x="13" y="0"/>
                      <a:pt x="17" y="4"/>
                      <a:pt x="17" y="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333" name="Rectangle 332"/>
            <p:cNvSpPr/>
            <p:nvPr/>
          </p:nvSpPr>
          <p:spPr>
            <a:xfrm>
              <a:off x="4705471" y="817485"/>
              <a:ext cx="5181323" cy="1587323"/>
            </a:xfrm>
            <a:prstGeom prst="rect">
              <a:avLst/>
            </a:prstGeom>
            <a:solidFill>
              <a:srgbClr val="B400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82880"/>
              <a:r>
                <a:rPr lang="en-US" sz="4000" dirty="0" smtClean="0">
                  <a:latin typeface="Segoe UI Light" panose="020B0502040204020203" pitchFamily="34" charset="0"/>
                  <a:cs typeface="Segoe UI Light" panose="020B0502040204020203" pitchFamily="34" charset="0"/>
                </a:rPr>
                <a:t>Broaden your marketing expertise</a:t>
              </a:r>
            </a:p>
            <a:p>
              <a:pPr marL="182880"/>
              <a:endParaRPr lang="en-US" dirty="0" smtClean="0"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82880"/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82880"/>
              <a:r>
                <a:rPr lang="en-US" sz="1600" dirty="0" smtClean="0">
                  <a:latin typeface="Segoe UI" panose="020B0502040204020203" pitchFamily="34" charset="0"/>
                  <a:cs typeface="Segoe UI" panose="020B0502040204020203" pitchFamily="34" charset="0"/>
                </a:rPr>
                <a:t>Use our marketing best practices resources to make the most out of your leads and start growing sales.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334" name="Freeform 9"/>
            <p:cNvSpPr>
              <a:spLocks noEditPoints="1"/>
            </p:cNvSpPr>
            <p:nvPr/>
          </p:nvSpPr>
          <p:spPr bwMode="black">
            <a:xfrm>
              <a:off x="9802142" y="2254965"/>
              <a:ext cx="514664" cy="516757"/>
            </a:xfrm>
            <a:custGeom>
              <a:avLst/>
              <a:gdLst>
                <a:gd name="T0" fmla="*/ 88 w 149"/>
                <a:gd name="T1" fmla="*/ 67 h 149"/>
                <a:gd name="T2" fmla="*/ 65 w 149"/>
                <a:gd name="T3" fmla="*/ 46 h 149"/>
                <a:gd name="T4" fmla="*/ 84 w 149"/>
                <a:gd name="T5" fmla="*/ 46 h 149"/>
                <a:gd name="T6" fmla="*/ 115 w 149"/>
                <a:gd name="T7" fmla="*/ 75 h 149"/>
                <a:gd name="T8" fmla="*/ 84 w 149"/>
                <a:gd name="T9" fmla="*/ 104 h 149"/>
                <a:gd name="T10" fmla="*/ 65 w 149"/>
                <a:gd name="T11" fmla="*/ 104 h 149"/>
                <a:gd name="T12" fmla="*/ 88 w 149"/>
                <a:gd name="T13" fmla="*/ 82 h 149"/>
                <a:gd name="T14" fmla="*/ 36 w 149"/>
                <a:gd name="T15" fmla="*/ 82 h 149"/>
                <a:gd name="T16" fmla="*/ 36 w 149"/>
                <a:gd name="T17" fmla="*/ 67 h 149"/>
                <a:gd name="T18" fmla="*/ 88 w 149"/>
                <a:gd name="T19" fmla="*/ 67 h 149"/>
                <a:gd name="T20" fmla="*/ 74 w 149"/>
                <a:gd name="T21" fmla="*/ 9 h 149"/>
                <a:gd name="T22" fmla="*/ 140 w 149"/>
                <a:gd name="T23" fmla="*/ 75 h 149"/>
                <a:gd name="T24" fmla="*/ 74 w 149"/>
                <a:gd name="T25" fmla="*/ 140 h 149"/>
                <a:gd name="T26" fmla="*/ 9 w 149"/>
                <a:gd name="T27" fmla="*/ 75 h 149"/>
                <a:gd name="T28" fmla="*/ 74 w 149"/>
                <a:gd name="T29" fmla="*/ 9 h 149"/>
                <a:gd name="T30" fmla="*/ 74 w 149"/>
                <a:gd name="T31" fmla="*/ 0 h 149"/>
                <a:gd name="T32" fmla="*/ 0 w 149"/>
                <a:gd name="T33" fmla="*/ 75 h 149"/>
                <a:gd name="T34" fmla="*/ 74 w 149"/>
                <a:gd name="T35" fmla="*/ 149 h 149"/>
                <a:gd name="T36" fmla="*/ 149 w 149"/>
                <a:gd name="T37" fmla="*/ 75 h 149"/>
                <a:gd name="T38" fmla="*/ 74 w 149"/>
                <a:gd name="T3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9" h="149">
                  <a:moveTo>
                    <a:pt x="88" y="67"/>
                  </a:moveTo>
                  <a:cubicBezTo>
                    <a:pt x="65" y="46"/>
                    <a:pt x="65" y="46"/>
                    <a:pt x="65" y="46"/>
                  </a:cubicBezTo>
                  <a:cubicBezTo>
                    <a:pt x="84" y="46"/>
                    <a:pt x="84" y="46"/>
                    <a:pt x="84" y="46"/>
                  </a:cubicBezTo>
                  <a:cubicBezTo>
                    <a:pt x="115" y="75"/>
                    <a:pt x="115" y="75"/>
                    <a:pt x="115" y="75"/>
                  </a:cubicBezTo>
                  <a:cubicBezTo>
                    <a:pt x="84" y="104"/>
                    <a:pt x="84" y="104"/>
                    <a:pt x="84" y="104"/>
                  </a:cubicBezTo>
                  <a:cubicBezTo>
                    <a:pt x="65" y="104"/>
                    <a:pt x="65" y="104"/>
                    <a:pt x="65" y="104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6" y="67"/>
                    <a:pt x="36" y="67"/>
                    <a:pt x="36" y="67"/>
                  </a:cubicBezTo>
                  <a:lnTo>
                    <a:pt x="88" y="67"/>
                  </a:lnTo>
                  <a:close/>
                  <a:moveTo>
                    <a:pt x="74" y="9"/>
                  </a:moveTo>
                  <a:cubicBezTo>
                    <a:pt x="110" y="9"/>
                    <a:pt x="140" y="39"/>
                    <a:pt x="140" y="75"/>
                  </a:cubicBezTo>
                  <a:cubicBezTo>
                    <a:pt x="140" y="111"/>
                    <a:pt x="110" y="140"/>
                    <a:pt x="74" y="140"/>
                  </a:cubicBezTo>
                  <a:cubicBezTo>
                    <a:pt x="38" y="140"/>
                    <a:pt x="9" y="111"/>
                    <a:pt x="9" y="75"/>
                  </a:cubicBezTo>
                  <a:cubicBezTo>
                    <a:pt x="9" y="39"/>
                    <a:pt x="38" y="9"/>
                    <a:pt x="74" y="9"/>
                  </a:cubicBezTo>
                  <a:moveTo>
                    <a:pt x="74" y="0"/>
                  </a:moveTo>
                  <a:cubicBezTo>
                    <a:pt x="33" y="0"/>
                    <a:pt x="0" y="33"/>
                    <a:pt x="0" y="75"/>
                  </a:cubicBezTo>
                  <a:cubicBezTo>
                    <a:pt x="0" y="116"/>
                    <a:pt x="33" y="149"/>
                    <a:pt x="74" y="149"/>
                  </a:cubicBezTo>
                  <a:cubicBezTo>
                    <a:pt x="116" y="149"/>
                    <a:pt x="149" y="116"/>
                    <a:pt x="149" y="75"/>
                  </a:cubicBezTo>
                  <a:cubicBezTo>
                    <a:pt x="149" y="33"/>
                    <a:pt x="116" y="0"/>
                    <a:pt x="74" y="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8" tIns="34293" rIns="68588" bIns="34293" numCol="1" anchor="t" anchorCtr="0" compatLnSpc="1">
              <a:prstTxWarp prst="textNoShape">
                <a:avLst/>
              </a:prstTxWarp>
            </a:bodyPr>
            <a:lstStyle/>
            <a:p>
              <a:endParaRPr lang="en-US" sz="1324" dirty="0">
                <a:solidFill>
                  <a:srgbClr val="000000"/>
                </a:solidFill>
              </a:endParaRPr>
            </a:p>
          </p:txBody>
        </p:sp>
        <p:sp>
          <p:nvSpPr>
            <p:cNvPr id="336" name="Freeform 7"/>
            <p:cNvSpPr>
              <a:spLocks/>
            </p:cNvSpPr>
            <p:nvPr/>
          </p:nvSpPr>
          <p:spPr bwMode="auto">
            <a:xfrm>
              <a:off x="1591639" y="2978051"/>
              <a:ext cx="2728607" cy="115464"/>
            </a:xfrm>
            <a:custGeom>
              <a:avLst/>
              <a:gdLst>
                <a:gd name="T0" fmla="*/ 1872 w 1907"/>
                <a:gd name="T1" fmla="*/ 0 h 82"/>
                <a:gd name="T2" fmla="*/ 1868 w 1907"/>
                <a:gd name="T3" fmla="*/ 0 h 82"/>
                <a:gd name="T4" fmla="*/ 1868 w 1907"/>
                <a:gd name="T5" fmla="*/ 0 h 82"/>
                <a:gd name="T6" fmla="*/ 1773 w 1907"/>
                <a:gd name="T7" fmla="*/ 0 h 82"/>
                <a:gd name="T8" fmla="*/ 1776 w 1907"/>
                <a:gd name="T9" fmla="*/ 13 h 82"/>
                <a:gd name="T10" fmla="*/ 1750 w 1907"/>
                <a:gd name="T11" fmla="*/ 39 h 82"/>
                <a:gd name="T12" fmla="*/ 1747 w 1907"/>
                <a:gd name="T13" fmla="*/ 39 h 82"/>
                <a:gd name="T14" fmla="*/ 1720 w 1907"/>
                <a:gd name="T15" fmla="*/ 13 h 82"/>
                <a:gd name="T16" fmla="*/ 1723 w 1907"/>
                <a:gd name="T17" fmla="*/ 0 h 82"/>
                <a:gd name="T18" fmla="*/ 1657 w 1907"/>
                <a:gd name="T19" fmla="*/ 0 h 82"/>
                <a:gd name="T20" fmla="*/ 1657 w 1907"/>
                <a:gd name="T21" fmla="*/ 50 h 82"/>
                <a:gd name="T22" fmla="*/ 1602 w 1907"/>
                <a:gd name="T23" fmla="*/ 50 h 82"/>
                <a:gd name="T24" fmla="*/ 1602 w 1907"/>
                <a:gd name="T25" fmla="*/ 0 h 82"/>
                <a:gd name="T26" fmla="*/ 1482 w 1907"/>
                <a:gd name="T27" fmla="*/ 0 h 82"/>
                <a:gd name="T28" fmla="*/ 1485 w 1907"/>
                <a:gd name="T29" fmla="*/ 13 h 82"/>
                <a:gd name="T30" fmla="*/ 1459 w 1907"/>
                <a:gd name="T31" fmla="*/ 39 h 82"/>
                <a:gd name="T32" fmla="*/ 1458 w 1907"/>
                <a:gd name="T33" fmla="*/ 39 h 82"/>
                <a:gd name="T34" fmla="*/ 1456 w 1907"/>
                <a:gd name="T35" fmla="*/ 39 h 82"/>
                <a:gd name="T36" fmla="*/ 1456 w 1907"/>
                <a:gd name="T37" fmla="*/ 39 h 82"/>
                <a:gd name="T38" fmla="*/ 1383 w 1907"/>
                <a:gd name="T39" fmla="*/ 39 h 82"/>
                <a:gd name="T40" fmla="*/ 1383 w 1907"/>
                <a:gd name="T41" fmla="*/ 50 h 82"/>
                <a:gd name="T42" fmla="*/ 1328 w 1907"/>
                <a:gd name="T43" fmla="*/ 50 h 82"/>
                <a:gd name="T44" fmla="*/ 1328 w 1907"/>
                <a:gd name="T45" fmla="*/ 39 h 82"/>
                <a:gd name="T46" fmla="*/ 1319 w 1907"/>
                <a:gd name="T47" fmla="*/ 39 h 82"/>
                <a:gd name="T48" fmla="*/ 1319 w 1907"/>
                <a:gd name="T49" fmla="*/ 21 h 82"/>
                <a:gd name="T50" fmla="*/ 1328 w 1907"/>
                <a:gd name="T51" fmla="*/ 13 h 82"/>
                <a:gd name="T52" fmla="*/ 1328 w 1907"/>
                <a:gd name="T53" fmla="*/ 0 h 82"/>
                <a:gd name="T54" fmla="*/ 811 w 1907"/>
                <a:gd name="T55" fmla="*/ 0 h 82"/>
                <a:gd name="T56" fmla="*/ 812 w 1907"/>
                <a:gd name="T57" fmla="*/ 5 h 82"/>
                <a:gd name="T58" fmla="*/ 785 w 1907"/>
                <a:gd name="T59" fmla="*/ 32 h 82"/>
                <a:gd name="T60" fmla="*/ 758 w 1907"/>
                <a:gd name="T61" fmla="*/ 5 h 82"/>
                <a:gd name="T62" fmla="*/ 759 w 1907"/>
                <a:gd name="T63" fmla="*/ 0 h 82"/>
                <a:gd name="T64" fmla="*/ 700 w 1907"/>
                <a:gd name="T65" fmla="*/ 0 h 82"/>
                <a:gd name="T66" fmla="*/ 716 w 1907"/>
                <a:gd name="T67" fmla="*/ 15 h 82"/>
                <a:gd name="T68" fmla="*/ 716 w 1907"/>
                <a:gd name="T69" fmla="*/ 32 h 82"/>
                <a:gd name="T70" fmla="*/ 597 w 1907"/>
                <a:gd name="T71" fmla="*/ 32 h 82"/>
                <a:gd name="T72" fmla="*/ 597 w 1907"/>
                <a:gd name="T73" fmla="*/ 50 h 82"/>
                <a:gd name="T74" fmla="*/ 542 w 1907"/>
                <a:gd name="T75" fmla="*/ 50 h 82"/>
                <a:gd name="T76" fmla="*/ 542 w 1907"/>
                <a:gd name="T77" fmla="*/ 32 h 82"/>
                <a:gd name="T78" fmla="*/ 471 w 1907"/>
                <a:gd name="T79" fmla="*/ 32 h 82"/>
                <a:gd name="T80" fmla="*/ 471 w 1907"/>
                <a:gd name="T81" fmla="*/ 32 h 82"/>
                <a:gd name="T82" fmla="*/ 468 w 1907"/>
                <a:gd name="T83" fmla="*/ 32 h 82"/>
                <a:gd name="T84" fmla="*/ 442 w 1907"/>
                <a:gd name="T85" fmla="*/ 5 h 82"/>
                <a:gd name="T86" fmla="*/ 442 w 1907"/>
                <a:gd name="T87" fmla="*/ 0 h 82"/>
                <a:gd name="T88" fmla="*/ 322 w 1907"/>
                <a:gd name="T89" fmla="*/ 0 h 82"/>
                <a:gd name="T90" fmla="*/ 322 w 1907"/>
                <a:gd name="T91" fmla="*/ 50 h 82"/>
                <a:gd name="T92" fmla="*/ 267 w 1907"/>
                <a:gd name="T93" fmla="*/ 50 h 82"/>
                <a:gd name="T94" fmla="*/ 267 w 1907"/>
                <a:gd name="T95" fmla="*/ 0 h 82"/>
                <a:gd name="T96" fmla="*/ 31 w 1907"/>
                <a:gd name="T97" fmla="*/ 0 h 82"/>
                <a:gd name="T98" fmla="*/ 31 w 1907"/>
                <a:gd name="T99" fmla="*/ 0 h 82"/>
                <a:gd name="T100" fmla="*/ 0 w 1907"/>
                <a:gd name="T101" fmla="*/ 41 h 82"/>
                <a:gd name="T102" fmla="*/ 35 w 1907"/>
                <a:gd name="T103" fmla="*/ 82 h 82"/>
                <a:gd name="T104" fmla="*/ 42 w 1907"/>
                <a:gd name="T105" fmla="*/ 81 h 82"/>
                <a:gd name="T106" fmla="*/ 1864 w 1907"/>
                <a:gd name="T107" fmla="*/ 81 h 82"/>
                <a:gd name="T108" fmla="*/ 1872 w 1907"/>
                <a:gd name="T109" fmla="*/ 82 h 82"/>
                <a:gd name="T110" fmla="*/ 1907 w 1907"/>
                <a:gd name="T111" fmla="*/ 41 h 82"/>
                <a:gd name="T112" fmla="*/ 1872 w 1907"/>
                <a:gd name="T113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907" h="82">
                  <a:moveTo>
                    <a:pt x="1872" y="0"/>
                  </a:moveTo>
                  <a:cubicBezTo>
                    <a:pt x="1870" y="0"/>
                    <a:pt x="1869" y="0"/>
                    <a:pt x="1868" y="0"/>
                  </a:cubicBezTo>
                  <a:cubicBezTo>
                    <a:pt x="1868" y="0"/>
                    <a:pt x="1868" y="0"/>
                    <a:pt x="1868" y="0"/>
                  </a:cubicBezTo>
                  <a:cubicBezTo>
                    <a:pt x="1773" y="0"/>
                    <a:pt x="1773" y="0"/>
                    <a:pt x="1773" y="0"/>
                  </a:cubicBezTo>
                  <a:cubicBezTo>
                    <a:pt x="1775" y="3"/>
                    <a:pt x="1776" y="8"/>
                    <a:pt x="1776" y="13"/>
                  </a:cubicBezTo>
                  <a:cubicBezTo>
                    <a:pt x="1776" y="27"/>
                    <a:pt x="1764" y="39"/>
                    <a:pt x="1750" y="39"/>
                  </a:cubicBezTo>
                  <a:cubicBezTo>
                    <a:pt x="1747" y="39"/>
                    <a:pt x="1747" y="39"/>
                    <a:pt x="1747" y="39"/>
                  </a:cubicBezTo>
                  <a:cubicBezTo>
                    <a:pt x="1732" y="39"/>
                    <a:pt x="1720" y="27"/>
                    <a:pt x="1720" y="13"/>
                  </a:cubicBezTo>
                  <a:cubicBezTo>
                    <a:pt x="1720" y="8"/>
                    <a:pt x="1721" y="3"/>
                    <a:pt x="1723" y="0"/>
                  </a:cubicBezTo>
                  <a:cubicBezTo>
                    <a:pt x="1657" y="0"/>
                    <a:pt x="1657" y="0"/>
                    <a:pt x="1657" y="0"/>
                  </a:cubicBezTo>
                  <a:cubicBezTo>
                    <a:pt x="1657" y="50"/>
                    <a:pt x="1657" y="50"/>
                    <a:pt x="1657" y="50"/>
                  </a:cubicBezTo>
                  <a:cubicBezTo>
                    <a:pt x="1602" y="50"/>
                    <a:pt x="1602" y="50"/>
                    <a:pt x="1602" y="50"/>
                  </a:cubicBezTo>
                  <a:cubicBezTo>
                    <a:pt x="1602" y="0"/>
                    <a:pt x="1602" y="0"/>
                    <a:pt x="1602" y="0"/>
                  </a:cubicBezTo>
                  <a:cubicBezTo>
                    <a:pt x="1482" y="0"/>
                    <a:pt x="1482" y="0"/>
                    <a:pt x="1482" y="0"/>
                  </a:cubicBezTo>
                  <a:cubicBezTo>
                    <a:pt x="1484" y="3"/>
                    <a:pt x="1485" y="8"/>
                    <a:pt x="1485" y="13"/>
                  </a:cubicBezTo>
                  <a:cubicBezTo>
                    <a:pt x="1485" y="27"/>
                    <a:pt x="1474" y="39"/>
                    <a:pt x="1459" y="39"/>
                  </a:cubicBezTo>
                  <a:cubicBezTo>
                    <a:pt x="1458" y="39"/>
                    <a:pt x="1458" y="39"/>
                    <a:pt x="1458" y="39"/>
                  </a:cubicBezTo>
                  <a:cubicBezTo>
                    <a:pt x="1457" y="39"/>
                    <a:pt x="1457" y="39"/>
                    <a:pt x="1456" y="39"/>
                  </a:cubicBezTo>
                  <a:cubicBezTo>
                    <a:pt x="1456" y="39"/>
                    <a:pt x="1456" y="39"/>
                    <a:pt x="1456" y="39"/>
                  </a:cubicBezTo>
                  <a:cubicBezTo>
                    <a:pt x="1383" y="39"/>
                    <a:pt x="1383" y="39"/>
                    <a:pt x="1383" y="39"/>
                  </a:cubicBezTo>
                  <a:cubicBezTo>
                    <a:pt x="1383" y="50"/>
                    <a:pt x="1383" y="50"/>
                    <a:pt x="1383" y="50"/>
                  </a:cubicBezTo>
                  <a:cubicBezTo>
                    <a:pt x="1328" y="50"/>
                    <a:pt x="1328" y="50"/>
                    <a:pt x="1328" y="50"/>
                  </a:cubicBezTo>
                  <a:cubicBezTo>
                    <a:pt x="1328" y="39"/>
                    <a:pt x="1328" y="39"/>
                    <a:pt x="1328" y="39"/>
                  </a:cubicBezTo>
                  <a:cubicBezTo>
                    <a:pt x="1319" y="39"/>
                    <a:pt x="1319" y="39"/>
                    <a:pt x="1319" y="39"/>
                  </a:cubicBezTo>
                  <a:cubicBezTo>
                    <a:pt x="1319" y="21"/>
                    <a:pt x="1319" y="21"/>
                    <a:pt x="1319" y="21"/>
                  </a:cubicBezTo>
                  <a:cubicBezTo>
                    <a:pt x="1328" y="13"/>
                    <a:pt x="1328" y="13"/>
                    <a:pt x="1328" y="13"/>
                  </a:cubicBezTo>
                  <a:cubicBezTo>
                    <a:pt x="1328" y="0"/>
                    <a:pt x="1328" y="0"/>
                    <a:pt x="1328" y="0"/>
                  </a:cubicBezTo>
                  <a:cubicBezTo>
                    <a:pt x="811" y="0"/>
                    <a:pt x="811" y="0"/>
                    <a:pt x="811" y="0"/>
                  </a:cubicBezTo>
                  <a:cubicBezTo>
                    <a:pt x="811" y="1"/>
                    <a:pt x="812" y="3"/>
                    <a:pt x="812" y="5"/>
                  </a:cubicBezTo>
                  <a:cubicBezTo>
                    <a:pt x="812" y="20"/>
                    <a:pt x="800" y="32"/>
                    <a:pt x="785" y="32"/>
                  </a:cubicBezTo>
                  <a:cubicBezTo>
                    <a:pt x="770" y="32"/>
                    <a:pt x="758" y="20"/>
                    <a:pt x="758" y="5"/>
                  </a:cubicBezTo>
                  <a:cubicBezTo>
                    <a:pt x="758" y="3"/>
                    <a:pt x="759" y="1"/>
                    <a:pt x="759" y="0"/>
                  </a:cubicBezTo>
                  <a:cubicBezTo>
                    <a:pt x="700" y="0"/>
                    <a:pt x="700" y="0"/>
                    <a:pt x="700" y="0"/>
                  </a:cubicBezTo>
                  <a:cubicBezTo>
                    <a:pt x="716" y="15"/>
                    <a:pt x="716" y="15"/>
                    <a:pt x="716" y="15"/>
                  </a:cubicBezTo>
                  <a:cubicBezTo>
                    <a:pt x="716" y="32"/>
                    <a:pt x="716" y="32"/>
                    <a:pt x="716" y="32"/>
                  </a:cubicBezTo>
                  <a:cubicBezTo>
                    <a:pt x="597" y="32"/>
                    <a:pt x="597" y="32"/>
                    <a:pt x="597" y="32"/>
                  </a:cubicBezTo>
                  <a:cubicBezTo>
                    <a:pt x="597" y="50"/>
                    <a:pt x="597" y="50"/>
                    <a:pt x="597" y="50"/>
                  </a:cubicBezTo>
                  <a:cubicBezTo>
                    <a:pt x="542" y="50"/>
                    <a:pt x="542" y="50"/>
                    <a:pt x="542" y="50"/>
                  </a:cubicBezTo>
                  <a:cubicBezTo>
                    <a:pt x="542" y="32"/>
                    <a:pt x="542" y="32"/>
                    <a:pt x="542" y="32"/>
                  </a:cubicBezTo>
                  <a:cubicBezTo>
                    <a:pt x="471" y="32"/>
                    <a:pt x="471" y="32"/>
                    <a:pt x="471" y="32"/>
                  </a:cubicBezTo>
                  <a:cubicBezTo>
                    <a:pt x="471" y="32"/>
                    <a:pt x="471" y="32"/>
                    <a:pt x="471" y="32"/>
                  </a:cubicBezTo>
                  <a:cubicBezTo>
                    <a:pt x="470" y="32"/>
                    <a:pt x="469" y="32"/>
                    <a:pt x="468" y="32"/>
                  </a:cubicBezTo>
                  <a:cubicBezTo>
                    <a:pt x="453" y="32"/>
                    <a:pt x="442" y="20"/>
                    <a:pt x="442" y="5"/>
                  </a:cubicBezTo>
                  <a:cubicBezTo>
                    <a:pt x="442" y="3"/>
                    <a:pt x="442" y="1"/>
                    <a:pt x="442" y="0"/>
                  </a:cubicBezTo>
                  <a:cubicBezTo>
                    <a:pt x="322" y="0"/>
                    <a:pt x="322" y="0"/>
                    <a:pt x="322" y="0"/>
                  </a:cubicBezTo>
                  <a:cubicBezTo>
                    <a:pt x="322" y="50"/>
                    <a:pt x="322" y="50"/>
                    <a:pt x="322" y="50"/>
                  </a:cubicBezTo>
                  <a:cubicBezTo>
                    <a:pt x="267" y="50"/>
                    <a:pt x="267" y="50"/>
                    <a:pt x="267" y="50"/>
                  </a:cubicBezTo>
                  <a:cubicBezTo>
                    <a:pt x="267" y="0"/>
                    <a:pt x="267" y="0"/>
                    <a:pt x="267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13" y="3"/>
                    <a:pt x="0" y="20"/>
                    <a:pt x="0" y="41"/>
                  </a:cubicBezTo>
                  <a:cubicBezTo>
                    <a:pt x="0" y="63"/>
                    <a:pt x="16" y="82"/>
                    <a:pt x="35" y="82"/>
                  </a:cubicBezTo>
                  <a:cubicBezTo>
                    <a:pt x="37" y="82"/>
                    <a:pt x="40" y="81"/>
                    <a:pt x="42" y="81"/>
                  </a:cubicBezTo>
                  <a:cubicBezTo>
                    <a:pt x="1864" y="81"/>
                    <a:pt x="1864" y="81"/>
                    <a:pt x="1864" y="81"/>
                  </a:cubicBezTo>
                  <a:cubicBezTo>
                    <a:pt x="1867" y="81"/>
                    <a:pt x="1869" y="82"/>
                    <a:pt x="1872" y="82"/>
                  </a:cubicBezTo>
                  <a:cubicBezTo>
                    <a:pt x="1891" y="82"/>
                    <a:pt x="1907" y="63"/>
                    <a:pt x="1907" y="41"/>
                  </a:cubicBezTo>
                  <a:cubicBezTo>
                    <a:pt x="1907" y="18"/>
                    <a:pt x="1891" y="0"/>
                    <a:pt x="1872" y="0"/>
                  </a:cubicBezTo>
                </a:path>
              </a:pathLst>
            </a:custGeom>
            <a:solidFill>
              <a:srgbClr val="00A9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7" name="Freeform 8"/>
            <p:cNvSpPr>
              <a:spLocks noEditPoints="1"/>
            </p:cNvSpPr>
            <p:nvPr/>
          </p:nvSpPr>
          <p:spPr bwMode="auto">
            <a:xfrm>
              <a:off x="1798260" y="2002680"/>
              <a:ext cx="534783" cy="1020949"/>
            </a:xfrm>
            <a:custGeom>
              <a:avLst/>
              <a:gdLst>
                <a:gd name="T0" fmla="*/ 168 w 375"/>
                <a:gd name="T1" fmla="*/ 660 h 713"/>
                <a:gd name="T2" fmla="*/ 323 w 375"/>
                <a:gd name="T3" fmla="*/ 660 h 713"/>
                <a:gd name="T4" fmla="*/ 299 w 375"/>
                <a:gd name="T5" fmla="*/ 686 h 713"/>
                <a:gd name="T6" fmla="*/ 325 w 375"/>
                <a:gd name="T7" fmla="*/ 713 h 713"/>
                <a:gd name="T8" fmla="*/ 352 w 375"/>
                <a:gd name="T9" fmla="*/ 686 h 713"/>
                <a:gd name="T10" fmla="*/ 328 w 375"/>
                <a:gd name="T11" fmla="*/ 660 h 713"/>
                <a:gd name="T12" fmla="*/ 334 w 375"/>
                <a:gd name="T13" fmla="*/ 660 h 713"/>
                <a:gd name="T14" fmla="*/ 334 w 375"/>
                <a:gd name="T15" fmla="*/ 660 h 713"/>
                <a:gd name="T16" fmla="*/ 359 w 375"/>
                <a:gd name="T17" fmla="*/ 660 h 713"/>
                <a:gd name="T18" fmla="*/ 375 w 375"/>
                <a:gd name="T19" fmla="*/ 644 h 713"/>
                <a:gd name="T20" fmla="*/ 375 w 375"/>
                <a:gd name="T21" fmla="*/ 630 h 713"/>
                <a:gd name="T22" fmla="*/ 359 w 375"/>
                <a:gd name="T23" fmla="*/ 614 h 713"/>
                <a:gd name="T24" fmla="*/ 210 w 375"/>
                <a:gd name="T25" fmla="*/ 614 h 713"/>
                <a:gd name="T26" fmla="*/ 210 w 375"/>
                <a:gd name="T27" fmla="*/ 465 h 713"/>
                <a:gd name="T28" fmla="*/ 359 w 375"/>
                <a:gd name="T29" fmla="*/ 465 h 713"/>
                <a:gd name="T30" fmla="*/ 375 w 375"/>
                <a:gd name="T31" fmla="*/ 450 h 713"/>
                <a:gd name="T32" fmla="*/ 375 w 375"/>
                <a:gd name="T33" fmla="*/ 392 h 713"/>
                <a:gd name="T34" fmla="*/ 359 w 375"/>
                <a:gd name="T35" fmla="*/ 376 h 713"/>
                <a:gd name="T36" fmla="*/ 182 w 375"/>
                <a:gd name="T37" fmla="*/ 376 h 713"/>
                <a:gd name="T38" fmla="*/ 182 w 375"/>
                <a:gd name="T39" fmla="*/ 253 h 713"/>
                <a:gd name="T40" fmla="*/ 301 w 375"/>
                <a:gd name="T41" fmla="*/ 253 h 713"/>
                <a:gd name="T42" fmla="*/ 317 w 375"/>
                <a:gd name="T43" fmla="*/ 238 h 713"/>
                <a:gd name="T44" fmla="*/ 317 w 375"/>
                <a:gd name="T45" fmla="*/ 15 h 713"/>
                <a:gd name="T46" fmla="*/ 301 w 375"/>
                <a:gd name="T47" fmla="*/ 0 h 713"/>
                <a:gd name="T48" fmla="*/ 53 w 375"/>
                <a:gd name="T49" fmla="*/ 0 h 713"/>
                <a:gd name="T50" fmla="*/ 16 w 375"/>
                <a:gd name="T51" fmla="*/ 0 h 713"/>
                <a:gd name="T52" fmla="*/ 0 w 375"/>
                <a:gd name="T53" fmla="*/ 15 h 713"/>
                <a:gd name="T54" fmla="*/ 0 w 375"/>
                <a:gd name="T55" fmla="*/ 238 h 713"/>
                <a:gd name="T56" fmla="*/ 16 w 375"/>
                <a:gd name="T57" fmla="*/ 253 h 713"/>
                <a:gd name="T58" fmla="*/ 53 w 375"/>
                <a:gd name="T59" fmla="*/ 253 h 713"/>
                <a:gd name="T60" fmla="*/ 91 w 375"/>
                <a:gd name="T61" fmla="*/ 253 h 713"/>
                <a:gd name="T62" fmla="*/ 91 w 375"/>
                <a:gd name="T63" fmla="*/ 376 h 713"/>
                <a:gd name="T64" fmla="*/ 16 w 375"/>
                <a:gd name="T65" fmla="*/ 376 h 713"/>
                <a:gd name="T66" fmla="*/ 0 w 375"/>
                <a:gd name="T67" fmla="*/ 392 h 713"/>
                <a:gd name="T68" fmla="*/ 0 w 375"/>
                <a:gd name="T69" fmla="*/ 450 h 713"/>
                <a:gd name="T70" fmla="*/ 16 w 375"/>
                <a:gd name="T71" fmla="*/ 465 h 713"/>
                <a:gd name="T72" fmla="*/ 103 w 375"/>
                <a:gd name="T73" fmla="*/ 465 h 713"/>
                <a:gd name="T74" fmla="*/ 174 w 375"/>
                <a:gd name="T75" fmla="*/ 465 h 713"/>
                <a:gd name="T76" fmla="*/ 174 w 375"/>
                <a:gd name="T77" fmla="*/ 563 h 713"/>
                <a:gd name="T78" fmla="*/ 158 w 375"/>
                <a:gd name="T79" fmla="*/ 563 h 713"/>
                <a:gd name="T80" fmla="*/ 158 w 375"/>
                <a:gd name="T81" fmla="*/ 614 h 713"/>
                <a:gd name="T82" fmla="*/ 16 w 375"/>
                <a:gd name="T83" fmla="*/ 614 h 713"/>
                <a:gd name="T84" fmla="*/ 0 w 375"/>
                <a:gd name="T85" fmla="*/ 630 h 713"/>
                <a:gd name="T86" fmla="*/ 0 w 375"/>
                <a:gd name="T87" fmla="*/ 644 h 713"/>
                <a:gd name="T88" fmla="*/ 16 w 375"/>
                <a:gd name="T89" fmla="*/ 660 h 713"/>
                <a:gd name="T90" fmla="*/ 36 w 375"/>
                <a:gd name="T91" fmla="*/ 660 h 713"/>
                <a:gd name="T92" fmla="*/ 51 w 375"/>
                <a:gd name="T93" fmla="*/ 660 h 713"/>
                <a:gd name="T94" fmla="*/ 51 w 375"/>
                <a:gd name="T95" fmla="*/ 660 h 713"/>
                <a:gd name="T96" fmla="*/ 149 w 375"/>
                <a:gd name="T97" fmla="*/ 660 h 713"/>
                <a:gd name="T98" fmla="*/ 168 w 375"/>
                <a:gd name="T99" fmla="*/ 660 h 713"/>
                <a:gd name="T100" fmla="*/ 158 w 375"/>
                <a:gd name="T101" fmla="*/ 660 h 713"/>
                <a:gd name="T102" fmla="*/ 154 w 375"/>
                <a:gd name="T103" fmla="*/ 660 h 713"/>
                <a:gd name="T104" fmla="*/ 163 w 375"/>
                <a:gd name="T105" fmla="*/ 660 h 713"/>
                <a:gd name="T106" fmla="*/ 158 w 375"/>
                <a:gd name="T107" fmla="*/ 660 h 7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5" h="713">
                  <a:moveTo>
                    <a:pt x="168" y="660"/>
                  </a:moveTo>
                  <a:cubicBezTo>
                    <a:pt x="323" y="660"/>
                    <a:pt x="323" y="660"/>
                    <a:pt x="323" y="660"/>
                  </a:cubicBezTo>
                  <a:cubicBezTo>
                    <a:pt x="309" y="661"/>
                    <a:pt x="299" y="672"/>
                    <a:pt x="299" y="686"/>
                  </a:cubicBezTo>
                  <a:cubicBezTo>
                    <a:pt x="299" y="701"/>
                    <a:pt x="310" y="713"/>
                    <a:pt x="325" y="713"/>
                  </a:cubicBezTo>
                  <a:cubicBezTo>
                    <a:pt x="340" y="713"/>
                    <a:pt x="352" y="701"/>
                    <a:pt x="352" y="686"/>
                  </a:cubicBezTo>
                  <a:cubicBezTo>
                    <a:pt x="352" y="672"/>
                    <a:pt x="341" y="661"/>
                    <a:pt x="328" y="660"/>
                  </a:cubicBezTo>
                  <a:cubicBezTo>
                    <a:pt x="334" y="660"/>
                    <a:pt x="334" y="660"/>
                    <a:pt x="334" y="660"/>
                  </a:cubicBezTo>
                  <a:cubicBezTo>
                    <a:pt x="334" y="660"/>
                    <a:pt x="334" y="660"/>
                    <a:pt x="334" y="660"/>
                  </a:cubicBezTo>
                  <a:cubicBezTo>
                    <a:pt x="359" y="660"/>
                    <a:pt x="359" y="660"/>
                    <a:pt x="359" y="660"/>
                  </a:cubicBezTo>
                  <a:cubicBezTo>
                    <a:pt x="359" y="660"/>
                    <a:pt x="375" y="660"/>
                    <a:pt x="375" y="644"/>
                  </a:cubicBezTo>
                  <a:cubicBezTo>
                    <a:pt x="375" y="630"/>
                    <a:pt x="375" y="630"/>
                    <a:pt x="375" y="630"/>
                  </a:cubicBezTo>
                  <a:cubicBezTo>
                    <a:pt x="375" y="630"/>
                    <a:pt x="375" y="614"/>
                    <a:pt x="359" y="614"/>
                  </a:cubicBezTo>
                  <a:cubicBezTo>
                    <a:pt x="210" y="614"/>
                    <a:pt x="210" y="614"/>
                    <a:pt x="210" y="614"/>
                  </a:cubicBezTo>
                  <a:cubicBezTo>
                    <a:pt x="210" y="465"/>
                    <a:pt x="210" y="465"/>
                    <a:pt x="210" y="465"/>
                  </a:cubicBezTo>
                  <a:cubicBezTo>
                    <a:pt x="359" y="465"/>
                    <a:pt x="359" y="465"/>
                    <a:pt x="359" y="465"/>
                  </a:cubicBezTo>
                  <a:cubicBezTo>
                    <a:pt x="375" y="465"/>
                    <a:pt x="375" y="450"/>
                    <a:pt x="375" y="450"/>
                  </a:cubicBezTo>
                  <a:cubicBezTo>
                    <a:pt x="375" y="392"/>
                    <a:pt x="375" y="392"/>
                    <a:pt x="375" y="392"/>
                  </a:cubicBezTo>
                  <a:cubicBezTo>
                    <a:pt x="375" y="376"/>
                    <a:pt x="359" y="376"/>
                    <a:pt x="359" y="376"/>
                  </a:cubicBezTo>
                  <a:cubicBezTo>
                    <a:pt x="182" y="376"/>
                    <a:pt x="182" y="376"/>
                    <a:pt x="182" y="376"/>
                  </a:cubicBezTo>
                  <a:cubicBezTo>
                    <a:pt x="182" y="253"/>
                    <a:pt x="182" y="253"/>
                    <a:pt x="182" y="253"/>
                  </a:cubicBezTo>
                  <a:cubicBezTo>
                    <a:pt x="301" y="253"/>
                    <a:pt x="301" y="253"/>
                    <a:pt x="301" y="253"/>
                  </a:cubicBezTo>
                  <a:cubicBezTo>
                    <a:pt x="317" y="253"/>
                    <a:pt x="317" y="238"/>
                    <a:pt x="317" y="238"/>
                  </a:cubicBezTo>
                  <a:cubicBezTo>
                    <a:pt x="317" y="15"/>
                    <a:pt x="317" y="15"/>
                    <a:pt x="317" y="15"/>
                  </a:cubicBezTo>
                  <a:cubicBezTo>
                    <a:pt x="317" y="0"/>
                    <a:pt x="301" y="0"/>
                    <a:pt x="301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0" y="0"/>
                    <a:pt x="0" y="15"/>
                    <a:pt x="0" y="15"/>
                  </a:cubicBezTo>
                  <a:cubicBezTo>
                    <a:pt x="0" y="238"/>
                    <a:pt x="0" y="238"/>
                    <a:pt x="0" y="238"/>
                  </a:cubicBezTo>
                  <a:cubicBezTo>
                    <a:pt x="0" y="253"/>
                    <a:pt x="16" y="253"/>
                    <a:pt x="16" y="253"/>
                  </a:cubicBezTo>
                  <a:cubicBezTo>
                    <a:pt x="53" y="253"/>
                    <a:pt x="53" y="253"/>
                    <a:pt x="53" y="253"/>
                  </a:cubicBezTo>
                  <a:cubicBezTo>
                    <a:pt x="91" y="253"/>
                    <a:pt x="91" y="253"/>
                    <a:pt x="91" y="253"/>
                  </a:cubicBezTo>
                  <a:cubicBezTo>
                    <a:pt x="91" y="376"/>
                    <a:pt x="91" y="376"/>
                    <a:pt x="91" y="376"/>
                  </a:cubicBezTo>
                  <a:cubicBezTo>
                    <a:pt x="16" y="376"/>
                    <a:pt x="16" y="376"/>
                    <a:pt x="16" y="376"/>
                  </a:cubicBezTo>
                  <a:cubicBezTo>
                    <a:pt x="0" y="376"/>
                    <a:pt x="0" y="392"/>
                    <a:pt x="0" y="392"/>
                  </a:cubicBezTo>
                  <a:cubicBezTo>
                    <a:pt x="0" y="450"/>
                    <a:pt x="0" y="450"/>
                    <a:pt x="0" y="450"/>
                  </a:cubicBezTo>
                  <a:cubicBezTo>
                    <a:pt x="0" y="465"/>
                    <a:pt x="16" y="465"/>
                    <a:pt x="16" y="465"/>
                  </a:cubicBezTo>
                  <a:cubicBezTo>
                    <a:pt x="103" y="465"/>
                    <a:pt x="103" y="465"/>
                    <a:pt x="103" y="465"/>
                  </a:cubicBezTo>
                  <a:cubicBezTo>
                    <a:pt x="174" y="465"/>
                    <a:pt x="174" y="465"/>
                    <a:pt x="174" y="465"/>
                  </a:cubicBezTo>
                  <a:cubicBezTo>
                    <a:pt x="174" y="563"/>
                    <a:pt x="174" y="563"/>
                    <a:pt x="174" y="563"/>
                  </a:cubicBezTo>
                  <a:cubicBezTo>
                    <a:pt x="158" y="563"/>
                    <a:pt x="158" y="563"/>
                    <a:pt x="158" y="563"/>
                  </a:cubicBezTo>
                  <a:cubicBezTo>
                    <a:pt x="158" y="614"/>
                    <a:pt x="158" y="614"/>
                    <a:pt x="158" y="614"/>
                  </a:cubicBezTo>
                  <a:cubicBezTo>
                    <a:pt x="16" y="614"/>
                    <a:pt x="16" y="614"/>
                    <a:pt x="16" y="614"/>
                  </a:cubicBezTo>
                  <a:cubicBezTo>
                    <a:pt x="16" y="614"/>
                    <a:pt x="0" y="614"/>
                    <a:pt x="0" y="630"/>
                  </a:cubicBezTo>
                  <a:cubicBezTo>
                    <a:pt x="0" y="644"/>
                    <a:pt x="0" y="644"/>
                    <a:pt x="0" y="644"/>
                  </a:cubicBezTo>
                  <a:cubicBezTo>
                    <a:pt x="0" y="644"/>
                    <a:pt x="0" y="660"/>
                    <a:pt x="16" y="660"/>
                  </a:cubicBezTo>
                  <a:cubicBezTo>
                    <a:pt x="36" y="660"/>
                    <a:pt x="36" y="660"/>
                    <a:pt x="36" y="660"/>
                  </a:cubicBezTo>
                  <a:cubicBezTo>
                    <a:pt x="51" y="660"/>
                    <a:pt x="51" y="660"/>
                    <a:pt x="51" y="660"/>
                  </a:cubicBezTo>
                  <a:cubicBezTo>
                    <a:pt x="51" y="660"/>
                    <a:pt x="51" y="660"/>
                    <a:pt x="51" y="660"/>
                  </a:cubicBezTo>
                  <a:cubicBezTo>
                    <a:pt x="149" y="660"/>
                    <a:pt x="149" y="660"/>
                    <a:pt x="149" y="660"/>
                  </a:cubicBezTo>
                  <a:cubicBezTo>
                    <a:pt x="168" y="660"/>
                    <a:pt x="168" y="660"/>
                    <a:pt x="168" y="660"/>
                  </a:cubicBezTo>
                  <a:moveTo>
                    <a:pt x="158" y="660"/>
                  </a:moveTo>
                  <a:cubicBezTo>
                    <a:pt x="157" y="660"/>
                    <a:pt x="156" y="660"/>
                    <a:pt x="154" y="660"/>
                  </a:cubicBezTo>
                  <a:cubicBezTo>
                    <a:pt x="163" y="660"/>
                    <a:pt x="163" y="660"/>
                    <a:pt x="163" y="660"/>
                  </a:cubicBezTo>
                  <a:cubicBezTo>
                    <a:pt x="161" y="660"/>
                    <a:pt x="160" y="660"/>
                    <a:pt x="158" y="660"/>
                  </a:cubicBezTo>
                </a:path>
              </a:pathLst>
            </a:custGeom>
            <a:solidFill>
              <a:srgbClr val="4423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8" name="Oval 9"/>
            <p:cNvSpPr>
              <a:spLocks noChangeArrowheads="1"/>
            </p:cNvSpPr>
            <p:nvPr/>
          </p:nvSpPr>
          <p:spPr bwMode="auto">
            <a:xfrm>
              <a:off x="1810414" y="2947665"/>
              <a:ext cx="75963" cy="75963"/>
            </a:xfrm>
            <a:prstGeom prst="ellipse">
              <a:avLst/>
            </a:prstGeom>
            <a:solidFill>
              <a:srgbClr val="4423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9" name="Freeform 10"/>
            <p:cNvSpPr>
              <a:spLocks/>
            </p:cNvSpPr>
            <p:nvPr/>
          </p:nvSpPr>
          <p:spPr bwMode="auto">
            <a:xfrm>
              <a:off x="2497123" y="2002680"/>
              <a:ext cx="537821" cy="1020949"/>
            </a:xfrm>
            <a:custGeom>
              <a:avLst/>
              <a:gdLst>
                <a:gd name="T0" fmla="*/ 360 w 375"/>
                <a:gd name="T1" fmla="*/ 465 h 713"/>
                <a:gd name="T2" fmla="*/ 375 w 375"/>
                <a:gd name="T3" fmla="*/ 450 h 713"/>
                <a:gd name="T4" fmla="*/ 375 w 375"/>
                <a:gd name="T5" fmla="*/ 392 h 713"/>
                <a:gd name="T6" fmla="*/ 360 w 375"/>
                <a:gd name="T7" fmla="*/ 376 h 713"/>
                <a:gd name="T8" fmla="*/ 200 w 375"/>
                <a:gd name="T9" fmla="*/ 376 h 713"/>
                <a:gd name="T10" fmla="*/ 200 w 375"/>
                <a:gd name="T11" fmla="*/ 253 h 713"/>
                <a:gd name="T12" fmla="*/ 302 w 375"/>
                <a:gd name="T13" fmla="*/ 253 h 713"/>
                <a:gd name="T14" fmla="*/ 317 w 375"/>
                <a:gd name="T15" fmla="*/ 238 h 713"/>
                <a:gd name="T16" fmla="*/ 317 w 375"/>
                <a:gd name="T17" fmla="*/ 15 h 713"/>
                <a:gd name="T18" fmla="*/ 302 w 375"/>
                <a:gd name="T19" fmla="*/ 0 h 713"/>
                <a:gd name="T20" fmla="*/ 53 w 375"/>
                <a:gd name="T21" fmla="*/ 0 h 713"/>
                <a:gd name="T22" fmla="*/ 16 w 375"/>
                <a:gd name="T23" fmla="*/ 0 h 713"/>
                <a:gd name="T24" fmla="*/ 0 w 375"/>
                <a:gd name="T25" fmla="*/ 15 h 713"/>
                <a:gd name="T26" fmla="*/ 0 w 375"/>
                <a:gd name="T27" fmla="*/ 238 h 713"/>
                <a:gd name="T28" fmla="*/ 16 w 375"/>
                <a:gd name="T29" fmla="*/ 253 h 713"/>
                <a:gd name="T30" fmla="*/ 53 w 375"/>
                <a:gd name="T31" fmla="*/ 253 h 713"/>
                <a:gd name="T32" fmla="*/ 123 w 375"/>
                <a:gd name="T33" fmla="*/ 253 h 713"/>
                <a:gd name="T34" fmla="*/ 123 w 375"/>
                <a:gd name="T35" fmla="*/ 376 h 713"/>
                <a:gd name="T36" fmla="*/ 16 w 375"/>
                <a:gd name="T37" fmla="*/ 376 h 713"/>
                <a:gd name="T38" fmla="*/ 0 w 375"/>
                <a:gd name="T39" fmla="*/ 392 h 713"/>
                <a:gd name="T40" fmla="*/ 0 w 375"/>
                <a:gd name="T41" fmla="*/ 450 h 713"/>
                <a:gd name="T42" fmla="*/ 16 w 375"/>
                <a:gd name="T43" fmla="*/ 465 h 713"/>
                <a:gd name="T44" fmla="*/ 103 w 375"/>
                <a:gd name="T45" fmla="*/ 465 h 713"/>
                <a:gd name="T46" fmla="*/ 167 w 375"/>
                <a:gd name="T47" fmla="*/ 465 h 713"/>
                <a:gd name="T48" fmla="*/ 167 w 375"/>
                <a:gd name="T49" fmla="*/ 563 h 713"/>
                <a:gd name="T50" fmla="*/ 167 w 375"/>
                <a:gd name="T51" fmla="*/ 614 h 713"/>
                <a:gd name="T52" fmla="*/ 16 w 375"/>
                <a:gd name="T53" fmla="*/ 614 h 713"/>
                <a:gd name="T54" fmla="*/ 0 w 375"/>
                <a:gd name="T55" fmla="*/ 630 h 713"/>
                <a:gd name="T56" fmla="*/ 0 w 375"/>
                <a:gd name="T57" fmla="*/ 644 h 713"/>
                <a:gd name="T58" fmla="*/ 16 w 375"/>
                <a:gd name="T59" fmla="*/ 660 h 713"/>
                <a:gd name="T60" fmla="*/ 51 w 375"/>
                <a:gd name="T61" fmla="*/ 660 h 713"/>
                <a:gd name="T62" fmla="*/ 51 w 375"/>
                <a:gd name="T63" fmla="*/ 660 h 713"/>
                <a:gd name="T64" fmla="*/ 150 w 375"/>
                <a:gd name="T65" fmla="*/ 660 h 713"/>
                <a:gd name="T66" fmla="*/ 125 w 375"/>
                <a:gd name="T67" fmla="*/ 686 h 713"/>
                <a:gd name="T68" fmla="*/ 152 w 375"/>
                <a:gd name="T69" fmla="*/ 713 h 713"/>
                <a:gd name="T70" fmla="*/ 179 w 375"/>
                <a:gd name="T71" fmla="*/ 686 h 713"/>
                <a:gd name="T72" fmla="*/ 155 w 375"/>
                <a:gd name="T73" fmla="*/ 660 h 713"/>
                <a:gd name="T74" fmla="*/ 334 w 375"/>
                <a:gd name="T75" fmla="*/ 660 h 713"/>
                <a:gd name="T76" fmla="*/ 334 w 375"/>
                <a:gd name="T77" fmla="*/ 660 h 713"/>
                <a:gd name="T78" fmla="*/ 360 w 375"/>
                <a:gd name="T79" fmla="*/ 660 h 713"/>
                <a:gd name="T80" fmla="*/ 375 w 375"/>
                <a:gd name="T81" fmla="*/ 644 h 713"/>
                <a:gd name="T82" fmla="*/ 375 w 375"/>
                <a:gd name="T83" fmla="*/ 630 h 713"/>
                <a:gd name="T84" fmla="*/ 360 w 375"/>
                <a:gd name="T85" fmla="*/ 614 h 713"/>
                <a:gd name="T86" fmla="*/ 210 w 375"/>
                <a:gd name="T87" fmla="*/ 614 h 713"/>
                <a:gd name="T88" fmla="*/ 210 w 375"/>
                <a:gd name="T89" fmla="*/ 465 h 713"/>
                <a:gd name="T90" fmla="*/ 360 w 375"/>
                <a:gd name="T91" fmla="*/ 465 h 7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75" h="713">
                  <a:moveTo>
                    <a:pt x="360" y="465"/>
                  </a:moveTo>
                  <a:cubicBezTo>
                    <a:pt x="375" y="465"/>
                    <a:pt x="375" y="450"/>
                    <a:pt x="375" y="450"/>
                  </a:cubicBezTo>
                  <a:cubicBezTo>
                    <a:pt x="375" y="392"/>
                    <a:pt x="375" y="392"/>
                    <a:pt x="375" y="392"/>
                  </a:cubicBezTo>
                  <a:cubicBezTo>
                    <a:pt x="375" y="376"/>
                    <a:pt x="360" y="376"/>
                    <a:pt x="360" y="376"/>
                  </a:cubicBezTo>
                  <a:cubicBezTo>
                    <a:pt x="200" y="376"/>
                    <a:pt x="200" y="376"/>
                    <a:pt x="200" y="376"/>
                  </a:cubicBezTo>
                  <a:cubicBezTo>
                    <a:pt x="200" y="253"/>
                    <a:pt x="200" y="253"/>
                    <a:pt x="200" y="253"/>
                  </a:cubicBezTo>
                  <a:cubicBezTo>
                    <a:pt x="302" y="253"/>
                    <a:pt x="302" y="253"/>
                    <a:pt x="302" y="253"/>
                  </a:cubicBezTo>
                  <a:cubicBezTo>
                    <a:pt x="317" y="253"/>
                    <a:pt x="317" y="238"/>
                    <a:pt x="317" y="238"/>
                  </a:cubicBezTo>
                  <a:cubicBezTo>
                    <a:pt x="317" y="15"/>
                    <a:pt x="317" y="15"/>
                    <a:pt x="317" y="15"/>
                  </a:cubicBezTo>
                  <a:cubicBezTo>
                    <a:pt x="317" y="0"/>
                    <a:pt x="302" y="0"/>
                    <a:pt x="302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0" y="0"/>
                    <a:pt x="0" y="15"/>
                    <a:pt x="0" y="15"/>
                  </a:cubicBezTo>
                  <a:cubicBezTo>
                    <a:pt x="0" y="238"/>
                    <a:pt x="0" y="238"/>
                    <a:pt x="0" y="238"/>
                  </a:cubicBezTo>
                  <a:cubicBezTo>
                    <a:pt x="0" y="253"/>
                    <a:pt x="16" y="253"/>
                    <a:pt x="16" y="253"/>
                  </a:cubicBezTo>
                  <a:cubicBezTo>
                    <a:pt x="53" y="253"/>
                    <a:pt x="53" y="253"/>
                    <a:pt x="53" y="253"/>
                  </a:cubicBezTo>
                  <a:cubicBezTo>
                    <a:pt x="123" y="253"/>
                    <a:pt x="123" y="253"/>
                    <a:pt x="123" y="253"/>
                  </a:cubicBezTo>
                  <a:cubicBezTo>
                    <a:pt x="123" y="376"/>
                    <a:pt x="123" y="376"/>
                    <a:pt x="123" y="376"/>
                  </a:cubicBezTo>
                  <a:cubicBezTo>
                    <a:pt x="16" y="376"/>
                    <a:pt x="16" y="376"/>
                    <a:pt x="16" y="376"/>
                  </a:cubicBezTo>
                  <a:cubicBezTo>
                    <a:pt x="0" y="376"/>
                    <a:pt x="0" y="392"/>
                    <a:pt x="0" y="392"/>
                  </a:cubicBezTo>
                  <a:cubicBezTo>
                    <a:pt x="0" y="450"/>
                    <a:pt x="0" y="450"/>
                    <a:pt x="0" y="450"/>
                  </a:cubicBezTo>
                  <a:cubicBezTo>
                    <a:pt x="0" y="465"/>
                    <a:pt x="16" y="465"/>
                    <a:pt x="16" y="465"/>
                  </a:cubicBezTo>
                  <a:cubicBezTo>
                    <a:pt x="103" y="465"/>
                    <a:pt x="103" y="465"/>
                    <a:pt x="103" y="465"/>
                  </a:cubicBezTo>
                  <a:cubicBezTo>
                    <a:pt x="167" y="465"/>
                    <a:pt x="167" y="465"/>
                    <a:pt x="167" y="465"/>
                  </a:cubicBezTo>
                  <a:cubicBezTo>
                    <a:pt x="167" y="563"/>
                    <a:pt x="167" y="563"/>
                    <a:pt x="167" y="563"/>
                  </a:cubicBezTo>
                  <a:cubicBezTo>
                    <a:pt x="167" y="614"/>
                    <a:pt x="167" y="614"/>
                    <a:pt x="167" y="614"/>
                  </a:cubicBezTo>
                  <a:cubicBezTo>
                    <a:pt x="16" y="614"/>
                    <a:pt x="16" y="614"/>
                    <a:pt x="16" y="614"/>
                  </a:cubicBezTo>
                  <a:cubicBezTo>
                    <a:pt x="16" y="614"/>
                    <a:pt x="0" y="614"/>
                    <a:pt x="0" y="630"/>
                  </a:cubicBezTo>
                  <a:cubicBezTo>
                    <a:pt x="0" y="644"/>
                    <a:pt x="0" y="644"/>
                    <a:pt x="0" y="644"/>
                  </a:cubicBezTo>
                  <a:cubicBezTo>
                    <a:pt x="0" y="644"/>
                    <a:pt x="0" y="660"/>
                    <a:pt x="16" y="660"/>
                  </a:cubicBezTo>
                  <a:cubicBezTo>
                    <a:pt x="51" y="660"/>
                    <a:pt x="51" y="660"/>
                    <a:pt x="51" y="660"/>
                  </a:cubicBezTo>
                  <a:cubicBezTo>
                    <a:pt x="51" y="660"/>
                    <a:pt x="51" y="660"/>
                    <a:pt x="51" y="660"/>
                  </a:cubicBezTo>
                  <a:cubicBezTo>
                    <a:pt x="150" y="660"/>
                    <a:pt x="150" y="660"/>
                    <a:pt x="150" y="660"/>
                  </a:cubicBezTo>
                  <a:cubicBezTo>
                    <a:pt x="136" y="661"/>
                    <a:pt x="125" y="672"/>
                    <a:pt x="125" y="686"/>
                  </a:cubicBezTo>
                  <a:cubicBezTo>
                    <a:pt x="125" y="701"/>
                    <a:pt x="137" y="713"/>
                    <a:pt x="152" y="713"/>
                  </a:cubicBezTo>
                  <a:cubicBezTo>
                    <a:pt x="167" y="713"/>
                    <a:pt x="179" y="701"/>
                    <a:pt x="179" y="686"/>
                  </a:cubicBezTo>
                  <a:cubicBezTo>
                    <a:pt x="179" y="672"/>
                    <a:pt x="168" y="661"/>
                    <a:pt x="155" y="660"/>
                  </a:cubicBezTo>
                  <a:cubicBezTo>
                    <a:pt x="334" y="660"/>
                    <a:pt x="334" y="660"/>
                    <a:pt x="334" y="660"/>
                  </a:cubicBezTo>
                  <a:cubicBezTo>
                    <a:pt x="334" y="660"/>
                    <a:pt x="334" y="660"/>
                    <a:pt x="334" y="660"/>
                  </a:cubicBezTo>
                  <a:cubicBezTo>
                    <a:pt x="360" y="660"/>
                    <a:pt x="360" y="660"/>
                    <a:pt x="360" y="660"/>
                  </a:cubicBezTo>
                  <a:cubicBezTo>
                    <a:pt x="360" y="660"/>
                    <a:pt x="375" y="660"/>
                    <a:pt x="375" y="644"/>
                  </a:cubicBezTo>
                  <a:cubicBezTo>
                    <a:pt x="375" y="630"/>
                    <a:pt x="375" y="630"/>
                    <a:pt x="375" y="630"/>
                  </a:cubicBezTo>
                  <a:cubicBezTo>
                    <a:pt x="375" y="630"/>
                    <a:pt x="375" y="614"/>
                    <a:pt x="360" y="614"/>
                  </a:cubicBezTo>
                  <a:cubicBezTo>
                    <a:pt x="210" y="614"/>
                    <a:pt x="210" y="614"/>
                    <a:pt x="210" y="614"/>
                  </a:cubicBezTo>
                  <a:cubicBezTo>
                    <a:pt x="210" y="465"/>
                    <a:pt x="210" y="465"/>
                    <a:pt x="210" y="465"/>
                  </a:cubicBezTo>
                  <a:cubicBezTo>
                    <a:pt x="360" y="465"/>
                    <a:pt x="360" y="465"/>
                    <a:pt x="360" y="465"/>
                  </a:cubicBezTo>
                </a:path>
              </a:pathLst>
            </a:custGeom>
            <a:solidFill>
              <a:srgbClr val="4423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0" name="Freeform 11"/>
            <p:cNvSpPr>
              <a:spLocks noEditPoints="1"/>
            </p:cNvSpPr>
            <p:nvPr/>
          </p:nvSpPr>
          <p:spPr bwMode="auto">
            <a:xfrm>
              <a:off x="3624421" y="2014834"/>
              <a:ext cx="537821" cy="1017910"/>
            </a:xfrm>
            <a:custGeom>
              <a:avLst/>
              <a:gdLst>
                <a:gd name="T0" fmla="*/ 226 w 375"/>
                <a:gd name="T1" fmla="*/ 660 h 713"/>
                <a:gd name="T2" fmla="*/ 323 w 375"/>
                <a:gd name="T3" fmla="*/ 660 h 713"/>
                <a:gd name="T4" fmla="*/ 299 w 375"/>
                <a:gd name="T5" fmla="*/ 687 h 713"/>
                <a:gd name="T6" fmla="*/ 326 w 375"/>
                <a:gd name="T7" fmla="*/ 713 h 713"/>
                <a:gd name="T8" fmla="*/ 329 w 375"/>
                <a:gd name="T9" fmla="*/ 713 h 713"/>
                <a:gd name="T10" fmla="*/ 355 w 375"/>
                <a:gd name="T11" fmla="*/ 687 h 713"/>
                <a:gd name="T12" fmla="*/ 329 w 375"/>
                <a:gd name="T13" fmla="*/ 660 h 713"/>
                <a:gd name="T14" fmla="*/ 360 w 375"/>
                <a:gd name="T15" fmla="*/ 660 h 713"/>
                <a:gd name="T16" fmla="*/ 375 w 375"/>
                <a:gd name="T17" fmla="*/ 644 h 713"/>
                <a:gd name="T18" fmla="*/ 375 w 375"/>
                <a:gd name="T19" fmla="*/ 630 h 713"/>
                <a:gd name="T20" fmla="*/ 360 w 375"/>
                <a:gd name="T21" fmla="*/ 614 h 713"/>
                <a:gd name="T22" fmla="*/ 231 w 375"/>
                <a:gd name="T23" fmla="*/ 614 h 713"/>
                <a:gd name="T24" fmla="*/ 231 w 375"/>
                <a:gd name="T25" fmla="*/ 466 h 713"/>
                <a:gd name="T26" fmla="*/ 272 w 375"/>
                <a:gd name="T27" fmla="*/ 466 h 713"/>
                <a:gd name="T28" fmla="*/ 360 w 375"/>
                <a:gd name="T29" fmla="*/ 466 h 713"/>
                <a:gd name="T30" fmla="*/ 375 w 375"/>
                <a:gd name="T31" fmla="*/ 450 h 713"/>
                <a:gd name="T32" fmla="*/ 375 w 375"/>
                <a:gd name="T33" fmla="*/ 393 h 713"/>
                <a:gd name="T34" fmla="*/ 360 w 375"/>
                <a:gd name="T35" fmla="*/ 377 h 713"/>
                <a:gd name="T36" fmla="*/ 284 w 375"/>
                <a:gd name="T37" fmla="*/ 377 h 713"/>
                <a:gd name="T38" fmla="*/ 284 w 375"/>
                <a:gd name="T39" fmla="*/ 254 h 713"/>
                <a:gd name="T40" fmla="*/ 322 w 375"/>
                <a:gd name="T41" fmla="*/ 254 h 713"/>
                <a:gd name="T42" fmla="*/ 360 w 375"/>
                <a:gd name="T43" fmla="*/ 254 h 713"/>
                <a:gd name="T44" fmla="*/ 375 w 375"/>
                <a:gd name="T45" fmla="*/ 238 h 713"/>
                <a:gd name="T46" fmla="*/ 375 w 375"/>
                <a:gd name="T47" fmla="*/ 16 h 713"/>
                <a:gd name="T48" fmla="*/ 360 w 375"/>
                <a:gd name="T49" fmla="*/ 0 h 713"/>
                <a:gd name="T50" fmla="*/ 322 w 375"/>
                <a:gd name="T51" fmla="*/ 0 h 713"/>
                <a:gd name="T52" fmla="*/ 74 w 375"/>
                <a:gd name="T53" fmla="*/ 0 h 713"/>
                <a:gd name="T54" fmla="*/ 58 w 375"/>
                <a:gd name="T55" fmla="*/ 16 h 713"/>
                <a:gd name="T56" fmla="*/ 58 w 375"/>
                <a:gd name="T57" fmla="*/ 238 h 713"/>
                <a:gd name="T58" fmla="*/ 74 w 375"/>
                <a:gd name="T59" fmla="*/ 254 h 713"/>
                <a:gd name="T60" fmla="*/ 193 w 375"/>
                <a:gd name="T61" fmla="*/ 254 h 713"/>
                <a:gd name="T62" fmla="*/ 193 w 375"/>
                <a:gd name="T63" fmla="*/ 377 h 713"/>
                <a:gd name="T64" fmla="*/ 16 w 375"/>
                <a:gd name="T65" fmla="*/ 377 h 713"/>
                <a:gd name="T66" fmla="*/ 0 w 375"/>
                <a:gd name="T67" fmla="*/ 393 h 713"/>
                <a:gd name="T68" fmla="*/ 0 w 375"/>
                <a:gd name="T69" fmla="*/ 450 h 713"/>
                <a:gd name="T70" fmla="*/ 16 w 375"/>
                <a:gd name="T71" fmla="*/ 466 h 713"/>
                <a:gd name="T72" fmla="*/ 149 w 375"/>
                <a:gd name="T73" fmla="*/ 466 h 713"/>
                <a:gd name="T74" fmla="*/ 149 w 375"/>
                <a:gd name="T75" fmla="*/ 614 h 713"/>
                <a:gd name="T76" fmla="*/ 16 w 375"/>
                <a:gd name="T77" fmla="*/ 614 h 713"/>
                <a:gd name="T78" fmla="*/ 0 w 375"/>
                <a:gd name="T79" fmla="*/ 630 h 713"/>
                <a:gd name="T80" fmla="*/ 0 w 375"/>
                <a:gd name="T81" fmla="*/ 644 h 713"/>
                <a:gd name="T82" fmla="*/ 16 w 375"/>
                <a:gd name="T83" fmla="*/ 660 h 713"/>
                <a:gd name="T84" fmla="*/ 37 w 375"/>
                <a:gd name="T85" fmla="*/ 660 h 713"/>
                <a:gd name="T86" fmla="*/ 10 w 375"/>
                <a:gd name="T87" fmla="*/ 687 h 713"/>
                <a:gd name="T88" fmla="*/ 37 w 375"/>
                <a:gd name="T89" fmla="*/ 713 h 713"/>
                <a:gd name="T90" fmla="*/ 38 w 375"/>
                <a:gd name="T91" fmla="*/ 713 h 713"/>
                <a:gd name="T92" fmla="*/ 64 w 375"/>
                <a:gd name="T93" fmla="*/ 687 h 713"/>
                <a:gd name="T94" fmla="*/ 40 w 375"/>
                <a:gd name="T95" fmla="*/ 660 h 713"/>
                <a:gd name="T96" fmla="*/ 207 w 375"/>
                <a:gd name="T97" fmla="*/ 660 h 713"/>
                <a:gd name="T98" fmla="*/ 226 w 375"/>
                <a:gd name="T99" fmla="*/ 660 h 713"/>
                <a:gd name="T100" fmla="*/ 324 w 375"/>
                <a:gd name="T101" fmla="*/ 660 h 713"/>
                <a:gd name="T102" fmla="*/ 324 w 375"/>
                <a:gd name="T103" fmla="*/ 660 h 713"/>
                <a:gd name="T104" fmla="*/ 326 w 375"/>
                <a:gd name="T105" fmla="*/ 660 h 713"/>
                <a:gd name="T106" fmla="*/ 324 w 375"/>
                <a:gd name="T107" fmla="*/ 660 h 7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5" h="713">
                  <a:moveTo>
                    <a:pt x="226" y="660"/>
                  </a:moveTo>
                  <a:cubicBezTo>
                    <a:pt x="323" y="660"/>
                    <a:pt x="323" y="660"/>
                    <a:pt x="323" y="660"/>
                  </a:cubicBezTo>
                  <a:cubicBezTo>
                    <a:pt x="310" y="662"/>
                    <a:pt x="299" y="673"/>
                    <a:pt x="299" y="687"/>
                  </a:cubicBezTo>
                  <a:cubicBezTo>
                    <a:pt x="299" y="701"/>
                    <a:pt x="311" y="713"/>
                    <a:pt x="326" y="713"/>
                  </a:cubicBezTo>
                  <a:cubicBezTo>
                    <a:pt x="329" y="713"/>
                    <a:pt x="329" y="713"/>
                    <a:pt x="329" y="713"/>
                  </a:cubicBezTo>
                  <a:cubicBezTo>
                    <a:pt x="343" y="713"/>
                    <a:pt x="355" y="701"/>
                    <a:pt x="355" y="687"/>
                  </a:cubicBezTo>
                  <a:cubicBezTo>
                    <a:pt x="355" y="672"/>
                    <a:pt x="343" y="660"/>
                    <a:pt x="329" y="660"/>
                  </a:cubicBezTo>
                  <a:cubicBezTo>
                    <a:pt x="360" y="660"/>
                    <a:pt x="360" y="660"/>
                    <a:pt x="360" y="660"/>
                  </a:cubicBezTo>
                  <a:cubicBezTo>
                    <a:pt x="375" y="660"/>
                    <a:pt x="375" y="644"/>
                    <a:pt x="375" y="644"/>
                  </a:cubicBezTo>
                  <a:cubicBezTo>
                    <a:pt x="375" y="630"/>
                    <a:pt x="375" y="630"/>
                    <a:pt x="375" y="630"/>
                  </a:cubicBezTo>
                  <a:cubicBezTo>
                    <a:pt x="375" y="614"/>
                    <a:pt x="360" y="614"/>
                    <a:pt x="360" y="614"/>
                  </a:cubicBezTo>
                  <a:cubicBezTo>
                    <a:pt x="231" y="614"/>
                    <a:pt x="231" y="614"/>
                    <a:pt x="231" y="614"/>
                  </a:cubicBezTo>
                  <a:cubicBezTo>
                    <a:pt x="231" y="466"/>
                    <a:pt x="231" y="466"/>
                    <a:pt x="231" y="466"/>
                  </a:cubicBezTo>
                  <a:cubicBezTo>
                    <a:pt x="272" y="466"/>
                    <a:pt x="272" y="466"/>
                    <a:pt x="272" y="466"/>
                  </a:cubicBezTo>
                  <a:cubicBezTo>
                    <a:pt x="360" y="466"/>
                    <a:pt x="360" y="466"/>
                    <a:pt x="360" y="466"/>
                  </a:cubicBezTo>
                  <a:cubicBezTo>
                    <a:pt x="360" y="466"/>
                    <a:pt x="375" y="466"/>
                    <a:pt x="375" y="450"/>
                  </a:cubicBezTo>
                  <a:cubicBezTo>
                    <a:pt x="375" y="393"/>
                    <a:pt x="375" y="393"/>
                    <a:pt x="375" y="393"/>
                  </a:cubicBezTo>
                  <a:cubicBezTo>
                    <a:pt x="375" y="393"/>
                    <a:pt x="375" y="377"/>
                    <a:pt x="360" y="377"/>
                  </a:cubicBezTo>
                  <a:cubicBezTo>
                    <a:pt x="284" y="377"/>
                    <a:pt x="284" y="377"/>
                    <a:pt x="284" y="377"/>
                  </a:cubicBezTo>
                  <a:cubicBezTo>
                    <a:pt x="284" y="254"/>
                    <a:pt x="284" y="254"/>
                    <a:pt x="284" y="254"/>
                  </a:cubicBezTo>
                  <a:cubicBezTo>
                    <a:pt x="322" y="254"/>
                    <a:pt x="322" y="254"/>
                    <a:pt x="322" y="254"/>
                  </a:cubicBezTo>
                  <a:cubicBezTo>
                    <a:pt x="360" y="254"/>
                    <a:pt x="360" y="254"/>
                    <a:pt x="360" y="254"/>
                  </a:cubicBezTo>
                  <a:cubicBezTo>
                    <a:pt x="360" y="254"/>
                    <a:pt x="375" y="254"/>
                    <a:pt x="375" y="238"/>
                  </a:cubicBezTo>
                  <a:cubicBezTo>
                    <a:pt x="375" y="16"/>
                    <a:pt x="375" y="16"/>
                    <a:pt x="375" y="16"/>
                  </a:cubicBezTo>
                  <a:cubicBezTo>
                    <a:pt x="375" y="16"/>
                    <a:pt x="375" y="0"/>
                    <a:pt x="360" y="0"/>
                  </a:cubicBezTo>
                  <a:cubicBezTo>
                    <a:pt x="322" y="0"/>
                    <a:pt x="322" y="0"/>
                    <a:pt x="322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4" y="0"/>
                    <a:pt x="58" y="0"/>
                    <a:pt x="58" y="16"/>
                  </a:cubicBezTo>
                  <a:cubicBezTo>
                    <a:pt x="58" y="238"/>
                    <a:pt x="58" y="238"/>
                    <a:pt x="58" y="238"/>
                  </a:cubicBezTo>
                  <a:cubicBezTo>
                    <a:pt x="58" y="238"/>
                    <a:pt x="58" y="254"/>
                    <a:pt x="74" y="254"/>
                  </a:cubicBezTo>
                  <a:cubicBezTo>
                    <a:pt x="193" y="254"/>
                    <a:pt x="193" y="254"/>
                    <a:pt x="193" y="254"/>
                  </a:cubicBezTo>
                  <a:cubicBezTo>
                    <a:pt x="193" y="377"/>
                    <a:pt x="193" y="377"/>
                    <a:pt x="193" y="377"/>
                  </a:cubicBezTo>
                  <a:cubicBezTo>
                    <a:pt x="16" y="377"/>
                    <a:pt x="16" y="377"/>
                    <a:pt x="16" y="377"/>
                  </a:cubicBezTo>
                  <a:cubicBezTo>
                    <a:pt x="16" y="377"/>
                    <a:pt x="0" y="377"/>
                    <a:pt x="0" y="393"/>
                  </a:cubicBezTo>
                  <a:cubicBezTo>
                    <a:pt x="0" y="450"/>
                    <a:pt x="0" y="450"/>
                    <a:pt x="0" y="450"/>
                  </a:cubicBezTo>
                  <a:cubicBezTo>
                    <a:pt x="0" y="450"/>
                    <a:pt x="0" y="466"/>
                    <a:pt x="16" y="466"/>
                  </a:cubicBezTo>
                  <a:cubicBezTo>
                    <a:pt x="149" y="466"/>
                    <a:pt x="149" y="466"/>
                    <a:pt x="149" y="466"/>
                  </a:cubicBezTo>
                  <a:cubicBezTo>
                    <a:pt x="149" y="614"/>
                    <a:pt x="149" y="614"/>
                    <a:pt x="149" y="614"/>
                  </a:cubicBezTo>
                  <a:cubicBezTo>
                    <a:pt x="16" y="614"/>
                    <a:pt x="16" y="614"/>
                    <a:pt x="16" y="614"/>
                  </a:cubicBezTo>
                  <a:cubicBezTo>
                    <a:pt x="0" y="614"/>
                    <a:pt x="0" y="630"/>
                    <a:pt x="0" y="630"/>
                  </a:cubicBezTo>
                  <a:cubicBezTo>
                    <a:pt x="0" y="644"/>
                    <a:pt x="0" y="644"/>
                    <a:pt x="0" y="644"/>
                  </a:cubicBezTo>
                  <a:cubicBezTo>
                    <a:pt x="0" y="660"/>
                    <a:pt x="16" y="660"/>
                    <a:pt x="16" y="660"/>
                  </a:cubicBezTo>
                  <a:cubicBezTo>
                    <a:pt x="37" y="660"/>
                    <a:pt x="37" y="660"/>
                    <a:pt x="37" y="660"/>
                  </a:cubicBezTo>
                  <a:cubicBezTo>
                    <a:pt x="22" y="660"/>
                    <a:pt x="10" y="672"/>
                    <a:pt x="10" y="687"/>
                  </a:cubicBezTo>
                  <a:cubicBezTo>
                    <a:pt x="10" y="701"/>
                    <a:pt x="22" y="713"/>
                    <a:pt x="37" y="713"/>
                  </a:cubicBezTo>
                  <a:cubicBezTo>
                    <a:pt x="38" y="713"/>
                    <a:pt x="38" y="713"/>
                    <a:pt x="38" y="713"/>
                  </a:cubicBezTo>
                  <a:cubicBezTo>
                    <a:pt x="53" y="713"/>
                    <a:pt x="64" y="701"/>
                    <a:pt x="64" y="687"/>
                  </a:cubicBezTo>
                  <a:cubicBezTo>
                    <a:pt x="64" y="673"/>
                    <a:pt x="54" y="662"/>
                    <a:pt x="40" y="660"/>
                  </a:cubicBezTo>
                  <a:cubicBezTo>
                    <a:pt x="207" y="660"/>
                    <a:pt x="207" y="660"/>
                    <a:pt x="207" y="660"/>
                  </a:cubicBezTo>
                  <a:cubicBezTo>
                    <a:pt x="226" y="660"/>
                    <a:pt x="226" y="660"/>
                    <a:pt x="226" y="660"/>
                  </a:cubicBezTo>
                  <a:moveTo>
                    <a:pt x="324" y="660"/>
                  </a:moveTo>
                  <a:cubicBezTo>
                    <a:pt x="324" y="660"/>
                    <a:pt x="324" y="660"/>
                    <a:pt x="324" y="660"/>
                  </a:cubicBezTo>
                  <a:cubicBezTo>
                    <a:pt x="326" y="660"/>
                    <a:pt x="326" y="660"/>
                    <a:pt x="326" y="660"/>
                  </a:cubicBezTo>
                  <a:cubicBezTo>
                    <a:pt x="325" y="660"/>
                    <a:pt x="325" y="660"/>
                    <a:pt x="324" y="660"/>
                  </a:cubicBezTo>
                </a:path>
              </a:pathLst>
            </a:custGeom>
            <a:solidFill>
              <a:srgbClr val="4423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2" name="Rectangle 13"/>
            <p:cNvSpPr>
              <a:spLocks noChangeArrowheads="1"/>
            </p:cNvSpPr>
            <p:nvPr/>
          </p:nvSpPr>
          <p:spPr bwMode="auto">
            <a:xfrm>
              <a:off x="3010636" y="1033386"/>
              <a:ext cx="1267071" cy="8568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3" name="Freeform 14"/>
            <p:cNvSpPr>
              <a:spLocks noEditPoints="1"/>
            </p:cNvSpPr>
            <p:nvPr/>
          </p:nvSpPr>
          <p:spPr bwMode="auto">
            <a:xfrm>
              <a:off x="2965058" y="987808"/>
              <a:ext cx="1358227" cy="948024"/>
            </a:xfrm>
            <a:custGeom>
              <a:avLst/>
              <a:gdLst>
                <a:gd name="T0" fmla="*/ 432 w 447"/>
                <a:gd name="T1" fmla="*/ 15 h 312"/>
                <a:gd name="T2" fmla="*/ 432 w 447"/>
                <a:gd name="T3" fmla="*/ 297 h 312"/>
                <a:gd name="T4" fmla="*/ 15 w 447"/>
                <a:gd name="T5" fmla="*/ 297 h 312"/>
                <a:gd name="T6" fmla="*/ 15 w 447"/>
                <a:gd name="T7" fmla="*/ 15 h 312"/>
                <a:gd name="T8" fmla="*/ 432 w 447"/>
                <a:gd name="T9" fmla="*/ 15 h 312"/>
                <a:gd name="T10" fmla="*/ 447 w 447"/>
                <a:gd name="T11" fmla="*/ 0 h 312"/>
                <a:gd name="T12" fmla="*/ 432 w 447"/>
                <a:gd name="T13" fmla="*/ 0 h 312"/>
                <a:gd name="T14" fmla="*/ 15 w 447"/>
                <a:gd name="T15" fmla="*/ 0 h 312"/>
                <a:gd name="T16" fmla="*/ 0 w 447"/>
                <a:gd name="T17" fmla="*/ 0 h 312"/>
                <a:gd name="T18" fmla="*/ 0 w 447"/>
                <a:gd name="T19" fmla="*/ 15 h 312"/>
                <a:gd name="T20" fmla="*/ 0 w 447"/>
                <a:gd name="T21" fmla="*/ 297 h 312"/>
                <a:gd name="T22" fmla="*/ 0 w 447"/>
                <a:gd name="T23" fmla="*/ 312 h 312"/>
                <a:gd name="T24" fmla="*/ 15 w 447"/>
                <a:gd name="T25" fmla="*/ 312 h 312"/>
                <a:gd name="T26" fmla="*/ 432 w 447"/>
                <a:gd name="T27" fmla="*/ 312 h 312"/>
                <a:gd name="T28" fmla="*/ 447 w 447"/>
                <a:gd name="T29" fmla="*/ 312 h 312"/>
                <a:gd name="T30" fmla="*/ 447 w 447"/>
                <a:gd name="T31" fmla="*/ 297 h 312"/>
                <a:gd name="T32" fmla="*/ 447 w 447"/>
                <a:gd name="T33" fmla="*/ 15 h 312"/>
                <a:gd name="T34" fmla="*/ 447 w 447"/>
                <a:gd name="T35" fmla="*/ 0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47" h="312">
                  <a:moveTo>
                    <a:pt x="432" y="15"/>
                  </a:moveTo>
                  <a:lnTo>
                    <a:pt x="432" y="297"/>
                  </a:lnTo>
                  <a:lnTo>
                    <a:pt x="15" y="297"/>
                  </a:lnTo>
                  <a:lnTo>
                    <a:pt x="15" y="15"/>
                  </a:lnTo>
                  <a:lnTo>
                    <a:pt x="432" y="15"/>
                  </a:lnTo>
                  <a:close/>
                  <a:moveTo>
                    <a:pt x="447" y="0"/>
                  </a:moveTo>
                  <a:lnTo>
                    <a:pt x="432" y="0"/>
                  </a:lnTo>
                  <a:lnTo>
                    <a:pt x="15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297"/>
                  </a:lnTo>
                  <a:lnTo>
                    <a:pt x="0" y="312"/>
                  </a:lnTo>
                  <a:lnTo>
                    <a:pt x="15" y="312"/>
                  </a:lnTo>
                  <a:lnTo>
                    <a:pt x="432" y="312"/>
                  </a:lnTo>
                  <a:lnTo>
                    <a:pt x="447" y="312"/>
                  </a:lnTo>
                  <a:lnTo>
                    <a:pt x="447" y="297"/>
                  </a:lnTo>
                  <a:lnTo>
                    <a:pt x="447" y="15"/>
                  </a:lnTo>
                  <a:lnTo>
                    <a:pt x="447" y="0"/>
                  </a:lnTo>
                  <a:close/>
                </a:path>
              </a:pathLst>
            </a:custGeom>
            <a:solidFill>
              <a:srgbClr val="4668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4" name="Freeform 15"/>
            <p:cNvSpPr>
              <a:spLocks noEditPoints="1"/>
            </p:cNvSpPr>
            <p:nvPr/>
          </p:nvSpPr>
          <p:spPr bwMode="auto">
            <a:xfrm>
              <a:off x="2965058" y="987808"/>
              <a:ext cx="1358227" cy="948024"/>
            </a:xfrm>
            <a:custGeom>
              <a:avLst/>
              <a:gdLst>
                <a:gd name="T0" fmla="*/ 432 w 447"/>
                <a:gd name="T1" fmla="*/ 15 h 312"/>
                <a:gd name="T2" fmla="*/ 432 w 447"/>
                <a:gd name="T3" fmla="*/ 297 h 312"/>
                <a:gd name="T4" fmla="*/ 15 w 447"/>
                <a:gd name="T5" fmla="*/ 297 h 312"/>
                <a:gd name="T6" fmla="*/ 15 w 447"/>
                <a:gd name="T7" fmla="*/ 15 h 312"/>
                <a:gd name="T8" fmla="*/ 432 w 447"/>
                <a:gd name="T9" fmla="*/ 15 h 312"/>
                <a:gd name="T10" fmla="*/ 447 w 447"/>
                <a:gd name="T11" fmla="*/ 0 h 312"/>
                <a:gd name="T12" fmla="*/ 432 w 447"/>
                <a:gd name="T13" fmla="*/ 0 h 312"/>
                <a:gd name="T14" fmla="*/ 15 w 447"/>
                <a:gd name="T15" fmla="*/ 0 h 312"/>
                <a:gd name="T16" fmla="*/ 0 w 447"/>
                <a:gd name="T17" fmla="*/ 0 h 312"/>
                <a:gd name="T18" fmla="*/ 0 w 447"/>
                <a:gd name="T19" fmla="*/ 15 h 312"/>
                <a:gd name="T20" fmla="*/ 0 w 447"/>
                <a:gd name="T21" fmla="*/ 297 h 312"/>
                <a:gd name="T22" fmla="*/ 0 w 447"/>
                <a:gd name="T23" fmla="*/ 312 h 312"/>
                <a:gd name="T24" fmla="*/ 15 w 447"/>
                <a:gd name="T25" fmla="*/ 312 h 312"/>
                <a:gd name="T26" fmla="*/ 432 w 447"/>
                <a:gd name="T27" fmla="*/ 312 h 312"/>
                <a:gd name="T28" fmla="*/ 447 w 447"/>
                <a:gd name="T29" fmla="*/ 312 h 312"/>
                <a:gd name="T30" fmla="*/ 447 w 447"/>
                <a:gd name="T31" fmla="*/ 297 h 312"/>
                <a:gd name="T32" fmla="*/ 447 w 447"/>
                <a:gd name="T33" fmla="*/ 15 h 312"/>
                <a:gd name="T34" fmla="*/ 447 w 447"/>
                <a:gd name="T35" fmla="*/ 0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47" h="312">
                  <a:moveTo>
                    <a:pt x="432" y="15"/>
                  </a:moveTo>
                  <a:lnTo>
                    <a:pt x="432" y="297"/>
                  </a:lnTo>
                  <a:lnTo>
                    <a:pt x="15" y="297"/>
                  </a:lnTo>
                  <a:lnTo>
                    <a:pt x="15" y="15"/>
                  </a:lnTo>
                  <a:lnTo>
                    <a:pt x="432" y="15"/>
                  </a:lnTo>
                  <a:moveTo>
                    <a:pt x="447" y="0"/>
                  </a:moveTo>
                  <a:lnTo>
                    <a:pt x="432" y="0"/>
                  </a:lnTo>
                  <a:lnTo>
                    <a:pt x="15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297"/>
                  </a:lnTo>
                  <a:lnTo>
                    <a:pt x="0" y="312"/>
                  </a:lnTo>
                  <a:lnTo>
                    <a:pt x="15" y="312"/>
                  </a:lnTo>
                  <a:lnTo>
                    <a:pt x="432" y="312"/>
                  </a:lnTo>
                  <a:lnTo>
                    <a:pt x="447" y="312"/>
                  </a:lnTo>
                  <a:lnTo>
                    <a:pt x="447" y="297"/>
                  </a:lnTo>
                  <a:lnTo>
                    <a:pt x="447" y="15"/>
                  </a:lnTo>
                  <a:lnTo>
                    <a:pt x="44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5" name="Freeform 16"/>
            <p:cNvSpPr>
              <a:spLocks/>
            </p:cNvSpPr>
            <p:nvPr/>
          </p:nvSpPr>
          <p:spPr bwMode="auto">
            <a:xfrm>
              <a:off x="3320567" y="2923357"/>
              <a:ext cx="197505" cy="109387"/>
            </a:xfrm>
            <a:custGeom>
              <a:avLst/>
              <a:gdLst>
                <a:gd name="T0" fmla="*/ 0 w 65"/>
                <a:gd name="T1" fmla="*/ 28 h 36"/>
                <a:gd name="T2" fmla="*/ 28 w 65"/>
                <a:gd name="T3" fmla="*/ 0 h 36"/>
                <a:gd name="T4" fmla="*/ 65 w 65"/>
                <a:gd name="T5" fmla="*/ 0 h 36"/>
                <a:gd name="T6" fmla="*/ 65 w 65"/>
                <a:gd name="T7" fmla="*/ 36 h 36"/>
                <a:gd name="T8" fmla="*/ 0 w 65"/>
                <a:gd name="T9" fmla="*/ 36 h 36"/>
                <a:gd name="T10" fmla="*/ 0 w 65"/>
                <a:gd name="T11" fmla="*/ 2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36">
                  <a:moveTo>
                    <a:pt x="0" y="28"/>
                  </a:moveTo>
                  <a:lnTo>
                    <a:pt x="28" y="0"/>
                  </a:lnTo>
                  <a:lnTo>
                    <a:pt x="65" y="0"/>
                  </a:lnTo>
                  <a:lnTo>
                    <a:pt x="65" y="36"/>
                  </a:lnTo>
                  <a:lnTo>
                    <a:pt x="0" y="36"/>
                  </a:lnTo>
                  <a:lnTo>
                    <a:pt x="0" y="28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6" name="Freeform 17"/>
            <p:cNvSpPr>
              <a:spLocks/>
            </p:cNvSpPr>
            <p:nvPr/>
          </p:nvSpPr>
          <p:spPr bwMode="auto">
            <a:xfrm>
              <a:off x="3408685" y="2446306"/>
              <a:ext cx="656324" cy="477050"/>
            </a:xfrm>
            <a:custGeom>
              <a:avLst/>
              <a:gdLst>
                <a:gd name="T0" fmla="*/ 36 w 216"/>
                <a:gd name="T1" fmla="*/ 0 h 157"/>
                <a:gd name="T2" fmla="*/ 36 w 216"/>
                <a:gd name="T3" fmla="*/ 0 h 157"/>
                <a:gd name="T4" fmla="*/ 216 w 216"/>
                <a:gd name="T5" fmla="*/ 0 h 157"/>
                <a:gd name="T6" fmla="*/ 216 w 216"/>
                <a:gd name="T7" fmla="*/ 35 h 157"/>
                <a:gd name="T8" fmla="*/ 36 w 216"/>
                <a:gd name="T9" fmla="*/ 35 h 157"/>
                <a:gd name="T10" fmla="*/ 36 w 216"/>
                <a:gd name="T11" fmla="*/ 157 h 157"/>
                <a:gd name="T12" fmla="*/ 0 w 216"/>
                <a:gd name="T13" fmla="*/ 157 h 157"/>
                <a:gd name="T14" fmla="*/ 0 w 216"/>
                <a:gd name="T15" fmla="*/ 0 h 157"/>
                <a:gd name="T16" fmla="*/ 36 w 216"/>
                <a:gd name="T17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6" h="157">
                  <a:moveTo>
                    <a:pt x="36" y="0"/>
                  </a:moveTo>
                  <a:lnTo>
                    <a:pt x="36" y="0"/>
                  </a:lnTo>
                  <a:lnTo>
                    <a:pt x="216" y="0"/>
                  </a:lnTo>
                  <a:lnTo>
                    <a:pt x="216" y="35"/>
                  </a:lnTo>
                  <a:lnTo>
                    <a:pt x="36" y="35"/>
                  </a:lnTo>
                  <a:lnTo>
                    <a:pt x="36" y="157"/>
                  </a:lnTo>
                  <a:lnTo>
                    <a:pt x="0" y="157"/>
                  </a:lnTo>
                  <a:lnTo>
                    <a:pt x="0" y="0"/>
                  </a:lnTo>
                  <a:lnTo>
                    <a:pt x="36" y="0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7" name="Freeform 18"/>
            <p:cNvSpPr>
              <a:spLocks/>
            </p:cNvSpPr>
            <p:nvPr/>
          </p:nvSpPr>
          <p:spPr bwMode="auto">
            <a:xfrm>
              <a:off x="3408685" y="2446306"/>
              <a:ext cx="656324" cy="477050"/>
            </a:xfrm>
            <a:custGeom>
              <a:avLst/>
              <a:gdLst>
                <a:gd name="T0" fmla="*/ 36 w 216"/>
                <a:gd name="T1" fmla="*/ 0 h 157"/>
                <a:gd name="T2" fmla="*/ 36 w 216"/>
                <a:gd name="T3" fmla="*/ 0 h 157"/>
                <a:gd name="T4" fmla="*/ 216 w 216"/>
                <a:gd name="T5" fmla="*/ 0 h 157"/>
                <a:gd name="T6" fmla="*/ 216 w 216"/>
                <a:gd name="T7" fmla="*/ 35 h 157"/>
                <a:gd name="T8" fmla="*/ 36 w 216"/>
                <a:gd name="T9" fmla="*/ 35 h 157"/>
                <a:gd name="T10" fmla="*/ 36 w 216"/>
                <a:gd name="T11" fmla="*/ 157 h 157"/>
                <a:gd name="T12" fmla="*/ 0 w 216"/>
                <a:gd name="T13" fmla="*/ 157 h 157"/>
                <a:gd name="T14" fmla="*/ 0 w 216"/>
                <a:gd name="T15" fmla="*/ 0 h 157"/>
                <a:gd name="T16" fmla="*/ 36 w 216"/>
                <a:gd name="T17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6" h="157">
                  <a:moveTo>
                    <a:pt x="36" y="0"/>
                  </a:moveTo>
                  <a:lnTo>
                    <a:pt x="36" y="0"/>
                  </a:lnTo>
                  <a:lnTo>
                    <a:pt x="216" y="0"/>
                  </a:lnTo>
                  <a:lnTo>
                    <a:pt x="216" y="35"/>
                  </a:lnTo>
                  <a:lnTo>
                    <a:pt x="36" y="35"/>
                  </a:lnTo>
                  <a:lnTo>
                    <a:pt x="36" y="157"/>
                  </a:lnTo>
                  <a:lnTo>
                    <a:pt x="0" y="157"/>
                  </a:lnTo>
                  <a:lnTo>
                    <a:pt x="0" y="0"/>
                  </a:lnTo>
                  <a:lnTo>
                    <a:pt x="3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8" name="Rectangle 19"/>
            <p:cNvSpPr>
              <a:spLocks noChangeArrowheads="1"/>
            </p:cNvSpPr>
            <p:nvPr/>
          </p:nvSpPr>
          <p:spPr bwMode="auto">
            <a:xfrm>
              <a:off x="3563650" y="2455422"/>
              <a:ext cx="112426" cy="467935"/>
            </a:xfrm>
            <a:prstGeom prst="rect">
              <a:avLst/>
            </a:pr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9" name="Rectangle 20"/>
            <p:cNvSpPr>
              <a:spLocks noChangeArrowheads="1"/>
            </p:cNvSpPr>
            <p:nvPr/>
          </p:nvSpPr>
          <p:spPr bwMode="auto">
            <a:xfrm>
              <a:off x="3563650" y="2455422"/>
              <a:ext cx="112426" cy="4679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0" name="Rectangle 21"/>
            <p:cNvSpPr>
              <a:spLocks noChangeArrowheads="1"/>
            </p:cNvSpPr>
            <p:nvPr/>
          </p:nvSpPr>
          <p:spPr bwMode="auto">
            <a:xfrm>
              <a:off x="3663922" y="1735289"/>
              <a:ext cx="401087" cy="711018"/>
            </a:xfrm>
            <a:prstGeom prst="rect">
              <a:avLst/>
            </a:prstGeom>
            <a:solidFill>
              <a:srgbClr val="E81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1" name="Rectangle 22"/>
            <p:cNvSpPr>
              <a:spLocks noChangeArrowheads="1"/>
            </p:cNvSpPr>
            <p:nvPr/>
          </p:nvSpPr>
          <p:spPr bwMode="auto">
            <a:xfrm>
              <a:off x="3663922" y="1735289"/>
              <a:ext cx="401087" cy="7110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2" name="Freeform 23"/>
            <p:cNvSpPr>
              <a:spLocks/>
            </p:cNvSpPr>
            <p:nvPr/>
          </p:nvSpPr>
          <p:spPr bwMode="auto">
            <a:xfrm>
              <a:off x="3478571" y="2923357"/>
              <a:ext cx="197505" cy="109387"/>
            </a:xfrm>
            <a:custGeom>
              <a:avLst/>
              <a:gdLst>
                <a:gd name="T0" fmla="*/ 0 w 65"/>
                <a:gd name="T1" fmla="*/ 28 h 36"/>
                <a:gd name="T2" fmla="*/ 28 w 65"/>
                <a:gd name="T3" fmla="*/ 0 h 36"/>
                <a:gd name="T4" fmla="*/ 65 w 65"/>
                <a:gd name="T5" fmla="*/ 0 h 36"/>
                <a:gd name="T6" fmla="*/ 65 w 65"/>
                <a:gd name="T7" fmla="*/ 36 h 36"/>
                <a:gd name="T8" fmla="*/ 0 w 65"/>
                <a:gd name="T9" fmla="*/ 36 h 36"/>
                <a:gd name="T10" fmla="*/ 0 w 65"/>
                <a:gd name="T11" fmla="*/ 2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36">
                  <a:moveTo>
                    <a:pt x="0" y="28"/>
                  </a:moveTo>
                  <a:lnTo>
                    <a:pt x="28" y="0"/>
                  </a:lnTo>
                  <a:lnTo>
                    <a:pt x="65" y="0"/>
                  </a:lnTo>
                  <a:lnTo>
                    <a:pt x="65" y="36"/>
                  </a:lnTo>
                  <a:lnTo>
                    <a:pt x="0" y="36"/>
                  </a:lnTo>
                  <a:lnTo>
                    <a:pt x="0" y="28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3" name="Freeform 24"/>
            <p:cNvSpPr>
              <a:spLocks/>
            </p:cNvSpPr>
            <p:nvPr/>
          </p:nvSpPr>
          <p:spPr bwMode="auto">
            <a:xfrm>
              <a:off x="3478571" y="2923357"/>
              <a:ext cx="197505" cy="109387"/>
            </a:xfrm>
            <a:custGeom>
              <a:avLst/>
              <a:gdLst>
                <a:gd name="T0" fmla="*/ 0 w 65"/>
                <a:gd name="T1" fmla="*/ 28 h 36"/>
                <a:gd name="T2" fmla="*/ 28 w 65"/>
                <a:gd name="T3" fmla="*/ 0 h 36"/>
                <a:gd name="T4" fmla="*/ 65 w 65"/>
                <a:gd name="T5" fmla="*/ 0 h 36"/>
                <a:gd name="T6" fmla="*/ 65 w 65"/>
                <a:gd name="T7" fmla="*/ 36 h 36"/>
                <a:gd name="T8" fmla="*/ 0 w 65"/>
                <a:gd name="T9" fmla="*/ 36 h 36"/>
                <a:gd name="T10" fmla="*/ 0 w 65"/>
                <a:gd name="T11" fmla="*/ 2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36">
                  <a:moveTo>
                    <a:pt x="0" y="28"/>
                  </a:moveTo>
                  <a:lnTo>
                    <a:pt x="28" y="0"/>
                  </a:lnTo>
                  <a:lnTo>
                    <a:pt x="65" y="0"/>
                  </a:lnTo>
                  <a:lnTo>
                    <a:pt x="65" y="36"/>
                  </a:lnTo>
                  <a:lnTo>
                    <a:pt x="0" y="36"/>
                  </a:lnTo>
                  <a:lnTo>
                    <a:pt x="0" y="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4" name="Rectangle 25"/>
            <p:cNvSpPr>
              <a:spLocks noChangeArrowheads="1"/>
            </p:cNvSpPr>
            <p:nvPr/>
          </p:nvSpPr>
          <p:spPr bwMode="auto">
            <a:xfrm>
              <a:off x="4065009" y="2376420"/>
              <a:ext cx="3039" cy="69886"/>
            </a:xfrm>
            <a:prstGeom prst="rect">
              <a:avLst/>
            </a:prstGeom>
            <a:solidFill>
              <a:srgbClr val="00A0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5" name="Rectangle 26"/>
            <p:cNvSpPr>
              <a:spLocks noChangeArrowheads="1"/>
            </p:cNvSpPr>
            <p:nvPr/>
          </p:nvSpPr>
          <p:spPr bwMode="auto">
            <a:xfrm>
              <a:off x="4065009" y="2376420"/>
              <a:ext cx="3039" cy="698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6" name="Rectangle 27"/>
            <p:cNvSpPr>
              <a:spLocks noChangeArrowheads="1"/>
            </p:cNvSpPr>
            <p:nvPr/>
          </p:nvSpPr>
          <p:spPr bwMode="auto">
            <a:xfrm>
              <a:off x="4065009" y="2084720"/>
              <a:ext cx="3039" cy="291700"/>
            </a:xfrm>
            <a:prstGeom prst="rect">
              <a:avLst/>
            </a:prstGeom>
            <a:solidFill>
              <a:srgbClr val="3A1E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7" name="Rectangle 28"/>
            <p:cNvSpPr>
              <a:spLocks noChangeArrowheads="1"/>
            </p:cNvSpPr>
            <p:nvPr/>
          </p:nvSpPr>
          <p:spPr bwMode="auto">
            <a:xfrm>
              <a:off x="4065009" y="2084720"/>
              <a:ext cx="3039" cy="2917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" name="Freeform 29"/>
            <p:cNvSpPr>
              <a:spLocks noEditPoints="1"/>
            </p:cNvSpPr>
            <p:nvPr/>
          </p:nvSpPr>
          <p:spPr bwMode="auto">
            <a:xfrm>
              <a:off x="3663922" y="2084720"/>
              <a:ext cx="401087" cy="361586"/>
            </a:xfrm>
            <a:custGeom>
              <a:avLst/>
              <a:gdLst>
                <a:gd name="T0" fmla="*/ 72 w 132"/>
                <a:gd name="T1" fmla="*/ 35 h 119"/>
                <a:gd name="T2" fmla="*/ 0 w 132"/>
                <a:gd name="T3" fmla="*/ 78 h 119"/>
                <a:gd name="T4" fmla="*/ 0 w 132"/>
                <a:gd name="T5" fmla="*/ 119 h 119"/>
                <a:gd name="T6" fmla="*/ 72 w 132"/>
                <a:gd name="T7" fmla="*/ 119 h 119"/>
                <a:gd name="T8" fmla="*/ 72 w 132"/>
                <a:gd name="T9" fmla="*/ 35 h 119"/>
                <a:gd name="T10" fmla="*/ 132 w 132"/>
                <a:gd name="T11" fmla="*/ 0 h 119"/>
                <a:gd name="T12" fmla="*/ 98 w 132"/>
                <a:gd name="T13" fmla="*/ 20 h 119"/>
                <a:gd name="T14" fmla="*/ 98 w 132"/>
                <a:gd name="T15" fmla="*/ 32 h 119"/>
                <a:gd name="T16" fmla="*/ 98 w 132"/>
                <a:gd name="T17" fmla="*/ 32 h 119"/>
                <a:gd name="T18" fmla="*/ 98 w 132"/>
                <a:gd name="T19" fmla="*/ 32 h 119"/>
                <a:gd name="T20" fmla="*/ 98 w 132"/>
                <a:gd name="T21" fmla="*/ 119 h 119"/>
                <a:gd name="T22" fmla="*/ 132 w 132"/>
                <a:gd name="T23" fmla="*/ 119 h 119"/>
                <a:gd name="T24" fmla="*/ 132 w 132"/>
                <a:gd name="T25" fmla="*/ 96 h 119"/>
                <a:gd name="T26" fmla="*/ 132 w 132"/>
                <a:gd name="T27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2" h="119">
                  <a:moveTo>
                    <a:pt x="72" y="35"/>
                  </a:moveTo>
                  <a:lnTo>
                    <a:pt x="0" y="78"/>
                  </a:lnTo>
                  <a:lnTo>
                    <a:pt x="0" y="119"/>
                  </a:lnTo>
                  <a:lnTo>
                    <a:pt x="72" y="119"/>
                  </a:lnTo>
                  <a:lnTo>
                    <a:pt x="72" y="35"/>
                  </a:lnTo>
                  <a:close/>
                  <a:moveTo>
                    <a:pt x="132" y="0"/>
                  </a:moveTo>
                  <a:lnTo>
                    <a:pt x="98" y="20"/>
                  </a:lnTo>
                  <a:lnTo>
                    <a:pt x="98" y="32"/>
                  </a:lnTo>
                  <a:lnTo>
                    <a:pt x="98" y="32"/>
                  </a:lnTo>
                  <a:lnTo>
                    <a:pt x="98" y="32"/>
                  </a:lnTo>
                  <a:lnTo>
                    <a:pt x="98" y="119"/>
                  </a:lnTo>
                  <a:lnTo>
                    <a:pt x="132" y="119"/>
                  </a:lnTo>
                  <a:lnTo>
                    <a:pt x="132" y="96"/>
                  </a:lnTo>
                  <a:lnTo>
                    <a:pt x="132" y="0"/>
                  </a:lnTo>
                  <a:close/>
                </a:path>
              </a:pathLst>
            </a:custGeom>
            <a:solidFill>
              <a:srgbClr val="C50E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" name="Freeform 30"/>
            <p:cNvSpPr>
              <a:spLocks noEditPoints="1"/>
            </p:cNvSpPr>
            <p:nvPr/>
          </p:nvSpPr>
          <p:spPr bwMode="auto">
            <a:xfrm>
              <a:off x="3663922" y="2084720"/>
              <a:ext cx="401087" cy="361586"/>
            </a:xfrm>
            <a:custGeom>
              <a:avLst/>
              <a:gdLst>
                <a:gd name="T0" fmla="*/ 72 w 132"/>
                <a:gd name="T1" fmla="*/ 35 h 119"/>
                <a:gd name="T2" fmla="*/ 0 w 132"/>
                <a:gd name="T3" fmla="*/ 78 h 119"/>
                <a:gd name="T4" fmla="*/ 0 w 132"/>
                <a:gd name="T5" fmla="*/ 119 h 119"/>
                <a:gd name="T6" fmla="*/ 72 w 132"/>
                <a:gd name="T7" fmla="*/ 119 h 119"/>
                <a:gd name="T8" fmla="*/ 72 w 132"/>
                <a:gd name="T9" fmla="*/ 35 h 119"/>
                <a:gd name="T10" fmla="*/ 132 w 132"/>
                <a:gd name="T11" fmla="*/ 0 h 119"/>
                <a:gd name="T12" fmla="*/ 98 w 132"/>
                <a:gd name="T13" fmla="*/ 20 h 119"/>
                <a:gd name="T14" fmla="*/ 98 w 132"/>
                <a:gd name="T15" fmla="*/ 32 h 119"/>
                <a:gd name="T16" fmla="*/ 98 w 132"/>
                <a:gd name="T17" fmla="*/ 32 h 119"/>
                <a:gd name="T18" fmla="*/ 98 w 132"/>
                <a:gd name="T19" fmla="*/ 32 h 119"/>
                <a:gd name="T20" fmla="*/ 98 w 132"/>
                <a:gd name="T21" fmla="*/ 119 h 119"/>
                <a:gd name="T22" fmla="*/ 132 w 132"/>
                <a:gd name="T23" fmla="*/ 119 h 119"/>
                <a:gd name="T24" fmla="*/ 132 w 132"/>
                <a:gd name="T25" fmla="*/ 96 h 119"/>
                <a:gd name="T26" fmla="*/ 132 w 132"/>
                <a:gd name="T27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2" h="119">
                  <a:moveTo>
                    <a:pt x="72" y="35"/>
                  </a:moveTo>
                  <a:lnTo>
                    <a:pt x="0" y="78"/>
                  </a:lnTo>
                  <a:lnTo>
                    <a:pt x="0" y="119"/>
                  </a:lnTo>
                  <a:lnTo>
                    <a:pt x="72" y="119"/>
                  </a:lnTo>
                  <a:lnTo>
                    <a:pt x="72" y="35"/>
                  </a:lnTo>
                  <a:moveTo>
                    <a:pt x="132" y="0"/>
                  </a:moveTo>
                  <a:lnTo>
                    <a:pt x="98" y="20"/>
                  </a:lnTo>
                  <a:lnTo>
                    <a:pt x="98" y="32"/>
                  </a:lnTo>
                  <a:lnTo>
                    <a:pt x="98" y="32"/>
                  </a:lnTo>
                  <a:lnTo>
                    <a:pt x="98" y="32"/>
                  </a:lnTo>
                  <a:lnTo>
                    <a:pt x="98" y="119"/>
                  </a:lnTo>
                  <a:lnTo>
                    <a:pt x="132" y="119"/>
                  </a:lnTo>
                  <a:lnTo>
                    <a:pt x="132" y="96"/>
                  </a:lnTo>
                  <a:lnTo>
                    <a:pt x="13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0" name="Freeform 31"/>
            <p:cNvSpPr>
              <a:spLocks/>
            </p:cNvSpPr>
            <p:nvPr/>
          </p:nvSpPr>
          <p:spPr bwMode="auto">
            <a:xfrm>
              <a:off x="2421160" y="2914241"/>
              <a:ext cx="194466" cy="109387"/>
            </a:xfrm>
            <a:custGeom>
              <a:avLst/>
              <a:gdLst>
                <a:gd name="T0" fmla="*/ 64 w 64"/>
                <a:gd name="T1" fmla="*/ 28 h 36"/>
                <a:gd name="T2" fmla="*/ 37 w 64"/>
                <a:gd name="T3" fmla="*/ 0 h 36"/>
                <a:gd name="T4" fmla="*/ 0 w 64"/>
                <a:gd name="T5" fmla="*/ 0 h 36"/>
                <a:gd name="T6" fmla="*/ 0 w 64"/>
                <a:gd name="T7" fmla="*/ 36 h 36"/>
                <a:gd name="T8" fmla="*/ 64 w 64"/>
                <a:gd name="T9" fmla="*/ 36 h 36"/>
                <a:gd name="T10" fmla="*/ 64 w 64"/>
                <a:gd name="T11" fmla="*/ 2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4" h="36">
                  <a:moveTo>
                    <a:pt x="64" y="28"/>
                  </a:moveTo>
                  <a:lnTo>
                    <a:pt x="37" y="0"/>
                  </a:lnTo>
                  <a:lnTo>
                    <a:pt x="0" y="0"/>
                  </a:lnTo>
                  <a:lnTo>
                    <a:pt x="0" y="36"/>
                  </a:lnTo>
                  <a:lnTo>
                    <a:pt x="64" y="36"/>
                  </a:lnTo>
                  <a:lnTo>
                    <a:pt x="64" y="28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1" name="Freeform 32"/>
            <p:cNvSpPr>
              <a:spLocks/>
            </p:cNvSpPr>
            <p:nvPr/>
          </p:nvSpPr>
          <p:spPr bwMode="auto">
            <a:xfrm>
              <a:off x="2421160" y="2914241"/>
              <a:ext cx="194466" cy="109387"/>
            </a:xfrm>
            <a:custGeom>
              <a:avLst/>
              <a:gdLst>
                <a:gd name="T0" fmla="*/ 64 w 64"/>
                <a:gd name="T1" fmla="*/ 28 h 36"/>
                <a:gd name="T2" fmla="*/ 37 w 64"/>
                <a:gd name="T3" fmla="*/ 0 h 36"/>
                <a:gd name="T4" fmla="*/ 0 w 64"/>
                <a:gd name="T5" fmla="*/ 0 h 36"/>
                <a:gd name="T6" fmla="*/ 0 w 64"/>
                <a:gd name="T7" fmla="*/ 36 h 36"/>
                <a:gd name="T8" fmla="*/ 64 w 64"/>
                <a:gd name="T9" fmla="*/ 36 h 36"/>
                <a:gd name="T10" fmla="*/ 64 w 64"/>
                <a:gd name="T11" fmla="*/ 2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4" h="36">
                  <a:moveTo>
                    <a:pt x="64" y="28"/>
                  </a:moveTo>
                  <a:lnTo>
                    <a:pt x="37" y="0"/>
                  </a:lnTo>
                  <a:lnTo>
                    <a:pt x="0" y="0"/>
                  </a:lnTo>
                  <a:lnTo>
                    <a:pt x="0" y="36"/>
                  </a:lnTo>
                  <a:lnTo>
                    <a:pt x="64" y="36"/>
                  </a:lnTo>
                  <a:lnTo>
                    <a:pt x="64" y="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2" name="Freeform 33"/>
            <p:cNvSpPr>
              <a:spLocks/>
            </p:cNvSpPr>
            <p:nvPr/>
          </p:nvSpPr>
          <p:spPr bwMode="auto">
            <a:xfrm>
              <a:off x="1874223" y="2437191"/>
              <a:ext cx="656324" cy="477050"/>
            </a:xfrm>
            <a:custGeom>
              <a:avLst/>
              <a:gdLst>
                <a:gd name="T0" fmla="*/ 0 w 216"/>
                <a:gd name="T1" fmla="*/ 0 h 157"/>
                <a:gd name="T2" fmla="*/ 0 w 216"/>
                <a:gd name="T3" fmla="*/ 34 h 157"/>
                <a:gd name="T4" fmla="*/ 180 w 216"/>
                <a:gd name="T5" fmla="*/ 34 h 157"/>
                <a:gd name="T6" fmla="*/ 180 w 216"/>
                <a:gd name="T7" fmla="*/ 157 h 157"/>
                <a:gd name="T8" fmla="*/ 216 w 216"/>
                <a:gd name="T9" fmla="*/ 157 h 157"/>
                <a:gd name="T10" fmla="*/ 216 w 216"/>
                <a:gd name="T11" fmla="*/ 0 h 157"/>
                <a:gd name="T12" fmla="*/ 0 w 216"/>
                <a:gd name="T13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6" h="157">
                  <a:moveTo>
                    <a:pt x="0" y="0"/>
                  </a:moveTo>
                  <a:lnTo>
                    <a:pt x="0" y="34"/>
                  </a:lnTo>
                  <a:lnTo>
                    <a:pt x="180" y="34"/>
                  </a:lnTo>
                  <a:lnTo>
                    <a:pt x="180" y="157"/>
                  </a:lnTo>
                  <a:lnTo>
                    <a:pt x="216" y="157"/>
                  </a:lnTo>
                  <a:lnTo>
                    <a:pt x="21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" name="Freeform 34"/>
            <p:cNvSpPr>
              <a:spLocks/>
            </p:cNvSpPr>
            <p:nvPr/>
          </p:nvSpPr>
          <p:spPr bwMode="auto">
            <a:xfrm>
              <a:off x="1874223" y="2437191"/>
              <a:ext cx="656324" cy="477050"/>
            </a:xfrm>
            <a:custGeom>
              <a:avLst/>
              <a:gdLst>
                <a:gd name="T0" fmla="*/ 0 w 216"/>
                <a:gd name="T1" fmla="*/ 0 h 157"/>
                <a:gd name="T2" fmla="*/ 0 w 216"/>
                <a:gd name="T3" fmla="*/ 34 h 157"/>
                <a:gd name="T4" fmla="*/ 180 w 216"/>
                <a:gd name="T5" fmla="*/ 34 h 157"/>
                <a:gd name="T6" fmla="*/ 180 w 216"/>
                <a:gd name="T7" fmla="*/ 157 h 157"/>
                <a:gd name="T8" fmla="*/ 216 w 216"/>
                <a:gd name="T9" fmla="*/ 157 h 157"/>
                <a:gd name="T10" fmla="*/ 216 w 216"/>
                <a:gd name="T11" fmla="*/ 0 h 157"/>
                <a:gd name="T12" fmla="*/ 0 w 216"/>
                <a:gd name="T13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6" h="157">
                  <a:moveTo>
                    <a:pt x="0" y="0"/>
                  </a:moveTo>
                  <a:lnTo>
                    <a:pt x="0" y="34"/>
                  </a:lnTo>
                  <a:lnTo>
                    <a:pt x="180" y="34"/>
                  </a:lnTo>
                  <a:lnTo>
                    <a:pt x="180" y="157"/>
                  </a:lnTo>
                  <a:lnTo>
                    <a:pt x="216" y="157"/>
                  </a:lnTo>
                  <a:lnTo>
                    <a:pt x="216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4" name="Rectangle 35"/>
            <p:cNvSpPr>
              <a:spLocks noChangeArrowheads="1"/>
            </p:cNvSpPr>
            <p:nvPr/>
          </p:nvSpPr>
          <p:spPr bwMode="auto">
            <a:xfrm>
              <a:off x="2266195" y="2440229"/>
              <a:ext cx="109387" cy="474012"/>
            </a:xfrm>
            <a:prstGeom prst="rect">
              <a:avLst/>
            </a:pr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5" name="Freeform 36"/>
            <p:cNvSpPr>
              <a:spLocks/>
            </p:cNvSpPr>
            <p:nvPr/>
          </p:nvSpPr>
          <p:spPr bwMode="auto">
            <a:xfrm>
              <a:off x="1874223" y="1707942"/>
              <a:ext cx="449704" cy="729249"/>
            </a:xfrm>
            <a:custGeom>
              <a:avLst/>
              <a:gdLst>
                <a:gd name="T0" fmla="*/ 254 w 316"/>
                <a:gd name="T1" fmla="*/ 15 h 511"/>
                <a:gd name="T2" fmla="*/ 81 w 316"/>
                <a:gd name="T3" fmla="*/ 15 h 511"/>
                <a:gd name="T4" fmla="*/ 81 w 316"/>
                <a:gd name="T5" fmla="*/ 16 h 511"/>
                <a:gd name="T6" fmla="*/ 0 w 316"/>
                <a:gd name="T7" fmla="*/ 117 h 511"/>
                <a:gd name="T8" fmla="*/ 0 w 316"/>
                <a:gd name="T9" fmla="*/ 511 h 511"/>
                <a:gd name="T10" fmla="*/ 316 w 316"/>
                <a:gd name="T11" fmla="*/ 511 h 511"/>
                <a:gd name="T12" fmla="*/ 316 w 316"/>
                <a:gd name="T13" fmla="*/ 121 h 511"/>
                <a:gd name="T14" fmla="*/ 254 w 316"/>
                <a:gd name="T15" fmla="*/ 15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6" h="511">
                  <a:moveTo>
                    <a:pt x="254" y="15"/>
                  </a:moveTo>
                  <a:cubicBezTo>
                    <a:pt x="81" y="15"/>
                    <a:pt x="81" y="15"/>
                    <a:pt x="81" y="15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1" y="16"/>
                    <a:pt x="0" y="0"/>
                    <a:pt x="0" y="117"/>
                  </a:cubicBezTo>
                  <a:cubicBezTo>
                    <a:pt x="0" y="511"/>
                    <a:pt x="0" y="511"/>
                    <a:pt x="0" y="511"/>
                  </a:cubicBezTo>
                  <a:cubicBezTo>
                    <a:pt x="316" y="511"/>
                    <a:pt x="316" y="511"/>
                    <a:pt x="316" y="511"/>
                  </a:cubicBezTo>
                  <a:cubicBezTo>
                    <a:pt x="316" y="121"/>
                    <a:pt x="316" y="121"/>
                    <a:pt x="316" y="121"/>
                  </a:cubicBezTo>
                  <a:cubicBezTo>
                    <a:pt x="316" y="31"/>
                    <a:pt x="271" y="17"/>
                    <a:pt x="254" y="15"/>
                  </a:cubicBezTo>
                </a:path>
              </a:pathLst>
            </a:custGeom>
            <a:solidFill>
              <a:srgbClr val="EC00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6" name="Freeform 37"/>
            <p:cNvSpPr>
              <a:spLocks/>
            </p:cNvSpPr>
            <p:nvPr/>
          </p:nvSpPr>
          <p:spPr bwMode="auto">
            <a:xfrm>
              <a:off x="2266195" y="2914241"/>
              <a:ext cx="194466" cy="109387"/>
            </a:xfrm>
            <a:custGeom>
              <a:avLst/>
              <a:gdLst>
                <a:gd name="T0" fmla="*/ 64 w 64"/>
                <a:gd name="T1" fmla="*/ 28 h 36"/>
                <a:gd name="T2" fmla="*/ 37 w 64"/>
                <a:gd name="T3" fmla="*/ 0 h 36"/>
                <a:gd name="T4" fmla="*/ 0 w 64"/>
                <a:gd name="T5" fmla="*/ 0 h 36"/>
                <a:gd name="T6" fmla="*/ 0 w 64"/>
                <a:gd name="T7" fmla="*/ 36 h 36"/>
                <a:gd name="T8" fmla="*/ 64 w 64"/>
                <a:gd name="T9" fmla="*/ 36 h 36"/>
                <a:gd name="T10" fmla="*/ 64 w 64"/>
                <a:gd name="T11" fmla="*/ 2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4" h="36">
                  <a:moveTo>
                    <a:pt x="64" y="28"/>
                  </a:moveTo>
                  <a:lnTo>
                    <a:pt x="37" y="0"/>
                  </a:lnTo>
                  <a:lnTo>
                    <a:pt x="0" y="0"/>
                  </a:lnTo>
                  <a:lnTo>
                    <a:pt x="0" y="36"/>
                  </a:lnTo>
                  <a:lnTo>
                    <a:pt x="64" y="36"/>
                  </a:lnTo>
                  <a:lnTo>
                    <a:pt x="64" y="28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7" name="Freeform 38"/>
            <p:cNvSpPr>
              <a:spLocks/>
            </p:cNvSpPr>
            <p:nvPr/>
          </p:nvSpPr>
          <p:spPr bwMode="auto">
            <a:xfrm>
              <a:off x="2266195" y="2914241"/>
              <a:ext cx="194466" cy="109387"/>
            </a:xfrm>
            <a:custGeom>
              <a:avLst/>
              <a:gdLst>
                <a:gd name="T0" fmla="*/ 64 w 64"/>
                <a:gd name="T1" fmla="*/ 28 h 36"/>
                <a:gd name="T2" fmla="*/ 37 w 64"/>
                <a:gd name="T3" fmla="*/ 0 h 36"/>
                <a:gd name="T4" fmla="*/ 0 w 64"/>
                <a:gd name="T5" fmla="*/ 0 h 36"/>
                <a:gd name="T6" fmla="*/ 0 w 64"/>
                <a:gd name="T7" fmla="*/ 36 h 36"/>
                <a:gd name="T8" fmla="*/ 64 w 64"/>
                <a:gd name="T9" fmla="*/ 36 h 36"/>
                <a:gd name="T10" fmla="*/ 64 w 64"/>
                <a:gd name="T11" fmla="*/ 2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4" h="36">
                  <a:moveTo>
                    <a:pt x="64" y="28"/>
                  </a:moveTo>
                  <a:lnTo>
                    <a:pt x="37" y="0"/>
                  </a:lnTo>
                  <a:lnTo>
                    <a:pt x="0" y="0"/>
                  </a:lnTo>
                  <a:lnTo>
                    <a:pt x="0" y="36"/>
                  </a:lnTo>
                  <a:lnTo>
                    <a:pt x="64" y="36"/>
                  </a:lnTo>
                  <a:lnTo>
                    <a:pt x="64" y="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8" name="Rectangle 39"/>
            <p:cNvSpPr>
              <a:spLocks noChangeArrowheads="1"/>
            </p:cNvSpPr>
            <p:nvPr/>
          </p:nvSpPr>
          <p:spPr bwMode="auto">
            <a:xfrm>
              <a:off x="1874223" y="2364266"/>
              <a:ext cx="3039" cy="72925"/>
            </a:xfrm>
            <a:prstGeom prst="rect">
              <a:avLst/>
            </a:prstGeom>
            <a:solidFill>
              <a:srgbClr val="00A0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" name="Rectangle 40"/>
            <p:cNvSpPr>
              <a:spLocks noChangeArrowheads="1"/>
            </p:cNvSpPr>
            <p:nvPr/>
          </p:nvSpPr>
          <p:spPr bwMode="auto">
            <a:xfrm>
              <a:off x="1874223" y="2364266"/>
              <a:ext cx="3039" cy="72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" name="Rectangle 41"/>
            <p:cNvSpPr>
              <a:spLocks noChangeArrowheads="1"/>
            </p:cNvSpPr>
            <p:nvPr/>
          </p:nvSpPr>
          <p:spPr bwMode="auto">
            <a:xfrm>
              <a:off x="1874223" y="2075605"/>
              <a:ext cx="3039" cy="288661"/>
            </a:xfrm>
            <a:prstGeom prst="rect">
              <a:avLst/>
            </a:prstGeom>
            <a:solidFill>
              <a:srgbClr val="3A1E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" name="Rectangle 42"/>
            <p:cNvSpPr>
              <a:spLocks noChangeArrowheads="1"/>
            </p:cNvSpPr>
            <p:nvPr/>
          </p:nvSpPr>
          <p:spPr bwMode="auto">
            <a:xfrm>
              <a:off x="1874223" y="2075605"/>
              <a:ext cx="3039" cy="2886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2" name="Freeform 43"/>
            <p:cNvSpPr>
              <a:spLocks noEditPoints="1"/>
            </p:cNvSpPr>
            <p:nvPr/>
          </p:nvSpPr>
          <p:spPr bwMode="auto">
            <a:xfrm>
              <a:off x="1874223" y="2075605"/>
              <a:ext cx="449704" cy="361586"/>
            </a:xfrm>
            <a:custGeom>
              <a:avLst/>
              <a:gdLst>
                <a:gd name="T0" fmla="*/ 66 w 148"/>
                <a:gd name="T1" fmla="*/ 35 h 119"/>
                <a:gd name="T2" fmla="*/ 59 w 148"/>
                <a:gd name="T3" fmla="*/ 35 h 119"/>
                <a:gd name="T4" fmla="*/ 59 w 148"/>
                <a:gd name="T5" fmla="*/ 119 h 119"/>
                <a:gd name="T6" fmla="*/ 148 w 148"/>
                <a:gd name="T7" fmla="*/ 119 h 119"/>
                <a:gd name="T8" fmla="*/ 148 w 148"/>
                <a:gd name="T9" fmla="*/ 78 h 119"/>
                <a:gd name="T10" fmla="*/ 66 w 148"/>
                <a:gd name="T11" fmla="*/ 35 h 119"/>
                <a:gd name="T12" fmla="*/ 0 w 148"/>
                <a:gd name="T13" fmla="*/ 0 h 119"/>
                <a:gd name="T14" fmla="*/ 0 w 148"/>
                <a:gd name="T15" fmla="*/ 95 h 119"/>
                <a:gd name="T16" fmla="*/ 0 w 148"/>
                <a:gd name="T17" fmla="*/ 119 h 119"/>
                <a:gd name="T18" fmla="*/ 33 w 148"/>
                <a:gd name="T19" fmla="*/ 119 h 119"/>
                <a:gd name="T20" fmla="*/ 33 w 148"/>
                <a:gd name="T21" fmla="*/ 34 h 119"/>
                <a:gd name="T22" fmla="*/ 33 w 148"/>
                <a:gd name="T23" fmla="*/ 17 h 119"/>
                <a:gd name="T24" fmla="*/ 0 w 148"/>
                <a:gd name="T25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8" h="119">
                  <a:moveTo>
                    <a:pt x="66" y="35"/>
                  </a:moveTo>
                  <a:lnTo>
                    <a:pt x="59" y="35"/>
                  </a:lnTo>
                  <a:lnTo>
                    <a:pt x="59" y="119"/>
                  </a:lnTo>
                  <a:lnTo>
                    <a:pt x="148" y="119"/>
                  </a:lnTo>
                  <a:lnTo>
                    <a:pt x="148" y="78"/>
                  </a:lnTo>
                  <a:lnTo>
                    <a:pt x="66" y="35"/>
                  </a:lnTo>
                  <a:close/>
                  <a:moveTo>
                    <a:pt x="0" y="0"/>
                  </a:moveTo>
                  <a:lnTo>
                    <a:pt x="0" y="95"/>
                  </a:lnTo>
                  <a:lnTo>
                    <a:pt x="0" y="119"/>
                  </a:lnTo>
                  <a:lnTo>
                    <a:pt x="33" y="119"/>
                  </a:lnTo>
                  <a:lnTo>
                    <a:pt x="33" y="34"/>
                  </a:lnTo>
                  <a:lnTo>
                    <a:pt x="33" y="1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90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3" name="Freeform 44"/>
            <p:cNvSpPr>
              <a:spLocks noEditPoints="1"/>
            </p:cNvSpPr>
            <p:nvPr/>
          </p:nvSpPr>
          <p:spPr bwMode="auto">
            <a:xfrm>
              <a:off x="1874223" y="2075605"/>
              <a:ext cx="449704" cy="361586"/>
            </a:xfrm>
            <a:custGeom>
              <a:avLst/>
              <a:gdLst>
                <a:gd name="T0" fmla="*/ 66 w 148"/>
                <a:gd name="T1" fmla="*/ 35 h 119"/>
                <a:gd name="T2" fmla="*/ 59 w 148"/>
                <a:gd name="T3" fmla="*/ 35 h 119"/>
                <a:gd name="T4" fmla="*/ 59 w 148"/>
                <a:gd name="T5" fmla="*/ 119 h 119"/>
                <a:gd name="T6" fmla="*/ 148 w 148"/>
                <a:gd name="T7" fmla="*/ 119 h 119"/>
                <a:gd name="T8" fmla="*/ 148 w 148"/>
                <a:gd name="T9" fmla="*/ 78 h 119"/>
                <a:gd name="T10" fmla="*/ 66 w 148"/>
                <a:gd name="T11" fmla="*/ 35 h 119"/>
                <a:gd name="T12" fmla="*/ 0 w 148"/>
                <a:gd name="T13" fmla="*/ 0 h 119"/>
                <a:gd name="T14" fmla="*/ 0 w 148"/>
                <a:gd name="T15" fmla="*/ 95 h 119"/>
                <a:gd name="T16" fmla="*/ 0 w 148"/>
                <a:gd name="T17" fmla="*/ 119 h 119"/>
                <a:gd name="T18" fmla="*/ 33 w 148"/>
                <a:gd name="T19" fmla="*/ 119 h 119"/>
                <a:gd name="T20" fmla="*/ 33 w 148"/>
                <a:gd name="T21" fmla="*/ 34 h 119"/>
                <a:gd name="T22" fmla="*/ 33 w 148"/>
                <a:gd name="T23" fmla="*/ 17 h 119"/>
                <a:gd name="T24" fmla="*/ 0 w 148"/>
                <a:gd name="T25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8" h="119">
                  <a:moveTo>
                    <a:pt x="66" y="35"/>
                  </a:moveTo>
                  <a:lnTo>
                    <a:pt x="59" y="35"/>
                  </a:lnTo>
                  <a:lnTo>
                    <a:pt x="59" y="119"/>
                  </a:lnTo>
                  <a:lnTo>
                    <a:pt x="148" y="119"/>
                  </a:lnTo>
                  <a:lnTo>
                    <a:pt x="148" y="78"/>
                  </a:lnTo>
                  <a:lnTo>
                    <a:pt x="66" y="35"/>
                  </a:lnTo>
                  <a:moveTo>
                    <a:pt x="0" y="0"/>
                  </a:moveTo>
                  <a:lnTo>
                    <a:pt x="0" y="95"/>
                  </a:lnTo>
                  <a:lnTo>
                    <a:pt x="0" y="119"/>
                  </a:lnTo>
                  <a:lnTo>
                    <a:pt x="33" y="119"/>
                  </a:lnTo>
                  <a:lnTo>
                    <a:pt x="33" y="34"/>
                  </a:lnTo>
                  <a:lnTo>
                    <a:pt x="33" y="17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4" name="Freeform 45"/>
            <p:cNvSpPr>
              <a:spLocks/>
            </p:cNvSpPr>
            <p:nvPr/>
          </p:nvSpPr>
          <p:spPr bwMode="auto">
            <a:xfrm>
              <a:off x="2223655" y="1917601"/>
              <a:ext cx="139773" cy="136734"/>
            </a:xfrm>
            <a:custGeom>
              <a:avLst/>
              <a:gdLst>
                <a:gd name="T0" fmla="*/ 83 w 96"/>
                <a:gd name="T1" fmla="*/ 18 h 96"/>
                <a:gd name="T2" fmla="*/ 30 w 96"/>
                <a:gd name="T3" fmla="*/ 14 h 96"/>
                <a:gd name="T4" fmla="*/ 29 w 96"/>
                <a:gd name="T5" fmla="*/ 15 h 96"/>
                <a:gd name="T6" fmla="*/ 29 w 96"/>
                <a:gd name="T7" fmla="*/ 15 h 96"/>
                <a:gd name="T8" fmla="*/ 0 w 96"/>
                <a:gd name="T9" fmla="*/ 40 h 96"/>
                <a:gd name="T10" fmla="*/ 49 w 96"/>
                <a:gd name="T11" fmla="*/ 96 h 96"/>
                <a:gd name="T12" fmla="*/ 78 w 96"/>
                <a:gd name="T13" fmla="*/ 71 h 96"/>
                <a:gd name="T14" fmla="*/ 78 w 96"/>
                <a:gd name="T15" fmla="*/ 71 h 96"/>
                <a:gd name="T16" fmla="*/ 79 w 96"/>
                <a:gd name="T17" fmla="*/ 70 h 96"/>
                <a:gd name="T18" fmla="*/ 83 w 96"/>
                <a:gd name="T19" fmla="*/ 1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6">
                  <a:moveTo>
                    <a:pt x="83" y="18"/>
                  </a:moveTo>
                  <a:cubicBezTo>
                    <a:pt x="69" y="2"/>
                    <a:pt x="46" y="0"/>
                    <a:pt x="30" y="14"/>
                  </a:cubicBezTo>
                  <a:cubicBezTo>
                    <a:pt x="30" y="14"/>
                    <a:pt x="30" y="15"/>
                    <a:pt x="29" y="15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49" y="96"/>
                    <a:pt x="49" y="96"/>
                    <a:pt x="49" y="96"/>
                  </a:cubicBezTo>
                  <a:cubicBezTo>
                    <a:pt x="78" y="71"/>
                    <a:pt x="78" y="71"/>
                    <a:pt x="78" y="71"/>
                  </a:cubicBezTo>
                  <a:cubicBezTo>
                    <a:pt x="78" y="71"/>
                    <a:pt x="78" y="71"/>
                    <a:pt x="78" y="71"/>
                  </a:cubicBezTo>
                  <a:cubicBezTo>
                    <a:pt x="78" y="71"/>
                    <a:pt x="79" y="70"/>
                    <a:pt x="79" y="70"/>
                  </a:cubicBezTo>
                  <a:cubicBezTo>
                    <a:pt x="94" y="57"/>
                    <a:pt x="96" y="33"/>
                    <a:pt x="83" y="18"/>
                  </a:cubicBezTo>
                  <a:close/>
                </a:path>
              </a:pathLst>
            </a:custGeom>
            <a:solidFill>
              <a:srgbClr val="FFFC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5" name="Freeform 46"/>
            <p:cNvSpPr>
              <a:spLocks/>
            </p:cNvSpPr>
            <p:nvPr/>
          </p:nvSpPr>
          <p:spPr bwMode="auto">
            <a:xfrm>
              <a:off x="2199347" y="1540822"/>
              <a:ext cx="18231" cy="18231"/>
            </a:xfrm>
            <a:custGeom>
              <a:avLst/>
              <a:gdLst>
                <a:gd name="T0" fmla="*/ 12 w 12"/>
                <a:gd name="T1" fmla="*/ 7 h 12"/>
                <a:gd name="T2" fmla="*/ 5 w 12"/>
                <a:gd name="T3" fmla="*/ 11 h 12"/>
                <a:gd name="T4" fmla="*/ 1 w 12"/>
                <a:gd name="T5" fmla="*/ 5 h 12"/>
                <a:gd name="T6" fmla="*/ 7 w 12"/>
                <a:gd name="T7" fmla="*/ 0 h 12"/>
                <a:gd name="T8" fmla="*/ 12 w 12"/>
                <a:gd name="T9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12" y="7"/>
                  </a:moveTo>
                  <a:cubicBezTo>
                    <a:pt x="11" y="10"/>
                    <a:pt x="8" y="12"/>
                    <a:pt x="5" y="11"/>
                  </a:cubicBezTo>
                  <a:cubicBezTo>
                    <a:pt x="2" y="11"/>
                    <a:pt x="0" y="8"/>
                    <a:pt x="1" y="5"/>
                  </a:cubicBezTo>
                  <a:cubicBezTo>
                    <a:pt x="1" y="2"/>
                    <a:pt x="4" y="0"/>
                    <a:pt x="7" y="0"/>
                  </a:cubicBezTo>
                  <a:cubicBezTo>
                    <a:pt x="10" y="1"/>
                    <a:pt x="12" y="4"/>
                    <a:pt x="12" y="7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6" name="Freeform 47"/>
            <p:cNvSpPr>
              <a:spLocks/>
            </p:cNvSpPr>
            <p:nvPr/>
          </p:nvSpPr>
          <p:spPr bwMode="auto">
            <a:xfrm>
              <a:off x="2226694" y="1513475"/>
              <a:ext cx="51655" cy="94195"/>
            </a:xfrm>
            <a:custGeom>
              <a:avLst/>
              <a:gdLst>
                <a:gd name="T0" fmla="*/ 13 w 17"/>
                <a:gd name="T1" fmla="*/ 0 h 31"/>
                <a:gd name="T2" fmla="*/ 17 w 17"/>
                <a:gd name="T3" fmla="*/ 31 h 31"/>
                <a:gd name="T4" fmla="*/ 0 w 17"/>
                <a:gd name="T5" fmla="*/ 28 h 31"/>
                <a:gd name="T6" fmla="*/ 13 w 17"/>
                <a:gd name="T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31">
                  <a:moveTo>
                    <a:pt x="13" y="0"/>
                  </a:moveTo>
                  <a:lnTo>
                    <a:pt x="17" y="31"/>
                  </a:lnTo>
                  <a:lnTo>
                    <a:pt x="0" y="28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7" name="Freeform 48"/>
            <p:cNvSpPr>
              <a:spLocks/>
            </p:cNvSpPr>
            <p:nvPr/>
          </p:nvSpPr>
          <p:spPr bwMode="auto">
            <a:xfrm>
              <a:off x="3098754" y="1069849"/>
              <a:ext cx="379817" cy="470973"/>
            </a:xfrm>
            <a:custGeom>
              <a:avLst/>
              <a:gdLst>
                <a:gd name="T0" fmla="*/ 9 w 265"/>
                <a:gd name="T1" fmla="*/ 331 h 331"/>
                <a:gd name="T2" fmla="*/ 0 w 265"/>
                <a:gd name="T3" fmla="*/ 331 h 331"/>
                <a:gd name="T4" fmla="*/ 2 w 265"/>
                <a:gd name="T5" fmla="*/ 266 h 331"/>
                <a:gd name="T6" fmla="*/ 9 w 265"/>
                <a:gd name="T7" fmla="*/ 266 h 331"/>
                <a:gd name="T8" fmla="*/ 115 w 265"/>
                <a:gd name="T9" fmla="*/ 232 h 331"/>
                <a:gd name="T10" fmla="*/ 172 w 265"/>
                <a:gd name="T11" fmla="*/ 151 h 331"/>
                <a:gd name="T12" fmla="*/ 200 w 265"/>
                <a:gd name="T13" fmla="*/ 4 h 331"/>
                <a:gd name="T14" fmla="*/ 200 w 265"/>
                <a:gd name="T15" fmla="*/ 1 h 331"/>
                <a:gd name="T16" fmla="*/ 200 w 265"/>
                <a:gd name="T17" fmla="*/ 1 h 331"/>
                <a:gd name="T18" fmla="*/ 265 w 265"/>
                <a:gd name="T19" fmla="*/ 0 h 331"/>
                <a:gd name="T20" fmla="*/ 265 w 265"/>
                <a:gd name="T21" fmla="*/ 4 h 331"/>
                <a:gd name="T22" fmla="*/ 251 w 265"/>
                <a:gd name="T23" fmla="*/ 120 h 331"/>
                <a:gd name="T24" fmla="*/ 156 w 265"/>
                <a:gd name="T25" fmla="*/ 283 h 331"/>
                <a:gd name="T26" fmla="*/ 9 w 265"/>
                <a:gd name="T27" fmla="*/ 331 h 331"/>
                <a:gd name="T28" fmla="*/ 9 w 265"/>
                <a:gd name="T29" fmla="*/ 331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5" h="331">
                  <a:moveTo>
                    <a:pt x="9" y="331"/>
                  </a:moveTo>
                  <a:cubicBezTo>
                    <a:pt x="6" y="331"/>
                    <a:pt x="3" y="331"/>
                    <a:pt x="0" y="331"/>
                  </a:cubicBezTo>
                  <a:cubicBezTo>
                    <a:pt x="2" y="266"/>
                    <a:pt x="2" y="266"/>
                    <a:pt x="2" y="266"/>
                  </a:cubicBezTo>
                  <a:cubicBezTo>
                    <a:pt x="4" y="266"/>
                    <a:pt x="7" y="266"/>
                    <a:pt x="9" y="266"/>
                  </a:cubicBezTo>
                  <a:cubicBezTo>
                    <a:pt x="56" y="266"/>
                    <a:pt x="89" y="252"/>
                    <a:pt x="115" y="232"/>
                  </a:cubicBezTo>
                  <a:cubicBezTo>
                    <a:pt x="140" y="211"/>
                    <a:pt x="159" y="182"/>
                    <a:pt x="172" y="151"/>
                  </a:cubicBezTo>
                  <a:cubicBezTo>
                    <a:pt x="198" y="89"/>
                    <a:pt x="200" y="18"/>
                    <a:pt x="200" y="4"/>
                  </a:cubicBezTo>
                  <a:cubicBezTo>
                    <a:pt x="200" y="2"/>
                    <a:pt x="200" y="1"/>
                    <a:pt x="200" y="1"/>
                  </a:cubicBezTo>
                  <a:cubicBezTo>
                    <a:pt x="200" y="1"/>
                    <a:pt x="200" y="1"/>
                    <a:pt x="200" y="1"/>
                  </a:cubicBezTo>
                  <a:cubicBezTo>
                    <a:pt x="265" y="0"/>
                    <a:pt x="265" y="0"/>
                    <a:pt x="265" y="0"/>
                  </a:cubicBezTo>
                  <a:cubicBezTo>
                    <a:pt x="265" y="0"/>
                    <a:pt x="265" y="2"/>
                    <a:pt x="265" y="4"/>
                  </a:cubicBezTo>
                  <a:cubicBezTo>
                    <a:pt x="265" y="18"/>
                    <a:pt x="264" y="65"/>
                    <a:pt x="251" y="120"/>
                  </a:cubicBezTo>
                  <a:cubicBezTo>
                    <a:pt x="237" y="174"/>
                    <a:pt x="211" y="238"/>
                    <a:pt x="156" y="283"/>
                  </a:cubicBezTo>
                  <a:cubicBezTo>
                    <a:pt x="119" y="312"/>
                    <a:pt x="70" y="331"/>
                    <a:pt x="9" y="331"/>
                  </a:cubicBezTo>
                  <a:cubicBezTo>
                    <a:pt x="9" y="331"/>
                    <a:pt x="9" y="331"/>
                    <a:pt x="9" y="331"/>
                  </a:cubicBezTo>
                </a:path>
              </a:pathLst>
            </a:custGeom>
            <a:solidFill>
              <a:srgbClr val="FFF1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8" name="Freeform 49"/>
            <p:cNvSpPr>
              <a:spLocks/>
            </p:cNvSpPr>
            <p:nvPr/>
          </p:nvSpPr>
          <p:spPr bwMode="auto">
            <a:xfrm>
              <a:off x="3101793" y="1069849"/>
              <a:ext cx="376779" cy="470973"/>
            </a:xfrm>
            <a:custGeom>
              <a:avLst/>
              <a:gdLst>
                <a:gd name="T0" fmla="*/ 263 w 263"/>
                <a:gd name="T1" fmla="*/ 0 h 331"/>
                <a:gd name="T2" fmla="*/ 198 w 263"/>
                <a:gd name="T3" fmla="*/ 1 h 331"/>
                <a:gd name="T4" fmla="*/ 198 w 263"/>
                <a:gd name="T5" fmla="*/ 1 h 331"/>
                <a:gd name="T6" fmla="*/ 198 w 263"/>
                <a:gd name="T7" fmla="*/ 4 h 331"/>
                <a:gd name="T8" fmla="*/ 198 w 263"/>
                <a:gd name="T9" fmla="*/ 5 h 331"/>
                <a:gd name="T10" fmla="*/ 170 w 263"/>
                <a:gd name="T11" fmla="*/ 151 h 331"/>
                <a:gd name="T12" fmla="*/ 113 w 263"/>
                <a:gd name="T13" fmla="*/ 232 h 331"/>
                <a:gd name="T14" fmla="*/ 7 w 263"/>
                <a:gd name="T15" fmla="*/ 266 h 331"/>
                <a:gd name="T16" fmla="*/ 0 w 263"/>
                <a:gd name="T17" fmla="*/ 266 h 331"/>
                <a:gd name="T18" fmla="*/ 0 w 263"/>
                <a:gd name="T19" fmla="*/ 266 h 331"/>
                <a:gd name="T20" fmla="*/ 2 w 263"/>
                <a:gd name="T21" fmla="*/ 266 h 331"/>
                <a:gd name="T22" fmla="*/ 2 w 263"/>
                <a:gd name="T23" fmla="*/ 331 h 331"/>
                <a:gd name="T24" fmla="*/ 7 w 263"/>
                <a:gd name="T25" fmla="*/ 331 h 331"/>
                <a:gd name="T26" fmla="*/ 7 w 263"/>
                <a:gd name="T27" fmla="*/ 331 h 331"/>
                <a:gd name="T28" fmla="*/ 154 w 263"/>
                <a:gd name="T29" fmla="*/ 283 h 331"/>
                <a:gd name="T30" fmla="*/ 249 w 263"/>
                <a:gd name="T31" fmla="*/ 120 h 331"/>
                <a:gd name="T32" fmla="*/ 263 w 263"/>
                <a:gd name="T33" fmla="*/ 4 h 331"/>
                <a:gd name="T34" fmla="*/ 263 w 263"/>
                <a:gd name="T35" fmla="*/ 0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63" h="331">
                  <a:moveTo>
                    <a:pt x="263" y="0"/>
                  </a:moveTo>
                  <a:cubicBezTo>
                    <a:pt x="198" y="1"/>
                    <a:pt x="198" y="1"/>
                    <a:pt x="198" y="1"/>
                  </a:cubicBezTo>
                  <a:cubicBezTo>
                    <a:pt x="198" y="1"/>
                    <a:pt x="198" y="1"/>
                    <a:pt x="198" y="1"/>
                  </a:cubicBezTo>
                  <a:cubicBezTo>
                    <a:pt x="198" y="1"/>
                    <a:pt x="198" y="2"/>
                    <a:pt x="198" y="4"/>
                  </a:cubicBezTo>
                  <a:cubicBezTo>
                    <a:pt x="198" y="4"/>
                    <a:pt x="198" y="5"/>
                    <a:pt x="198" y="5"/>
                  </a:cubicBezTo>
                  <a:cubicBezTo>
                    <a:pt x="198" y="22"/>
                    <a:pt x="195" y="91"/>
                    <a:pt x="170" y="151"/>
                  </a:cubicBezTo>
                  <a:cubicBezTo>
                    <a:pt x="157" y="182"/>
                    <a:pt x="138" y="211"/>
                    <a:pt x="113" y="232"/>
                  </a:cubicBezTo>
                  <a:cubicBezTo>
                    <a:pt x="87" y="252"/>
                    <a:pt x="54" y="266"/>
                    <a:pt x="7" y="266"/>
                  </a:cubicBezTo>
                  <a:cubicBezTo>
                    <a:pt x="5" y="266"/>
                    <a:pt x="2" y="266"/>
                    <a:pt x="0" y="266"/>
                  </a:cubicBezTo>
                  <a:cubicBezTo>
                    <a:pt x="0" y="266"/>
                    <a:pt x="0" y="266"/>
                    <a:pt x="0" y="266"/>
                  </a:cubicBezTo>
                  <a:cubicBezTo>
                    <a:pt x="2" y="266"/>
                    <a:pt x="2" y="266"/>
                    <a:pt x="2" y="266"/>
                  </a:cubicBezTo>
                  <a:cubicBezTo>
                    <a:pt x="2" y="331"/>
                    <a:pt x="2" y="331"/>
                    <a:pt x="2" y="331"/>
                  </a:cubicBezTo>
                  <a:cubicBezTo>
                    <a:pt x="4" y="331"/>
                    <a:pt x="5" y="331"/>
                    <a:pt x="7" y="331"/>
                  </a:cubicBezTo>
                  <a:cubicBezTo>
                    <a:pt x="7" y="331"/>
                    <a:pt x="7" y="331"/>
                    <a:pt x="7" y="331"/>
                  </a:cubicBezTo>
                  <a:cubicBezTo>
                    <a:pt x="68" y="331"/>
                    <a:pt x="117" y="312"/>
                    <a:pt x="154" y="283"/>
                  </a:cubicBezTo>
                  <a:cubicBezTo>
                    <a:pt x="209" y="238"/>
                    <a:pt x="235" y="174"/>
                    <a:pt x="249" y="120"/>
                  </a:cubicBezTo>
                  <a:cubicBezTo>
                    <a:pt x="262" y="65"/>
                    <a:pt x="263" y="18"/>
                    <a:pt x="263" y="4"/>
                  </a:cubicBezTo>
                  <a:cubicBezTo>
                    <a:pt x="263" y="2"/>
                    <a:pt x="263" y="0"/>
                    <a:pt x="263" y="0"/>
                  </a:cubicBezTo>
                </a:path>
              </a:pathLst>
            </a:custGeom>
            <a:solidFill>
              <a:srgbClr val="E5D8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9" name="Freeform 50"/>
            <p:cNvSpPr>
              <a:spLocks/>
            </p:cNvSpPr>
            <p:nvPr/>
          </p:nvSpPr>
          <p:spPr bwMode="auto">
            <a:xfrm>
              <a:off x="2949866" y="2935511"/>
              <a:ext cx="194466" cy="106349"/>
            </a:xfrm>
            <a:custGeom>
              <a:avLst/>
              <a:gdLst>
                <a:gd name="T0" fmla="*/ 64 w 64"/>
                <a:gd name="T1" fmla="*/ 27 h 35"/>
                <a:gd name="T2" fmla="*/ 36 w 64"/>
                <a:gd name="T3" fmla="*/ 0 h 35"/>
                <a:gd name="T4" fmla="*/ 0 w 64"/>
                <a:gd name="T5" fmla="*/ 0 h 35"/>
                <a:gd name="T6" fmla="*/ 0 w 64"/>
                <a:gd name="T7" fmla="*/ 35 h 35"/>
                <a:gd name="T8" fmla="*/ 64 w 64"/>
                <a:gd name="T9" fmla="*/ 35 h 35"/>
                <a:gd name="T10" fmla="*/ 64 w 64"/>
                <a:gd name="T11" fmla="*/ 2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4" h="35">
                  <a:moveTo>
                    <a:pt x="64" y="27"/>
                  </a:moveTo>
                  <a:lnTo>
                    <a:pt x="36" y="0"/>
                  </a:lnTo>
                  <a:lnTo>
                    <a:pt x="0" y="0"/>
                  </a:lnTo>
                  <a:lnTo>
                    <a:pt x="0" y="35"/>
                  </a:lnTo>
                  <a:lnTo>
                    <a:pt x="64" y="35"/>
                  </a:lnTo>
                  <a:lnTo>
                    <a:pt x="64" y="27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0" name="Rectangle 51"/>
            <p:cNvSpPr>
              <a:spLocks noChangeArrowheads="1"/>
            </p:cNvSpPr>
            <p:nvPr/>
          </p:nvSpPr>
          <p:spPr bwMode="auto">
            <a:xfrm>
              <a:off x="2949866" y="2227532"/>
              <a:ext cx="109387" cy="707979"/>
            </a:xfrm>
            <a:prstGeom prst="rect">
              <a:avLst/>
            </a:prstGeom>
            <a:solidFill>
              <a:srgbClr val="BA14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1" name="Rectangle 52"/>
            <p:cNvSpPr>
              <a:spLocks noChangeArrowheads="1"/>
            </p:cNvSpPr>
            <p:nvPr/>
          </p:nvSpPr>
          <p:spPr bwMode="auto">
            <a:xfrm>
              <a:off x="2949866" y="2227532"/>
              <a:ext cx="109387" cy="7079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2" name="Rectangle 53"/>
            <p:cNvSpPr>
              <a:spLocks noChangeArrowheads="1"/>
            </p:cNvSpPr>
            <p:nvPr/>
          </p:nvSpPr>
          <p:spPr bwMode="auto">
            <a:xfrm>
              <a:off x="2779708" y="2227532"/>
              <a:ext cx="109387" cy="707979"/>
            </a:xfrm>
            <a:prstGeom prst="rect">
              <a:avLst/>
            </a:prstGeom>
            <a:solidFill>
              <a:srgbClr val="BA14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3" name="Rectangle 54"/>
            <p:cNvSpPr>
              <a:spLocks noChangeArrowheads="1"/>
            </p:cNvSpPr>
            <p:nvPr/>
          </p:nvSpPr>
          <p:spPr bwMode="auto">
            <a:xfrm>
              <a:off x="2779708" y="2227532"/>
              <a:ext cx="109387" cy="7079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4" name="Freeform 55"/>
            <p:cNvSpPr>
              <a:spLocks/>
            </p:cNvSpPr>
            <p:nvPr/>
          </p:nvSpPr>
          <p:spPr bwMode="auto">
            <a:xfrm>
              <a:off x="2779708" y="2935511"/>
              <a:ext cx="194466" cy="106349"/>
            </a:xfrm>
            <a:custGeom>
              <a:avLst/>
              <a:gdLst>
                <a:gd name="T0" fmla="*/ 64 w 64"/>
                <a:gd name="T1" fmla="*/ 27 h 35"/>
                <a:gd name="T2" fmla="*/ 37 w 64"/>
                <a:gd name="T3" fmla="*/ 0 h 35"/>
                <a:gd name="T4" fmla="*/ 0 w 64"/>
                <a:gd name="T5" fmla="*/ 0 h 35"/>
                <a:gd name="T6" fmla="*/ 0 w 64"/>
                <a:gd name="T7" fmla="*/ 35 h 35"/>
                <a:gd name="T8" fmla="*/ 64 w 64"/>
                <a:gd name="T9" fmla="*/ 35 h 35"/>
                <a:gd name="T10" fmla="*/ 64 w 64"/>
                <a:gd name="T11" fmla="*/ 2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4" h="35">
                  <a:moveTo>
                    <a:pt x="64" y="27"/>
                  </a:moveTo>
                  <a:lnTo>
                    <a:pt x="37" y="0"/>
                  </a:lnTo>
                  <a:lnTo>
                    <a:pt x="0" y="0"/>
                  </a:lnTo>
                  <a:lnTo>
                    <a:pt x="0" y="35"/>
                  </a:lnTo>
                  <a:lnTo>
                    <a:pt x="64" y="35"/>
                  </a:lnTo>
                  <a:lnTo>
                    <a:pt x="64" y="27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5" name="Rectangle 56"/>
            <p:cNvSpPr>
              <a:spLocks noChangeArrowheads="1"/>
            </p:cNvSpPr>
            <p:nvPr/>
          </p:nvSpPr>
          <p:spPr bwMode="auto">
            <a:xfrm>
              <a:off x="2706783" y="1449666"/>
              <a:ext cx="398049" cy="808251"/>
            </a:xfrm>
            <a:prstGeom prst="rect">
              <a:avLst/>
            </a:prstGeom>
            <a:solidFill>
              <a:srgbClr val="FFF1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6" name="Rectangle 57"/>
            <p:cNvSpPr>
              <a:spLocks noChangeArrowheads="1"/>
            </p:cNvSpPr>
            <p:nvPr/>
          </p:nvSpPr>
          <p:spPr bwMode="auto">
            <a:xfrm>
              <a:off x="2706783" y="1449666"/>
              <a:ext cx="398049" cy="8082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7" name="Freeform 58"/>
            <p:cNvSpPr>
              <a:spLocks noEditPoints="1"/>
            </p:cNvSpPr>
            <p:nvPr/>
          </p:nvSpPr>
          <p:spPr bwMode="auto">
            <a:xfrm>
              <a:off x="2706783" y="1692749"/>
              <a:ext cx="398049" cy="565168"/>
            </a:xfrm>
            <a:custGeom>
              <a:avLst/>
              <a:gdLst>
                <a:gd name="T0" fmla="*/ 278 w 278"/>
                <a:gd name="T1" fmla="*/ 341 h 395"/>
                <a:gd name="T2" fmla="*/ 0 w 278"/>
                <a:gd name="T3" fmla="*/ 341 h 395"/>
                <a:gd name="T4" fmla="*/ 0 w 278"/>
                <a:gd name="T5" fmla="*/ 395 h 395"/>
                <a:gd name="T6" fmla="*/ 278 w 278"/>
                <a:gd name="T7" fmla="*/ 395 h 395"/>
                <a:gd name="T8" fmla="*/ 278 w 278"/>
                <a:gd name="T9" fmla="*/ 341 h 395"/>
                <a:gd name="T10" fmla="*/ 22 w 278"/>
                <a:gd name="T11" fmla="*/ 0 h 395"/>
                <a:gd name="T12" fmla="*/ 0 w 278"/>
                <a:gd name="T13" fmla="*/ 160 h 395"/>
                <a:gd name="T14" fmla="*/ 0 w 278"/>
                <a:gd name="T15" fmla="*/ 279 h 395"/>
                <a:gd name="T16" fmla="*/ 278 w 278"/>
                <a:gd name="T17" fmla="*/ 279 h 395"/>
                <a:gd name="T18" fmla="*/ 278 w 278"/>
                <a:gd name="T19" fmla="*/ 229 h 395"/>
                <a:gd name="T20" fmla="*/ 22 w 278"/>
                <a:gd name="T21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8" h="395">
                  <a:moveTo>
                    <a:pt x="278" y="341"/>
                  </a:moveTo>
                  <a:cubicBezTo>
                    <a:pt x="0" y="341"/>
                    <a:pt x="0" y="341"/>
                    <a:pt x="0" y="341"/>
                  </a:cubicBezTo>
                  <a:cubicBezTo>
                    <a:pt x="0" y="395"/>
                    <a:pt x="0" y="395"/>
                    <a:pt x="0" y="395"/>
                  </a:cubicBezTo>
                  <a:cubicBezTo>
                    <a:pt x="278" y="395"/>
                    <a:pt x="278" y="395"/>
                    <a:pt x="278" y="395"/>
                  </a:cubicBezTo>
                  <a:cubicBezTo>
                    <a:pt x="278" y="341"/>
                    <a:pt x="278" y="341"/>
                    <a:pt x="278" y="341"/>
                  </a:cubicBezTo>
                  <a:moveTo>
                    <a:pt x="22" y="0"/>
                  </a:moveTo>
                  <a:cubicBezTo>
                    <a:pt x="13" y="45"/>
                    <a:pt x="5" y="99"/>
                    <a:pt x="0" y="160"/>
                  </a:cubicBezTo>
                  <a:cubicBezTo>
                    <a:pt x="0" y="279"/>
                    <a:pt x="0" y="279"/>
                    <a:pt x="0" y="279"/>
                  </a:cubicBezTo>
                  <a:cubicBezTo>
                    <a:pt x="278" y="279"/>
                    <a:pt x="278" y="279"/>
                    <a:pt x="278" y="279"/>
                  </a:cubicBezTo>
                  <a:cubicBezTo>
                    <a:pt x="278" y="229"/>
                    <a:pt x="278" y="229"/>
                    <a:pt x="278" y="229"/>
                  </a:cubicBezTo>
                  <a:cubicBezTo>
                    <a:pt x="22" y="0"/>
                    <a:pt x="22" y="0"/>
                    <a:pt x="22" y="0"/>
                  </a:cubicBezTo>
                </a:path>
              </a:pathLst>
            </a:custGeom>
            <a:solidFill>
              <a:srgbClr val="E5D8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8" name="Freeform 59"/>
            <p:cNvSpPr>
              <a:spLocks/>
            </p:cNvSpPr>
            <p:nvPr/>
          </p:nvSpPr>
          <p:spPr bwMode="auto">
            <a:xfrm>
              <a:off x="2609549" y="1449666"/>
              <a:ext cx="179274" cy="692787"/>
            </a:xfrm>
            <a:custGeom>
              <a:avLst/>
              <a:gdLst>
                <a:gd name="T0" fmla="*/ 0 w 126"/>
                <a:gd name="T1" fmla="*/ 485 h 485"/>
                <a:gd name="T2" fmla="*/ 68 w 126"/>
                <a:gd name="T3" fmla="*/ 0 h 485"/>
                <a:gd name="T4" fmla="*/ 68 w 126"/>
                <a:gd name="T5" fmla="*/ 0 h 485"/>
                <a:gd name="T6" fmla="*/ 126 w 126"/>
                <a:gd name="T7" fmla="*/ 21 h 485"/>
                <a:gd name="T8" fmla="*/ 116 w 126"/>
                <a:gd name="T9" fmla="*/ 53 h 485"/>
                <a:gd name="T10" fmla="*/ 94 w 126"/>
                <a:gd name="T11" fmla="*/ 146 h 485"/>
                <a:gd name="T12" fmla="*/ 62 w 126"/>
                <a:gd name="T13" fmla="*/ 485 h 485"/>
                <a:gd name="T14" fmla="*/ 0 w 126"/>
                <a:gd name="T15" fmla="*/ 485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6" h="485">
                  <a:moveTo>
                    <a:pt x="0" y="485"/>
                  </a:moveTo>
                  <a:cubicBezTo>
                    <a:pt x="0" y="193"/>
                    <a:pt x="67" y="2"/>
                    <a:pt x="68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126" y="21"/>
                    <a:pt x="126" y="21"/>
                    <a:pt x="126" y="21"/>
                  </a:cubicBezTo>
                  <a:cubicBezTo>
                    <a:pt x="126" y="21"/>
                    <a:pt x="122" y="31"/>
                    <a:pt x="116" y="53"/>
                  </a:cubicBezTo>
                  <a:cubicBezTo>
                    <a:pt x="110" y="74"/>
                    <a:pt x="102" y="106"/>
                    <a:pt x="94" y="146"/>
                  </a:cubicBezTo>
                  <a:cubicBezTo>
                    <a:pt x="78" y="227"/>
                    <a:pt x="62" y="344"/>
                    <a:pt x="62" y="485"/>
                  </a:cubicBezTo>
                  <a:cubicBezTo>
                    <a:pt x="0" y="485"/>
                    <a:pt x="0" y="485"/>
                    <a:pt x="0" y="485"/>
                  </a:cubicBezTo>
                </a:path>
              </a:pathLst>
            </a:custGeom>
            <a:solidFill>
              <a:srgbClr val="FFF1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9" name="Freeform 60"/>
            <p:cNvSpPr>
              <a:spLocks/>
            </p:cNvSpPr>
            <p:nvPr/>
          </p:nvSpPr>
          <p:spPr bwMode="auto">
            <a:xfrm>
              <a:off x="2898211" y="1322047"/>
              <a:ext cx="103310" cy="127619"/>
            </a:xfrm>
            <a:custGeom>
              <a:avLst/>
              <a:gdLst>
                <a:gd name="T0" fmla="*/ 73 w 73"/>
                <a:gd name="T1" fmla="*/ 8 h 88"/>
                <a:gd name="T2" fmla="*/ 49 w 73"/>
                <a:gd name="T3" fmla="*/ 0 h 88"/>
                <a:gd name="T4" fmla="*/ 42 w 73"/>
                <a:gd name="T5" fmla="*/ 19 h 88"/>
                <a:gd name="T6" fmla="*/ 0 w 73"/>
                <a:gd name="T7" fmla="*/ 8 h 88"/>
                <a:gd name="T8" fmla="*/ 0 w 73"/>
                <a:gd name="T9" fmla="*/ 88 h 88"/>
                <a:gd name="T10" fmla="*/ 50 w 73"/>
                <a:gd name="T11" fmla="*/ 88 h 88"/>
                <a:gd name="T12" fmla="*/ 50 w 73"/>
                <a:gd name="T13" fmla="*/ 49 h 88"/>
                <a:gd name="T14" fmla="*/ 73 w 73"/>
                <a:gd name="T15" fmla="*/ 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3" h="88">
                  <a:moveTo>
                    <a:pt x="73" y="8"/>
                  </a:moveTo>
                  <a:cubicBezTo>
                    <a:pt x="49" y="0"/>
                    <a:pt x="49" y="0"/>
                    <a:pt x="49" y="0"/>
                  </a:cubicBezTo>
                  <a:cubicBezTo>
                    <a:pt x="42" y="19"/>
                    <a:pt x="42" y="19"/>
                    <a:pt x="42" y="19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50" y="88"/>
                    <a:pt x="50" y="88"/>
                    <a:pt x="50" y="88"/>
                  </a:cubicBezTo>
                  <a:cubicBezTo>
                    <a:pt x="50" y="49"/>
                    <a:pt x="50" y="49"/>
                    <a:pt x="50" y="49"/>
                  </a:cubicBezTo>
                  <a:cubicBezTo>
                    <a:pt x="51" y="36"/>
                    <a:pt x="55" y="14"/>
                    <a:pt x="73" y="8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0" name="Freeform 61"/>
            <p:cNvSpPr>
              <a:spLocks/>
            </p:cNvSpPr>
            <p:nvPr/>
          </p:nvSpPr>
          <p:spPr bwMode="auto">
            <a:xfrm>
              <a:off x="3016713" y="1176198"/>
              <a:ext cx="72925" cy="109387"/>
            </a:xfrm>
            <a:custGeom>
              <a:avLst/>
              <a:gdLst>
                <a:gd name="T0" fmla="*/ 0 w 24"/>
                <a:gd name="T1" fmla="*/ 0 h 36"/>
                <a:gd name="T2" fmla="*/ 24 w 24"/>
                <a:gd name="T3" fmla="*/ 27 h 36"/>
                <a:gd name="T4" fmla="*/ 6 w 24"/>
                <a:gd name="T5" fmla="*/ 36 h 36"/>
                <a:gd name="T6" fmla="*/ 0 w 24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36">
                  <a:moveTo>
                    <a:pt x="0" y="0"/>
                  </a:moveTo>
                  <a:lnTo>
                    <a:pt x="24" y="27"/>
                  </a:lnTo>
                  <a:lnTo>
                    <a:pt x="6" y="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A8D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1" name="Freeform 62"/>
            <p:cNvSpPr>
              <a:spLocks/>
            </p:cNvSpPr>
            <p:nvPr/>
          </p:nvSpPr>
          <p:spPr bwMode="auto">
            <a:xfrm>
              <a:off x="2971135" y="1215699"/>
              <a:ext cx="18231" cy="15193"/>
            </a:xfrm>
            <a:custGeom>
              <a:avLst/>
              <a:gdLst>
                <a:gd name="T0" fmla="*/ 11 w 12"/>
                <a:gd name="T1" fmla="*/ 3 h 12"/>
                <a:gd name="T2" fmla="*/ 9 w 12"/>
                <a:gd name="T3" fmla="*/ 10 h 12"/>
                <a:gd name="T4" fmla="*/ 2 w 12"/>
                <a:gd name="T5" fmla="*/ 8 h 12"/>
                <a:gd name="T6" fmla="*/ 4 w 12"/>
                <a:gd name="T7" fmla="*/ 1 h 12"/>
                <a:gd name="T8" fmla="*/ 11 w 12"/>
                <a:gd name="T9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11" y="3"/>
                  </a:moveTo>
                  <a:cubicBezTo>
                    <a:pt x="12" y="6"/>
                    <a:pt x="11" y="9"/>
                    <a:pt x="9" y="10"/>
                  </a:cubicBezTo>
                  <a:cubicBezTo>
                    <a:pt x="6" y="12"/>
                    <a:pt x="3" y="11"/>
                    <a:pt x="2" y="8"/>
                  </a:cubicBezTo>
                  <a:cubicBezTo>
                    <a:pt x="0" y="5"/>
                    <a:pt x="1" y="2"/>
                    <a:pt x="4" y="1"/>
                  </a:cubicBezTo>
                  <a:cubicBezTo>
                    <a:pt x="7" y="0"/>
                    <a:pt x="10" y="1"/>
                    <a:pt x="11" y="3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2" name="Freeform 63"/>
            <p:cNvSpPr>
              <a:spLocks/>
            </p:cNvSpPr>
            <p:nvPr/>
          </p:nvSpPr>
          <p:spPr bwMode="auto">
            <a:xfrm>
              <a:off x="3794579" y="1516514"/>
              <a:ext cx="18231" cy="18231"/>
            </a:xfrm>
            <a:custGeom>
              <a:avLst/>
              <a:gdLst>
                <a:gd name="T0" fmla="*/ 1 w 12"/>
                <a:gd name="T1" fmla="*/ 5 h 12"/>
                <a:gd name="T2" fmla="*/ 5 w 12"/>
                <a:gd name="T3" fmla="*/ 11 h 12"/>
                <a:gd name="T4" fmla="*/ 12 w 12"/>
                <a:gd name="T5" fmla="*/ 7 h 12"/>
                <a:gd name="T6" fmla="*/ 7 w 12"/>
                <a:gd name="T7" fmla="*/ 1 h 12"/>
                <a:gd name="T8" fmla="*/ 1 w 12"/>
                <a:gd name="T9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1" y="5"/>
                  </a:moveTo>
                  <a:cubicBezTo>
                    <a:pt x="0" y="8"/>
                    <a:pt x="2" y="11"/>
                    <a:pt x="5" y="11"/>
                  </a:cubicBezTo>
                  <a:cubicBezTo>
                    <a:pt x="8" y="12"/>
                    <a:pt x="11" y="10"/>
                    <a:pt x="12" y="7"/>
                  </a:cubicBezTo>
                  <a:cubicBezTo>
                    <a:pt x="12" y="4"/>
                    <a:pt x="10" y="1"/>
                    <a:pt x="7" y="1"/>
                  </a:cubicBezTo>
                  <a:cubicBezTo>
                    <a:pt x="5" y="0"/>
                    <a:pt x="2" y="2"/>
                    <a:pt x="1" y="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3" name="Rectangle 64"/>
            <p:cNvSpPr>
              <a:spLocks noChangeArrowheads="1"/>
            </p:cNvSpPr>
            <p:nvPr/>
          </p:nvSpPr>
          <p:spPr bwMode="auto">
            <a:xfrm>
              <a:off x="2861748" y="456064"/>
              <a:ext cx="109387" cy="35550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4" name="Rectangle 65"/>
            <p:cNvSpPr>
              <a:spLocks noChangeArrowheads="1"/>
            </p:cNvSpPr>
            <p:nvPr/>
          </p:nvSpPr>
          <p:spPr bwMode="auto">
            <a:xfrm>
              <a:off x="2861748" y="857151"/>
              <a:ext cx="109387" cy="6684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5" name="Freeform 66"/>
            <p:cNvSpPr>
              <a:spLocks/>
            </p:cNvSpPr>
            <p:nvPr/>
          </p:nvSpPr>
          <p:spPr bwMode="auto">
            <a:xfrm>
              <a:off x="3411723" y="1780867"/>
              <a:ext cx="334239" cy="316008"/>
            </a:xfrm>
            <a:custGeom>
              <a:avLst/>
              <a:gdLst>
                <a:gd name="T0" fmla="*/ 231 w 234"/>
                <a:gd name="T1" fmla="*/ 156 h 221"/>
                <a:gd name="T2" fmla="*/ 47 w 234"/>
                <a:gd name="T3" fmla="*/ 221 h 221"/>
                <a:gd name="T4" fmla="*/ 0 w 234"/>
                <a:gd name="T5" fmla="*/ 219 h 221"/>
                <a:gd name="T6" fmla="*/ 5 w 234"/>
                <a:gd name="T7" fmla="*/ 162 h 221"/>
                <a:gd name="T8" fmla="*/ 189 w 234"/>
                <a:gd name="T9" fmla="*/ 117 h 221"/>
                <a:gd name="T10" fmla="*/ 224 w 234"/>
                <a:gd name="T11" fmla="*/ 0 h 221"/>
                <a:gd name="T12" fmla="*/ 231 w 234"/>
                <a:gd name="T13" fmla="*/ 156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4" h="221">
                  <a:moveTo>
                    <a:pt x="231" y="156"/>
                  </a:moveTo>
                  <a:cubicBezTo>
                    <a:pt x="190" y="199"/>
                    <a:pt x="128" y="221"/>
                    <a:pt x="47" y="221"/>
                  </a:cubicBezTo>
                  <a:cubicBezTo>
                    <a:pt x="32" y="221"/>
                    <a:pt x="16" y="220"/>
                    <a:pt x="0" y="219"/>
                  </a:cubicBezTo>
                  <a:cubicBezTo>
                    <a:pt x="5" y="162"/>
                    <a:pt x="5" y="162"/>
                    <a:pt x="5" y="162"/>
                  </a:cubicBezTo>
                  <a:cubicBezTo>
                    <a:pt x="92" y="170"/>
                    <a:pt x="154" y="155"/>
                    <a:pt x="189" y="117"/>
                  </a:cubicBezTo>
                  <a:cubicBezTo>
                    <a:pt x="234" y="70"/>
                    <a:pt x="225" y="0"/>
                    <a:pt x="224" y="0"/>
                  </a:cubicBezTo>
                  <a:cubicBezTo>
                    <a:pt x="231" y="156"/>
                    <a:pt x="231" y="156"/>
                    <a:pt x="231" y="156"/>
                  </a:cubicBezTo>
                </a:path>
              </a:pathLst>
            </a:custGeom>
            <a:solidFill>
              <a:srgbClr val="E81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6" name="Freeform 67"/>
            <p:cNvSpPr>
              <a:spLocks/>
            </p:cNvSpPr>
            <p:nvPr/>
          </p:nvSpPr>
          <p:spPr bwMode="auto">
            <a:xfrm>
              <a:off x="3587959" y="1893292"/>
              <a:ext cx="154965" cy="167120"/>
            </a:xfrm>
            <a:custGeom>
              <a:avLst/>
              <a:gdLst>
                <a:gd name="T0" fmla="*/ 42 w 51"/>
                <a:gd name="T1" fmla="*/ 0 h 55"/>
                <a:gd name="T2" fmla="*/ 0 w 51"/>
                <a:gd name="T3" fmla="*/ 47 h 55"/>
                <a:gd name="T4" fmla="*/ 10 w 51"/>
                <a:gd name="T5" fmla="*/ 55 h 55"/>
                <a:gd name="T6" fmla="*/ 51 w 51"/>
                <a:gd name="T7" fmla="*/ 8 h 55"/>
                <a:gd name="T8" fmla="*/ 42 w 51"/>
                <a:gd name="T9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55">
                  <a:moveTo>
                    <a:pt x="42" y="0"/>
                  </a:moveTo>
                  <a:lnTo>
                    <a:pt x="0" y="47"/>
                  </a:lnTo>
                  <a:lnTo>
                    <a:pt x="10" y="55"/>
                  </a:lnTo>
                  <a:lnTo>
                    <a:pt x="51" y="8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FFF1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7" name="Freeform 68"/>
            <p:cNvSpPr>
              <a:spLocks/>
            </p:cNvSpPr>
            <p:nvPr/>
          </p:nvSpPr>
          <p:spPr bwMode="auto">
            <a:xfrm>
              <a:off x="3691269" y="1893292"/>
              <a:ext cx="51655" cy="54694"/>
            </a:xfrm>
            <a:custGeom>
              <a:avLst/>
              <a:gdLst>
                <a:gd name="T0" fmla="*/ 0 w 17"/>
                <a:gd name="T1" fmla="*/ 10 h 18"/>
                <a:gd name="T2" fmla="*/ 9 w 17"/>
                <a:gd name="T3" fmla="*/ 18 h 18"/>
                <a:gd name="T4" fmla="*/ 17 w 17"/>
                <a:gd name="T5" fmla="*/ 8 h 18"/>
                <a:gd name="T6" fmla="*/ 8 w 17"/>
                <a:gd name="T7" fmla="*/ 0 h 18"/>
                <a:gd name="T8" fmla="*/ 0 w 17"/>
                <a:gd name="T9" fmla="*/ 1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8">
                  <a:moveTo>
                    <a:pt x="0" y="10"/>
                  </a:moveTo>
                  <a:lnTo>
                    <a:pt x="9" y="18"/>
                  </a:lnTo>
                  <a:lnTo>
                    <a:pt x="17" y="8"/>
                  </a:lnTo>
                  <a:lnTo>
                    <a:pt x="8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F472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8" name="Freeform 69"/>
            <p:cNvSpPr>
              <a:spLocks/>
            </p:cNvSpPr>
            <p:nvPr/>
          </p:nvSpPr>
          <p:spPr bwMode="auto">
            <a:xfrm>
              <a:off x="3676076" y="1923678"/>
              <a:ext cx="42540" cy="39501"/>
            </a:xfrm>
            <a:custGeom>
              <a:avLst/>
              <a:gdLst>
                <a:gd name="T0" fmla="*/ 5 w 14"/>
                <a:gd name="T1" fmla="*/ 0 h 13"/>
                <a:gd name="T2" fmla="*/ 14 w 14"/>
                <a:gd name="T3" fmla="*/ 8 h 13"/>
                <a:gd name="T4" fmla="*/ 9 w 14"/>
                <a:gd name="T5" fmla="*/ 13 h 13"/>
                <a:gd name="T6" fmla="*/ 0 w 14"/>
                <a:gd name="T7" fmla="*/ 5 h 13"/>
                <a:gd name="T8" fmla="*/ 5 w 14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3">
                  <a:moveTo>
                    <a:pt x="5" y="0"/>
                  </a:moveTo>
                  <a:lnTo>
                    <a:pt x="14" y="8"/>
                  </a:lnTo>
                  <a:lnTo>
                    <a:pt x="9" y="13"/>
                  </a:lnTo>
                  <a:lnTo>
                    <a:pt x="0" y="5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9" name="Freeform 70"/>
            <p:cNvSpPr>
              <a:spLocks/>
            </p:cNvSpPr>
            <p:nvPr/>
          </p:nvSpPr>
          <p:spPr bwMode="auto">
            <a:xfrm>
              <a:off x="3676076" y="1923678"/>
              <a:ext cx="42540" cy="39501"/>
            </a:xfrm>
            <a:custGeom>
              <a:avLst/>
              <a:gdLst>
                <a:gd name="T0" fmla="*/ 5 w 14"/>
                <a:gd name="T1" fmla="*/ 0 h 13"/>
                <a:gd name="T2" fmla="*/ 14 w 14"/>
                <a:gd name="T3" fmla="*/ 8 h 13"/>
                <a:gd name="T4" fmla="*/ 9 w 14"/>
                <a:gd name="T5" fmla="*/ 13 h 13"/>
                <a:gd name="T6" fmla="*/ 0 w 14"/>
                <a:gd name="T7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13">
                  <a:moveTo>
                    <a:pt x="5" y="0"/>
                  </a:moveTo>
                  <a:lnTo>
                    <a:pt x="14" y="8"/>
                  </a:lnTo>
                  <a:lnTo>
                    <a:pt x="9" y="13"/>
                  </a:lnTo>
                  <a:lnTo>
                    <a:pt x="0" y="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0" name="Freeform 71"/>
            <p:cNvSpPr>
              <a:spLocks/>
            </p:cNvSpPr>
            <p:nvPr/>
          </p:nvSpPr>
          <p:spPr bwMode="auto">
            <a:xfrm>
              <a:off x="3578843" y="2036104"/>
              <a:ext cx="39501" cy="39501"/>
            </a:xfrm>
            <a:custGeom>
              <a:avLst/>
              <a:gdLst>
                <a:gd name="T0" fmla="*/ 3 w 13"/>
                <a:gd name="T1" fmla="*/ 0 h 13"/>
                <a:gd name="T2" fmla="*/ 13 w 13"/>
                <a:gd name="T3" fmla="*/ 8 h 13"/>
                <a:gd name="T4" fmla="*/ 0 w 13"/>
                <a:gd name="T5" fmla="*/ 13 h 13"/>
                <a:gd name="T6" fmla="*/ 3 w 13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3">
                  <a:moveTo>
                    <a:pt x="3" y="0"/>
                  </a:moveTo>
                  <a:lnTo>
                    <a:pt x="13" y="8"/>
                  </a:lnTo>
                  <a:lnTo>
                    <a:pt x="0" y="13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FC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1" name="Freeform 72"/>
            <p:cNvSpPr>
              <a:spLocks/>
            </p:cNvSpPr>
            <p:nvPr/>
          </p:nvSpPr>
          <p:spPr bwMode="auto">
            <a:xfrm>
              <a:off x="3578843" y="2057374"/>
              <a:ext cx="18231" cy="18231"/>
            </a:xfrm>
            <a:custGeom>
              <a:avLst/>
              <a:gdLst>
                <a:gd name="T0" fmla="*/ 6 w 6"/>
                <a:gd name="T1" fmla="*/ 4 h 6"/>
                <a:gd name="T2" fmla="*/ 1 w 6"/>
                <a:gd name="T3" fmla="*/ 0 h 6"/>
                <a:gd name="T4" fmla="*/ 0 w 6"/>
                <a:gd name="T5" fmla="*/ 6 h 6"/>
                <a:gd name="T6" fmla="*/ 6 w 6"/>
                <a:gd name="T7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4"/>
                  </a:moveTo>
                  <a:lnTo>
                    <a:pt x="1" y="0"/>
                  </a:lnTo>
                  <a:lnTo>
                    <a:pt x="0" y="6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2" name="Freeform 73"/>
            <p:cNvSpPr>
              <a:spLocks/>
            </p:cNvSpPr>
            <p:nvPr/>
          </p:nvSpPr>
          <p:spPr bwMode="auto">
            <a:xfrm>
              <a:off x="3597074" y="1926716"/>
              <a:ext cx="133696" cy="136734"/>
            </a:xfrm>
            <a:custGeom>
              <a:avLst/>
              <a:gdLst>
                <a:gd name="T0" fmla="*/ 66 w 95"/>
                <a:gd name="T1" fmla="*/ 14 h 95"/>
                <a:gd name="T2" fmla="*/ 66 w 95"/>
                <a:gd name="T3" fmla="*/ 14 h 95"/>
                <a:gd name="T4" fmla="*/ 65 w 95"/>
                <a:gd name="T5" fmla="*/ 13 h 95"/>
                <a:gd name="T6" fmla="*/ 13 w 95"/>
                <a:gd name="T7" fmla="*/ 17 h 95"/>
                <a:gd name="T8" fmla="*/ 17 w 95"/>
                <a:gd name="T9" fmla="*/ 69 h 95"/>
                <a:gd name="T10" fmla="*/ 18 w 95"/>
                <a:gd name="T11" fmla="*/ 70 h 95"/>
                <a:gd name="T12" fmla="*/ 18 w 95"/>
                <a:gd name="T13" fmla="*/ 70 h 95"/>
                <a:gd name="T14" fmla="*/ 47 w 95"/>
                <a:gd name="T15" fmla="*/ 95 h 95"/>
                <a:gd name="T16" fmla="*/ 95 w 95"/>
                <a:gd name="T17" fmla="*/ 39 h 95"/>
                <a:gd name="T18" fmla="*/ 66 w 95"/>
                <a:gd name="T19" fmla="*/ 14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5" h="95">
                  <a:moveTo>
                    <a:pt x="66" y="14"/>
                  </a:moveTo>
                  <a:cubicBezTo>
                    <a:pt x="66" y="14"/>
                    <a:pt x="66" y="14"/>
                    <a:pt x="66" y="14"/>
                  </a:cubicBezTo>
                  <a:cubicBezTo>
                    <a:pt x="66" y="14"/>
                    <a:pt x="66" y="13"/>
                    <a:pt x="65" y="13"/>
                  </a:cubicBezTo>
                  <a:cubicBezTo>
                    <a:pt x="50" y="0"/>
                    <a:pt x="27" y="1"/>
                    <a:pt x="13" y="17"/>
                  </a:cubicBezTo>
                  <a:cubicBezTo>
                    <a:pt x="0" y="32"/>
                    <a:pt x="1" y="56"/>
                    <a:pt x="17" y="69"/>
                  </a:cubicBezTo>
                  <a:cubicBezTo>
                    <a:pt x="17" y="70"/>
                    <a:pt x="18" y="70"/>
                    <a:pt x="18" y="70"/>
                  </a:cubicBezTo>
                  <a:cubicBezTo>
                    <a:pt x="18" y="70"/>
                    <a:pt x="18" y="70"/>
                    <a:pt x="18" y="70"/>
                  </a:cubicBezTo>
                  <a:cubicBezTo>
                    <a:pt x="47" y="95"/>
                    <a:pt x="47" y="95"/>
                    <a:pt x="47" y="95"/>
                  </a:cubicBezTo>
                  <a:cubicBezTo>
                    <a:pt x="95" y="39"/>
                    <a:pt x="95" y="39"/>
                    <a:pt x="95" y="39"/>
                  </a:cubicBezTo>
                  <a:lnTo>
                    <a:pt x="66" y="14"/>
                  </a:lnTo>
                  <a:close/>
                </a:path>
              </a:pathLst>
            </a:custGeom>
            <a:solidFill>
              <a:srgbClr val="FFFC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3" name="Freeform 74"/>
            <p:cNvSpPr>
              <a:spLocks/>
            </p:cNvSpPr>
            <p:nvPr/>
          </p:nvSpPr>
          <p:spPr bwMode="auto">
            <a:xfrm>
              <a:off x="3317529" y="2005718"/>
              <a:ext cx="115464" cy="112426"/>
            </a:xfrm>
            <a:custGeom>
              <a:avLst/>
              <a:gdLst>
                <a:gd name="T0" fmla="*/ 42 w 81"/>
                <a:gd name="T1" fmla="*/ 1 h 78"/>
                <a:gd name="T2" fmla="*/ 42 w 81"/>
                <a:gd name="T3" fmla="*/ 1 h 78"/>
                <a:gd name="T4" fmla="*/ 41 w 81"/>
                <a:gd name="T5" fmla="*/ 1 h 78"/>
                <a:gd name="T6" fmla="*/ 1 w 81"/>
                <a:gd name="T7" fmla="*/ 36 h 78"/>
                <a:gd name="T8" fmla="*/ 36 w 81"/>
                <a:gd name="T9" fmla="*/ 75 h 78"/>
                <a:gd name="T10" fmla="*/ 37 w 81"/>
                <a:gd name="T11" fmla="*/ 75 h 78"/>
                <a:gd name="T12" fmla="*/ 37 w 81"/>
                <a:gd name="T13" fmla="*/ 75 h 78"/>
                <a:gd name="T14" fmla="*/ 76 w 81"/>
                <a:gd name="T15" fmla="*/ 78 h 78"/>
                <a:gd name="T16" fmla="*/ 81 w 81"/>
                <a:gd name="T17" fmla="*/ 4 h 78"/>
                <a:gd name="T18" fmla="*/ 42 w 81"/>
                <a:gd name="T19" fmla="*/ 1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78">
                  <a:moveTo>
                    <a:pt x="42" y="1"/>
                  </a:moveTo>
                  <a:cubicBezTo>
                    <a:pt x="42" y="1"/>
                    <a:pt x="42" y="1"/>
                    <a:pt x="42" y="1"/>
                  </a:cubicBezTo>
                  <a:cubicBezTo>
                    <a:pt x="42" y="1"/>
                    <a:pt x="41" y="1"/>
                    <a:pt x="41" y="1"/>
                  </a:cubicBezTo>
                  <a:cubicBezTo>
                    <a:pt x="21" y="0"/>
                    <a:pt x="3" y="15"/>
                    <a:pt x="1" y="36"/>
                  </a:cubicBezTo>
                  <a:cubicBezTo>
                    <a:pt x="0" y="56"/>
                    <a:pt x="15" y="74"/>
                    <a:pt x="36" y="75"/>
                  </a:cubicBezTo>
                  <a:cubicBezTo>
                    <a:pt x="36" y="75"/>
                    <a:pt x="37" y="75"/>
                    <a:pt x="37" y="75"/>
                  </a:cubicBezTo>
                  <a:cubicBezTo>
                    <a:pt x="37" y="75"/>
                    <a:pt x="37" y="75"/>
                    <a:pt x="37" y="75"/>
                  </a:cubicBezTo>
                  <a:cubicBezTo>
                    <a:pt x="76" y="78"/>
                    <a:pt x="76" y="78"/>
                    <a:pt x="76" y="78"/>
                  </a:cubicBezTo>
                  <a:cubicBezTo>
                    <a:pt x="81" y="4"/>
                    <a:pt x="81" y="4"/>
                    <a:pt x="81" y="4"/>
                  </a:cubicBezTo>
                  <a:cubicBezTo>
                    <a:pt x="42" y="1"/>
                    <a:pt x="42" y="1"/>
                    <a:pt x="42" y="1"/>
                  </a:cubicBezTo>
                </a:path>
              </a:pathLst>
            </a:custGeom>
            <a:solidFill>
              <a:srgbClr val="FFFC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4" name="Rectangle 75"/>
            <p:cNvSpPr>
              <a:spLocks noChangeArrowheads="1"/>
            </p:cNvSpPr>
            <p:nvPr/>
          </p:nvSpPr>
          <p:spPr bwMode="auto">
            <a:xfrm>
              <a:off x="1974495" y="2178915"/>
              <a:ext cx="79002" cy="869022"/>
            </a:xfrm>
            <a:prstGeom prst="rect">
              <a:avLst/>
            </a:prstGeom>
            <a:solidFill>
              <a:srgbClr val="6821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5" name="Rectangle 76"/>
            <p:cNvSpPr>
              <a:spLocks noChangeArrowheads="1"/>
            </p:cNvSpPr>
            <p:nvPr/>
          </p:nvSpPr>
          <p:spPr bwMode="auto">
            <a:xfrm>
              <a:off x="1974495" y="2178915"/>
              <a:ext cx="79002" cy="8690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6" name="Rectangle 77"/>
            <p:cNvSpPr>
              <a:spLocks noChangeArrowheads="1"/>
            </p:cNvSpPr>
            <p:nvPr/>
          </p:nvSpPr>
          <p:spPr bwMode="auto">
            <a:xfrm>
              <a:off x="2366466" y="2181954"/>
              <a:ext cx="79002" cy="865983"/>
            </a:xfrm>
            <a:prstGeom prst="rect">
              <a:avLst/>
            </a:prstGeom>
            <a:solidFill>
              <a:srgbClr val="6821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7" name="Rectangle 78"/>
            <p:cNvSpPr>
              <a:spLocks noChangeArrowheads="1"/>
            </p:cNvSpPr>
            <p:nvPr/>
          </p:nvSpPr>
          <p:spPr bwMode="auto">
            <a:xfrm>
              <a:off x="2366466" y="2181954"/>
              <a:ext cx="79002" cy="8659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8" name="Rectangle 79"/>
            <p:cNvSpPr>
              <a:spLocks noChangeArrowheads="1"/>
            </p:cNvSpPr>
            <p:nvPr/>
          </p:nvSpPr>
          <p:spPr bwMode="auto">
            <a:xfrm>
              <a:off x="3882697" y="2181954"/>
              <a:ext cx="79002" cy="865983"/>
            </a:xfrm>
            <a:prstGeom prst="rect">
              <a:avLst/>
            </a:prstGeom>
            <a:solidFill>
              <a:srgbClr val="6821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9" name="Rectangle 80"/>
            <p:cNvSpPr>
              <a:spLocks noChangeArrowheads="1"/>
            </p:cNvSpPr>
            <p:nvPr/>
          </p:nvSpPr>
          <p:spPr bwMode="auto">
            <a:xfrm>
              <a:off x="3882697" y="2181954"/>
              <a:ext cx="79002" cy="8659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0" name="Rectangle 81"/>
            <p:cNvSpPr>
              <a:spLocks noChangeArrowheads="1"/>
            </p:cNvSpPr>
            <p:nvPr/>
          </p:nvSpPr>
          <p:spPr bwMode="auto">
            <a:xfrm>
              <a:off x="3490725" y="2181954"/>
              <a:ext cx="79002" cy="865983"/>
            </a:xfrm>
            <a:prstGeom prst="rect">
              <a:avLst/>
            </a:prstGeom>
            <a:solidFill>
              <a:srgbClr val="6821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1" name="Rectangle 82"/>
            <p:cNvSpPr>
              <a:spLocks noChangeArrowheads="1"/>
            </p:cNvSpPr>
            <p:nvPr/>
          </p:nvSpPr>
          <p:spPr bwMode="auto">
            <a:xfrm>
              <a:off x="3490725" y="2181954"/>
              <a:ext cx="79002" cy="8659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2" name="Rectangle 83"/>
            <p:cNvSpPr>
              <a:spLocks noChangeArrowheads="1"/>
            </p:cNvSpPr>
            <p:nvPr/>
          </p:nvSpPr>
          <p:spPr bwMode="auto">
            <a:xfrm>
              <a:off x="1974495" y="2093836"/>
              <a:ext cx="1987204" cy="88118"/>
            </a:xfrm>
            <a:prstGeom prst="rect">
              <a:avLst/>
            </a:prstGeom>
            <a:solidFill>
              <a:srgbClr val="6821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3" name="Rectangle 84"/>
            <p:cNvSpPr>
              <a:spLocks noChangeArrowheads="1"/>
            </p:cNvSpPr>
            <p:nvPr/>
          </p:nvSpPr>
          <p:spPr bwMode="auto">
            <a:xfrm>
              <a:off x="1974495" y="2093836"/>
              <a:ext cx="1987204" cy="881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4" name="Rectangle 85"/>
            <p:cNvSpPr>
              <a:spLocks noChangeArrowheads="1"/>
            </p:cNvSpPr>
            <p:nvPr/>
          </p:nvSpPr>
          <p:spPr bwMode="auto">
            <a:xfrm>
              <a:off x="2013996" y="2181954"/>
              <a:ext cx="39501" cy="865983"/>
            </a:xfrm>
            <a:prstGeom prst="rect">
              <a:avLst/>
            </a:prstGeom>
            <a:solidFill>
              <a:srgbClr val="5D1E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5" name="Freeform 86"/>
            <p:cNvSpPr>
              <a:spLocks/>
            </p:cNvSpPr>
            <p:nvPr/>
          </p:nvSpPr>
          <p:spPr bwMode="auto">
            <a:xfrm>
              <a:off x="2409006" y="2181954"/>
              <a:ext cx="36462" cy="865983"/>
            </a:xfrm>
            <a:custGeom>
              <a:avLst/>
              <a:gdLst>
                <a:gd name="T0" fmla="*/ 12 w 12"/>
                <a:gd name="T1" fmla="*/ 0 h 285"/>
                <a:gd name="T2" fmla="*/ 0 w 12"/>
                <a:gd name="T3" fmla="*/ 0 h 285"/>
                <a:gd name="T4" fmla="*/ 0 w 12"/>
                <a:gd name="T5" fmla="*/ 285 h 285"/>
                <a:gd name="T6" fmla="*/ 12 w 12"/>
                <a:gd name="T7" fmla="*/ 285 h 285"/>
                <a:gd name="T8" fmla="*/ 12 w 12"/>
                <a:gd name="T9" fmla="*/ 241 h 285"/>
                <a:gd name="T10" fmla="*/ 12 w 12"/>
                <a:gd name="T11" fmla="*/ 84 h 285"/>
                <a:gd name="T12" fmla="*/ 12 w 12"/>
                <a:gd name="T13" fmla="*/ 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85">
                  <a:moveTo>
                    <a:pt x="12" y="0"/>
                  </a:moveTo>
                  <a:lnTo>
                    <a:pt x="0" y="0"/>
                  </a:lnTo>
                  <a:lnTo>
                    <a:pt x="0" y="285"/>
                  </a:lnTo>
                  <a:lnTo>
                    <a:pt x="12" y="285"/>
                  </a:lnTo>
                  <a:lnTo>
                    <a:pt x="12" y="241"/>
                  </a:lnTo>
                  <a:lnTo>
                    <a:pt x="12" y="84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591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6" name="Freeform 87"/>
            <p:cNvSpPr>
              <a:spLocks/>
            </p:cNvSpPr>
            <p:nvPr/>
          </p:nvSpPr>
          <p:spPr bwMode="auto">
            <a:xfrm>
              <a:off x="2409006" y="2181954"/>
              <a:ext cx="36462" cy="865983"/>
            </a:xfrm>
            <a:custGeom>
              <a:avLst/>
              <a:gdLst>
                <a:gd name="T0" fmla="*/ 12 w 12"/>
                <a:gd name="T1" fmla="*/ 0 h 285"/>
                <a:gd name="T2" fmla="*/ 0 w 12"/>
                <a:gd name="T3" fmla="*/ 0 h 285"/>
                <a:gd name="T4" fmla="*/ 0 w 12"/>
                <a:gd name="T5" fmla="*/ 285 h 285"/>
                <a:gd name="T6" fmla="*/ 12 w 12"/>
                <a:gd name="T7" fmla="*/ 285 h 285"/>
                <a:gd name="T8" fmla="*/ 12 w 12"/>
                <a:gd name="T9" fmla="*/ 241 h 285"/>
                <a:gd name="T10" fmla="*/ 12 w 12"/>
                <a:gd name="T11" fmla="*/ 84 h 285"/>
                <a:gd name="T12" fmla="*/ 12 w 12"/>
                <a:gd name="T13" fmla="*/ 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85">
                  <a:moveTo>
                    <a:pt x="12" y="0"/>
                  </a:moveTo>
                  <a:lnTo>
                    <a:pt x="0" y="0"/>
                  </a:lnTo>
                  <a:lnTo>
                    <a:pt x="0" y="285"/>
                  </a:lnTo>
                  <a:lnTo>
                    <a:pt x="12" y="285"/>
                  </a:lnTo>
                  <a:lnTo>
                    <a:pt x="12" y="241"/>
                  </a:lnTo>
                  <a:lnTo>
                    <a:pt x="12" y="84"/>
                  </a:lnTo>
                  <a:lnTo>
                    <a:pt x="1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7" name="Rectangle 88"/>
            <p:cNvSpPr>
              <a:spLocks noChangeArrowheads="1"/>
            </p:cNvSpPr>
            <p:nvPr/>
          </p:nvSpPr>
          <p:spPr bwMode="auto">
            <a:xfrm>
              <a:off x="3922198" y="2181954"/>
              <a:ext cx="39501" cy="865983"/>
            </a:xfrm>
            <a:prstGeom prst="rect">
              <a:avLst/>
            </a:prstGeom>
            <a:solidFill>
              <a:srgbClr val="591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8" name="Rectangle 89"/>
            <p:cNvSpPr>
              <a:spLocks noChangeArrowheads="1"/>
            </p:cNvSpPr>
            <p:nvPr/>
          </p:nvSpPr>
          <p:spPr bwMode="auto">
            <a:xfrm>
              <a:off x="3922198" y="2181954"/>
              <a:ext cx="39501" cy="8659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9" name="Rectangle 90"/>
            <p:cNvSpPr>
              <a:spLocks noChangeArrowheads="1"/>
            </p:cNvSpPr>
            <p:nvPr/>
          </p:nvSpPr>
          <p:spPr bwMode="auto">
            <a:xfrm>
              <a:off x="3530226" y="2181954"/>
              <a:ext cx="39501" cy="865983"/>
            </a:xfrm>
            <a:prstGeom prst="rect">
              <a:avLst/>
            </a:prstGeom>
            <a:solidFill>
              <a:srgbClr val="591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0" name="Rectangle 91"/>
            <p:cNvSpPr>
              <a:spLocks noChangeArrowheads="1"/>
            </p:cNvSpPr>
            <p:nvPr/>
          </p:nvSpPr>
          <p:spPr bwMode="auto">
            <a:xfrm>
              <a:off x="3530226" y="2181954"/>
              <a:ext cx="39501" cy="8659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1" name="Freeform 92"/>
            <p:cNvSpPr>
              <a:spLocks/>
            </p:cNvSpPr>
            <p:nvPr/>
          </p:nvSpPr>
          <p:spPr bwMode="auto">
            <a:xfrm>
              <a:off x="2405967" y="2093836"/>
              <a:ext cx="1555732" cy="88118"/>
            </a:xfrm>
            <a:custGeom>
              <a:avLst/>
              <a:gdLst>
                <a:gd name="T0" fmla="*/ 512 w 512"/>
                <a:gd name="T1" fmla="*/ 0 h 29"/>
                <a:gd name="T2" fmla="*/ 336 w 512"/>
                <a:gd name="T3" fmla="*/ 0 h 29"/>
                <a:gd name="T4" fmla="*/ 304 w 512"/>
                <a:gd name="T5" fmla="*/ 0 h 29"/>
                <a:gd name="T6" fmla="*/ 230 w 512"/>
                <a:gd name="T7" fmla="*/ 0 h 29"/>
                <a:gd name="T8" fmla="*/ 99 w 512"/>
                <a:gd name="T9" fmla="*/ 0 h 29"/>
                <a:gd name="T10" fmla="*/ 96 w 512"/>
                <a:gd name="T11" fmla="*/ 0 h 29"/>
                <a:gd name="T12" fmla="*/ 67 w 512"/>
                <a:gd name="T13" fmla="*/ 0 h 29"/>
                <a:gd name="T14" fmla="*/ 0 w 512"/>
                <a:gd name="T15" fmla="*/ 0 h 29"/>
                <a:gd name="T16" fmla="*/ 0 w 512"/>
                <a:gd name="T17" fmla="*/ 29 h 29"/>
                <a:gd name="T18" fmla="*/ 1 w 512"/>
                <a:gd name="T19" fmla="*/ 29 h 29"/>
                <a:gd name="T20" fmla="*/ 13 w 512"/>
                <a:gd name="T21" fmla="*/ 29 h 29"/>
                <a:gd name="T22" fmla="*/ 370 w 512"/>
                <a:gd name="T23" fmla="*/ 29 h 29"/>
                <a:gd name="T24" fmla="*/ 383 w 512"/>
                <a:gd name="T25" fmla="*/ 29 h 29"/>
                <a:gd name="T26" fmla="*/ 499 w 512"/>
                <a:gd name="T27" fmla="*/ 29 h 29"/>
                <a:gd name="T28" fmla="*/ 512 w 512"/>
                <a:gd name="T29" fmla="*/ 29 h 29"/>
                <a:gd name="T30" fmla="*/ 512 w 512"/>
                <a:gd name="T31" fmla="*/ 29 h 29"/>
                <a:gd name="T32" fmla="*/ 512 w 512"/>
                <a:gd name="T33" fmla="*/ 17 h 29"/>
                <a:gd name="T34" fmla="*/ 512 w 512"/>
                <a:gd name="T35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12" h="29">
                  <a:moveTo>
                    <a:pt x="512" y="0"/>
                  </a:moveTo>
                  <a:lnTo>
                    <a:pt x="336" y="0"/>
                  </a:lnTo>
                  <a:lnTo>
                    <a:pt x="304" y="0"/>
                  </a:lnTo>
                  <a:lnTo>
                    <a:pt x="230" y="0"/>
                  </a:lnTo>
                  <a:lnTo>
                    <a:pt x="99" y="0"/>
                  </a:lnTo>
                  <a:lnTo>
                    <a:pt x="96" y="0"/>
                  </a:lnTo>
                  <a:lnTo>
                    <a:pt x="67" y="0"/>
                  </a:lnTo>
                  <a:lnTo>
                    <a:pt x="0" y="0"/>
                  </a:lnTo>
                  <a:lnTo>
                    <a:pt x="0" y="29"/>
                  </a:lnTo>
                  <a:lnTo>
                    <a:pt x="1" y="29"/>
                  </a:lnTo>
                  <a:lnTo>
                    <a:pt x="13" y="29"/>
                  </a:lnTo>
                  <a:lnTo>
                    <a:pt x="370" y="29"/>
                  </a:lnTo>
                  <a:lnTo>
                    <a:pt x="383" y="29"/>
                  </a:lnTo>
                  <a:lnTo>
                    <a:pt x="499" y="29"/>
                  </a:lnTo>
                  <a:lnTo>
                    <a:pt x="512" y="29"/>
                  </a:lnTo>
                  <a:lnTo>
                    <a:pt x="512" y="29"/>
                  </a:lnTo>
                  <a:lnTo>
                    <a:pt x="512" y="17"/>
                  </a:lnTo>
                  <a:lnTo>
                    <a:pt x="512" y="0"/>
                  </a:lnTo>
                  <a:close/>
                </a:path>
              </a:pathLst>
            </a:custGeom>
            <a:solidFill>
              <a:srgbClr val="591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2" name="Freeform 93"/>
            <p:cNvSpPr>
              <a:spLocks/>
            </p:cNvSpPr>
            <p:nvPr/>
          </p:nvSpPr>
          <p:spPr bwMode="auto">
            <a:xfrm>
              <a:off x="2405967" y="2093836"/>
              <a:ext cx="1555732" cy="88118"/>
            </a:xfrm>
            <a:custGeom>
              <a:avLst/>
              <a:gdLst>
                <a:gd name="T0" fmla="*/ 512 w 512"/>
                <a:gd name="T1" fmla="*/ 0 h 29"/>
                <a:gd name="T2" fmla="*/ 336 w 512"/>
                <a:gd name="T3" fmla="*/ 0 h 29"/>
                <a:gd name="T4" fmla="*/ 304 w 512"/>
                <a:gd name="T5" fmla="*/ 0 h 29"/>
                <a:gd name="T6" fmla="*/ 230 w 512"/>
                <a:gd name="T7" fmla="*/ 0 h 29"/>
                <a:gd name="T8" fmla="*/ 99 w 512"/>
                <a:gd name="T9" fmla="*/ 0 h 29"/>
                <a:gd name="T10" fmla="*/ 96 w 512"/>
                <a:gd name="T11" fmla="*/ 0 h 29"/>
                <a:gd name="T12" fmla="*/ 67 w 512"/>
                <a:gd name="T13" fmla="*/ 0 h 29"/>
                <a:gd name="T14" fmla="*/ 0 w 512"/>
                <a:gd name="T15" fmla="*/ 0 h 29"/>
                <a:gd name="T16" fmla="*/ 0 w 512"/>
                <a:gd name="T17" fmla="*/ 29 h 29"/>
                <a:gd name="T18" fmla="*/ 1 w 512"/>
                <a:gd name="T19" fmla="*/ 29 h 29"/>
                <a:gd name="T20" fmla="*/ 13 w 512"/>
                <a:gd name="T21" fmla="*/ 29 h 29"/>
                <a:gd name="T22" fmla="*/ 370 w 512"/>
                <a:gd name="T23" fmla="*/ 29 h 29"/>
                <a:gd name="T24" fmla="*/ 383 w 512"/>
                <a:gd name="T25" fmla="*/ 29 h 29"/>
                <a:gd name="T26" fmla="*/ 499 w 512"/>
                <a:gd name="T27" fmla="*/ 29 h 29"/>
                <a:gd name="T28" fmla="*/ 512 w 512"/>
                <a:gd name="T29" fmla="*/ 29 h 29"/>
                <a:gd name="T30" fmla="*/ 512 w 512"/>
                <a:gd name="T31" fmla="*/ 29 h 29"/>
                <a:gd name="T32" fmla="*/ 512 w 512"/>
                <a:gd name="T33" fmla="*/ 17 h 29"/>
                <a:gd name="T34" fmla="*/ 512 w 512"/>
                <a:gd name="T35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12" h="29">
                  <a:moveTo>
                    <a:pt x="512" y="0"/>
                  </a:moveTo>
                  <a:lnTo>
                    <a:pt x="336" y="0"/>
                  </a:lnTo>
                  <a:lnTo>
                    <a:pt x="304" y="0"/>
                  </a:lnTo>
                  <a:lnTo>
                    <a:pt x="230" y="0"/>
                  </a:lnTo>
                  <a:lnTo>
                    <a:pt x="99" y="0"/>
                  </a:lnTo>
                  <a:lnTo>
                    <a:pt x="96" y="0"/>
                  </a:lnTo>
                  <a:lnTo>
                    <a:pt x="67" y="0"/>
                  </a:lnTo>
                  <a:lnTo>
                    <a:pt x="0" y="0"/>
                  </a:lnTo>
                  <a:lnTo>
                    <a:pt x="0" y="29"/>
                  </a:lnTo>
                  <a:lnTo>
                    <a:pt x="1" y="29"/>
                  </a:lnTo>
                  <a:lnTo>
                    <a:pt x="13" y="29"/>
                  </a:lnTo>
                  <a:lnTo>
                    <a:pt x="370" y="29"/>
                  </a:lnTo>
                  <a:lnTo>
                    <a:pt x="383" y="29"/>
                  </a:lnTo>
                  <a:lnTo>
                    <a:pt x="499" y="29"/>
                  </a:lnTo>
                  <a:lnTo>
                    <a:pt x="512" y="29"/>
                  </a:lnTo>
                  <a:lnTo>
                    <a:pt x="512" y="29"/>
                  </a:lnTo>
                  <a:lnTo>
                    <a:pt x="512" y="17"/>
                  </a:lnTo>
                  <a:lnTo>
                    <a:pt x="51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3" name="Rectangle 94"/>
            <p:cNvSpPr>
              <a:spLocks noChangeArrowheads="1"/>
            </p:cNvSpPr>
            <p:nvPr/>
          </p:nvSpPr>
          <p:spPr bwMode="auto">
            <a:xfrm>
              <a:off x="2247963" y="2042181"/>
              <a:ext cx="513513" cy="51655"/>
            </a:xfrm>
            <a:prstGeom prst="rect">
              <a:avLst/>
            </a:prstGeom>
            <a:solidFill>
              <a:srgbClr val="0072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4" name="Rectangle 95"/>
            <p:cNvSpPr>
              <a:spLocks noChangeArrowheads="1"/>
            </p:cNvSpPr>
            <p:nvPr/>
          </p:nvSpPr>
          <p:spPr bwMode="auto">
            <a:xfrm>
              <a:off x="2427237" y="1799098"/>
              <a:ext cx="334239" cy="264353"/>
            </a:xfrm>
            <a:prstGeom prst="rect">
              <a:avLst/>
            </a:prstGeom>
            <a:solidFill>
              <a:srgbClr val="0072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5" name="Rectangle 96"/>
            <p:cNvSpPr>
              <a:spLocks noChangeArrowheads="1"/>
            </p:cNvSpPr>
            <p:nvPr/>
          </p:nvSpPr>
          <p:spPr bwMode="auto">
            <a:xfrm>
              <a:off x="2247963" y="2042181"/>
              <a:ext cx="209659" cy="516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6" name="Rectangle 97"/>
            <p:cNvSpPr>
              <a:spLocks noChangeArrowheads="1"/>
            </p:cNvSpPr>
            <p:nvPr/>
          </p:nvSpPr>
          <p:spPr bwMode="auto">
            <a:xfrm>
              <a:off x="2427237" y="1799098"/>
              <a:ext cx="30385" cy="24308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7" name="Freeform 98"/>
            <p:cNvSpPr>
              <a:spLocks/>
            </p:cNvSpPr>
            <p:nvPr/>
          </p:nvSpPr>
          <p:spPr bwMode="auto">
            <a:xfrm>
              <a:off x="3007598" y="1595516"/>
              <a:ext cx="51655" cy="39501"/>
            </a:xfrm>
            <a:custGeom>
              <a:avLst/>
              <a:gdLst>
                <a:gd name="T0" fmla="*/ 0 w 17"/>
                <a:gd name="T1" fmla="*/ 13 h 13"/>
                <a:gd name="T2" fmla="*/ 9 w 17"/>
                <a:gd name="T3" fmla="*/ 0 h 13"/>
                <a:gd name="T4" fmla="*/ 17 w 17"/>
                <a:gd name="T5" fmla="*/ 13 h 13"/>
                <a:gd name="T6" fmla="*/ 0 w 17"/>
                <a:gd name="T7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3">
                  <a:moveTo>
                    <a:pt x="0" y="13"/>
                  </a:moveTo>
                  <a:lnTo>
                    <a:pt x="9" y="0"/>
                  </a:lnTo>
                  <a:lnTo>
                    <a:pt x="17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8" name="Freeform 99"/>
            <p:cNvSpPr>
              <a:spLocks/>
            </p:cNvSpPr>
            <p:nvPr/>
          </p:nvSpPr>
          <p:spPr bwMode="auto">
            <a:xfrm>
              <a:off x="3034945" y="1595516"/>
              <a:ext cx="51655" cy="39501"/>
            </a:xfrm>
            <a:custGeom>
              <a:avLst/>
              <a:gdLst>
                <a:gd name="T0" fmla="*/ 0 w 17"/>
                <a:gd name="T1" fmla="*/ 13 h 13"/>
                <a:gd name="T2" fmla="*/ 9 w 17"/>
                <a:gd name="T3" fmla="*/ 0 h 13"/>
                <a:gd name="T4" fmla="*/ 17 w 17"/>
                <a:gd name="T5" fmla="*/ 13 h 13"/>
                <a:gd name="T6" fmla="*/ 0 w 17"/>
                <a:gd name="T7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3">
                  <a:moveTo>
                    <a:pt x="0" y="13"/>
                  </a:moveTo>
                  <a:lnTo>
                    <a:pt x="9" y="0"/>
                  </a:lnTo>
                  <a:lnTo>
                    <a:pt x="17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9" name="Freeform 100"/>
            <p:cNvSpPr>
              <a:spLocks/>
            </p:cNvSpPr>
            <p:nvPr/>
          </p:nvSpPr>
          <p:spPr bwMode="auto">
            <a:xfrm>
              <a:off x="2889095" y="1446627"/>
              <a:ext cx="88118" cy="36462"/>
            </a:xfrm>
            <a:custGeom>
              <a:avLst/>
              <a:gdLst>
                <a:gd name="T0" fmla="*/ 29 w 29"/>
                <a:gd name="T1" fmla="*/ 0 h 12"/>
                <a:gd name="T2" fmla="*/ 14 w 29"/>
                <a:gd name="T3" fmla="*/ 12 h 12"/>
                <a:gd name="T4" fmla="*/ 0 w 29"/>
                <a:gd name="T5" fmla="*/ 0 h 12"/>
                <a:gd name="T6" fmla="*/ 29 w 29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12">
                  <a:moveTo>
                    <a:pt x="29" y="0"/>
                  </a:moveTo>
                  <a:lnTo>
                    <a:pt x="14" y="12"/>
                  </a:lnTo>
                  <a:lnTo>
                    <a:pt x="0" y="0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0" name="Freeform 101"/>
            <p:cNvSpPr>
              <a:spLocks/>
            </p:cNvSpPr>
            <p:nvPr/>
          </p:nvSpPr>
          <p:spPr bwMode="auto">
            <a:xfrm>
              <a:off x="2889095" y="1446627"/>
              <a:ext cx="88118" cy="36462"/>
            </a:xfrm>
            <a:custGeom>
              <a:avLst/>
              <a:gdLst>
                <a:gd name="T0" fmla="*/ 29 w 29"/>
                <a:gd name="T1" fmla="*/ 0 h 12"/>
                <a:gd name="T2" fmla="*/ 14 w 29"/>
                <a:gd name="T3" fmla="*/ 12 h 12"/>
                <a:gd name="T4" fmla="*/ 0 w 29"/>
                <a:gd name="T5" fmla="*/ 0 h 12"/>
                <a:gd name="T6" fmla="*/ 29 w 29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12">
                  <a:moveTo>
                    <a:pt x="29" y="0"/>
                  </a:moveTo>
                  <a:lnTo>
                    <a:pt x="14" y="12"/>
                  </a:lnTo>
                  <a:lnTo>
                    <a:pt x="0" y="0"/>
                  </a:lnTo>
                  <a:lnTo>
                    <a:pt x="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1" name="Freeform 102"/>
            <p:cNvSpPr>
              <a:spLocks/>
            </p:cNvSpPr>
            <p:nvPr/>
          </p:nvSpPr>
          <p:spPr bwMode="auto">
            <a:xfrm>
              <a:off x="2889095" y="1483090"/>
              <a:ext cx="88118" cy="322085"/>
            </a:xfrm>
            <a:custGeom>
              <a:avLst/>
              <a:gdLst>
                <a:gd name="T0" fmla="*/ 29 w 29"/>
                <a:gd name="T1" fmla="*/ 0 h 106"/>
                <a:gd name="T2" fmla="*/ 14 w 29"/>
                <a:gd name="T3" fmla="*/ 0 h 106"/>
                <a:gd name="T4" fmla="*/ 0 w 29"/>
                <a:gd name="T5" fmla="*/ 0 h 106"/>
                <a:gd name="T6" fmla="*/ 15 w 29"/>
                <a:gd name="T7" fmla="*/ 106 h 106"/>
                <a:gd name="T8" fmla="*/ 29 w 29"/>
                <a:gd name="T9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06">
                  <a:moveTo>
                    <a:pt x="29" y="0"/>
                  </a:moveTo>
                  <a:lnTo>
                    <a:pt x="14" y="0"/>
                  </a:lnTo>
                  <a:lnTo>
                    <a:pt x="0" y="0"/>
                  </a:lnTo>
                  <a:lnTo>
                    <a:pt x="15" y="106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E5D8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2" name="Freeform 103"/>
            <p:cNvSpPr>
              <a:spLocks/>
            </p:cNvSpPr>
            <p:nvPr/>
          </p:nvSpPr>
          <p:spPr bwMode="auto">
            <a:xfrm>
              <a:off x="2889095" y="1483090"/>
              <a:ext cx="88118" cy="322085"/>
            </a:xfrm>
            <a:custGeom>
              <a:avLst/>
              <a:gdLst>
                <a:gd name="T0" fmla="*/ 29 w 29"/>
                <a:gd name="T1" fmla="*/ 0 h 106"/>
                <a:gd name="T2" fmla="*/ 14 w 29"/>
                <a:gd name="T3" fmla="*/ 0 h 106"/>
                <a:gd name="T4" fmla="*/ 0 w 29"/>
                <a:gd name="T5" fmla="*/ 0 h 106"/>
                <a:gd name="T6" fmla="*/ 15 w 29"/>
                <a:gd name="T7" fmla="*/ 106 h 106"/>
                <a:gd name="T8" fmla="*/ 29 w 29"/>
                <a:gd name="T9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06">
                  <a:moveTo>
                    <a:pt x="29" y="0"/>
                  </a:moveTo>
                  <a:lnTo>
                    <a:pt x="14" y="0"/>
                  </a:lnTo>
                  <a:lnTo>
                    <a:pt x="0" y="0"/>
                  </a:lnTo>
                  <a:lnTo>
                    <a:pt x="15" y="106"/>
                  </a:lnTo>
                  <a:lnTo>
                    <a:pt x="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3" name="Freeform 104"/>
            <p:cNvSpPr>
              <a:spLocks/>
            </p:cNvSpPr>
            <p:nvPr/>
          </p:nvSpPr>
          <p:spPr bwMode="auto">
            <a:xfrm>
              <a:off x="2913403" y="1483090"/>
              <a:ext cx="42540" cy="60771"/>
            </a:xfrm>
            <a:custGeom>
              <a:avLst/>
              <a:gdLst>
                <a:gd name="T0" fmla="*/ 0 w 14"/>
                <a:gd name="T1" fmla="*/ 12 h 20"/>
                <a:gd name="T2" fmla="*/ 2 w 14"/>
                <a:gd name="T3" fmla="*/ 20 h 20"/>
                <a:gd name="T4" fmla="*/ 11 w 14"/>
                <a:gd name="T5" fmla="*/ 20 h 20"/>
                <a:gd name="T6" fmla="*/ 14 w 14"/>
                <a:gd name="T7" fmla="*/ 9 h 20"/>
                <a:gd name="T8" fmla="*/ 6 w 14"/>
                <a:gd name="T9" fmla="*/ 0 h 20"/>
                <a:gd name="T10" fmla="*/ 0 w 14"/>
                <a:gd name="T11" fmla="*/ 1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20">
                  <a:moveTo>
                    <a:pt x="0" y="12"/>
                  </a:moveTo>
                  <a:lnTo>
                    <a:pt x="2" y="20"/>
                  </a:lnTo>
                  <a:lnTo>
                    <a:pt x="11" y="20"/>
                  </a:lnTo>
                  <a:lnTo>
                    <a:pt x="14" y="9"/>
                  </a:lnTo>
                  <a:lnTo>
                    <a:pt x="6" y="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EC00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4" name="Freeform 105"/>
            <p:cNvSpPr>
              <a:spLocks/>
            </p:cNvSpPr>
            <p:nvPr/>
          </p:nvSpPr>
          <p:spPr bwMode="auto">
            <a:xfrm>
              <a:off x="2907326" y="1543861"/>
              <a:ext cx="51655" cy="261314"/>
            </a:xfrm>
            <a:custGeom>
              <a:avLst/>
              <a:gdLst>
                <a:gd name="T0" fmla="*/ 13 w 17"/>
                <a:gd name="T1" fmla="*/ 0 h 86"/>
                <a:gd name="T2" fmla="*/ 4 w 17"/>
                <a:gd name="T3" fmla="*/ 0 h 86"/>
                <a:gd name="T4" fmla="*/ 0 w 17"/>
                <a:gd name="T5" fmla="*/ 21 h 86"/>
                <a:gd name="T6" fmla="*/ 9 w 17"/>
                <a:gd name="T7" fmla="*/ 86 h 86"/>
                <a:gd name="T8" fmla="*/ 17 w 17"/>
                <a:gd name="T9" fmla="*/ 25 h 86"/>
                <a:gd name="T10" fmla="*/ 13 w 17"/>
                <a:gd name="T11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86">
                  <a:moveTo>
                    <a:pt x="13" y="0"/>
                  </a:moveTo>
                  <a:lnTo>
                    <a:pt x="4" y="0"/>
                  </a:lnTo>
                  <a:lnTo>
                    <a:pt x="0" y="21"/>
                  </a:lnTo>
                  <a:lnTo>
                    <a:pt x="9" y="86"/>
                  </a:lnTo>
                  <a:lnTo>
                    <a:pt x="17" y="25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EC00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5" name="Freeform 106"/>
            <p:cNvSpPr>
              <a:spLocks/>
            </p:cNvSpPr>
            <p:nvPr/>
          </p:nvSpPr>
          <p:spPr bwMode="auto">
            <a:xfrm>
              <a:off x="2889095" y="1446627"/>
              <a:ext cx="45578" cy="85079"/>
            </a:xfrm>
            <a:custGeom>
              <a:avLst/>
              <a:gdLst>
                <a:gd name="T0" fmla="*/ 15 w 15"/>
                <a:gd name="T1" fmla="*/ 12 h 28"/>
                <a:gd name="T2" fmla="*/ 5 w 15"/>
                <a:gd name="T3" fmla="*/ 28 h 28"/>
                <a:gd name="T4" fmla="*/ 0 w 15"/>
                <a:gd name="T5" fmla="*/ 12 h 28"/>
                <a:gd name="T6" fmla="*/ 0 w 15"/>
                <a:gd name="T7" fmla="*/ 0 h 28"/>
                <a:gd name="T8" fmla="*/ 15 w 15"/>
                <a:gd name="T9" fmla="*/ 1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8">
                  <a:moveTo>
                    <a:pt x="15" y="12"/>
                  </a:moveTo>
                  <a:lnTo>
                    <a:pt x="5" y="28"/>
                  </a:lnTo>
                  <a:lnTo>
                    <a:pt x="0" y="12"/>
                  </a:lnTo>
                  <a:lnTo>
                    <a:pt x="0" y="0"/>
                  </a:lnTo>
                  <a:lnTo>
                    <a:pt x="15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6" name="Freeform 107"/>
            <p:cNvSpPr>
              <a:spLocks/>
            </p:cNvSpPr>
            <p:nvPr/>
          </p:nvSpPr>
          <p:spPr bwMode="auto">
            <a:xfrm>
              <a:off x="2931634" y="1446627"/>
              <a:ext cx="45578" cy="85079"/>
            </a:xfrm>
            <a:custGeom>
              <a:avLst/>
              <a:gdLst>
                <a:gd name="T0" fmla="*/ 0 w 15"/>
                <a:gd name="T1" fmla="*/ 12 h 28"/>
                <a:gd name="T2" fmla="*/ 11 w 15"/>
                <a:gd name="T3" fmla="*/ 28 h 28"/>
                <a:gd name="T4" fmla="*/ 15 w 15"/>
                <a:gd name="T5" fmla="*/ 12 h 28"/>
                <a:gd name="T6" fmla="*/ 15 w 15"/>
                <a:gd name="T7" fmla="*/ 0 h 28"/>
                <a:gd name="T8" fmla="*/ 0 w 15"/>
                <a:gd name="T9" fmla="*/ 1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8">
                  <a:moveTo>
                    <a:pt x="0" y="12"/>
                  </a:moveTo>
                  <a:lnTo>
                    <a:pt x="11" y="28"/>
                  </a:lnTo>
                  <a:lnTo>
                    <a:pt x="15" y="12"/>
                  </a:lnTo>
                  <a:lnTo>
                    <a:pt x="15" y="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8" name="Freeform 109"/>
            <p:cNvSpPr>
              <a:spLocks/>
            </p:cNvSpPr>
            <p:nvPr/>
          </p:nvSpPr>
          <p:spPr bwMode="auto">
            <a:xfrm>
              <a:off x="3384377" y="890575"/>
              <a:ext cx="94195" cy="182312"/>
            </a:xfrm>
            <a:custGeom>
              <a:avLst/>
              <a:gdLst>
                <a:gd name="T0" fmla="*/ 65 w 65"/>
                <a:gd name="T1" fmla="*/ 91 h 126"/>
                <a:gd name="T2" fmla="*/ 33 w 65"/>
                <a:gd name="T3" fmla="*/ 59 h 126"/>
                <a:gd name="T4" fmla="*/ 21 w 65"/>
                <a:gd name="T5" fmla="*/ 61 h 126"/>
                <a:gd name="T6" fmla="*/ 21 w 65"/>
                <a:gd name="T7" fmla="*/ 11 h 126"/>
                <a:gd name="T8" fmla="*/ 21 w 65"/>
                <a:gd name="T9" fmla="*/ 11 h 126"/>
                <a:gd name="T10" fmla="*/ 21 w 65"/>
                <a:gd name="T11" fmla="*/ 11 h 126"/>
                <a:gd name="T12" fmla="*/ 11 w 65"/>
                <a:gd name="T13" fmla="*/ 0 h 126"/>
                <a:gd name="T14" fmla="*/ 0 w 65"/>
                <a:gd name="T15" fmla="*/ 11 h 126"/>
                <a:gd name="T16" fmla="*/ 0 w 65"/>
                <a:gd name="T17" fmla="*/ 11 h 126"/>
                <a:gd name="T18" fmla="*/ 0 w 65"/>
                <a:gd name="T19" fmla="*/ 11 h 126"/>
                <a:gd name="T20" fmla="*/ 0 w 65"/>
                <a:gd name="T21" fmla="*/ 126 h 126"/>
                <a:gd name="T22" fmla="*/ 65 w 65"/>
                <a:gd name="T23" fmla="*/ 126 h 126"/>
                <a:gd name="T24" fmla="*/ 65 w 65"/>
                <a:gd name="T25" fmla="*/ 92 h 126"/>
                <a:gd name="T26" fmla="*/ 65 w 65"/>
                <a:gd name="T27" fmla="*/ 92 h 126"/>
                <a:gd name="T28" fmla="*/ 65 w 65"/>
                <a:gd name="T29" fmla="*/ 91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" h="126">
                  <a:moveTo>
                    <a:pt x="65" y="91"/>
                  </a:moveTo>
                  <a:cubicBezTo>
                    <a:pt x="65" y="73"/>
                    <a:pt x="51" y="59"/>
                    <a:pt x="33" y="59"/>
                  </a:cubicBezTo>
                  <a:cubicBezTo>
                    <a:pt x="29" y="59"/>
                    <a:pt x="25" y="59"/>
                    <a:pt x="21" y="6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5"/>
                    <a:pt x="17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5" y="92"/>
                    <a:pt x="65" y="92"/>
                    <a:pt x="65" y="92"/>
                  </a:cubicBezTo>
                  <a:cubicBezTo>
                    <a:pt x="65" y="92"/>
                    <a:pt x="65" y="92"/>
                    <a:pt x="65" y="92"/>
                  </a:cubicBezTo>
                  <a:cubicBezTo>
                    <a:pt x="65" y="92"/>
                    <a:pt x="65" y="91"/>
                    <a:pt x="65" y="91"/>
                  </a:cubicBezTo>
                  <a:close/>
                </a:path>
              </a:pathLst>
            </a:custGeom>
            <a:solidFill>
              <a:srgbClr val="DD5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9" name="Rectangle 110"/>
            <p:cNvSpPr>
              <a:spLocks noChangeArrowheads="1"/>
            </p:cNvSpPr>
            <p:nvPr/>
          </p:nvSpPr>
          <p:spPr bwMode="auto">
            <a:xfrm>
              <a:off x="2594357" y="1941909"/>
              <a:ext cx="42540" cy="42540"/>
            </a:xfrm>
            <a:prstGeom prst="rect">
              <a:avLst/>
            </a:prstGeom>
            <a:solidFill>
              <a:srgbClr val="263C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0" name="Freeform 111"/>
            <p:cNvSpPr>
              <a:spLocks/>
            </p:cNvSpPr>
            <p:nvPr/>
          </p:nvSpPr>
          <p:spPr bwMode="auto">
            <a:xfrm>
              <a:off x="3785464" y="1613747"/>
              <a:ext cx="103310" cy="161043"/>
            </a:xfrm>
            <a:custGeom>
              <a:avLst/>
              <a:gdLst>
                <a:gd name="T0" fmla="*/ 29 w 71"/>
                <a:gd name="T1" fmla="*/ 21 h 113"/>
                <a:gd name="T2" fmla="*/ 25 w 71"/>
                <a:gd name="T3" fmla="*/ 0 h 113"/>
                <a:gd name="T4" fmla="*/ 0 w 71"/>
                <a:gd name="T5" fmla="*/ 3 h 113"/>
                <a:gd name="T6" fmla="*/ 15 w 71"/>
                <a:gd name="T7" fmla="*/ 48 h 113"/>
                <a:gd name="T8" fmla="*/ 7 w 71"/>
                <a:gd name="T9" fmla="*/ 86 h 113"/>
                <a:gd name="T10" fmla="*/ 29 w 71"/>
                <a:gd name="T11" fmla="*/ 113 h 113"/>
                <a:gd name="T12" fmla="*/ 59 w 71"/>
                <a:gd name="T13" fmla="*/ 86 h 113"/>
                <a:gd name="T14" fmla="*/ 71 w 71"/>
                <a:gd name="T15" fmla="*/ 29 h 113"/>
                <a:gd name="T16" fmla="*/ 29 w 71"/>
                <a:gd name="T17" fmla="*/ 21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113">
                  <a:moveTo>
                    <a:pt x="29" y="21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8" y="13"/>
                    <a:pt x="17" y="35"/>
                    <a:pt x="15" y="48"/>
                  </a:cubicBezTo>
                  <a:cubicBezTo>
                    <a:pt x="7" y="86"/>
                    <a:pt x="7" y="86"/>
                    <a:pt x="7" y="86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59" y="86"/>
                    <a:pt x="59" y="86"/>
                    <a:pt x="59" y="86"/>
                  </a:cubicBezTo>
                  <a:cubicBezTo>
                    <a:pt x="71" y="29"/>
                    <a:pt x="71" y="29"/>
                    <a:pt x="71" y="29"/>
                  </a:cubicBezTo>
                  <a:lnTo>
                    <a:pt x="29" y="21"/>
                  </a:lnTo>
                  <a:close/>
                </a:path>
              </a:pathLst>
            </a:custGeom>
            <a:solidFill>
              <a:srgbClr val="FFFC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1" name="Freeform 112"/>
            <p:cNvSpPr>
              <a:spLocks/>
            </p:cNvSpPr>
            <p:nvPr/>
          </p:nvSpPr>
          <p:spPr bwMode="auto">
            <a:xfrm>
              <a:off x="2065651" y="1592477"/>
              <a:ext cx="112426" cy="179274"/>
            </a:xfrm>
            <a:custGeom>
              <a:avLst/>
              <a:gdLst>
                <a:gd name="T0" fmla="*/ 54 w 79"/>
                <a:gd name="T1" fmla="*/ 0 h 125"/>
                <a:gd name="T2" fmla="*/ 45 w 79"/>
                <a:gd name="T3" fmla="*/ 21 h 125"/>
                <a:gd name="T4" fmla="*/ 0 w 79"/>
                <a:gd name="T5" fmla="*/ 21 h 125"/>
                <a:gd name="T6" fmla="*/ 0 w 79"/>
                <a:gd name="T7" fmla="*/ 94 h 125"/>
                <a:gd name="T8" fmla="*/ 29 w 79"/>
                <a:gd name="T9" fmla="*/ 125 h 125"/>
                <a:gd name="T10" fmla="*/ 54 w 79"/>
                <a:gd name="T11" fmla="*/ 94 h 125"/>
                <a:gd name="T12" fmla="*/ 54 w 79"/>
                <a:gd name="T13" fmla="*/ 52 h 125"/>
                <a:gd name="T14" fmla="*/ 79 w 79"/>
                <a:gd name="T15" fmla="*/ 9 h 125"/>
                <a:gd name="T16" fmla="*/ 54 w 79"/>
                <a:gd name="T17" fmla="*/ 0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" h="125">
                  <a:moveTo>
                    <a:pt x="54" y="0"/>
                  </a:moveTo>
                  <a:cubicBezTo>
                    <a:pt x="45" y="21"/>
                    <a:pt x="45" y="21"/>
                    <a:pt x="45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29" y="125"/>
                    <a:pt x="29" y="125"/>
                    <a:pt x="29" y="125"/>
                  </a:cubicBezTo>
                  <a:cubicBezTo>
                    <a:pt x="54" y="94"/>
                    <a:pt x="54" y="94"/>
                    <a:pt x="54" y="94"/>
                  </a:cubicBezTo>
                  <a:cubicBezTo>
                    <a:pt x="54" y="52"/>
                    <a:pt x="54" y="52"/>
                    <a:pt x="54" y="52"/>
                  </a:cubicBezTo>
                  <a:cubicBezTo>
                    <a:pt x="55" y="38"/>
                    <a:pt x="59" y="15"/>
                    <a:pt x="79" y="9"/>
                  </a:cubicBezTo>
                  <a:lnTo>
                    <a:pt x="54" y="0"/>
                  </a:lnTo>
                  <a:close/>
                </a:path>
              </a:pathLst>
            </a:custGeom>
            <a:solidFill>
              <a:srgbClr val="FFFC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2" name="Freeform 113"/>
            <p:cNvSpPr>
              <a:spLocks/>
            </p:cNvSpPr>
            <p:nvPr/>
          </p:nvSpPr>
          <p:spPr bwMode="auto">
            <a:xfrm>
              <a:off x="3712539" y="1473974"/>
              <a:ext cx="48617" cy="94195"/>
            </a:xfrm>
            <a:custGeom>
              <a:avLst/>
              <a:gdLst>
                <a:gd name="T0" fmla="*/ 34 w 34"/>
                <a:gd name="T1" fmla="*/ 0 h 66"/>
                <a:gd name="T2" fmla="*/ 0 w 34"/>
                <a:gd name="T3" fmla="*/ 60 h 66"/>
                <a:gd name="T4" fmla="*/ 29 w 34"/>
                <a:gd name="T5" fmla="*/ 66 h 66"/>
                <a:gd name="T6" fmla="*/ 34 w 34"/>
                <a:gd name="T7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" h="66">
                  <a:moveTo>
                    <a:pt x="34" y="0"/>
                  </a:moveTo>
                  <a:cubicBezTo>
                    <a:pt x="34" y="0"/>
                    <a:pt x="11" y="25"/>
                    <a:pt x="0" y="60"/>
                  </a:cubicBezTo>
                  <a:cubicBezTo>
                    <a:pt x="29" y="66"/>
                    <a:pt x="29" y="66"/>
                    <a:pt x="29" y="66"/>
                  </a:cubicBezTo>
                  <a:lnTo>
                    <a:pt x="34" y="0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3" name="Freeform 114"/>
            <p:cNvSpPr>
              <a:spLocks/>
            </p:cNvSpPr>
            <p:nvPr/>
          </p:nvSpPr>
          <p:spPr bwMode="auto">
            <a:xfrm>
              <a:off x="3721654" y="1416242"/>
              <a:ext cx="240045" cy="282584"/>
            </a:xfrm>
            <a:custGeom>
              <a:avLst/>
              <a:gdLst>
                <a:gd name="T0" fmla="*/ 169 w 169"/>
                <a:gd name="T1" fmla="*/ 27 h 197"/>
                <a:gd name="T2" fmla="*/ 150 w 169"/>
                <a:gd name="T3" fmla="*/ 120 h 197"/>
                <a:gd name="T4" fmla="*/ 149 w 169"/>
                <a:gd name="T5" fmla="*/ 120 h 197"/>
                <a:gd name="T6" fmla="*/ 0 w 169"/>
                <a:gd name="T7" fmla="*/ 183 h 197"/>
                <a:gd name="T8" fmla="*/ 1 w 169"/>
                <a:gd name="T9" fmla="*/ 177 h 197"/>
                <a:gd name="T10" fmla="*/ 12 w 169"/>
                <a:gd name="T11" fmla="*/ 124 h 197"/>
                <a:gd name="T12" fmla="*/ 25 w 169"/>
                <a:gd name="T13" fmla="*/ 58 h 197"/>
                <a:gd name="T14" fmla="*/ 37 w 169"/>
                <a:gd name="T15" fmla="*/ 0 h 197"/>
                <a:gd name="T16" fmla="*/ 169 w 169"/>
                <a:gd name="T17" fmla="*/ 2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197">
                  <a:moveTo>
                    <a:pt x="169" y="27"/>
                  </a:moveTo>
                  <a:cubicBezTo>
                    <a:pt x="150" y="120"/>
                    <a:pt x="150" y="120"/>
                    <a:pt x="150" y="120"/>
                  </a:cubicBezTo>
                  <a:cubicBezTo>
                    <a:pt x="149" y="120"/>
                    <a:pt x="149" y="120"/>
                    <a:pt x="149" y="120"/>
                  </a:cubicBezTo>
                  <a:cubicBezTo>
                    <a:pt x="131" y="188"/>
                    <a:pt x="70" y="197"/>
                    <a:pt x="0" y="183"/>
                  </a:cubicBezTo>
                  <a:cubicBezTo>
                    <a:pt x="1" y="177"/>
                    <a:pt x="1" y="177"/>
                    <a:pt x="1" y="177"/>
                  </a:cubicBezTo>
                  <a:cubicBezTo>
                    <a:pt x="12" y="124"/>
                    <a:pt x="12" y="124"/>
                    <a:pt x="12" y="124"/>
                  </a:cubicBezTo>
                  <a:cubicBezTo>
                    <a:pt x="25" y="58"/>
                    <a:pt x="25" y="58"/>
                    <a:pt x="25" y="58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69" y="27"/>
                    <a:pt x="169" y="27"/>
                    <a:pt x="169" y="27"/>
                  </a:cubicBezTo>
                </a:path>
              </a:pathLst>
            </a:custGeom>
            <a:solidFill>
              <a:srgbClr val="FFFC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4" name="Freeform 115"/>
            <p:cNvSpPr>
              <a:spLocks/>
            </p:cNvSpPr>
            <p:nvPr/>
          </p:nvSpPr>
          <p:spPr bwMode="auto">
            <a:xfrm>
              <a:off x="3794579" y="1516514"/>
              <a:ext cx="18231" cy="18231"/>
            </a:xfrm>
            <a:custGeom>
              <a:avLst/>
              <a:gdLst>
                <a:gd name="T0" fmla="*/ 1 w 12"/>
                <a:gd name="T1" fmla="*/ 5 h 12"/>
                <a:gd name="T2" fmla="*/ 5 w 12"/>
                <a:gd name="T3" fmla="*/ 11 h 12"/>
                <a:gd name="T4" fmla="*/ 12 w 12"/>
                <a:gd name="T5" fmla="*/ 7 h 12"/>
                <a:gd name="T6" fmla="*/ 7 w 12"/>
                <a:gd name="T7" fmla="*/ 1 h 12"/>
                <a:gd name="T8" fmla="*/ 1 w 12"/>
                <a:gd name="T9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1" y="5"/>
                  </a:moveTo>
                  <a:cubicBezTo>
                    <a:pt x="0" y="8"/>
                    <a:pt x="2" y="11"/>
                    <a:pt x="5" y="11"/>
                  </a:cubicBezTo>
                  <a:cubicBezTo>
                    <a:pt x="8" y="12"/>
                    <a:pt x="11" y="10"/>
                    <a:pt x="12" y="7"/>
                  </a:cubicBezTo>
                  <a:cubicBezTo>
                    <a:pt x="12" y="4"/>
                    <a:pt x="10" y="1"/>
                    <a:pt x="7" y="1"/>
                  </a:cubicBezTo>
                  <a:cubicBezTo>
                    <a:pt x="5" y="0"/>
                    <a:pt x="2" y="2"/>
                    <a:pt x="1" y="5"/>
                  </a:cubicBezTo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5" name="Freeform 116"/>
            <p:cNvSpPr>
              <a:spLocks/>
            </p:cNvSpPr>
            <p:nvPr/>
          </p:nvSpPr>
          <p:spPr bwMode="auto">
            <a:xfrm>
              <a:off x="3721654" y="1343317"/>
              <a:ext cx="303854" cy="395010"/>
            </a:xfrm>
            <a:custGeom>
              <a:avLst/>
              <a:gdLst>
                <a:gd name="T0" fmla="*/ 201 w 213"/>
                <a:gd name="T1" fmla="*/ 72 h 278"/>
                <a:gd name="T2" fmla="*/ 170 w 213"/>
                <a:gd name="T3" fmla="*/ 59 h 278"/>
                <a:gd name="T4" fmla="*/ 164 w 213"/>
                <a:gd name="T5" fmla="*/ 44 h 278"/>
                <a:gd name="T6" fmla="*/ 143 w 213"/>
                <a:gd name="T7" fmla="*/ 34 h 278"/>
                <a:gd name="T8" fmla="*/ 119 w 213"/>
                <a:gd name="T9" fmla="*/ 22 h 278"/>
                <a:gd name="T10" fmla="*/ 38 w 213"/>
                <a:gd name="T11" fmla="*/ 52 h 278"/>
                <a:gd name="T12" fmla="*/ 39 w 213"/>
                <a:gd name="T13" fmla="*/ 52 h 278"/>
                <a:gd name="T14" fmla="*/ 38 w 213"/>
                <a:gd name="T15" fmla="*/ 52 h 278"/>
                <a:gd name="T16" fmla="*/ 85 w 213"/>
                <a:gd name="T17" fmla="*/ 96 h 278"/>
                <a:gd name="T18" fmla="*/ 110 w 213"/>
                <a:gd name="T19" fmla="*/ 104 h 278"/>
                <a:gd name="T20" fmla="*/ 110 w 213"/>
                <a:gd name="T21" fmla="*/ 104 h 278"/>
                <a:gd name="T22" fmla="*/ 36 w 213"/>
                <a:gd name="T23" fmla="*/ 187 h 278"/>
                <a:gd name="T24" fmla="*/ 16 w 213"/>
                <a:gd name="T25" fmla="*/ 157 h 278"/>
                <a:gd name="T26" fmla="*/ 0 w 213"/>
                <a:gd name="T27" fmla="*/ 235 h 278"/>
                <a:gd name="T28" fmla="*/ 108 w 213"/>
                <a:gd name="T29" fmla="*/ 174 h 278"/>
                <a:gd name="T30" fmla="*/ 119 w 213"/>
                <a:gd name="T31" fmla="*/ 135 h 278"/>
                <a:gd name="T32" fmla="*/ 139 w 213"/>
                <a:gd name="T33" fmla="*/ 199 h 278"/>
                <a:gd name="T34" fmla="*/ 139 w 213"/>
                <a:gd name="T35" fmla="*/ 199 h 278"/>
                <a:gd name="T36" fmla="*/ 139 w 213"/>
                <a:gd name="T37" fmla="*/ 199 h 278"/>
                <a:gd name="T38" fmla="*/ 163 w 213"/>
                <a:gd name="T39" fmla="*/ 160 h 278"/>
                <a:gd name="T40" fmla="*/ 194 w 213"/>
                <a:gd name="T41" fmla="*/ 125 h 278"/>
                <a:gd name="T42" fmla="*/ 201 w 213"/>
                <a:gd name="T43" fmla="*/ 72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13" h="278">
                  <a:moveTo>
                    <a:pt x="201" y="72"/>
                  </a:moveTo>
                  <a:cubicBezTo>
                    <a:pt x="194" y="63"/>
                    <a:pt x="182" y="59"/>
                    <a:pt x="170" y="59"/>
                  </a:cubicBezTo>
                  <a:cubicBezTo>
                    <a:pt x="169" y="53"/>
                    <a:pt x="167" y="47"/>
                    <a:pt x="164" y="44"/>
                  </a:cubicBezTo>
                  <a:cubicBezTo>
                    <a:pt x="157" y="38"/>
                    <a:pt x="151" y="36"/>
                    <a:pt x="143" y="34"/>
                  </a:cubicBezTo>
                  <a:cubicBezTo>
                    <a:pt x="133" y="32"/>
                    <a:pt x="127" y="29"/>
                    <a:pt x="119" y="22"/>
                  </a:cubicBezTo>
                  <a:cubicBezTo>
                    <a:pt x="95" y="0"/>
                    <a:pt x="44" y="17"/>
                    <a:pt x="38" y="52"/>
                  </a:cubicBezTo>
                  <a:cubicBezTo>
                    <a:pt x="39" y="52"/>
                    <a:pt x="39" y="52"/>
                    <a:pt x="39" y="52"/>
                  </a:cubicBezTo>
                  <a:cubicBezTo>
                    <a:pt x="38" y="52"/>
                    <a:pt x="38" y="52"/>
                    <a:pt x="38" y="52"/>
                  </a:cubicBezTo>
                  <a:cubicBezTo>
                    <a:pt x="39" y="73"/>
                    <a:pt x="67" y="91"/>
                    <a:pt x="85" y="96"/>
                  </a:cubicBezTo>
                  <a:cubicBezTo>
                    <a:pt x="96" y="99"/>
                    <a:pt x="103" y="99"/>
                    <a:pt x="110" y="104"/>
                  </a:cubicBezTo>
                  <a:cubicBezTo>
                    <a:pt x="110" y="104"/>
                    <a:pt x="110" y="104"/>
                    <a:pt x="110" y="104"/>
                  </a:cubicBezTo>
                  <a:cubicBezTo>
                    <a:pt x="110" y="104"/>
                    <a:pt x="88" y="197"/>
                    <a:pt x="36" y="187"/>
                  </a:cubicBezTo>
                  <a:cubicBezTo>
                    <a:pt x="36" y="187"/>
                    <a:pt x="37" y="162"/>
                    <a:pt x="16" y="157"/>
                  </a:cubicBezTo>
                  <a:cubicBezTo>
                    <a:pt x="0" y="235"/>
                    <a:pt x="0" y="235"/>
                    <a:pt x="0" y="235"/>
                  </a:cubicBezTo>
                  <a:cubicBezTo>
                    <a:pt x="0" y="235"/>
                    <a:pt x="87" y="278"/>
                    <a:pt x="108" y="174"/>
                  </a:cubicBezTo>
                  <a:cubicBezTo>
                    <a:pt x="119" y="135"/>
                    <a:pt x="119" y="135"/>
                    <a:pt x="119" y="135"/>
                  </a:cubicBezTo>
                  <a:cubicBezTo>
                    <a:pt x="118" y="153"/>
                    <a:pt x="120" y="181"/>
                    <a:pt x="139" y="199"/>
                  </a:cubicBezTo>
                  <a:cubicBezTo>
                    <a:pt x="139" y="199"/>
                    <a:pt x="139" y="199"/>
                    <a:pt x="139" y="199"/>
                  </a:cubicBezTo>
                  <a:cubicBezTo>
                    <a:pt x="139" y="199"/>
                    <a:pt x="139" y="199"/>
                    <a:pt x="139" y="199"/>
                  </a:cubicBezTo>
                  <a:cubicBezTo>
                    <a:pt x="159" y="193"/>
                    <a:pt x="157" y="176"/>
                    <a:pt x="163" y="160"/>
                  </a:cubicBezTo>
                  <a:cubicBezTo>
                    <a:pt x="168" y="148"/>
                    <a:pt x="185" y="135"/>
                    <a:pt x="194" y="125"/>
                  </a:cubicBezTo>
                  <a:cubicBezTo>
                    <a:pt x="204" y="113"/>
                    <a:pt x="213" y="86"/>
                    <a:pt x="201" y="72"/>
                  </a:cubicBezTo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6" name="Freeform 117"/>
            <p:cNvSpPr>
              <a:spLocks/>
            </p:cNvSpPr>
            <p:nvPr/>
          </p:nvSpPr>
          <p:spPr bwMode="auto">
            <a:xfrm>
              <a:off x="3016713" y="1176198"/>
              <a:ext cx="72925" cy="109387"/>
            </a:xfrm>
            <a:custGeom>
              <a:avLst/>
              <a:gdLst>
                <a:gd name="T0" fmla="*/ 0 w 24"/>
                <a:gd name="T1" fmla="*/ 0 h 36"/>
                <a:gd name="T2" fmla="*/ 24 w 24"/>
                <a:gd name="T3" fmla="*/ 27 h 36"/>
                <a:gd name="T4" fmla="*/ 6 w 24"/>
                <a:gd name="T5" fmla="*/ 36 h 36"/>
                <a:gd name="T6" fmla="*/ 0 w 24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36">
                  <a:moveTo>
                    <a:pt x="0" y="0"/>
                  </a:moveTo>
                  <a:lnTo>
                    <a:pt x="24" y="27"/>
                  </a:lnTo>
                  <a:lnTo>
                    <a:pt x="6" y="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D5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7" name="Freeform 118"/>
            <p:cNvSpPr>
              <a:spLocks/>
            </p:cNvSpPr>
            <p:nvPr/>
          </p:nvSpPr>
          <p:spPr bwMode="auto">
            <a:xfrm>
              <a:off x="2813131" y="1109350"/>
              <a:ext cx="285623" cy="291700"/>
            </a:xfrm>
            <a:custGeom>
              <a:avLst/>
              <a:gdLst>
                <a:gd name="T0" fmla="*/ 0 w 199"/>
                <a:gd name="T1" fmla="*/ 57 h 204"/>
                <a:gd name="T2" fmla="*/ 40 w 199"/>
                <a:gd name="T3" fmla="*/ 142 h 204"/>
                <a:gd name="T4" fmla="*/ 40 w 199"/>
                <a:gd name="T5" fmla="*/ 142 h 204"/>
                <a:gd name="T6" fmla="*/ 199 w 199"/>
                <a:gd name="T7" fmla="*/ 167 h 204"/>
                <a:gd name="T8" fmla="*/ 196 w 199"/>
                <a:gd name="T9" fmla="*/ 161 h 204"/>
                <a:gd name="T10" fmla="*/ 173 w 199"/>
                <a:gd name="T11" fmla="*/ 113 h 204"/>
                <a:gd name="T12" fmla="*/ 144 w 199"/>
                <a:gd name="T13" fmla="*/ 53 h 204"/>
                <a:gd name="T14" fmla="*/ 119 w 199"/>
                <a:gd name="T15" fmla="*/ 0 h 204"/>
                <a:gd name="T16" fmla="*/ 0 w 199"/>
                <a:gd name="T17" fmla="*/ 57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204">
                  <a:moveTo>
                    <a:pt x="0" y="57"/>
                  </a:moveTo>
                  <a:cubicBezTo>
                    <a:pt x="40" y="142"/>
                    <a:pt x="40" y="142"/>
                    <a:pt x="40" y="142"/>
                  </a:cubicBezTo>
                  <a:cubicBezTo>
                    <a:pt x="40" y="142"/>
                    <a:pt x="40" y="142"/>
                    <a:pt x="40" y="142"/>
                  </a:cubicBezTo>
                  <a:cubicBezTo>
                    <a:pt x="74" y="204"/>
                    <a:pt x="135" y="198"/>
                    <a:pt x="199" y="167"/>
                  </a:cubicBezTo>
                  <a:cubicBezTo>
                    <a:pt x="196" y="161"/>
                    <a:pt x="196" y="161"/>
                    <a:pt x="196" y="161"/>
                  </a:cubicBezTo>
                  <a:cubicBezTo>
                    <a:pt x="173" y="113"/>
                    <a:pt x="173" y="113"/>
                    <a:pt x="173" y="113"/>
                  </a:cubicBezTo>
                  <a:cubicBezTo>
                    <a:pt x="144" y="53"/>
                    <a:pt x="144" y="53"/>
                    <a:pt x="144" y="53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0" y="57"/>
                    <a:pt x="0" y="57"/>
                    <a:pt x="0" y="57"/>
                  </a:cubicBezTo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8" name="Freeform 119"/>
            <p:cNvSpPr>
              <a:spLocks/>
            </p:cNvSpPr>
            <p:nvPr/>
          </p:nvSpPr>
          <p:spPr bwMode="auto">
            <a:xfrm>
              <a:off x="2971135" y="1215699"/>
              <a:ext cx="18231" cy="15193"/>
            </a:xfrm>
            <a:custGeom>
              <a:avLst/>
              <a:gdLst>
                <a:gd name="T0" fmla="*/ 11 w 12"/>
                <a:gd name="T1" fmla="*/ 3 h 12"/>
                <a:gd name="T2" fmla="*/ 9 w 12"/>
                <a:gd name="T3" fmla="*/ 10 h 12"/>
                <a:gd name="T4" fmla="*/ 2 w 12"/>
                <a:gd name="T5" fmla="*/ 8 h 12"/>
                <a:gd name="T6" fmla="*/ 4 w 12"/>
                <a:gd name="T7" fmla="*/ 1 h 12"/>
                <a:gd name="T8" fmla="*/ 11 w 12"/>
                <a:gd name="T9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11" y="3"/>
                  </a:moveTo>
                  <a:cubicBezTo>
                    <a:pt x="12" y="6"/>
                    <a:pt x="11" y="9"/>
                    <a:pt x="9" y="10"/>
                  </a:cubicBezTo>
                  <a:cubicBezTo>
                    <a:pt x="6" y="12"/>
                    <a:pt x="3" y="11"/>
                    <a:pt x="2" y="8"/>
                  </a:cubicBezTo>
                  <a:cubicBezTo>
                    <a:pt x="0" y="5"/>
                    <a:pt x="1" y="2"/>
                    <a:pt x="4" y="1"/>
                  </a:cubicBezTo>
                  <a:cubicBezTo>
                    <a:pt x="7" y="0"/>
                    <a:pt x="10" y="1"/>
                    <a:pt x="11" y="3"/>
                  </a:cubicBezTo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9" name="Freeform 120"/>
            <p:cNvSpPr>
              <a:spLocks/>
            </p:cNvSpPr>
            <p:nvPr/>
          </p:nvSpPr>
          <p:spPr bwMode="auto">
            <a:xfrm>
              <a:off x="2746284" y="1057695"/>
              <a:ext cx="243083" cy="288661"/>
            </a:xfrm>
            <a:custGeom>
              <a:avLst/>
              <a:gdLst>
                <a:gd name="T0" fmla="*/ 166 w 169"/>
                <a:gd name="T1" fmla="*/ 37 h 203"/>
                <a:gd name="T2" fmla="*/ 165 w 169"/>
                <a:gd name="T3" fmla="*/ 37 h 203"/>
                <a:gd name="T4" fmla="*/ 166 w 169"/>
                <a:gd name="T5" fmla="*/ 37 h 203"/>
                <a:gd name="T6" fmla="*/ 81 w 169"/>
                <a:gd name="T7" fmla="*/ 28 h 203"/>
                <a:gd name="T8" fmla="*/ 61 w 169"/>
                <a:gd name="T9" fmla="*/ 45 h 203"/>
                <a:gd name="T10" fmla="*/ 43 w 169"/>
                <a:gd name="T11" fmla="*/ 59 h 203"/>
                <a:gd name="T12" fmla="*/ 43 w 169"/>
                <a:gd name="T13" fmla="*/ 85 h 203"/>
                <a:gd name="T14" fmla="*/ 104 w 169"/>
                <a:gd name="T15" fmla="*/ 203 h 203"/>
                <a:gd name="T16" fmla="*/ 101 w 169"/>
                <a:gd name="T17" fmla="*/ 118 h 203"/>
                <a:gd name="T18" fmla="*/ 103 w 169"/>
                <a:gd name="T19" fmla="*/ 114 h 203"/>
                <a:gd name="T20" fmla="*/ 131 w 169"/>
                <a:gd name="T21" fmla="*/ 91 h 203"/>
                <a:gd name="T22" fmla="*/ 166 w 169"/>
                <a:gd name="T23" fmla="*/ 37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9" h="203">
                  <a:moveTo>
                    <a:pt x="166" y="37"/>
                  </a:moveTo>
                  <a:cubicBezTo>
                    <a:pt x="165" y="37"/>
                    <a:pt x="165" y="37"/>
                    <a:pt x="165" y="37"/>
                  </a:cubicBezTo>
                  <a:cubicBezTo>
                    <a:pt x="166" y="37"/>
                    <a:pt x="166" y="37"/>
                    <a:pt x="166" y="37"/>
                  </a:cubicBezTo>
                  <a:cubicBezTo>
                    <a:pt x="152" y="4"/>
                    <a:pt x="99" y="0"/>
                    <a:pt x="81" y="28"/>
                  </a:cubicBezTo>
                  <a:cubicBezTo>
                    <a:pt x="75" y="36"/>
                    <a:pt x="70" y="40"/>
                    <a:pt x="61" y="45"/>
                  </a:cubicBezTo>
                  <a:cubicBezTo>
                    <a:pt x="53" y="49"/>
                    <a:pt x="48" y="52"/>
                    <a:pt x="43" y="59"/>
                  </a:cubicBezTo>
                  <a:cubicBezTo>
                    <a:pt x="39" y="65"/>
                    <a:pt x="40" y="76"/>
                    <a:pt x="43" y="85"/>
                  </a:cubicBezTo>
                  <a:cubicBezTo>
                    <a:pt x="0" y="111"/>
                    <a:pt x="104" y="203"/>
                    <a:pt x="104" y="203"/>
                  </a:cubicBezTo>
                  <a:cubicBezTo>
                    <a:pt x="126" y="167"/>
                    <a:pt x="101" y="118"/>
                    <a:pt x="101" y="118"/>
                  </a:cubicBezTo>
                  <a:cubicBezTo>
                    <a:pt x="102" y="117"/>
                    <a:pt x="103" y="115"/>
                    <a:pt x="103" y="114"/>
                  </a:cubicBezTo>
                  <a:cubicBezTo>
                    <a:pt x="109" y="99"/>
                    <a:pt x="117" y="98"/>
                    <a:pt x="131" y="91"/>
                  </a:cubicBezTo>
                  <a:cubicBezTo>
                    <a:pt x="147" y="82"/>
                    <a:pt x="169" y="57"/>
                    <a:pt x="166" y="37"/>
                  </a:cubicBezTo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0" name="Freeform 121"/>
            <p:cNvSpPr>
              <a:spLocks/>
            </p:cNvSpPr>
            <p:nvPr/>
          </p:nvSpPr>
          <p:spPr bwMode="auto">
            <a:xfrm>
              <a:off x="3873581" y="1507398"/>
              <a:ext cx="57732" cy="88118"/>
            </a:xfrm>
            <a:custGeom>
              <a:avLst/>
              <a:gdLst>
                <a:gd name="T0" fmla="*/ 12 w 39"/>
                <a:gd name="T1" fmla="*/ 0 h 63"/>
                <a:gd name="T2" fmla="*/ 36 w 39"/>
                <a:gd name="T3" fmla="*/ 36 h 63"/>
                <a:gd name="T4" fmla="*/ 0 w 39"/>
                <a:gd name="T5" fmla="*/ 59 h 63"/>
                <a:gd name="T6" fmla="*/ 12 w 39"/>
                <a:gd name="T7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63">
                  <a:moveTo>
                    <a:pt x="12" y="0"/>
                  </a:moveTo>
                  <a:cubicBezTo>
                    <a:pt x="29" y="4"/>
                    <a:pt x="39" y="20"/>
                    <a:pt x="36" y="36"/>
                  </a:cubicBezTo>
                  <a:cubicBezTo>
                    <a:pt x="32" y="52"/>
                    <a:pt x="16" y="63"/>
                    <a:pt x="0" y="59"/>
                  </a:cubicBezTo>
                  <a:cubicBezTo>
                    <a:pt x="12" y="0"/>
                    <a:pt x="12" y="0"/>
                    <a:pt x="12" y="0"/>
                  </a:cubicBezTo>
                </a:path>
              </a:pathLst>
            </a:custGeom>
            <a:solidFill>
              <a:srgbClr val="FFFC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" name="Freeform 122"/>
            <p:cNvSpPr>
              <a:spLocks/>
            </p:cNvSpPr>
            <p:nvPr/>
          </p:nvSpPr>
          <p:spPr bwMode="auto">
            <a:xfrm>
              <a:off x="3879658" y="1528668"/>
              <a:ext cx="27347" cy="42540"/>
            </a:xfrm>
            <a:custGeom>
              <a:avLst/>
              <a:gdLst>
                <a:gd name="T0" fmla="*/ 6 w 20"/>
                <a:gd name="T1" fmla="*/ 0 h 30"/>
                <a:gd name="T2" fmla="*/ 0 w 20"/>
                <a:gd name="T3" fmla="*/ 30 h 30"/>
                <a:gd name="T4" fmla="*/ 3 w 20"/>
                <a:gd name="T5" fmla="*/ 30 h 30"/>
                <a:gd name="T6" fmla="*/ 18 w 20"/>
                <a:gd name="T7" fmla="*/ 18 h 30"/>
                <a:gd name="T8" fmla="*/ 6 w 20"/>
                <a:gd name="T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30">
                  <a:moveTo>
                    <a:pt x="6" y="0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1" y="30"/>
                    <a:pt x="2" y="30"/>
                    <a:pt x="3" y="30"/>
                  </a:cubicBezTo>
                  <a:cubicBezTo>
                    <a:pt x="10" y="30"/>
                    <a:pt x="17" y="25"/>
                    <a:pt x="18" y="18"/>
                  </a:cubicBezTo>
                  <a:cubicBezTo>
                    <a:pt x="20" y="10"/>
                    <a:pt x="14" y="2"/>
                    <a:pt x="6" y="0"/>
                  </a:cubicBezTo>
                </a:path>
              </a:pathLst>
            </a:custGeom>
            <a:solidFill>
              <a:srgbClr val="D9D6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" name="Freeform 123"/>
            <p:cNvSpPr>
              <a:spLocks/>
            </p:cNvSpPr>
            <p:nvPr/>
          </p:nvSpPr>
          <p:spPr bwMode="auto">
            <a:xfrm>
              <a:off x="2861748" y="1224814"/>
              <a:ext cx="66848" cy="88118"/>
            </a:xfrm>
            <a:custGeom>
              <a:avLst/>
              <a:gdLst>
                <a:gd name="T0" fmla="*/ 21 w 46"/>
                <a:gd name="T1" fmla="*/ 0 h 61"/>
                <a:gd name="T2" fmla="*/ 7 w 46"/>
                <a:gd name="T3" fmla="*/ 40 h 61"/>
                <a:gd name="T4" fmla="*/ 46 w 46"/>
                <a:gd name="T5" fmla="*/ 53 h 61"/>
                <a:gd name="T6" fmla="*/ 21 w 46"/>
                <a:gd name="T7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6" h="61">
                  <a:moveTo>
                    <a:pt x="21" y="0"/>
                  </a:moveTo>
                  <a:cubicBezTo>
                    <a:pt x="6" y="7"/>
                    <a:pt x="0" y="25"/>
                    <a:pt x="7" y="40"/>
                  </a:cubicBezTo>
                  <a:cubicBezTo>
                    <a:pt x="14" y="54"/>
                    <a:pt x="32" y="61"/>
                    <a:pt x="46" y="53"/>
                  </a:cubicBezTo>
                  <a:cubicBezTo>
                    <a:pt x="21" y="0"/>
                    <a:pt x="21" y="0"/>
                    <a:pt x="21" y="0"/>
                  </a:cubicBezTo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" name="Freeform 124"/>
            <p:cNvSpPr>
              <a:spLocks/>
            </p:cNvSpPr>
            <p:nvPr/>
          </p:nvSpPr>
          <p:spPr bwMode="auto">
            <a:xfrm>
              <a:off x="2901249" y="1246084"/>
              <a:ext cx="18231" cy="36462"/>
            </a:xfrm>
            <a:custGeom>
              <a:avLst/>
              <a:gdLst>
                <a:gd name="T0" fmla="*/ 0 w 13"/>
                <a:gd name="T1" fmla="*/ 0 h 27"/>
                <a:gd name="T2" fmla="*/ 0 w 13"/>
                <a:gd name="T3" fmla="*/ 0 h 27"/>
                <a:gd name="T4" fmla="*/ 13 w 13"/>
                <a:gd name="T5" fmla="*/ 27 h 27"/>
                <a:gd name="T6" fmla="*/ 13 w 13"/>
                <a:gd name="T7" fmla="*/ 27 h 27"/>
                <a:gd name="T8" fmla="*/ 0 w 13"/>
                <a:gd name="T9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27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D97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" name="Freeform 125"/>
            <p:cNvSpPr>
              <a:spLocks/>
            </p:cNvSpPr>
            <p:nvPr/>
          </p:nvSpPr>
          <p:spPr bwMode="auto">
            <a:xfrm>
              <a:off x="2886056" y="1246084"/>
              <a:ext cx="33424" cy="39501"/>
            </a:xfrm>
            <a:custGeom>
              <a:avLst/>
              <a:gdLst>
                <a:gd name="T0" fmla="*/ 10 w 23"/>
                <a:gd name="T1" fmla="*/ 0 h 28"/>
                <a:gd name="T2" fmla="*/ 3 w 23"/>
                <a:gd name="T3" fmla="*/ 20 h 28"/>
                <a:gd name="T4" fmla="*/ 17 w 23"/>
                <a:gd name="T5" fmla="*/ 28 h 28"/>
                <a:gd name="T6" fmla="*/ 23 w 23"/>
                <a:gd name="T7" fmla="*/ 27 h 28"/>
                <a:gd name="T8" fmla="*/ 10 w 23"/>
                <a:gd name="T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8">
                  <a:moveTo>
                    <a:pt x="10" y="0"/>
                  </a:moveTo>
                  <a:cubicBezTo>
                    <a:pt x="3" y="4"/>
                    <a:pt x="0" y="13"/>
                    <a:pt x="3" y="20"/>
                  </a:cubicBezTo>
                  <a:cubicBezTo>
                    <a:pt x="6" y="25"/>
                    <a:pt x="11" y="28"/>
                    <a:pt x="17" y="28"/>
                  </a:cubicBezTo>
                  <a:cubicBezTo>
                    <a:pt x="19" y="28"/>
                    <a:pt x="21" y="28"/>
                    <a:pt x="23" y="27"/>
                  </a:cubicBezTo>
                  <a:cubicBezTo>
                    <a:pt x="10" y="0"/>
                    <a:pt x="10" y="0"/>
                    <a:pt x="10" y="0"/>
                  </a:cubicBezTo>
                </a:path>
              </a:pathLst>
            </a:custGeom>
            <a:solidFill>
              <a:srgbClr val="D97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" name="Freeform 126"/>
            <p:cNvSpPr>
              <a:spLocks/>
            </p:cNvSpPr>
            <p:nvPr/>
          </p:nvSpPr>
          <p:spPr bwMode="auto">
            <a:xfrm>
              <a:off x="3396531" y="975654"/>
              <a:ext cx="82041" cy="85079"/>
            </a:xfrm>
            <a:custGeom>
              <a:avLst/>
              <a:gdLst>
                <a:gd name="T0" fmla="*/ 57 w 57"/>
                <a:gd name="T1" fmla="*/ 32 h 59"/>
                <a:gd name="T2" fmla="*/ 25 w 57"/>
                <a:gd name="T3" fmla="*/ 0 h 59"/>
                <a:gd name="T4" fmla="*/ 9 w 57"/>
                <a:gd name="T5" fmla="*/ 4 h 59"/>
                <a:gd name="T6" fmla="*/ 12 w 57"/>
                <a:gd name="T7" fmla="*/ 46 h 59"/>
                <a:gd name="T8" fmla="*/ 57 w 57"/>
                <a:gd name="T9" fmla="*/ 46 h 59"/>
                <a:gd name="T10" fmla="*/ 57 w 57"/>
                <a:gd name="T11" fmla="*/ 33 h 59"/>
                <a:gd name="T12" fmla="*/ 57 w 57"/>
                <a:gd name="T13" fmla="*/ 33 h 59"/>
                <a:gd name="T14" fmla="*/ 57 w 57"/>
                <a:gd name="T15" fmla="*/ 3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" h="59">
                  <a:moveTo>
                    <a:pt x="57" y="32"/>
                  </a:moveTo>
                  <a:cubicBezTo>
                    <a:pt x="57" y="14"/>
                    <a:pt x="43" y="0"/>
                    <a:pt x="25" y="0"/>
                  </a:cubicBezTo>
                  <a:cubicBezTo>
                    <a:pt x="19" y="0"/>
                    <a:pt x="14" y="1"/>
                    <a:pt x="9" y="4"/>
                  </a:cubicBezTo>
                  <a:cubicBezTo>
                    <a:pt x="0" y="17"/>
                    <a:pt x="1" y="34"/>
                    <a:pt x="12" y="46"/>
                  </a:cubicBezTo>
                  <a:cubicBezTo>
                    <a:pt x="24" y="58"/>
                    <a:pt x="45" y="59"/>
                    <a:pt x="57" y="46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2"/>
                    <a:pt x="57" y="32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6" name="Freeform 127"/>
            <p:cNvSpPr>
              <a:spLocks/>
            </p:cNvSpPr>
            <p:nvPr/>
          </p:nvSpPr>
          <p:spPr bwMode="auto">
            <a:xfrm>
              <a:off x="2053497" y="1419281"/>
              <a:ext cx="227890" cy="276507"/>
            </a:xfrm>
            <a:custGeom>
              <a:avLst/>
              <a:gdLst>
                <a:gd name="T0" fmla="*/ 18 w 158"/>
                <a:gd name="T1" fmla="*/ 0 h 194"/>
                <a:gd name="T2" fmla="*/ 1 w 158"/>
                <a:gd name="T3" fmla="*/ 98 h 194"/>
                <a:gd name="T4" fmla="*/ 1 w 158"/>
                <a:gd name="T5" fmla="*/ 99 h 194"/>
                <a:gd name="T6" fmla="*/ 0 w 158"/>
                <a:gd name="T7" fmla="*/ 113 h 194"/>
                <a:gd name="T8" fmla="*/ 25 w 158"/>
                <a:gd name="T9" fmla="*/ 109 h 194"/>
                <a:gd name="T10" fmla="*/ 38 w 158"/>
                <a:gd name="T11" fmla="*/ 151 h 194"/>
                <a:gd name="T12" fmla="*/ 128 w 158"/>
                <a:gd name="T13" fmla="*/ 194 h 194"/>
                <a:gd name="T14" fmla="*/ 134 w 158"/>
                <a:gd name="T15" fmla="*/ 156 h 194"/>
                <a:gd name="T16" fmla="*/ 147 w 158"/>
                <a:gd name="T17" fmla="*/ 86 h 194"/>
                <a:gd name="T18" fmla="*/ 158 w 158"/>
                <a:gd name="T19" fmla="*/ 25 h 194"/>
                <a:gd name="T20" fmla="*/ 18 w 158"/>
                <a:gd name="T21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8" h="194">
                  <a:moveTo>
                    <a:pt x="18" y="0"/>
                  </a:moveTo>
                  <a:cubicBezTo>
                    <a:pt x="1" y="98"/>
                    <a:pt x="1" y="98"/>
                    <a:pt x="1" y="98"/>
                  </a:cubicBezTo>
                  <a:cubicBezTo>
                    <a:pt x="1" y="99"/>
                    <a:pt x="1" y="99"/>
                    <a:pt x="1" y="99"/>
                  </a:cubicBezTo>
                  <a:cubicBezTo>
                    <a:pt x="0" y="104"/>
                    <a:pt x="0" y="109"/>
                    <a:pt x="0" y="113"/>
                  </a:cubicBezTo>
                  <a:cubicBezTo>
                    <a:pt x="25" y="109"/>
                    <a:pt x="25" y="109"/>
                    <a:pt x="25" y="109"/>
                  </a:cubicBezTo>
                  <a:cubicBezTo>
                    <a:pt x="27" y="125"/>
                    <a:pt x="32" y="139"/>
                    <a:pt x="38" y="151"/>
                  </a:cubicBezTo>
                  <a:cubicBezTo>
                    <a:pt x="51" y="171"/>
                    <a:pt x="76" y="191"/>
                    <a:pt x="128" y="194"/>
                  </a:cubicBezTo>
                  <a:cubicBezTo>
                    <a:pt x="134" y="156"/>
                    <a:pt x="134" y="156"/>
                    <a:pt x="134" y="156"/>
                  </a:cubicBezTo>
                  <a:cubicBezTo>
                    <a:pt x="147" y="86"/>
                    <a:pt x="147" y="86"/>
                    <a:pt x="147" y="86"/>
                  </a:cubicBezTo>
                  <a:cubicBezTo>
                    <a:pt x="158" y="25"/>
                    <a:pt x="158" y="25"/>
                    <a:pt x="158" y="25"/>
                  </a:cubicBezTo>
                  <a:cubicBezTo>
                    <a:pt x="18" y="0"/>
                    <a:pt x="18" y="0"/>
                    <a:pt x="18" y="0"/>
                  </a:cubicBezTo>
                </a:path>
              </a:pathLst>
            </a:custGeom>
            <a:solidFill>
              <a:srgbClr val="FFFC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7" name="Freeform 128"/>
            <p:cNvSpPr>
              <a:spLocks/>
            </p:cNvSpPr>
            <p:nvPr/>
          </p:nvSpPr>
          <p:spPr bwMode="auto">
            <a:xfrm>
              <a:off x="2278349" y="1452704"/>
              <a:ext cx="0" cy="0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1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8" name="Rectangle 129"/>
            <p:cNvSpPr>
              <a:spLocks noChangeArrowheads="1"/>
            </p:cNvSpPr>
            <p:nvPr/>
          </p:nvSpPr>
          <p:spPr bwMode="auto">
            <a:xfrm>
              <a:off x="2278349" y="1452704"/>
              <a:ext cx="3039" cy="3039"/>
            </a:xfrm>
            <a:prstGeom prst="rect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9" name="Rectangle 130"/>
            <p:cNvSpPr>
              <a:spLocks noChangeArrowheads="1"/>
            </p:cNvSpPr>
            <p:nvPr/>
          </p:nvSpPr>
          <p:spPr bwMode="auto">
            <a:xfrm>
              <a:off x="2278349" y="1452704"/>
              <a:ext cx="3039" cy="3039"/>
            </a:xfrm>
            <a:prstGeom prst="rect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0" name="Freeform 131"/>
            <p:cNvSpPr>
              <a:spLocks/>
            </p:cNvSpPr>
            <p:nvPr/>
          </p:nvSpPr>
          <p:spPr bwMode="auto">
            <a:xfrm>
              <a:off x="1950187" y="1349394"/>
              <a:ext cx="340316" cy="288661"/>
            </a:xfrm>
            <a:custGeom>
              <a:avLst/>
              <a:gdLst>
                <a:gd name="T0" fmla="*/ 162 w 237"/>
                <a:gd name="T1" fmla="*/ 12 h 201"/>
                <a:gd name="T2" fmla="*/ 134 w 237"/>
                <a:gd name="T3" fmla="*/ 14 h 201"/>
                <a:gd name="T4" fmla="*/ 110 w 237"/>
                <a:gd name="T5" fmla="*/ 15 h 201"/>
                <a:gd name="T6" fmla="*/ 93 w 237"/>
                <a:gd name="T7" fmla="*/ 41 h 201"/>
                <a:gd name="T8" fmla="*/ 17 w 237"/>
                <a:gd name="T9" fmla="*/ 68 h 201"/>
                <a:gd name="T10" fmla="*/ 39 w 237"/>
                <a:gd name="T11" fmla="*/ 136 h 201"/>
                <a:gd name="T12" fmla="*/ 88 w 237"/>
                <a:gd name="T13" fmla="*/ 199 h 201"/>
                <a:gd name="T14" fmla="*/ 109 w 237"/>
                <a:gd name="T15" fmla="*/ 195 h 201"/>
                <a:gd name="T16" fmla="*/ 98 w 237"/>
                <a:gd name="T17" fmla="*/ 160 h 201"/>
                <a:gd name="T18" fmla="*/ 121 w 237"/>
                <a:gd name="T19" fmla="*/ 103 h 201"/>
                <a:gd name="T20" fmla="*/ 127 w 237"/>
                <a:gd name="T21" fmla="*/ 99 h 201"/>
                <a:gd name="T22" fmla="*/ 133 w 237"/>
                <a:gd name="T23" fmla="*/ 96 h 201"/>
                <a:gd name="T24" fmla="*/ 166 w 237"/>
                <a:gd name="T25" fmla="*/ 97 h 201"/>
                <a:gd name="T26" fmla="*/ 230 w 237"/>
                <a:gd name="T27" fmla="*/ 73 h 201"/>
                <a:gd name="T28" fmla="*/ 229 w 237"/>
                <a:gd name="T29" fmla="*/ 72 h 201"/>
                <a:gd name="T30" fmla="*/ 230 w 237"/>
                <a:gd name="T31" fmla="*/ 72 h 201"/>
                <a:gd name="T32" fmla="*/ 230 w 237"/>
                <a:gd name="T33" fmla="*/ 71 h 201"/>
                <a:gd name="T34" fmla="*/ 230 w 237"/>
                <a:gd name="T35" fmla="*/ 71 h 201"/>
                <a:gd name="T36" fmla="*/ 162 w 237"/>
                <a:gd name="T37" fmla="*/ 12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7" h="201">
                  <a:moveTo>
                    <a:pt x="162" y="12"/>
                  </a:moveTo>
                  <a:cubicBezTo>
                    <a:pt x="152" y="15"/>
                    <a:pt x="145" y="16"/>
                    <a:pt x="134" y="14"/>
                  </a:cubicBezTo>
                  <a:cubicBezTo>
                    <a:pt x="125" y="12"/>
                    <a:pt x="118" y="12"/>
                    <a:pt x="110" y="15"/>
                  </a:cubicBezTo>
                  <a:cubicBezTo>
                    <a:pt x="102" y="18"/>
                    <a:pt x="95" y="30"/>
                    <a:pt x="93" y="41"/>
                  </a:cubicBezTo>
                  <a:cubicBezTo>
                    <a:pt x="64" y="41"/>
                    <a:pt x="33" y="39"/>
                    <a:pt x="17" y="68"/>
                  </a:cubicBezTo>
                  <a:cubicBezTo>
                    <a:pt x="0" y="100"/>
                    <a:pt x="20" y="115"/>
                    <a:pt x="39" y="136"/>
                  </a:cubicBezTo>
                  <a:cubicBezTo>
                    <a:pt x="57" y="155"/>
                    <a:pt x="57" y="194"/>
                    <a:pt x="88" y="199"/>
                  </a:cubicBezTo>
                  <a:cubicBezTo>
                    <a:pt x="97" y="201"/>
                    <a:pt x="104" y="199"/>
                    <a:pt x="109" y="195"/>
                  </a:cubicBezTo>
                  <a:cubicBezTo>
                    <a:pt x="105" y="185"/>
                    <a:pt x="101" y="173"/>
                    <a:pt x="98" y="160"/>
                  </a:cubicBezTo>
                  <a:cubicBezTo>
                    <a:pt x="114" y="139"/>
                    <a:pt x="119" y="112"/>
                    <a:pt x="121" y="103"/>
                  </a:cubicBezTo>
                  <a:cubicBezTo>
                    <a:pt x="123" y="102"/>
                    <a:pt x="125" y="101"/>
                    <a:pt x="127" y="99"/>
                  </a:cubicBezTo>
                  <a:cubicBezTo>
                    <a:pt x="129" y="98"/>
                    <a:pt x="131" y="97"/>
                    <a:pt x="133" y="96"/>
                  </a:cubicBezTo>
                  <a:cubicBezTo>
                    <a:pt x="144" y="91"/>
                    <a:pt x="152" y="95"/>
                    <a:pt x="166" y="97"/>
                  </a:cubicBezTo>
                  <a:cubicBezTo>
                    <a:pt x="185" y="99"/>
                    <a:pt x="219" y="92"/>
                    <a:pt x="230" y="73"/>
                  </a:cubicBezTo>
                  <a:cubicBezTo>
                    <a:pt x="229" y="72"/>
                    <a:pt x="229" y="72"/>
                    <a:pt x="229" y="72"/>
                  </a:cubicBezTo>
                  <a:cubicBezTo>
                    <a:pt x="230" y="72"/>
                    <a:pt x="230" y="72"/>
                    <a:pt x="230" y="72"/>
                  </a:cubicBezTo>
                  <a:cubicBezTo>
                    <a:pt x="230" y="72"/>
                    <a:pt x="230" y="72"/>
                    <a:pt x="230" y="71"/>
                  </a:cubicBezTo>
                  <a:cubicBezTo>
                    <a:pt x="230" y="71"/>
                    <a:pt x="230" y="71"/>
                    <a:pt x="230" y="71"/>
                  </a:cubicBezTo>
                  <a:cubicBezTo>
                    <a:pt x="237" y="35"/>
                    <a:pt x="194" y="0"/>
                    <a:pt x="162" y="12"/>
                  </a:cubicBezTo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" name="Freeform 132"/>
            <p:cNvSpPr>
              <a:spLocks/>
            </p:cNvSpPr>
            <p:nvPr/>
          </p:nvSpPr>
          <p:spPr bwMode="auto">
            <a:xfrm>
              <a:off x="2074767" y="1492205"/>
              <a:ext cx="51655" cy="85079"/>
            </a:xfrm>
            <a:custGeom>
              <a:avLst/>
              <a:gdLst>
                <a:gd name="T0" fmla="*/ 36 w 36"/>
                <a:gd name="T1" fmla="*/ 3 h 59"/>
                <a:gd name="T2" fmla="*/ 3 w 36"/>
                <a:gd name="T3" fmla="*/ 26 h 59"/>
                <a:gd name="T4" fmla="*/ 26 w 36"/>
                <a:gd name="T5" fmla="*/ 59 h 59"/>
                <a:gd name="T6" fmla="*/ 36 w 36"/>
                <a:gd name="T7" fmla="*/ 3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59">
                  <a:moveTo>
                    <a:pt x="36" y="3"/>
                  </a:moveTo>
                  <a:cubicBezTo>
                    <a:pt x="20" y="0"/>
                    <a:pt x="5" y="10"/>
                    <a:pt x="3" y="26"/>
                  </a:cubicBezTo>
                  <a:cubicBezTo>
                    <a:pt x="0" y="42"/>
                    <a:pt x="10" y="56"/>
                    <a:pt x="26" y="59"/>
                  </a:cubicBezTo>
                  <a:cubicBezTo>
                    <a:pt x="36" y="3"/>
                    <a:pt x="36" y="3"/>
                    <a:pt x="36" y="3"/>
                  </a:cubicBezTo>
                </a:path>
              </a:pathLst>
            </a:custGeom>
            <a:solidFill>
              <a:srgbClr val="FFFC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" name="Freeform 133"/>
            <p:cNvSpPr>
              <a:spLocks/>
            </p:cNvSpPr>
            <p:nvPr/>
          </p:nvSpPr>
          <p:spPr bwMode="auto">
            <a:xfrm>
              <a:off x="2117306" y="1516514"/>
              <a:ext cx="6077" cy="39501"/>
            </a:xfrm>
            <a:custGeom>
              <a:avLst/>
              <a:gdLst>
                <a:gd name="T0" fmla="*/ 5 w 5"/>
                <a:gd name="T1" fmla="*/ 0 h 28"/>
                <a:gd name="T2" fmla="*/ 0 w 5"/>
                <a:gd name="T3" fmla="*/ 28 h 28"/>
                <a:gd name="T4" fmla="*/ 0 w 5"/>
                <a:gd name="T5" fmla="*/ 28 h 28"/>
                <a:gd name="T6" fmla="*/ 5 w 5"/>
                <a:gd name="T7" fmla="*/ 0 h 28"/>
                <a:gd name="T8" fmla="*/ 5 w 5"/>
                <a:gd name="T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28">
                  <a:moveTo>
                    <a:pt x="5" y="0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</a:path>
              </a:pathLst>
            </a:custGeom>
            <a:solidFill>
              <a:srgbClr val="D9D6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" name="Freeform 134"/>
            <p:cNvSpPr>
              <a:spLocks/>
            </p:cNvSpPr>
            <p:nvPr/>
          </p:nvSpPr>
          <p:spPr bwMode="auto">
            <a:xfrm>
              <a:off x="2096036" y="1516514"/>
              <a:ext cx="27347" cy="39501"/>
            </a:xfrm>
            <a:custGeom>
              <a:avLst/>
              <a:gdLst>
                <a:gd name="T0" fmla="*/ 16 w 18"/>
                <a:gd name="T1" fmla="*/ 0 h 28"/>
                <a:gd name="T2" fmla="*/ 2 w 18"/>
                <a:gd name="T3" fmla="*/ 11 h 28"/>
                <a:gd name="T4" fmla="*/ 13 w 18"/>
                <a:gd name="T5" fmla="*/ 28 h 28"/>
                <a:gd name="T6" fmla="*/ 18 w 18"/>
                <a:gd name="T7" fmla="*/ 0 h 28"/>
                <a:gd name="T8" fmla="*/ 16 w 18"/>
                <a:gd name="T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28">
                  <a:moveTo>
                    <a:pt x="16" y="0"/>
                  </a:moveTo>
                  <a:cubicBezTo>
                    <a:pt x="9" y="0"/>
                    <a:pt x="3" y="4"/>
                    <a:pt x="2" y="11"/>
                  </a:cubicBezTo>
                  <a:cubicBezTo>
                    <a:pt x="0" y="19"/>
                    <a:pt x="6" y="27"/>
                    <a:pt x="13" y="28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6" y="0"/>
                  </a:cubicBezTo>
                </a:path>
              </a:pathLst>
            </a:custGeom>
            <a:solidFill>
              <a:srgbClr val="D9D6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4" name="Freeform 135"/>
            <p:cNvSpPr>
              <a:spLocks/>
            </p:cNvSpPr>
            <p:nvPr/>
          </p:nvSpPr>
          <p:spPr bwMode="auto">
            <a:xfrm>
              <a:off x="2199347" y="1540822"/>
              <a:ext cx="18231" cy="18231"/>
            </a:xfrm>
            <a:custGeom>
              <a:avLst/>
              <a:gdLst>
                <a:gd name="T0" fmla="*/ 12 w 12"/>
                <a:gd name="T1" fmla="*/ 7 h 12"/>
                <a:gd name="T2" fmla="*/ 5 w 12"/>
                <a:gd name="T3" fmla="*/ 11 h 12"/>
                <a:gd name="T4" fmla="*/ 1 w 12"/>
                <a:gd name="T5" fmla="*/ 5 h 12"/>
                <a:gd name="T6" fmla="*/ 7 w 12"/>
                <a:gd name="T7" fmla="*/ 0 h 12"/>
                <a:gd name="T8" fmla="*/ 12 w 12"/>
                <a:gd name="T9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12" y="7"/>
                  </a:moveTo>
                  <a:cubicBezTo>
                    <a:pt x="11" y="10"/>
                    <a:pt x="8" y="12"/>
                    <a:pt x="5" y="11"/>
                  </a:cubicBezTo>
                  <a:cubicBezTo>
                    <a:pt x="2" y="11"/>
                    <a:pt x="0" y="8"/>
                    <a:pt x="1" y="5"/>
                  </a:cubicBezTo>
                  <a:cubicBezTo>
                    <a:pt x="1" y="2"/>
                    <a:pt x="4" y="0"/>
                    <a:pt x="7" y="0"/>
                  </a:cubicBezTo>
                  <a:cubicBezTo>
                    <a:pt x="10" y="1"/>
                    <a:pt x="12" y="4"/>
                    <a:pt x="12" y="7"/>
                  </a:cubicBezTo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5" name="Freeform 136"/>
            <p:cNvSpPr>
              <a:spLocks/>
            </p:cNvSpPr>
            <p:nvPr/>
          </p:nvSpPr>
          <p:spPr bwMode="auto">
            <a:xfrm>
              <a:off x="3764194" y="1732250"/>
              <a:ext cx="142811" cy="60771"/>
            </a:xfrm>
            <a:custGeom>
              <a:avLst/>
              <a:gdLst>
                <a:gd name="T0" fmla="*/ 31 w 99"/>
                <a:gd name="T1" fmla="*/ 41 h 41"/>
                <a:gd name="T2" fmla="*/ 0 w 99"/>
                <a:gd name="T3" fmla="*/ 2 h 41"/>
                <a:gd name="T4" fmla="*/ 0 w 99"/>
                <a:gd name="T5" fmla="*/ 0 h 41"/>
                <a:gd name="T6" fmla="*/ 1 w 99"/>
                <a:gd name="T7" fmla="*/ 0 h 41"/>
                <a:gd name="T8" fmla="*/ 32 w 99"/>
                <a:gd name="T9" fmla="*/ 38 h 41"/>
                <a:gd name="T10" fmla="*/ 44 w 99"/>
                <a:gd name="T11" fmla="*/ 30 h 41"/>
                <a:gd name="T12" fmla="*/ 57 w 99"/>
                <a:gd name="T13" fmla="*/ 39 h 41"/>
                <a:gd name="T14" fmla="*/ 97 w 99"/>
                <a:gd name="T15" fmla="*/ 0 h 41"/>
                <a:gd name="T16" fmla="*/ 99 w 99"/>
                <a:gd name="T17" fmla="*/ 0 h 41"/>
                <a:gd name="T18" fmla="*/ 99 w 99"/>
                <a:gd name="T19" fmla="*/ 2 h 41"/>
                <a:gd name="T20" fmla="*/ 58 w 99"/>
                <a:gd name="T21" fmla="*/ 41 h 41"/>
                <a:gd name="T22" fmla="*/ 44 w 99"/>
                <a:gd name="T23" fmla="*/ 32 h 41"/>
                <a:gd name="T24" fmla="*/ 31 w 99"/>
                <a:gd name="T25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9" h="41">
                  <a:moveTo>
                    <a:pt x="31" y="41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57" y="39"/>
                    <a:pt x="57" y="39"/>
                    <a:pt x="57" y="39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98" y="0"/>
                    <a:pt x="98" y="0"/>
                    <a:pt x="99" y="0"/>
                  </a:cubicBezTo>
                  <a:cubicBezTo>
                    <a:pt x="99" y="1"/>
                    <a:pt x="99" y="1"/>
                    <a:pt x="99" y="2"/>
                  </a:cubicBezTo>
                  <a:cubicBezTo>
                    <a:pt x="58" y="41"/>
                    <a:pt x="58" y="41"/>
                    <a:pt x="58" y="41"/>
                  </a:cubicBezTo>
                  <a:cubicBezTo>
                    <a:pt x="44" y="32"/>
                    <a:pt x="44" y="32"/>
                    <a:pt x="44" y="32"/>
                  </a:cubicBezTo>
                  <a:lnTo>
                    <a:pt x="31" y="41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6" name="Freeform 137"/>
            <p:cNvSpPr>
              <a:spLocks/>
            </p:cNvSpPr>
            <p:nvPr/>
          </p:nvSpPr>
          <p:spPr bwMode="auto">
            <a:xfrm>
              <a:off x="3824965" y="1777828"/>
              <a:ext cx="21270" cy="82041"/>
            </a:xfrm>
            <a:custGeom>
              <a:avLst/>
              <a:gdLst>
                <a:gd name="T0" fmla="*/ 14 w 15"/>
                <a:gd name="T1" fmla="*/ 59 h 59"/>
                <a:gd name="T2" fmla="*/ 0 w 15"/>
                <a:gd name="T3" fmla="*/ 59 h 59"/>
                <a:gd name="T4" fmla="*/ 0 w 15"/>
                <a:gd name="T5" fmla="*/ 1 h 59"/>
                <a:gd name="T6" fmla="*/ 1 w 15"/>
                <a:gd name="T7" fmla="*/ 0 h 59"/>
                <a:gd name="T8" fmla="*/ 2 w 15"/>
                <a:gd name="T9" fmla="*/ 1 h 59"/>
                <a:gd name="T10" fmla="*/ 2 w 15"/>
                <a:gd name="T11" fmla="*/ 57 h 59"/>
                <a:gd name="T12" fmla="*/ 14 w 15"/>
                <a:gd name="T13" fmla="*/ 57 h 59"/>
                <a:gd name="T14" fmla="*/ 15 w 15"/>
                <a:gd name="T15" fmla="*/ 58 h 59"/>
                <a:gd name="T16" fmla="*/ 14 w 15"/>
                <a:gd name="T17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59">
                  <a:moveTo>
                    <a:pt x="14" y="59"/>
                  </a:moveTo>
                  <a:cubicBezTo>
                    <a:pt x="0" y="59"/>
                    <a:pt x="0" y="59"/>
                    <a:pt x="0" y="5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2" y="0"/>
                    <a:pt x="2" y="0"/>
                    <a:pt x="2" y="1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14" y="57"/>
                    <a:pt x="14" y="57"/>
                    <a:pt x="14" y="57"/>
                  </a:cubicBezTo>
                  <a:cubicBezTo>
                    <a:pt x="15" y="57"/>
                    <a:pt x="15" y="58"/>
                    <a:pt x="15" y="58"/>
                  </a:cubicBezTo>
                  <a:cubicBezTo>
                    <a:pt x="15" y="59"/>
                    <a:pt x="15" y="59"/>
                    <a:pt x="14" y="59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7" name="Freeform 138"/>
            <p:cNvSpPr>
              <a:spLocks/>
            </p:cNvSpPr>
            <p:nvPr/>
          </p:nvSpPr>
          <p:spPr bwMode="auto">
            <a:xfrm>
              <a:off x="2020073" y="1726173"/>
              <a:ext cx="154965" cy="69886"/>
            </a:xfrm>
            <a:custGeom>
              <a:avLst/>
              <a:gdLst>
                <a:gd name="T0" fmla="*/ 74 w 108"/>
                <a:gd name="T1" fmla="*/ 48 h 48"/>
                <a:gd name="T2" fmla="*/ 60 w 108"/>
                <a:gd name="T3" fmla="*/ 34 h 48"/>
                <a:gd name="T4" fmla="*/ 45 w 108"/>
                <a:gd name="T5" fmla="*/ 48 h 48"/>
                <a:gd name="T6" fmla="*/ 1 w 108"/>
                <a:gd name="T7" fmla="*/ 1 h 48"/>
                <a:gd name="T8" fmla="*/ 1 w 108"/>
                <a:gd name="T9" fmla="*/ 0 h 48"/>
                <a:gd name="T10" fmla="*/ 2 w 108"/>
                <a:gd name="T11" fmla="*/ 0 h 48"/>
                <a:gd name="T12" fmla="*/ 45 w 108"/>
                <a:gd name="T13" fmla="*/ 45 h 48"/>
                <a:gd name="T14" fmla="*/ 60 w 108"/>
                <a:gd name="T15" fmla="*/ 31 h 48"/>
                <a:gd name="T16" fmla="*/ 73 w 108"/>
                <a:gd name="T17" fmla="*/ 45 h 48"/>
                <a:gd name="T18" fmla="*/ 106 w 108"/>
                <a:gd name="T19" fmla="*/ 0 h 48"/>
                <a:gd name="T20" fmla="*/ 107 w 108"/>
                <a:gd name="T21" fmla="*/ 0 h 48"/>
                <a:gd name="T22" fmla="*/ 107 w 108"/>
                <a:gd name="T23" fmla="*/ 1 h 48"/>
                <a:gd name="T24" fmla="*/ 74 w 108"/>
                <a:gd name="T25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8" h="48">
                  <a:moveTo>
                    <a:pt x="74" y="48"/>
                  </a:moveTo>
                  <a:cubicBezTo>
                    <a:pt x="60" y="34"/>
                    <a:pt x="60" y="34"/>
                    <a:pt x="60" y="34"/>
                  </a:cubicBezTo>
                  <a:cubicBezTo>
                    <a:pt x="45" y="48"/>
                    <a:pt x="45" y="48"/>
                    <a:pt x="45" y="48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60" y="31"/>
                    <a:pt x="60" y="31"/>
                    <a:pt x="60" y="31"/>
                  </a:cubicBezTo>
                  <a:cubicBezTo>
                    <a:pt x="73" y="45"/>
                    <a:pt x="73" y="45"/>
                    <a:pt x="73" y="45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6" y="0"/>
                    <a:pt x="107" y="0"/>
                    <a:pt x="107" y="0"/>
                  </a:cubicBezTo>
                  <a:cubicBezTo>
                    <a:pt x="108" y="0"/>
                    <a:pt x="108" y="1"/>
                    <a:pt x="107" y="1"/>
                  </a:cubicBezTo>
                  <a:lnTo>
                    <a:pt x="74" y="48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8" name="Freeform 139"/>
            <p:cNvSpPr>
              <a:spLocks/>
            </p:cNvSpPr>
            <p:nvPr/>
          </p:nvSpPr>
          <p:spPr bwMode="auto">
            <a:xfrm>
              <a:off x="1889416" y="1628940"/>
              <a:ext cx="209659" cy="206621"/>
            </a:xfrm>
            <a:custGeom>
              <a:avLst/>
              <a:gdLst>
                <a:gd name="T0" fmla="*/ 134 w 146"/>
                <a:gd name="T1" fmla="*/ 0 h 145"/>
                <a:gd name="T2" fmla="*/ 12 w 146"/>
                <a:gd name="T3" fmla="*/ 145 h 145"/>
                <a:gd name="T4" fmla="*/ 134 w 146"/>
                <a:gd name="T5" fmla="*/ 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6" h="145">
                  <a:moveTo>
                    <a:pt x="134" y="0"/>
                  </a:moveTo>
                  <a:cubicBezTo>
                    <a:pt x="134" y="0"/>
                    <a:pt x="0" y="11"/>
                    <a:pt x="12" y="145"/>
                  </a:cubicBezTo>
                  <a:cubicBezTo>
                    <a:pt x="12" y="145"/>
                    <a:pt x="146" y="134"/>
                    <a:pt x="134" y="0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57674597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1877592" y="1530700"/>
            <a:ext cx="5203258" cy="3001983"/>
            <a:chOff x="10242047" y="3652181"/>
            <a:chExt cx="1762442" cy="1016830"/>
          </a:xfrm>
        </p:grpSpPr>
        <p:sp>
          <p:nvSpPr>
            <p:cNvPr id="3" name="Freeform 2"/>
            <p:cNvSpPr>
              <a:spLocks noEditPoints="1"/>
            </p:cNvSpPr>
            <p:nvPr/>
          </p:nvSpPr>
          <p:spPr bwMode="auto">
            <a:xfrm>
              <a:off x="11652254" y="3957895"/>
              <a:ext cx="352235" cy="711116"/>
            </a:xfrm>
            <a:custGeom>
              <a:avLst/>
              <a:gdLst>
                <a:gd name="T0" fmla="*/ 65 w 67"/>
                <a:gd name="T1" fmla="*/ 0 h 135"/>
                <a:gd name="T2" fmla="*/ 1 w 67"/>
                <a:gd name="T3" fmla="*/ 0 h 135"/>
                <a:gd name="T4" fmla="*/ 0 w 67"/>
                <a:gd name="T5" fmla="*/ 2 h 135"/>
                <a:gd name="T6" fmla="*/ 0 w 67"/>
                <a:gd name="T7" fmla="*/ 28 h 135"/>
                <a:gd name="T8" fmla="*/ 0 w 67"/>
                <a:gd name="T9" fmla="*/ 30 h 135"/>
                <a:gd name="T10" fmla="*/ 0 w 67"/>
                <a:gd name="T11" fmla="*/ 134 h 135"/>
                <a:gd name="T12" fmla="*/ 1 w 67"/>
                <a:gd name="T13" fmla="*/ 135 h 135"/>
                <a:gd name="T14" fmla="*/ 65 w 67"/>
                <a:gd name="T15" fmla="*/ 135 h 135"/>
                <a:gd name="T16" fmla="*/ 67 w 67"/>
                <a:gd name="T17" fmla="*/ 134 h 135"/>
                <a:gd name="T18" fmla="*/ 67 w 67"/>
                <a:gd name="T19" fmla="*/ 30 h 135"/>
                <a:gd name="T20" fmla="*/ 67 w 67"/>
                <a:gd name="T21" fmla="*/ 28 h 135"/>
                <a:gd name="T22" fmla="*/ 67 w 67"/>
                <a:gd name="T23" fmla="*/ 2 h 135"/>
                <a:gd name="T24" fmla="*/ 65 w 67"/>
                <a:gd name="T25" fmla="*/ 0 h 135"/>
                <a:gd name="T26" fmla="*/ 8 w 67"/>
                <a:gd name="T27" fmla="*/ 21 h 135"/>
                <a:gd name="T28" fmla="*/ 8 w 67"/>
                <a:gd name="T29" fmla="*/ 14 h 135"/>
                <a:gd name="T30" fmla="*/ 9 w 67"/>
                <a:gd name="T31" fmla="*/ 13 h 135"/>
                <a:gd name="T32" fmla="*/ 57 w 67"/>
                <a:gd name="T33" fmla="*/ 13 h 135"/>
                <a:gd name="T34" fmla="*/ 59 w 67"/>
                <a:gd name="T35" fmla="*/ 14 h 135"/>
                <a:gd name="T36" fmla="*/ 59 w 67"/>
                <a:gd name="T37" fmla="*/ 21 h 135"/>
                <a:gd name="T38" fmla="*/ 57 w 67"/>
                <a:gd name="T39" fmla="*/ 23 h 135"/>
                <a:gd name="T40" fmla="*/ 9 w 67"/>
                <a:gd name="T41" fmla="*/ 23 h 135"/>
                <a:gd name="T42" fmla="*/ 8 w 67"/>
                <a:gd name="T43" fmla="*/ 21 h 135"/>
                <a:gd name="T44" fmla="*/ 53 w 67"/>
                <a:gd name="T45" fmla="*/ 64 h 135"/>
                <a:gd name="T46" fmla="*/ 49 w 67"/>
                <a:gd name="T47" fmla="*/ 59 h 135"/>
                <a:gd name="T48" fmla="*/ 53 w 67"/>
                <a:gd name="T49" fmla="*/ 55 h 135"/>
                <a:gd name="T50" fmla="*/ 58 w 67"/>
                <a:gd name="T51" fmla="*/ 59 h 135"/>
                <a:gd name="T52" fmla="*/ 53 w 67"/>
                <a:gd name="T53" fmla="*/ 64 h 135"/>
                <a:gd name="T54" fmla="*/ 53 w 67"/>
                <a:gd name="T55" fmla="*/ 49 h 135"/>
                <a:gd name="T56" fmla="*/ 47 w 67"/>
                <a:gd name="T57" fmla="*/ 43 h 135"/>
                <a:gd name="T58" fmla="*/ 53 w 67"/>
                <a:gd name="T59" fmla="*/ 37 h 135"/>
                <a:gd name="T60" fmla="*/ 60 w 67"/>
                <a:gd name="T61" fmla="*/ 43 h 135"/>
                <a:gd name="T62" fmla="*/ 53 w 67"/>
                <a:gd name="T63" fmla="*/ 49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7" h="135">
                  <a:moveTo>
                    <a:pt x="65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34"/>
                    <a:pt x="0" y="134"/>
                    <a:pt x="0" y="134"/>
                  </a:cubicBezTo>
                  <a:cubicBezTo>
                    <a:pt x="0" y="135"/>
                    <a:pt x="0" y="135"/>
                    <a:pt x="1" y="135"/>
                  </a:cubicBezTo>
                  <a:cubicBezTo>
                    <a:pt x="65" y="135"/>
                    <a:pt x="65" y="135"/>
                    <a:pt x="65" y="135"/>
                  </a:cubicBezTo>
                  <a:cubicBezTo>
                    <a:pt x="66" y="135"/>
                    <a:pt x="67" y="135"/>
                    <a:pt x="67" y="134"/>
                  </a:cubicBezTo>
                  <a:cubicBezTo>
                    <a:pt x="67" y="30"/>
                    <a:pt x="67" y="30"/>
                    <a:pt x="67" y="30"/>
                  </a:cubicBezTo>
                  <a:cubicBezTo>
                    <a:pt x="67" y="28"/>
                    <a:pt x="67" y="28"/>
                    <a:pt x="67" y="28"/>
                  </a:cubicBezTo>
                  <a:cubicBezTo>
                    <a:pt x="67" y="2"/>
                    <a:pt x="67" y="2"/>
                    <a:pt x="67" y="2"/>
                  </a:cubicBezTo>
                  <a:cubicBezTo>
                    <a:pt x="67" y="1"/>
                    <a:pt x="66" y="0"/>
                    <a:pt x="65" y="0"/>
                  </a:cubicBezTo>
                  <a:close/>
                  <a:moveTo>
                    <a:pt x="8" y="21"/>
                  </a:moveTo>
                  <a:cubicBezTo>
                    <a:pt x="8" y="14"/>
                    <a:pt x="8" y="14"/>
                    <a:pt x="8" y="14"/>
                  </a:cubicBezTo>
                  <a:cubicBezTo>
                    <a:pt x="8" y="13"/>
                    <a:pt x="8" y="13"/>
                    <a:pt x="9" y="13"/>
                  </a:cubicBezTo>
                  <a:cubicBezTo>
                    <a:pt x="57" y="13"/>
                    <a:pt x="57" y="13"/>
                    <a:pt x="57" y="13"/>
                  </a:cubicBezTo>
                  <a:cubicBezTo>
                    <a:pt x="58" y="13"/>
                    <a:pt x="59" y="13"/>
                    <a:pt x="59" y="14"/>
                  </a:cubicBezTo>
                  <a:cubicBezTo>
                    <a:pt x="59" y="21"/>
                    <a:pt x="59" y="21"/>
                    <a:pt x="59" y="21"/>
                  </a:cubicBezTo>
                  <a:cubicBezTo>
                    <a:pt x="59" y="22"/>
                    <a:pt x="58" y="23"/>
                    <a:pt x="57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3"/>
                    <a:pt x="8" y="22"/>
                    <a:pt x="8" y="21"/>
                  </a:cubicBezTo>
                  <a:close/>
                  <a:moveTo>
                    <a:pt x="53" y="64"/>
                  </a:moveTo>
                  <a:cubicBezTo>
                    <a:pt x="51" y="64"/>
                    <a:pt x="49" y="62"/>
                    <a:pt x="49" y="59"/>
                  </a:cubicBezTo>
                  <a:cubicBezTo>
                    <a:pt x="49" y="57"/>
                    <a:pt x="51" y="55"/>
                    <a:pt x="53" y="55"/>
                  </a:cubicBezTo>
                  <a:cubicBezTo>
                    <a:pt x="56" y="55"/>
                    <a:pt x="58" y="57"/>
                    <a:pt x="58" y="59"/>
                  </a:cubicBezTo>
                  <a:cubicBezTo>
                    <a:pt x="58" y="62"/>
                    <a:pt x="56" y="64"/>
                    <a:pt x="53" y="64"/>
                  </a:cubicBezTo>
                  <a:close/>
                  <a:moveTo>
                    <a:pt x="53" y="49"/>
                  </a:moveTo>
                  <a:cubicBezTo>
                    <a:pt x="50" y="49"/>
                    <a:pt x="47" y="46"/>
                    <a:pt x="47" y="43"/>
                  </a:cubicBezTo>
                  <a:cubicBezTo>
                    <a:pt x="47" y="39"/>
                    <a:pt x="50" y="37"/>
                    <a:pt x="53" y="37"/>
                  </a:cubicBezTo>
                  <a:cubicBezTo>
                    <a:pt x="57" y="37"/>
                    <a:pt x="60" y="39"/>
                    <a:pt x="60" y="43"/>
                  </a:cubicBezTo>
                  <a:cubicBezTo>
                    <a:pt x="60" y="46"/>
                    <a:pt x="57" y="49"/>
                    <a:pt x="53" y="49"/>
                  </a:cubicBezTo>
                  <a:close/>
                </a:path>
              </a:pathLst>
            </a:custGeom>
            <a:solidFill>
              <a:srgbClr val="008272"/>
            </a:solidFill>
            <a:ln>
              <a:noFill/>
            </a:ln>
            <a:extLst>
              <a:ext uri="{91240B29-F687-4f45-9708-019B960494DF}">
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32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" name="Rounded Rectangle 3"/>
            <p:cNvSpPr/>
            <p:nvPr/>
          </p:nvSpPr>
          <p:spPr bwMode="auto">
            <a:xfrm>
              <a:off x="10250037" y="3670916"/>
              <a:ext cx="1313208" cy="849669"/>
            </a:xfrm>
            <a:prstGeom prst="roundRect">
              <a:avLst>
                <a:gd name="adj" fmla="val 9100"/>
              </a:avLst>
            </a:prstGeom>
            <a:solidFill>
              <a:srgbClr val="FFFFF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3247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 smtClean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Freeform 4"/>
            <p:cNvSpPr>
              <a:spLocks noEditPoints="1"/>
            </p:cNvSpPr>
            <p:nvPr/>
          </p:nvSpPr>
          <p:spPr bwMode="auto">
            <a:xfrm>
              <a:off x="10242047" y="3652181"/>
              <a:ext cx="1329189" cy="1016830"/>
            </a:xfrm>
            <a:custGeom>
              <a:avLst/>
              <a:gdLst>
                <a:gd name="T0" fmla="*/ 244 w 252"/>
                <a:gd name="T1" fmla="*/ 0 h 193"/>
                <a:gd name="T2" fmla="*/ 8 w 252"/>
                <a:gd name="T3" fmla="*/ 0 h 193"/>
                <a:gd name="T4" fmla="*/ 0 w 252"/>
                <a:gd name="T5" fmla="*/ 7 h 193"/>
                <a:gd name="T6" fmla="*/ 0 w 252"/>
                <a:gd name="T7" fmla="*/ 161 h 193"/>
                <a:gd name="T8" fmla="*/ 8 w 252"/>
                <a:gd name="T9" fmla="*/ 168 h 193"/>
                <a:gd name="T10" fmla="*/ 86 w 252"/>
                <a:gd name="T11" fmla="*/ 168 h 193"/>
                <a:gd name="T12" fmla="*/ 86 w 252"/>
                <a:gd name="T13" fmla="*/ 179 h 193"/>
                <a:gd name="T14" fmla="*/ 69 w 252"/>
                <a:gd name="T15" fmla="*/ 193 h 193"/>
                <a:gd name="T16" fmla="*/ 188 w 252"/>
                <a:gd name="T17" fmla="*/ 193 h 193"/>
                <a:gd name="T18" fmla="*/ 171 w 252"/>
                <a:gd name="T19" fmla="*/ 179 h 193"/>
                <a:gd name="T20" fmla="*/ 171 w 252"/>
                <a:gd name="T21" fmla="*/ 168 h 193"/>
                <a:gd name="T22" fmla="*/ 244 w 252"/>
                <a:gd name="T23" fmla="*/ 168 h 193"/>
                <a:gd name="T24" fmla="*/ 252 w 252"/>
                <a:gd name="T25" fmla="*/ 161 h 193"/>
                <a:gd name="T26" fmla="*/ 252 w 252"/>
                <a:gd name="T27" fmla="*/ 7 h 193"/>
                <a:gd name="T28" fmla="*/ 244 w 252"/>
                <a:gd name="T29" fmla="*/ 0 h 193"/>
                <a:gd name="T30" fmla="*/ 238 w 252"/>
                <a:gd name="T31" fmla="*/ 149 h 193"/>
                <a:gd name="T32" fmla="*/ 231 w 252"/>
                <a:gd name="T33" fmla="*/ 155 h 193"/>
                <a:gd name="T34" fmla="*/ 22 w 252"/>
                <a:gd name="T35" fmla="*/ 155 h 193"/>
                <a:gd name="T36" fmla="*/ 15 w 252"/>
                <a:gd name="T37" fmla="*/ 149 h 193"/>
                <a:gd name="T38" fmla="*/ 15 w 252"/>
                <a:gd name="T39" fmla="*/ 19 h 193"/>
                <a:gd name="T40" fmla="*/ 22 w 252"/>
                <a:gd name="T41" fmla="*/ 13 h 193"/>
                <a:gd name="T42" fmla="*/ 231 w 252"/>
                <a:gd name="T43" fmla="*/ 13 h 193"/>
                <a:gd name="T44" fmla="*/ 238 w 252"/>
                <a:gd name="T45" fmla="*/ 19 h 193"/>
                <a:gd name="T46" fmla="*/ 238 w 252"/>
                <a:gd name="T47" fmla="*/ 149 h 193"/>
                <a:gd name="T48" fmla="*/ 238 w 252"/>
                <a:gd name="T49" fmla="*/ 149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52" h="193">
                  <a:moveTo>
                    <a:pt x="24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3"/>
                    <a:pt x="0" y="7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5"/>
                    <a:pt x="4" y="168"/>
                    <a:pt x="8" y="168"/>
                  </a:cubicBezTo>
                  <a:cubicBezTo>
                    <a:pt x="86" y="168"/>
                    <a:pt x="86" y="168"/>
                    <a:pt x="86" y="168"/>
                  </a:cubicBezTo>
                  <a:cubicBezTo>
                    <a:pt x="86" y="179"/>
                    <a:pt x="86" y="179"/>
                    <a:pt x="86" y="179"/>
                  </a:cubicBezTo>
                  <a:cubicBezTo>
                    <a:pt x="69" y="193"/>
                    <a:pt x="69" y="193"/>
                    <a:pt x="69" y="193"/>
                  </a:cubicBezTo>
                  <a:cubicBezTo>
                    <a:pt x="188" y="193"/>
                    <a:pt x="188" y="193"/>
                    <a:pt x="188" y="193"/>
                  </a:cubicBezTo>
                  <a:cubicBezTo>
                    <a:pt x="171" y="179"/>
                    <a:pt x="171" y="179"/>
                    <a:pt x="171" y="179"/>
                  </a:cubicBezTo>
                  <a:cubicBezTo>
                    <a:pt x="171" y="168"/>
                    <a:pt x="171" y="168"/>
                    <a:pt x="171" y="168"/>
                  </a:cubicBezTo>
                  <a:cubicBezTo>
                    <a:pt x="244" y="168"/>
                    <a:pt x="244" y="168"/>
                    <a:pt x="244" y="168"/>
                  </a:cubicBezTo>
                  <a:cubicBezTo>
                    <a:pt x="249" y="168"/>
                    <a:pt x="252" y="165"/>
                    <a:pt x="252" y="161"/>
                  </a:cubicBezTo>
                  <a:cubicBezTo>
                    <a:pt x="252" y="7"/>
                    <a:pt x="252" y="7"/>
                    <a:pt x="252" y="7"/>
                  </a:cubicBezTo>
                  <a:cubicBezTo>
                    <a:pt x="252" y="3"/>
                    <a:pt x="249" y="0"/>
                    <a:pt x="244" y="0"/>
                  </a:cubicBezTo>
                  <a:close/>
                  <a:moveTo>
                    <a:pt x="238" y="149"/>
                  </a:moveTo>
                  <a:cubicBezTo>
                    <a:pt x="238" y="153"/>
                    <a:pt x="235" y="155"/>
                    <a:pt x="231" y="155"/>
                  </a:cubicBezTo>
                  <a:cubicBezTo>
                    <a:pt x="22" y="155"/>
                    <a:pt x="22" y="155"/>
                    <a:pt x="22" y="155"/>
                  </a:cubicBezTo>
                  <a:cubicBezTo>
                    <a:pt x="18" y="155"/>
                    <a:pt x="15" y="153"/>
                    <a:pt x="15" y="149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5" y="15"/>
                    <a:pt x="18" y="13"/>
                    <a:pt x="22" y="13"/>
                  </a:cubicBezTo>
                  <a:cubicBezTo>
                    <a:pt x="231" y="13"/>
                    <a:pt x="231" y="13"/>
                    <a:pt x="231" y="13"/>
                  </a:cubicBezTo>
                  <a:cubicBezTo>
                    <a:pt x="235" y="13"/>
                    <a:pt x="238" y="15"/>
                    <a:pt x="238" y="19"/>
                  </a:cubicBezTo>
                  <a:cubicBezTo>
                    <a:pt x="238" y="149"/>
                    <a:pt x="238" y="149"/>
                    <a:pt x="238" y="149"/>
                  </a:cubicBezTo>
                  <a:cubicBezTo>
                    <a:pt x="238" y="149"/>
                    <a:pt x="238" y="149"/>
                    <a:pt x="238" y="149"/>
                  </a:cubicBezTo>
                  <a:close/>
                </a:path>
              </a:pathLst>
            </a:custGeom>
            <a:solidFill>
              <a:srgbClr val="008272"/>
            </a:solidFill>
            <a:ln>
              <a:noFill/>
            </a:ln>
            <a:extLst>
              <a:ext uri="{91240B29-F687-4f45-9708-019B960494DF}">
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32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grpSp>
          <p:nvGrpSpPr>
            <p:cNvPr id="6" name="Group 5"/>
            <p:cNvGrpSpPr>
              <a:grpSpLocks noChangeAspect="1"/>
            </p:cNvGrpSpPr>
            <p:nvPr/>
          </p:nvGrpSpPr>
          <p:grpSpPr bwMode="auto">
            <a:xfrm>
              <a:off x="11092239" y="4084112"/>
              <a:ext cx="234950" cy="230188"/>
              <a:chOff x="3843" y="2129"/>
              <a:chExt cx="148" cy="145"/>
            </a:xfrm>
          </p:grpSpPr>
          <p:sp>
            <p:nvSpPr>
              <p:cNvPr id="116" name="AutoShape 221"/>
              <p:cNvSpPr>
                <a:spLocks noChangeAspect="1" noChangeArrowheads="1" noTextEdit="1"/>
              </p:cNvSpPr>
              <p:nvPr/>
            </p:nvSpPr>
            <p:spPr bwMode="auto">
              <a:xfrm>
                <a:off x="3843" y="2132"/>
                <a:ext cx="148" cy="1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mc="http://schemas.openxmlformats.org/markup-compatibility/2006" xmlns:mv="urn:schemas-microsoft-com:mac:vml" xmlns:a14="http://schemas.microsoft.com/office/drawing/2010/main" xmlns="" xmlns:lc="http://schemas.openxmlformats.org/drawingml/2006/lockedCanvas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7" name="Freeform 116"/>
              <p:cNvSpPr>
                <a:spLocks/>
              </p:cNvSpPr>
              <p:nvPr/>
            </p:nvSpPr>
            <p:spPr bwMode="auto">
              <a:xfrm>
                <a:off x="3843" y="2129"/>
                <a:ext cx="145" cy="145"/>
              </a:xfrm>
              <a:custGeom>
                <a:avLst/>
                <a:gdLst>
                  <a:gd name="T0" fmla="*/ 145 w 145"/>
                  <a:gd name="T1" fmla="*/ 115 h 145"/>
                  <a:gd name="T2" fmla="*/ 101 w 145"/>
                  <a:gd name="T3" fmla="*/ 73 h 145"/>
                  <a:gd name="T4" fmla="*/ 131 w 145"/>
                  <a:gd name="T5" fmla="*/ 43 h 145"/>
                  <a:gd name="T6" fmla="*/ 0 w 145"/>
                  <a:gd name="T7" fmla="*/ 0 h 145"/>
                  <a:gd name="T8" fmla="*/ 44 w 145"/>
                  <a:gd name="T9" fmla="*/ 130 h 145"/>
                  <a:gd name="T10" fmla="*/ 74 w 145"/>
                  <a:gd name="T11" fmla="*/ 100 h 145"/>
                  <a:gd name="T12" fmla="*/ 116 w 145"/>
                  <a:gd name="T13" fmla="*/ 145 h 145"/>
                  <a:gd name="T14" fmla="*/ 145 w 145"/>
                  <a:gd name="T15" fmla="*/ 115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5" h="145">
                    <a:moveTo>
                      <a:pt x="145" y="115"/>
                    </a:moveTo>
                    <a:lnTo>
                      <a:pt x="101" y="73"/>
                    </a:lnTo>
                    <a:lnTo>
                      <a:pt x="131" y="43"/>
                    </a:lnTo>
                    <a:lnTo>
                      <a:pt x="0" y="0"/>
                    </a:lnTo>
                    <a:lnTo>
                      <a:pt x="44" y="130"/>
                    </a:lnTo>
                    <a:lnTo>
                      <a:pt x="74" y="100"/>
                    </a:lnTo>
                    <a:lnTo>
                      <a:pt x="116" y="145"/>
                    </a:lnTo>
                    <a:lnTo>
                      <a:pt x="145" y="115"/>
                    </a:lnTo>
                    <a:close/>
                  </a:path>
                </a:pathLst>
              </a:custGeom>
              <a:solidFill>
                <a:srgbClr val="008272"/>
              </a:solidFill>
              <a:ln>
                <a:noFill/>
              </a:ln>
              <a:extLst>
                <a:ext uri="{91240B29-F687-4f45-9708-019B960494DF}">
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7" name="Group 6"/>
            <p:cNvGrpSpPr/>
            <p:nvPr/>
          </p:nvGrpSpPr>
          <p:grpSpPr>
            <a:xfrm>
              <a:off x="10354660" y="3759008"/>
              <a:ext cx="715624" cy="670325"/>
              <a:chOff x="6343683" y="283594"/>
              <a:chExt cx="3437720" cy="3220107"/>
            </a:xfrm>
          </p:grpSpPr>
          <p:grpSp>
            <p:nvGrpSpPr>
              <p:cNvPr id="8" name="Group 7"/>
              <p:cNvGrpSpPr/>
              <p:nvPr/>
            </p:nvGrpSpPr>
            <p:grpSpPr>
              <a:xfrm>
                <a:off x="7095204" y="283594"/>
                <a:ext cx="1934603" cy="1261611"/>
                <a:chOff x="5897647" y="3902018"/>
                <a:chExt cx="1528785" cy="996936"/>
              </a:xfrm>
            </p:grpSpPr>
            <p:sp>
              <p:nvSpPr>
                <p:cNvPr id="98" name="Freeform 97"/>
                <p:cNvSpPr>
                  <a:spLocks/>
                </p:cNvSpPr>
                <p:nvPr/>
              </p:nvSpPr>
              <p:spPr bwMode="auto">
                <a:xfrm>
                  <a:off x="5897647" y="3902019"/>
                  <a:ext cx="1528785" cy="996935"/>
                </a:xfrm>
                <a:custGeom>
                  <a:avLst/>
                  <a:gdLst>
                    <a:gd name="T0" fmla="*/ 7709 w 7709"/>
                    <a:gd name="T1" fmla="*/ 4822 h 5026"/>
                    <a:gd name="T2" fmla="*/ 7709 w 7709"/>
                    <a:gd name="T3" fmla="*/ 4857 h 5026"/>
                    <a:gd name="T4" fmla="*/ 7700 w 7709"/>
                    <a:gd name="T5" fmla="*/ 4902 h 5026"/>
                    <a:gd name="T6" fmla="*/ 7673 w 7709"/>
                    <a:gd name="T7" fmla="*/ 4937 h 5026"/>
                    <a:gd name="T8" fmla="*/ 7646 w 7709"/>
                    <a:gd name="T9" fmla="*/ 4973 h 5026"/>
                    <a:gd name="T10" fmla="*/ 7620 w 7709"/>
                    <a:gd name="T11" fmla="*/ 4991 h 5026"/>
                    <a:gd name="T12" fmla="*/ 7584 w 7709"/>
                    <a:gd name="T13" fmla="*/ 5018 h 5026"/>
                    <a:gd name="T14" fmla="*/ 7540 w 7709"/>
                    <a:gd name="T15" fmla="*/ 5026 h 5026"/>
                    <a:gd name="T16" fmla="*/ 7504 w 7709"/>
                    <a:gd name="T17" fmla="*/ 5026 h 5026"/>
                    <a:gd name="T18" fmla="*/ 205 w 7709"/>
                    <a:gd name="T19" fmla="*/ 5026 h 5026"/>
                    <a:gd name="T20" fmla="*/ 169 w 7709"/>
                    <a:gd name="T21" fmla="*/ 5026 h 5026"/>
                    <a:gd name="T22" fmla="*/ 125 w 7709"/>
                    <a:gd name="T23" fmla="*/ 5018 h 5026"/>
                    <a:gd name="T24" fmla="*/ 89 w 7709"/>
                    <a:gd name="T25" fmla="*/ 4991 h 5026"/>
                    <a:gd name="T26" fmla="*/ 63 w 7709"/>
                    <a:gd name="T27" fmla="*/ 4973 h 5026"/>
                    <a:gd name="T28" fmla="*/ 36 w 7709"/>
                    <a:gd name="T29" fmla="*/ 4937 h 5026"/>
                    <a:gd name="T30" fmla="*/ 9 w 7709"/>
                    <a:gd name="T31" fmla="*/ 4902 h 5026"/>
                    <a:gd name="T32" fmla="*/ 0 w 7709"/>
                    <a:gd name="T33" fmla="*/ 4857 h 5026"/>
                    <a:gd name="T34" fmla="*/ 0 w 7709"/>
                    <a:gd name="T35" fmla="*/ 4822 h 5026"/>
                    <a:gd name="T36" fmla="*/ 0 w 7709"/>
                    <a:gd name="T37" fmla="*/ 214 h 5026"/>
                    <a:gd name="T38" fmla="*/ 0 w 7709"/>
                    <a:gd name="T39" fmla="*/ 169 h 5026"/>
                    <a:gd name="T40" fmla="*/ 9 w 7709"/>
                    <a:gd name="T41" fmla="*/ 133 h 5026"/>
                    <a:gd name="T42" fmla="*/ 36 w 7709"/>
                    <a:gd name="T43" fmla="*/ 98 h 5026"/>
                    <a:gd name="T44" fmla="*/ 63 w 7709"/>
                    <a:gd name="T45" fmla="*/ 62 h 5026"/>
                    <a:gd name="T46" fmla="*/ 89 w 7709"/>
                    <a:gd name="T47" fmla="*/ 36 h 5026"/>
                    <a:gd name="T48" fmla="*/ 125 w 7709"/>
                    <a:gd name="T49" fmla="*/ 18 h 5026"/>
                    <a:gd name="T50" fmla="*/ 169 w 7709"/>
                    <a:gd name="T51" fmla="*/ 9 h 5026"/>
                    <a:gd name="T52" fmla="*/ 205 w 7709"/>
                    <a:gd name="T53" fmla="*/ 0 h 5026"/>
                    <a:gd name="T54" fmla="*/ 7504 w 7709"/>
                    <a:gd name="T55" fmla="*/ 0 h 5026"/>
                    <a:gd name="T56" fmla="*/ 7540 w 7709"/>
                    <a:gd name="T57" fmla="*/ 9 h 5026"/>
                    <a:gd name="T58" fmla="*/ 7584 w 7709"/>
                    <a:gd name="T59" fmla="*/ 18 h 5026"/>
                    <a:gd name="T60" fmla="*/ 7620 w 7709"/>
                    <a:gd name="T61" fmla="*/ 36 h 5026"/>
                    <a:gd name="T62" fmla="*/ 7646 w 7709"/>
                    <a:gd name="T63" fmla="*/ 62 h 5026"/>
                    <a:gd name="T64" fmla="*/ 7673 w 7709"/>
                    <a:gd name="T65" fmla="*/ 98 h 5026"/>
                    <a:gd name="T66" fmla="*/ 7700 w 7709"/>
                    <a:gd name="T67" fmla="*/ 133 h 5026"/>
                    <a:gd name="T68" fmla="*/ 7709 w 7709"/>
                    <a:gd name="T69" fmla="*/ 169 h 5026"/>
                    <a:gd name="T70" fmla="*/ 7709 w 7709"/>
                    <a:gd name="T71" fmla="*/ 214 h 5026"/>
                    <a:gd name="T72" fmla="*/ 7709 w 7709"/>
                    <a:gd name="T73" fmla="*/ 4822 h 50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7709" h="5026">
                      <a:moveTo>
                        <a:pt x="7709" y="4822"/>
                      </a:moveTo>
                      <a:lnTo>
                        <a:pt x="7709" y="4857"/>
                      </a:lnTo>
                      <a:lnTo>
                        <a:pt x="7700" y="4902"/>
                      </a:lnTo>
                      <a:lnTo>
                        <a:pt x="7673" y="4937"/>
                      </a:lnTo>
                      <a:lnTo>
                        <a:pt x="7646" y="4973"/>
                      </a:lnTo>
                      <a:lnTo>
                        <a:pt x="7620" y="4991"/>
                      </a:lnTo>
                      <a:lnTo>
                        <a:pt x="7584" y="5018"/>
                      </a:lnTo>
                      <a:lnTo>
                        <a:pt x="7540" y="5026"/>
                      </a:lnTo>
                      <a:lnTo>
                        <a:pt x="7504" y="5026"/>
                      </a:lnTo>
                      <a:lnTo>
                        <a:pt x="205" y="5026"/>
                      </a:lnTo>
                      <a:lnTo>
                        <a:pt x="169" y="5026"/>
                      </a:lnTo>
                      <a:lnTo>
                        <a:pt x="125" y="5018"/>
                      </a:lnTo>
                      <a:lnTo>
                        <a:pt x="89" y="4991"/>
                      </a:lnTo>
                      <a:lnTo>
                        <a:pt x="63" y="4973"/>
                      </a:lnTo>
                      <a:lnTo>
                        <a:pt x="36" y="4937"/>
                      </a:lnTo>
                      <a:lnTo>
                        <a:pt x="9" y="4902"/>
                      </a:lnTo>
                      <a:lnTo>
                        <a:pt x="0" y="4857"/>
                      </a:lnTo>
                      <a:lnTo>
                        <a:pt x="0" y="4822"/>
                      </a:lnTo>
                      <a:lnTo>
                        <a:pt x="0" y="214"/>
                      </a:lnTo>
                      <a:lnTo>
                        <a:pt x="0" y="169"/>
                      </a:lnTo>
                      <a:lnTo>
                        <a:pt x="9" y="133"/>
                      </a:lnTo>
                      <a:lnTo>
                        <a:pt x="36" y="98"/>
                      </a:lnTo>
                      <a:lnTo>
                        <a:pt x="63" y="62"/>
                      </a:lnTo>
                      <a:lnTo>
                        <a:pt x="89" y="36"/>
                      </a:lnTo>
                      <a:lnTo>
                        <a:pt x="125" y="18"/>
                      </a:lnTo>
                      <a:lnTo>
                        <a:pt x="169" y="9"/>
                      </a:lnTo>
                      <a:lnTo>
                        <a:pt x="205" y="0"/>
                      </a:lnTo>
                      <a:lnTo>
                        <a:pt x="7504" y="0"/>
                      </a:lnTo>
                      <a:lnTo>
                        <a:pt x="7540" y="9"/>
                      </a:lnTo>
                      <a:lnTo>
                        <a:pt x="7584" y="18"/>
                      </a:lnTo>
                      <a:lnTo>
                        <a:pt x="7620" y="36"/>
                      </a:lnTo>
                      <a:lnTo>
                        <a:pt x="7646" y="62"/>
                      </a:lnTo>
                      <a:lnTo>
                        <a:pt x="7673" y="98"/>
                      </a:lnTo>
                      <a:lnTo>
                        <a:pt x="7700" y="133"/>
                      </a:lnTo>
                      <a:lnTo>
                        <a:pt x="7709" y="169"/>
                      </a:lnTo>
                      <a:lnTo>
                        <a:pt x="7709" y="214"/>
                      </a:lnTo>
                      <a:lnTo>
                        <a:pt x="7709" y="4822"/>
                      </a:lnTo>
                      <a:close/>
                    </a:path>
                  </a:pathLst>
                </a:custGeom>
                <a:solidFill>
                  <a:srgbClr val="FFFFFF">
                    <a:lumMod val="50000"/>
                  </a:srgb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defTabSz="93231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99" name="Freeform 98"/>
                <p:cNvSpPr>
                  <a:spLocks/>
                </p:cNvSpPr>
                <p:nvPr/>
              </p:nvSpPr>
              <p:spPr bwMode="auto">
                <a:xfrm>
                  <a:off x="5897651" y="3902018"/>
                  <a:ext cx="1511322" cy="979473"/>
                </a:xfrm>
                <a:custGeom>
                  <a:avLst/>
                  <a:gdLst>
                    <a:gd name="T0" fmla="*/ 7620 w 7620"/>
                    <a:gd name="T1" fmla="*/ 4733 h 4937"/>
                    <a:gd name="T2" fmla="*/ 7620 w 7620"/>
                    <a:gd name="T3" fmla="*/ 4768 h 4937"/>
                    <a:gd name="T4" fmla="*/ 7602 w 7620"/>
                    <a:gd name="T5" fmla="*/ 4813 h 4937"/>
                    <a:gd name="T6" fmla="*/ 7584 w 7620"/>
                    <a:gd name="T7" fmla="*/ 4849 h 4937"/>
                    <a:gd name="T8" fmla="*/ 7558 w 7620"/>
                    <a:gd name="T9" fmla="*/ 4875 h 4937"/>
                    <a:gd name="T10" fmla="*/ 7531 w 7620"/>
                    <a:gd name="T11" fmla="*/ 4902 h 4937"/>
                    <a:gd name="T12" fmla="*/ 7495 w 7620"/>
                    <a:gd name="T13" fmla="*/ 4920 h 4937"/>
                    <a:gd name="T14" fmla="*/ 7451 w 7620"/>
                    <a:gd name="T15" fmla="*/ 4937 h 4937"/>
                    <a:gd name="T16" fmla="*/ 7415 w 7620"/>
                    <a:gd name="T17" fmla="*/ 4937 h 4937"/>
                    <a:gd name="T18" fmla="*/ 205 w 7620"/>
                    <a:gd name="T19" fmla="*/ 4937 h 4937"/>
                    <a:gd name="T20" fmla="*/ 161 w 7620"/>
                    <a:gd name="T21" fmla="*/ 4937 h 4937"/>
                    <a:gd name="T22" fmla="*/ 125 w 7620"/>
                    <a:gd name="T23" fmla="*/ 4920 h 4937"/>
                    <a:gd name="T24" fmla="*/ 89 w 7620"/>
                    <a:gd name="T25" fmla="*/ 4902 h 4937"/>
                    <a:gd name="T26" fmla="*/ 63 w 7620"/>
                    <a:gd name="T27" fmla="*/ 4875 h 4937"/>
                    <a:gd name="T28" fmla="*/ 36 w 7620"/>
                    <a:gd name="T29" fmla="*/ 4849 h 4937"/>
                    <a:gd name="T30" fmla="*/ 9 w 7620"/>
                    <a:gd name="T31" fmla="*/ 4813 h 4937"/>
                    <a:gd name="T32" fmla="*/ 0 w 7620"/>
                    <a:gd name="T33" fmla="*/ 4768 h 4937"/>
                    <a:gd name="T34" fmla="*/ 0 w 7620"/>
                    <a:gd name="T35" fmla="*/ 4733 h 4937"/>
                    <a:gd name="T36" fmla="*/ 0 w 7620"/>
                    <a:gd name="T37" fmla="*/ 214 h 4937"/>
                    <a:gd name="T38" fmla="*/ 0 w 7620"/>
                    <a:gd name="T39" fmla="*/ 169 h 4937"/>
                    <a:gd name="T40" fmla="*/ 9 w 7620"/>
                    <a:gd name="T41" fmla="*/ 133 h 4937"/>
                    <a:gd name="T42" fmla="*/ 36 w 7620"/>
                    <a:gd name="T43" fmla="*/ 98 h 4937"/>
                    <a:gd name="T44" fmla="*/ 63 w 7620"/>
                    <a:gd name="T45" fmla="*/ 62 h 4937"/>
                    <a:gd name="T46" fmla="*/ 89 w 7620"/>
                    <a:gd name="T47" fmla="*/ 36 h 4937"/>
                    <a:gd name="T48" fmla="*/ 125 w 7620"/>
                    <a:gd name="T49" fmla="*/ 18 h 4937"/>
                    <a:gd name="T50" fmla="*/ 161 w 7620"/>
                    <a:gd name="T51" fmla="*/ 9 h 4937"/>
                    <a:gd name="T52" fmla="*/ 205 w 7620"/>
                    <a:gd name="T53" fmla="*/ 0 h 4937"/>
                    <a:gd name="T54" fmla="*/ 7415 w 7620"/>
                    <a:gd name="T55" fmla="*/ 0 h 4937"/>
                    <a:gd name="T56" fmla="*/ 7451 w 7620"/>
                    <a:gd name="T57" fmla="*/ 9 h 4937"/>
                    <a:gd name="T58" fmla="*/ 7495 w 7620"/>
                    <a:gd name="T59" fmla="*/ 18 h 4937"/>
                    <a:gd name="T60" fmla="*/ 7531 w 7620"/>
                    <a:gd name="T61" fmla="*/ 36 h 4937"/>
                    <a:gd name="T62" fmla="*/ 7558 w 7620"/>
                    <a:gd name="T63" fmla="*/ 62 h 4937"/>
                    <a:gd name="T64" fmla="*/ 7584 w 7620"/>
                    <a:gd name="T65" fmla="*/ 98 h 4937"/>
                    <a:gd name="T66" fmla="*/ 7602 w 7620"/>
                    <a:gd name="T67" fmla="*/ 133 h 4937"/>
                    <a:gd name="T68" fmla="*/ 7620 w 7620"/>
                    <a:gd name="T69" fmla="*/ 169 h 4937"/>
                    <a:gd name="T70" fmla="*/ 7620 w 7620"/>
                    <a:gd name="T71" fmla="*/ 214 h 4937"/>
                    <a:gd name="T72" fmla="*/ 7620 w 7620"/>
                    <a:gd name="T73" fmla="*/ 4733 h 49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7620" h="4937">
                      <a:moveTo>
                        <a:pt x="7620" y="4733"/>
                      </a:moveTo>
                      <a:lnTo>
                        <a:pt x="7620" y="4768"/>
                      </a:lnTo>
                      <a:lnTo>
                        <a:pt x="7602" y="4813"/>
                      </a:lnTo>
                      <a:lnTo>
                        <a:pt x="7584" y="4849"/>
                      </a:lnTo>
                      <a:lnTo>
                        <a:pt x="7558" y="4875"/>
                      </a:lnTo>
                      <a:lnTo>
                        <a:pt x="7531" y="4902"/>
                      </a:lnTo>
                      <a:lnTo>
                        <a:pt x="7495" y="4920"/>
                      </a:lnTo>
                      <a:lnTo>
                        <a:pt x="7451" y="4937"/>
                      </a:lnTo>
                      <a:lnTo>
                        <a:pt x="7415" y="4937"/>
                      </a:lnTo>
                      <a:lnTo>
                        <a:pt x="205" y="4937"/>
                      </a:lnTo>
                      <a:lnTo>
                        <a:pt x="161" y="4937"/>
                      </a:lnTo>
                      <a:lnTo>
                        <a:pt x="125" y="4920"/>
                      </a:lnTo>
                      <a:lnTo>
                        <a:pt x="89" y="4902"/>
                      </a:lnTo>
                      <a:lnTo>
                        <a:pt x="63" y="4875"/>
                      </a:lnTo>
                      <a:lnTo>
                        <a:pt x="36" y="4849"/>
                      </a:lnTo>
                      <a:lnTo>
                        <a:pt x="9" y="4813"/>
                      </a:lnTo>
                      <a:lnTo>
                        <a:pt x="0" y="4768"/>
                      </a:lnTo>
                      <a:lnTo>
                        <a:pt x="0" y="4733"/>
                      </a:lnTo>
                      <a:lnTo>
                        <a:pt x="0" y="214"/>
                      </a:lnTo>
                      <a:lnTo>
                        <a:pt x="0" y="169"/>
                      </a:lnTo>
                      <a:lnTo>
                        <a:pt x="9" y="133"/>
                      </a:lnTo>
                      <a:lnTo>
                        <a:pt x="36" y="98"/>
                      </a:lnTo>
                      <a:lnTo>
                        <a:pt x="63" y="62"/>
                      </a:lnTo>
                      <a:lnTo>
                        <a:pt x="89" y="36"/>
                      </a:lnTo>
                      <a:lnTo>
                        <a:pt x="125" y="18"/>
                      </a:lnTo>
                      <a:lnTo>
                        <a:pt x="161" y="9"/>
                      </a:lnTo>
                      <a:lnTo>
                        <a:pt x="205" y="0"/>
                      </a:lnTo>
                      <a:lnTo>
                        <a:pt x="7415" y="0"/>
                      </a:lnTo>
                      <a:lnTo>
                        <a:pt x="7451" y="9"/>
                      </a:lnTo>
                      <a:lnTo>
                        <a:pt x="7495" y="18"/>
                      </a:lnTo>
                      <a:lnTo>
                        <a:pt x="7531" y="36"/>
                      </a:lnTo>
                      <a:lnTo>
                        <a:pt x="7558" y="62"/>
                      </a:lnTo>
                      <a:lnTo>
                        <a:pt x="7584" y="98"/>
                      </a:lnTo>
                      <a:lnTo>
                        <a:pt x="7602" y="133"/>
                      </a:lnTo>
                      <a:lnTo>
                        <a:pt x="7620" y="169"/>
                      </a:lnTo>
                      <a:lnTo>
                        <a:pt x="7620" y="214"/>
                      </a:lnTo>
                      <a:lnTo>
                        <a:pt x="7620" y="4733"/>
                      </a:lnTo>
                      <a:close/>
                    </a:path>
                  </a:pathLst>
                </a:custGeom>
                <a:solidFill>
                  <a:srgbClr val="EEEFF1"/>
                </a:solidFill>
                <a:ln>
                  <a:noFill/>
                </a:ln>
                <a:extLst>
                  <a:ext uri="{91240B29-F687-4f45-9708-019B960494DF}">
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defTabSz="93231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00" name="Freeform 99"/>
                <p:cNvSpPr>
                  <a:spLocks/>
                </p:cNvSpPr>
                <p:nvPr/>
              </p:nvSpPr>
              <p:spPr bwMode="auto">
                <a:xfrm>
                  <a:off x="5918285" y="3916310"/>
                  <a:ext cx="1497035" cy="968360"/>
                </a:xfrm>
                <a:custGeom>
                  <a:avLst/>
                  <a:gdLst>
                    <a:gd name="T0" fmla="*/ 7539 w 7539"/>
                    <a:gd name="T1" fmla="*/ 4680 h 4884"/>
                    <a:gd name="T2" fmla="*/ 7531 w 7539"/>
                    <a:gd name="T3" fmla="*/ 4715 h 4884"/>
                    <a:gd name="T4" fmla="*/ 7522 w 7539"/>
                    <a:gd name="T5" fmla="*/ 4760 h 4884"/>
                    <a:gd name="T6" fmla="*/ 7504 w 7539"/>
                    <a:gd name="T7" fmla="*/ 4795 h 4884"/>
                    <a:gd name="T8" fmla="*/ 7477 w 7539"/>
                    <a:gd name="T9" fmla="*/ 4822 h 4884"/>
                    <a:gd name="T10" fmla="*/ 7441 w 7539"/>
                    <a:gd name="T11" fmla="*/ 4849 h 4884"/>
                    <a:gd name="T12" fmla="*/ 7406 w 7539"/>
                    <a:gd name="T13" fmla="*/ 4866 h 4884"/>
                    <a:gd name="T14" fmla="*/ 7370 w 7539"/>
                    <a:gd name="T15" fmla="*/ 4875 h 4884"/>
                    <a:gd name="T16" fmla="*/ 7326 w 7539"/>
                    <a:gd name="T17" fmla="*/ 4884 h 4884"/>
                    <a:gd name="T18" fmla="*/ 205 w 7539"/>
                    <a:gd name="T19" fmla="*/ 4884 h 4884"/>
                    <a:gd name="T20" fmla="*/ 160 w 7539"/>
                    <a:gd name="T21" fmla="*/ 4875 h 4884"/>
                    <a:gd name="T22" fmla="*/ 125 w 7539"/>
                    <a:gd name="T23" fmla="*/ 4866 h 4884"/>
                    <a:gd name="T24" fmla="*/ 89 w 7539"/>
                    <a:gd name="T25" fmla="*/ 4849 h 4884"/>
                    <a:gd name="T26" fmla="*/ 54 w 7539"/>
                    <a:gd name="T27" fmla="*/ 4822 h 4884"/>
                    <a:gd name="T28" fmla="*/ 36 w 7539"/>
                    <a:gd name="T29" fmla="*/ 4795 h 4884"/>
                    <a:gd name="T30" fmla="*/ 9 w 7539"/>
                    <a:gd name="T31" fmla="*/ 4760 h 4884"/>
                    <a:gd name="T32" fmla="*/ 0 w 7539"/>
                    <a:gd name="T33" fmla="*/ 4715 h 4884"/>
                    <a:gd name="T34" fmla="*/ 0 w 7539"/>
                    <a:gd name="T35" fmla="*/ 4680 h 4884"/>
                    <a:gd name="T36" fmla="*/ 0 w 7539"/>
                    <a:gd name="T37" fmla="*/ 205 h 4884"/>
                    <a:gd name="T38" fmla="*/ 0 w 7539"/>
                    <a:gd name="T39" fmla="*/ 169 h 4884"/>
                    <a:gd name="T40" fmla="*/ 9 w 7539"/>
                    <a:gd name="T41" fmla="*/ 125 h 4884"/>
                    <a:gd name="T42" fmla="*/ 36 w 7539"/>
                    <a:gd name="T43" fmla="*/ 89 h 4884"/>
                    <a:gd name="T44" fmla="*/ 54 w 7539"/>
                    <a:gd name="T45" fmla="*/ 62 h 4884"/>
                    <a:gd name="T46" fmla="*/ 89 w 7539"/>
                    <a:gd name="T47" fmla="*/ 36 h 4884"/>
                    <a:gd name="T48" fmla="*/ 125 w 7539"/>
                    <a:gd name="T49" fmla="*/ 18 h 4884"/>
                    <a:gd name="T50" fmla="*/ 160 w 7539"/>
                    <a:gd name="T51" fmla="*/ 9 h 4884"/>
                    <a:gd name="T52" fmla="*/ 205 w 7539"/>
                    <a:gd name="T53" fmla="*/ 0 h 4884"/>
                    <a:gd name="T54" fmla="*/ 7326 w 7539"/>
                    <a:gd name="T55" fmla="*/ 0 h 4884"/>
                    <a:gd name="T56" fmla="*/ 7370 w 7539"/>
                    <a:gd name="T57" fmla="*/ 9 h 4884"/>
                    <a:gd name="T58" fmla="*/ 7406 w 7539"/>
                    <a:gd name="T59" fmla="*/ 18 h 4884"/>
                    <a:gd name="T60" fmla="*/ 7441 w 7539"/>
                    <a:gd name="T61" fmla="*/ 36 h 4884"/>
                    <a:gd name="T62" fmla="*/ 7477 w 7539"/>
                    <a:gd name="T63" fmla="*/ 62 h 4884"/>
                    <a:gd name="T64" fmla="*/ 7504 w 7539"/>
                    <a:gd name="T65" fmla="*/ 89 h 4884"/>
                    <a:gd name="T66" fmla="*/ 7522 w 7539"/>
                    <a:gd name="T67" fmla="*/ 125 h 4884"/>
                    <a:gd name="T68" fmla="*/ 7531 w 7539"/>
                    <a:gd name="T69" fmla="*/ 169 h 4884"/>
                    <a:gd name="T70" fmla="*/ 7539 w 7539"/>
                    <a:gd name="T71" fmla="*/ 205 h 4884"/>
                    <a:gd name="T72" fmla="*/ 7539 w 7539"/>
                    <a:gd name="T73" fmla="*/ 4680 h 48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7539" h="4884">
                      <a:moveTo>
                        <a:pt x="7539" y="4680"/>
                      </a:moveTo>
                      <a:lnTo>
                        <a:pt x="7531" y="4715"/>
                      </a:lnTo>
                      <a:lnTo>
                        <a:pt x="7522" y="4760"/>
                      </a:lnTo>
                      <a:lnTo>
                        <a:pt x="7504" y="4795"/>
                      </a:lnTo>
                      <a:lnTo>
                        <a:pt x="7477" y="4822"/>
                      </a:lnTo>
                      <a:lnTo>
                        <a:pt x="7441" y="4849"/>
                      </a:lnTo>
                      <a:lnTo>
                        <a:pt x="7406" y="4866"/>
                      </a:lnTo>
                      <a:lnTo>
                        <a:pt x="7370" y="4875"/>
                      </a:lnTo>
                      <a:lnTo>
                        <a:pt x="7326" y="4884"/>
                      </a:lnTo>
                      <a:lnTo>
                        <a:pt x="205" y="4884"/>
                      </a:lnTo>
                      <a:lnTo>
                        <a:pt x="160" y="4875"/>
                      </a:lnTo>
                      <a:lnTo>
                        <a:pt x="125" y="4866"/>
                      </a:lnTo>
                      <a:lnTo>
                        <a:pt x="89" y="4849"/>
                      </a:lnTo>
                      <a:lnTo>
                        <a:pt x="54" y="4822"/>
                      </a:lnTo>
                      <a:lnTo>
                        <a:pt x="36" y="4795"/>
                      </a:lnTo>
                      <a:lnTo>
                        <a:pt x="9" y="4760"/>
                      </a:lnTo>
                      <a:lnTo>
                        <a:pt x="0" y="4715"/>
                      </a:lnTo>
                      <a:lnTo>
                        <a:pt x="0" y="4680"/>
                      </a:lnTo>
                      <a:lnTo>
                        <a:pt x="0" y="205"/>
                      </a:lnTo>
                      <a:lnTo>
                        <a:pt x="0" y="169"/>
                      </a:lnTo>
                      <a:lnTo>
                        <a:pt x="9" y="125"/>
                      </a:lnTo>
                      <a:lnTo>
                        <a:pt x="36" y="89"/>
                      </a:lnTo>
                      <a:lnTo>
                        <a:pt x="54" y="62"/>
                      </a:lnTo>
                      <a:lnTo>
                        <a:pt x="89" y="36"/>
                      </a:lnTo>
                      <a:lnTo>
                        <a:pt x="125" y="18"/>
                      </a:lnTo>
                      <a:lnTo>
                        <a:pt x="160" y="9"/>
                      </a:lnTo>
                      <a:lnTo>
                        <a:pt x="205" y="0"/>
                      </a:lnTo>
                      <a:lnTo>
                        <a:pt x="7326" y="0"/>
                      </a:lnTo>
                      <a:lnTo>
                        <a:pt x="7370" y="9"/>
                      </a:lnTo>
                      <a:lnTo>
                        <a:pt x="7406" y="18"/>
                      </a:lnTo>
                      <a:lnTo>
                        <a:pt x="7441" y="36"/>
                      </a:lnTo>
                      <a:lnTo>
                        <a:pt x="7477" y="62"/>
                      </a:lnTo>
                      <a:lnTo>
                        <a:pt x="7504" y="89"/>
                      </a:lnTo>
                      <a:lnTo>
                        <a:pt x="7522" y="125"/>
                      </a:lnTo>
                      <a:lnTo>
                        <a:pt x="7531" y="169"/>
                      </a:lnTo>
                      <a:lnTo>
                        <a:pt x="7539" y="205"/>
                      </a:lnTo>
                      <a:lnTo>
                        <a:pt x="7539" y="4680"/>
                      </a:lnTo>
                      <a:close/>
                    </a:path>
                  </a:pathLst>
                </a:custGeom>
                <a:solidFill>
                  <a:srgbClr val="FFFFFF">
                    <a:lumMod val="65000"/>
                  </a:srgb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defTabSz="93231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01" name="Freeform 100"/>
                <p:cNvSpPr>
                  <a:spLocks/>
                </p:cNvSpPr>
                <p:nvPr/>
              </p:nvSpPr>
              <p:spPr bwMode="auto">
                <a:xfrm>
                  <a:off x="5943686" y="3938532"/>
                  <a:ext cx="1428771" cy="912799"/>
                </a:xfrm>
                <a:custGeom>
                  <a:avLst/>
                  <a:gdLst>
                    <a:gd name="T0" fmla="*/ 7201 w 7201"/>
                    <a:gd name="T1" fmla="*/ 4403 h 4599"/>
                    <a:gd name="T2" fmla="*/ 7192 w 7201"/>
                    <a:gd name="T3" fmla="*/ 4448 h 4599"/>
                    <a:gd name="T4" fmla="*/ 7183 w 7201"/>
                    <a:gd name="T5" fmla="*/ 4483 h 4599"/>
                    <a:gd name="T6" fmla="*/ 7165 w 7201"/>
                    <a:gd name="T7" fmla="*/ 4519 h 4599"/>
                    <a:gd name="T8" fmla="*/ 7139 w 7201"/>
                    <a:gd name="T9" fmla="*/ 4546 h 4599"/>
                    <a:gd name="T10" fmla="*/ 7112 w 7201"/>
                    <a:gd name="T11" fmla="*/ 4564 h 4599"/>
                    <a:gd name="T12" fmla="*/ 7076 w 7201"/>
                    <a:gd name="T13" fmla="*/ 4581 h 4599"/>
                    <a:gd name="T14" fmla="*/ 7041 w 7201"/>
                    <a:gd name="T15" fmla="*/ 4599 h 4599"/>
                    <a:gd name="T16" fmla="*/ 7005 w 7201"/>
                    <a:gd name="T17" fmla="*/ 4599 h 4599"/>
                    <a:gd name="T18" fmla="*/ 196 w 7201"/>
                    <a:gd name="T19" fmla="*/ 4599 h 4599"/>
                    <a:gd name="T20" fmla="*/ 160 w 7201"/>
                    <a:gd name="T21" fmla="*/ 4599 h 4599"/>
                    <a:gd name="T22" fmla="*/ 124 w 7201"/>
                    <a:gd name="T23" fmla="*/ 4581 h 4599"/>
                    <a:gd name="T24" fmla="*/ 88 w 7201"/>
                    <a:gd name="T25" fmla="*/ 4564 h 4599"/>
                    <a:gd name="T26" fmla="*/ 62 w 7201"/>
                    <a:gd name="T27" fmla="*/ 4546 h 4599"/>
                    <a:gd name="T28" fmla="*/ 35 w 7201"/>
                    <a:gd name="T29" fmla="*/ 4519 h 4599"/>
                    <a:gd name="T30" fmla="*/ 18 w 7201"/>
                    <a:gd name="T31" fmla="*/ 4483 h 4599"/>
                    <a:gd name="T32" fmla="*/ 9 w 7201"/>
                    <a:gd name="T33" fmla="*/ 4448 h 4599"/>
                    <a:gd name="T34" fmla="*/ 0 w 7201"/>
                    <a:gd name="T35" fmla="*/ 4403 h 4599"/>
                    <a:gd name="T36" fmla="*/ 0 w 7201"/>
                    <a:gd name="T37" fmla="*/ 196 h 4599"/>
                    <a:gd name="T38" fmla="*/ 9 w 7201"/>
                    <a:gd name="T39" fmla="*/ 160 h 4599"/>
                    <a:gd name="T40" fmla="*/ 18 w 7201"/>
                    <a:gd name="T41" fmla="*/ 116 h 4599"/>
                    <a:gd name="T42" fmla="*/ 35 w 7201"/>
                    <a:gd name="T43" fmla="*/ 89 h 4599"/>
                    <a:gd name="T44" fmla="*/ 62 w 7201"/>
                    <a:gd name="T45" fmla="*/ 62 h 4599"/>
                    <a:gd name="T46" fmla="*/ 88 w 7201"/>
                    <a:gd name="T47" fmla="*/ 35 h 4599"/>
                    <a:gd name="T48" fmla="*/ 124 w 7201"/>
                    <a:gd name="T49" fmla="*/ 18 h 4599"/>
                    <a:gd name="T50" fmla="*/ 160 w 7201"/>
                    <a:gd name="T51" fmla="*/ 9 h 4599"/>
                    <a:gd name="T52" fmla="*/ 196 w 7201"/>
                    <a:gd name="T53" fmla="*/ 0 h 4599"/>
                    <a:gd name="T54" fmla="*/ 7005 w 7201"/>
                    <a:gd name="T55" fmla="*/ 0 h 4599"/>
                    <a:gd name="T56" fmla="*/ 7041 w 7201"/>
                    <a:gd name="T57" fmla="*/ 9 h 4599"/>
                    <a:gd name="T58" fmla="*/ 7076 w 7201"/>
                    <a:gd name="T59" fmla="*/ 18 h 4599"/>
                    <a:gd name="T60" fmla="*/ 7112 w 7201"/>
                    <a:gd name="T61" fmla="*/ 35 h 4599"/>
                    <a:gd name="T62" fmla="*/ 7139 w 7201"/>
                    <a:gd name="T63" fmla="*/ 62 h 4599"/>
                    <a:gd name="T64" fmla="*/ 7165 w 7201"/>
                    <a:gd name="T65" fmla="*/ 89 h 4599"/>
                    <a:gd name="T66" fmla="*/ 7183 w 7201"/>
                    <a:gd name="T67" fmla="*/ 116 h 4599"/>
                    <a:gd name="T68" fmla="*/ 7192 w 7201"/>
                    <a:gd name="T69" fmla="*/ 160 h 4599"/>
                    <a:gd name="T70" fmla="*/ 7201 w 7201"/>
                    <a:gd name="T71" fmla="*/ 196 h 4599"/>
                    <a:gd name="T72" fmla="*/ 7201 w 7201"/>
                    <a:gd name="T73" fmla="*/ 4403 h 45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7201" h="4599">
                      <a:moveTo>
                        <a:pt x="7201" y="4403"/>
                      </a:moveTo>
                      <a:lnTo>
                        <a:pt x="7192" y="4448"/>
                      </a:lnTo>
                      <a:lnTo>
                        <a:pt x="7183" y="4483"/>
                      </a:lnTo>
                      <a:lnTo>
                        <a:pt x="7165" y="4519"/>
                      </a:lnTo>
                      <a:lnTo>
                        <a:pt x="7139" y="4546"/>
                      </a:lnTo>
                      <a:lnTo>
                        <a:pt x="7112" y="4564"/>
                      </a:lnTo>
                      <a:lnTo>
                        <a:pt x="7076" y="4581"/>
                      </a:lnTo>
                      <a:lnTo>
                        <a:pt x="7041" y="4599"/>
                      </a:lnTo>
                      <a:lnTo>
                        <a:pt x="7005" y="4599"/>
                      </a:lnTo>
                      <a:lnTo>
                        <a:pt x="196" y="4599"/>
                      </a:lnTo>
                      <a:lnTo>
                        <a:pt x="160" y="4599"/>
                      </a:lnTo>
                      <a:lnTo>
                        <a:pt x="124" y="4581"/>
                      </a:lnTo>
                      <a:lnTo>
                        <a:pt x="88" y="4564"/>
                      </a:lnTo>
                      <a:lnTo>
                        <a:pt x="62" y="4546"/>
                      </a:lnTo>
                      <a:lnTo>
                        <a:pt x="35" y="4519"/>
                      </a:lnTo>
                      <a:lnTo>
                        <a:pt x="18" y="4483"/>
                      </a:lnTo>
                      <a:lnTo>
                        <a:pt x="9" y="4448"/>
                      </a:lnTo>
                      <a:lnTo>
                        <a:pt x="0" y="4403"/>
                      </a:lnTo>
                      <a:lnTo>
                        <a:pt x="0" y="196"/>
                      </a:lnTo>
                      <a:lnTo>
                        <a:pt x="9" y="160"/>
                      </a:lnTo>
                      <a:lnTo>
                        <a:pt x="18" y="116"/>
                      </a:lnTo>
                      <a:lnTo>
                        <a:pt x="35" y="89"/>
                      </a:lnTo>
                      <a:lnTo>
                        <a:pt x="62" y="62"/>
                      </a:lnTo>
                      <a:lnTo>
                        <a:pt x="88" y="35"/>
                      </a:lnTo>
                      <a:lnTo>
                        <a:pt x="124" y="18"/>
                      </a:lnTo>
                      <a:lnTo>
                        <a:pt x="160" y="9"/>
                      </a:lnTo>
                      <a:lnTo>
                        <a:pt x="196" y="0"/>
                      </a:lnTo>
                      <a:lnTo>
                        <a:pt x="7005" y="0"/>
                      </a:lnTo>
                      <a:lnTo>
                        <a:pt x="7041" y="9"/>
                      </a:lnTo>
                      <a:lnTo>
                        <a:pt x="7076" y="18"/>
                      </a:lnTo>
                      <a:lnTo>
                        <a:pt x="7112" y="35"/>
                      </a:lnTo>
                      <a:lnTo>
                        <a:pt x="7139" y="62"/>
                      </a:lnTo>
                      <a:lnTo>
                        <a:pt x="7165" y="89"/>
                      </a:lnTo>
                      <a:lnTo>
                        <a:pt x="7183" y="116"/>
                      </a:lnTo>
                      <a:lnTo>
                        <a:pt x="7192" y="160"/>
                      </a:lnTo>
                      <a:lnTo>
                        <a:pt x="7201" y="196"/>
                      </a:lnTo>
                      <a:lnTo>
                        <a:pt x="7201" y="440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defTabSz="93231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02" name="Freeform 101"/>
                <p:cNvSpPr>
                  <a:spLocks/>
                </p:cNvSpPr>
                <p:nvPr/>
              </p:nvSpPr>
              <p:spPr bwMode="auto">
                <a:xfrm>
                  <a:off x="6692995" y="4146491"/>
                  <a:ext cx="271467" cy="265109"/>
                </a:xfrm>
                <a:custGeom>
                  <a:avLst/>
                  <a:gdLst>
                    <a:gd name="T0" fmla="*/ 0 w 1364"/>
                    <a:gd name="T1" fmla="*/ 1338 h 1338"/>
                    <a:gd name="T2" fmla="*/ 1364 w 1364"/>
                    <a:gd name="T3" fmla="*/ 1338 h 1338"/>
                    <a:gd name="T4" fmla="*/ 1364 w 1364"/>
                    <a:gd name="T5" fmla="*/ 0 h 1338"/>
                    <a:gd name="T6" fmla="*/ 1229 w 1364"/>
                    <a:gd name="T7" fmla="*/ 11 h 1338"/>
                    <a:gd name="T8" fmla="*/ 1096 w 1364"/>
                    <a:gd name="T9" fmla="*/ 28 h 1338"/>
                    <a:gd name="T10" fmla="*/ 962 w 1364"/>
                    <a:gd name="T11" fmla="*/ 64 h 1338"/>
                    <a:gd name="T12" fmla="*/ 837 w 1364"/>
                    <a:gd name="T13" fmla="*/ 108 h 1338"/>
                    <a:gd name="T14" fmla="*/ 722 w 1364"/>
                    <a:gd name="T15" fmla="*/ 162 h 1338"/>
                    <a:gd name="T16" fmla="*/ 615 w 1364"/>
                    <a:gd name="T17" fmla="*/ 233 h 1338"/>
                    <a:gd name="T18" fmla="*/ 507 w 1364"/>
                    <a:gd name="T19" fmla="*/ 304 h 1338"/>
                    <a:gd name="T20" fmla="*/ 409 w 1364"/>
                    <a:gd name="T21" fmla="*/ 393 h 1338"/>
                    <a:gd name="T22" fmla="*/ 320 w 1364"/>
                    <a:gd name="T23" fmla="*/ 491 h 1338"/>
                    <a:gd name="T24" fmla="*/ 240 w 1364"/>
                    <a:gd name="T25" fmla="*/ 589 h 1338"/>
                    <a:gd name="T26" fmla="*/ 178 w 1364"/>
                    <a:gd name="T27" fmla="*/ 705 h 1338"/>
                    <a:gd name="T28" fmla="*/ 116 w 1364"/>
                    <a:gd name="T29" fmla="*/ 820 h 1338"/>
                    <a:gd name="T30" fmla="*/ 71 w 1364"/>
                    <a:gd name="T31" fmla="*/ 946 h 1338"/>
                    <a:gd name="T32" fmla="*/ 35 w 1364"/>
                    <a:gd name="T33" fmla="*/ 1071 h 1338"/>
                    <a:gd name="T34" fmla="*/ 9 w 1364"/>
                    <a:gd name="T35" fmla="*/ 1204 h 1338"/>
                    <a:gd name="T36" fmla="*/ 0 w 1364"/>
                    <a:gd name="T37" fmla="*/ 1338 h 13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364" h="1338">
                      <a:moveTo>
                        <a:pt x="0" y="1338"/>
                      </a:moveTo>
                      <a:lnTo>
                        <a:pt x="1364" y="1338"/>
                      </a:lnTo>
                      <a:lnTo>
                        <a:pt x="1364" y="0"/>
                      </a:lnTo>
                      <a:lnTo>
                        <a:pt x="1229" y="11"/>
                      </a:lnTo>
                      <a:lnTo>
                        <a:pt x="1096" y="28"/>
                      </a:lnTo>
                      <a:lnTo>
                        <a:pt x="962" y="64"/>
                      </a:lnTo>
                      <a:lnTo>
                        <a:pt x="837" y="108"/>
                      </a:lnTo>
                      <a:lnTo>
                        <a:pt x="722" y="162"/>
                      </a:lnTo>
                      <a:lnTo>
                        <a:pt x="615" y="233"/>
                      </a:lnTo>
                      <a:lnTo>
                        <a:pt x="507" y="304"/>
                      </a:lnTo>
                      <a:lnTo>
                        <a:pt x="409" y="393"/>
                      </a:lnTo>
                      <a:lnTo>
                        <a:pt x="320" y="491"/>
                      </a:lnTo>
                      <a:lnTo>
                        <a:pt x="240" y="589"/>
                      </a:lnTo>
                      <a:lnTo>
                        <a:pt x="178" y="705"/>
                      </a:lnTo>
                      <a:lnTo>
                        <a:pt x="116" y="820"/>
                      </a:lnTo>
                      <a:lnTo>
                        <a:pt x="71" y="946"/>
                      </a:lnTo>
                      <a:lnTo>
                        <a:pt x="35" y="1071"/>
                      </a:lnTo>
                      <a:lnTo>
                        <a:pt x="9" y="1204"/>
                      </a:lnTo>
                      <a:lnTo>
                        <a:pt x="0" y="1338"/>
                      </a:lnTo>
                      <a:close/>
                    </a:path>
                  </a:pathLst>
                </a:custGeom>
                <a:solidFill>
                  <a:srgbClr val="00BCF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defTabSz="93231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03" name="Freeform 102"/>
                <p:cNvSpPr>
                  <a:spLocks/>
                </p:cNvSpPr>
                <p:nvPr/>
              </p:nvSpPr>
              <p:spPr bwMode="auto">
                <a:xfrm>
                  <a:off x="6964463" y="4146491"/>
                  <a:ext cx="274642" cy="265109"/>
                </a:xfrm>
                <a:custGeom>
                  <a:avLst/>
                  <a:gdLst>
                    <a:gd name="T0" fmla="*/ 9 w 1389"/>
                    <a:gd name="T1" fmla="*/ 0 h 1338"/>
                    <a:gd name="T2" fmla="*/ 0 w 1389"/>
                    <a:gd name="T3" fmla="*/ 0 h 1338"/>
                    <a:gd name="T4" fmla="*/ 0 w 1389"/>
                    <a:gd name="T5" fmla="*/ 1338 h 1338"/>
                    <a:gd name="T6" fmla="*/ 1389 w 1389"/>
                    <a:gd name="T7" fmla="*/ 1338 h 1338"/>
                    <a:gd name="T8" fmla="*/ 1380 w 1389"/>
                    <a:gd name="T9" fmla="*/ 1204 h 1338"/>
                    <a:gd name="T10" fmla="*/ 1354 w 1389"/>
                    <a:gd name="T11" fmla="*/ 1071 h 1338"/>
                    <a:gd name="T12" fmla="*/ 1318 w 1389"/>
                    <a:gd name="T13" fmla="*/ 937 h 1338"/>
                    <a:gd name="T14" fmla="*/ 1273 w 1389"/>
                    <a:gd name="T15" fmla="*/ 820 h 1338"/>
                    <a:gd name="T16" fmla="*/ 1211 w 1389"/>
                    <a:gd name="T17" fmla="*/ 696 h 1338"/>
                    <a:gd name="T18" fmla="*/ 1140 w 1389"/>
                    <a:gd name="T19" fmla="*/ 589 h 1338"/>
                    <a:gd name="T20" fmla="*/ 1060 w 1389"/>
                    <a:gd name="T21" fmla="*/ 482 h 1338"/>
                    <a:gd name="T22" fmla="*/ 971 w 1389"/>
                    <a:gd name="T23" fmla="*/ 393 h 1338"/>
                    <a:gd name="T24" fmla="*/ 882 w 1389"/>
                    <a:gd name="T25" fmla="*/ 304 h 1338"/>
                    <a:gd name="T26" fmla="*/ 774 w 1389"/>
                    <a:gd name="T27" fmla="*/ 224 h 1338"/>
                    <a:gd name="T28" fmla="*/ 658 w 1389"/>
                    <a:gd name="T29" fmla="*/ 162 h 1338"/>
                    <a:gd name="T30" fmla="*/ 543 w 1389"/>
                    <a:gd name="T31" fmla="*/ 99 h 1338"/>
                    <a:gd name="T32" fmla="*/ 418 w 1389"/>
                    <a:gd name="T33" fmla="*/ 55 h 1338"/>
                    <a:gd name="T34" fmla="*/ 284 w 1389"/>
                    <a:gd name="T35" fmla="*/ 28 h 1338"/>
                    <a:gd name="T36" fmla="*/ 151 w 1389"/>
                    <a:gd name="T37" fmla="*/ 0 h 1338"/>
                    <a:gd name="T38" fmla="*/ 9 w 1389"/>
                    <a:gd name="T39" fmla="*/ 0 h 13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1389" h="1338">
                      <a:moveTo>
                        <a:pt x="9" y="0"/>
                      </a:moveTo>
                      <a:lnTo>
                        <a:pt x="0" y="0"/>
                      </a:lnTo>
                      <a:lnTo>
                        <a:pt x="0" y="1338"/>
                      </a:lnTo>
                      <a:lnTo>
                        <a:pt x="1389" y="1338"/>
                      </a:lnTo>
                      <a:lnTo>
                        <a:pt x="1380" y="1204"/>
                      </a:lnTo>
                      <a:lnTo>
                        <a:pt x="1354" y="1071"/>
                      </a:lnTo>
                      <a:lnTo>
                        <a:pt x="1318" y="937"/>
                      </a:lnTo>
                      <a:lnTo>
                        <a:pt x="1273" y="820"/>
                      </a:lnTo>
                      <a:lnTo>
                        <a:pt x="1211" y="696"/>
                      </a:lnTo>
                      <a:lnTo>
                        <a:pt x="1140" y="589"/>
                      </a:lnTo>
                      <a:lnTo>
                        <a:pt x="1060" y="482"/>
                      </a:lnTo>
                      <a:lnTo>
                        <a:pt x="971" y="393"/>
                      </a:lnTo>
                      <a:lnTo>
                        <a:pt x="882" y="304"/>
                      </a:lnTo>
                      <a:lnTo>
                        <a:pt x="774" y="224"/>
                      </a:lnTo>
                      <a:lnTo>
                        <a:pt x="658" y="162"/>
                      </a:lnTo>
                      <a:lnTo>
                        <a:pt x="543" y="99"/>
                      </a:lnTo>
                      <a:lnTo>
                        <a:pt x="418" y="55"/>
                      </a:lnTo>
                      <a:lnTo>
                        <a:pt x="284" y="28"/>
                      </a:lnTo>
                      <a:lnTo>
                        <a:pt x="151" y="0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solidFill>
                  <a:srgbClr val="DC3C0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defTabSz="93231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04" name="Freeform 103"/>
                <p:cNvSpPr>
                  <a:spLocks/>
                </p:cNvSpPr>
                <p:nvPr/>
              </p:nvSpPr>
              <p:spPr bwMode="auto">
                <a:xfrm>
                  <a:off x="6999388" y="4456048"/>
                  <a:ext cx="276229" cy="279396"/>
                </a:xfrm>
                <a:custGeom>
                  <a:avLst/>
                  <a:gdLst>
                    <a:gd name="T0" fmla="*/ 1389 w 1389"/>
                    <a:gd name="T1" fmla="*/ 0 h 1408"/>
                    <a:gd name="T2" fmla="*/ 0 w 1389"/>
                    <a:gd name="T3" fmla="*/ 0 h 1408"/>
                    <a:gd name="T4" fmla="*/ 0 w 1389"/>
                    <a:gd name="T5" fmla="*/ 1408 h 1408"/>
                    <a:gd name="T6" fmla="*/ 9 w 1389"/>
                    <a:gd name="T7" fmla="*/ 1408 h 1408"/>
                    <a:gd name="T8" fmla="*/ 151 w 1389"/>
                    <a:gd name="T9" fmla="*/ 1408 h 1408"/>
                    <a:gd name="T10" fmla="*/ 285 w 1389"/>
                    <a:gd name="T11" fmla="*/ 1382 h 1408"/>
                    <a:gd name="T12" fmla="*/ 418 w 1389"/>
                    <a:gd name="T13" fmla="*/ 1355 h 1408"/>
                    <a:gd name="T14" fmla="*/ 543 w 1389"/>
                    <a:gd name="T15" fmla="*/ 1302 h 1408"/>
                    <a:gd name="T16" fmla="*/ 668 w 1389"/>
                    <a:gd name="T17" fmla="*/ 1248 h 1408"/>
                    <a:gd name="T18" fmla="*/ 784 w 1389"/>
                    <a:gd name="T19" fmla="*/ 1177 h 1408"/>
                    <a:gd name="T20" fmla="*/ 891 w 1389"/>
                    <a:gd name="T21" fmla="*/ 1097 h 1408"/>
                    <a:gd name="T22" fmla="*/ 989 w 1389"/>
                    <a:gd name="T23" fmla="*/ 1008 h 1408"/>
                    <a:gd name="T24" fmla="*/ 1069 w 1389"/>
                    <a:gd name="T25" fmla="*/ 909 h 1408"/>
                    <a:gd name="T26" fmla="*/ 1149 w 1389"/>
                    <a:gd name="T27" fmla="*/ 802 h 1408"/>
                    <a:gd name="T28" fmla="*/ 1220 w 1389"/>
                    <a:gd name="T29" fmla="*/ 695 h 1408"/>
                    <a:gd name="T30" fmla="*/ 1282 w 1389"/>
                    <a:gd name="T31" fmla="*/ 571 h 1408"/>
                    <a:gd name="T32" fmla="*/ 1327 w 1389"/>
                    <a:gd name="T33" fmla="*/ 446 h 1408"/>
                    <a:gd name="T34" fmla="*/ 1363 w 1389"/>
                    <a:gd name="T35" fmla="*/ 312 h 1408"/>
                    <a:gd name="T36" fmla="*/ 1380 w 1389"/>
                    <a:gd name="T37" fmla="*/ 179 h 1408"/>
                    <a:gd name="T38" fmla="*/ 1389 w 1389"/>
                    <a:gd name="T39" fmla="*/ 36 h 1408"/>
                    <a:gd name="T40" fmla="*/ 1389 w 1389"/>
                    <a:gd name="T41" fmla="*/ 0 h 14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389" h="1408">
                      <a:moveTo>
                        <a:pt x="1389" y="0"/>
                      </a:moveTo>
                      <a:lnTo>
                        <a:pt x="0" y="0"/>
                      </a:lnTo>
                      <a:lnTo>
                        <a:pt x="0" y="1408"/>
                      </a:lnTo>
                      <a:lnTo>
                        <a:pt x="9" y="1408"/>
                      </a:lnTo>
                      <a:lnTo>
                        <a:pt x="151" y="1408"/>
                      </a:lnTo>
                      <a:lnTo>
                        <a:pt x="285" y="1382"/>
                      </a:lnTo>
                      <a:lnTo>
                        <a:pt x="418" y="1355"/>
                      </a:lnTo>
                      <a:lnTo>
                        <a:pt x="543" y="1302"/>
                      </a:lnTo>
                      <a:lnTo>
                        <a:pt x="668" y="1248"/>
                      </a:lnTo>
                      <a:lnTo>
                        <a:pt x="784" y="1177"/>
                      </a:lnTo>
                      <a:lnTo>
                        <a:pt x="891" y="1097"/>
                      </a:lnTo>
                      <a:lnTo>
                        <a:pt x="989" y="1008"/>
                      </a:lnTo>
                      <a:lnTo>
                        <a:pt x="1069" y="909"/>
                      </a:lnTo>
                      <a:lnTo>
                        <a:pt x="1149" y="802"/>
                      </a:lnTo>
                      <a:lnTo>
                        <a:pt x="1220" y="695"/>
                      </a:lnTo>
                      <a:lnTo>
                        <a:pt x="1282" y="571"/>
                      </a:lnTo>
                      <a:lnTo>
                        <a:pt x="1327" y="446"/>
                      </a:lnTo>
                      <a:lnTo>
                        <a:pt x="1363" y="312"/>
                      </a:lnTo>
                      <a:lnTo>
                        <a:pt x="1380" y="179"/>
                      </a:lnTo>
                      <a:lnTo>
                        <a:pt x="1389" y="36"/>
                      </a:lnTo>
                      <a:lnTo>
                        <a:pt x="1389" y="0"/>
                      </a:lnTo>
                      <a:close/>
                    </a:path>
                  </a:pathLst>
                </a:custGeom>
                <a:solidFill>
                  <a:srgbClr val="FF8C0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defTabSz="93231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05" name="Freeform 104"/>
                <p:cNvSpPr>
                  <a:spLocks/>
                </p:cNvSpPr>
                <p:nvPr/>
              </p:nvSpPr>
              <p:spPr bwMode="auto">
                <a:xfrm>
                  <a:off x="6692995" y="4411600"/>
                  <a:ext cx="271467" cy="280983"/>
                </a:xfrm>
                <a:custGeom>
                  <a:avLst/>
                  <a:gdLst>
                    <a:gd name="T0" fmla="*/ 0 w 1364"/>
                    <a:gd name="T1" fmla="*/ 0 h 1417"/>
                    <a:gd name="T2" fmla="*/ 0 w 1364"/>
                    <a:gd name="T3" fmla="*/ 35 h 1417"/>
                    <a:gd name="T4" fmla="*/ 9 w 1364"/>
                    <a:gd name="T5" fmla="*/ 178 h 1417"/>
                    <a:gd name="T6" fmla="*/ 27 w 1364"/>
                    <a:gd name="T7" fmla="*/ 311 h 1417"/>
                    <a:gd name="T8" fmla="*/ 62 w 1364"/>
                    <a:gd name="T9" fmla="*/ 445 h 1417"/>
                    <a:gd name="T10" fmla="*/ 107 w 1364"/>
                    <a:gd name="T11" fmla="*/ 570 h 1417"/>
                    <a:gd name="T12" fmla="*/ 160 w 1364"/>
                    <a:gd name="T13" fmla="*/ 695 h 1417"/>
                    <a:gd name="T14" fmla="*/ 231 w 1364"/>
                    <a:gd name="T15" fmla="*/ 802 h 1417"/>
                    <a:gd name="T16" fmla="*/ 312 w 1364"/>
                    <a:gd name="T17" fmla="*/ 908 h 1417"/>
                    <a:gd name="T18" fmla="*/ 401 w 1364"/>
                    <a:gd name="T19" fmla="*/ 1006 h 1417"/>
                    <a:gd name="T20" fmla="*/ 499 w 1364"/>
                    <a:gd name="T21" fmla="*/ 1095 h 1417"/>
                    <a:gd name="T22" fmla="*/ 596 w 1364"/>
                    <a:gd name="T23" fmla="*/ 1177 h 1417"/>
                    <a:gd name="T24" fmla="*/ 713 w 1364"/>
                    <a:gd name="T25" fmla="*/ 1248 h 1417"/>
                    <a:gd name="T26" fmla="*/ 829 w 1364"/>
                    <a:gd name="T27" fmla="*/ 1301 h 1417"/>
                    <a:gd name="T28" fmla="*/ 962 w 1364"/>
                    <a:gd name="T29" fmla="*/ 1346 h 1417"/>
                    <a:gd name="T30" fmla="*/ 1087 w 1364"/>
                    <a:gd name="T31" fmla="*/ 1381 h 1417"/>
                    <a:gd name="T32" fmla="*/ 1220 w 1364"/>
                    <a:gd name="T33" fmla="*/ 1408 h 1417"/>
                    <a:gd name="T34" fmla="*/ 1364 w 1364"/>
                    <a:gd name="T35" fmla="*/ 1417 h 1417"/>
                    <a:gd name="T36" fmla="*/ 1364 w 1364"/>
                    <a:gd name="T37" fmla="*/ 0 h 1417"/>
                    <a:gd name="T38" fmla="*/ 0 w 1364"/>
                    <a:gd name="T39" fmla="*/ 0 h 14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1364" h="1417">
                      <a:moveTo>
                        <a:pt x="0" y="0"/>
                      </a:moveTo>
                      <a:lnTo>
                        <a:pt x="0" y="35"/>
                      </a:lnTo>
                      <a:lnTo>
                        <a:pt x="9" y="178"/>
                      </a:lnTo>
                      <a:lnTo>
                        <a:pt x="27" y="311"/>
                      </a:lnTo>
                      <a:lnTo>
                        <a:pt x="62" y="445"/>
                      </a:lnTo>
                      <a:lnTo>
                        <a:pt x="107" y="570"/>
                      </a:lnTo>
                      <a:lnTo>
                        <a:pt x="160" y="695"/>
                      </a:lnTo>
                      <a:lnTo>
                        <a:pt x="231" y="802"/>
                      </a:lnTo>
                      <a:lnTo>
                        <a:pt x="312" y="908"/>
                      </a:lnTo>
                      <a:lnTo>
                        <a:pt x="401" y="1006"/>
                      </a:lnTo>
                      <a:lnTo>
                        <a:pt x="499" y="1095"/>
                      </a:lnTo>
                      <a:lnTo>
                        <a:pt x="596" y="1177"/>
                      </a:lnTo>
                      <a:lnTo>
                        <a:pt x="713" y="1248"/>
                      </a:lnTo>
                      <a:lnTo>
                        <a:pt x="829" y="1301"/>
                      </a:lnTo>
                      <a:lnTo>
                        <a:pt x="962" y="1346"/>
                      </a:lnTo>
                      <a:lnTo>
                        <a:pt x="1087" y="1381"/>
                      </a:lnTo>
                      <a:lnTo>
                        <a:pt x="1220" y="1408"/>
                      </a:lnTo>
                      <a:lnTo>
                        <a:pt x="1364" y="1417"/>
                      </a:lnTo>
                      <a:lnTo>
                        <a:pt x="1364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68217A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defTabSz="93231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06" name="Rectangle 105"/>
                <p:cNvSpPr>
                  <a:spLocks noChangeArrowheads="1"/>
                </p:cNvSpPr>
                <p:nvPr/>
              </p:nvSpPr>
              <p:spPr bwMode="auto">
                <a:xfrm>
                  <a:off x="6134187" y="4327463"/>
                  <a:ext cx="65089" cy="395281"/>
                </a:xfrm>
                <a:prstGeom prst="rect">
                  <a:avLst/>
                </a:prstGeom>
                <a:solidFill>
                  <a:srgbClr val="00827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defTabSz="93231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07" name="Rectangle 106"/>
                <p:cNvSpPr>
                  <a:spLocks noChangeArrowheads="1"/>
                </p:cNvSpPr>
                <p:nvPr/>
              </p:nvSpPr>
              <p:spPr bwMode="auto">
                <a:xfrm>
                  <a:off x="6240553" y="4521135"/>
                  <a:ext cx="66676" cy="201610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defTabSz="93231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08" name="Rectangle 107"/>
                <p:cNvSpPr>
                  <a:spLocks noChangeArrowheads="1"/>
                </p:cNvSpPr>
                <p:nvPr/>
              </p:nvSpPr>
              <p:spPr bwMode="auto">
                <a:xfrm>
                  <a:off x="6351679" y="4424299"/>
                  <a:ext cx="65089" cy="298446"/>
                </a:xfrm>
                <a:prstGeom prst="rect">
                  <a:avLst/>
                </a:prstGeom>
                <a:solidFill>
                  <a:srgbClr val="DC3C0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defTabSz="93231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09" name="Rectangle 108"/>
                <p:cNvSpPr>
                  <a:spLocks noChangeArrowheads="1"/>
                </p:cNvSpPr>
                <p:nvPr/>
              </p:nvSpPr>
              <p:spPr bwMode="auto">
                <a:xfrm>
                  <a:off x="6462805" y="4521135"/>
                  <a:ext cx="65089" cy="201610"/>
                </a:xfrm>
                <a:prstGeom prst="rect">
                  <a:avLst/>
                </a:prstGeom>
                <a:solidFill>
                  <a:srgbClr val="00BCF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defTabSz="93231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0" name="Freeform 109"/>
                <p:cNvSpPr>
                  <a:spLocks/>
                </p:cNvSpPr>
                <p:nvPr/>
              </p:nvSpPr>
              <p:spPr bwMode="auto">
                <a:xfrm>
                  <a:off x="6072274" y="4163956"/>
                  <a:ext cx="511182" cy="571492"/>
                </a:xfrm>
                <a:custGeom>
                  <a:avLst/>
                  <a:gdLst>
                    <a:gd name="T0" fmla="*/ 0 w 2576"/>
                    <a:gd name="T1" fmla="*/ 0 h 2878"/>
                    <a:gd name="T2" fmla="*/ 0 w 2576"/>
                    <a:gd name="T3" fmla="*/ 2878 h 2878"/>
                    <a:gd name="T4" fmla="*/ 2576 w 2576"/>
                    <a:gd name="T5" fmla="*/ 2878 h 2878"/>
                    <a:gd name="T6" fmla="*/ 2576 w 2576"/>
                    <a:gd name="T7" fmla="*/ 2799 h 2878"/>
                    <a:gd name="T8" fmla="*/ 72 w 2576"/>
                    <a:gd name="T9" fmla="*/ 2799 h 2878"/>
                    <a:gd name="T10" fmla="*/ 72 w 2576"/>
                    <a:gd name="T11" fmla="*/ 0 h 2878"/>
                    <a:gd name="T12" fmla="*/ 0 w 2576"/>
                    <a:gd name="T13" fmla="*/ 0 h 28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576" h="2878">
                      <a:moveTo>
                        <a:pt x="0" y="0"/>
                      </a:moveTo>
                      <a:lnTo>
                        <a:pt x="0" y="2878"/>
                      </a:lnTo>
                      <a:lnTo>
                        <a:pt x="2576" y="2878"/>
                      </a:lnTo>
                      <a:lnTo>
                        <a:pt x="2576" y="2799"/>
                      </a:lnTo>
                      <a:lnTo>
                        <a:pt x="72" y="2799"/>
                      </a:lnTo>
                      <a:lnTo>
                        <a:pt x="72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>
                    <a:lumMod val="50000"/>
                  </a:srgb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defTabSz="93231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1" name="Freeform 110"/>
                <p:cNvSpPr>
                  <a:spLocks/>
                </p:cNvSpPr>
                <p:nvPr/>
              </p:nvSpPr>
              <p:spPr bwMode="auto">
                <a:xfrm>
                  <a:off x="6057988" y="4140144"/>
                  <a:ext cx="41276" cy="41275"/>
                </a:xfrm>
                <a:custGeom>
                  <a:avLst/>
                  <a:gdLst>
                    <a:gd name="T0" fmla="*/ 107 w 205"/>
                    <a:gd name="T1" fmla="*/ 0 h 204"/>
                    <a:gd name="T2" fmla="*/ 0 w 205"/>
                    <a:gd name="T3" fmla="*/ 204 h 204"/>
                    <a:gd name="T4" fmla="*/ 205 w 205"/>
                    <a:gd name="T5" fmla="*/ 204 h 204"/>
                    <a:gd name="T6" fmla="*/ 107 w 205"/>
                    <a:gd name="T7" fmla="*/ 0 h 2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05" h="204">
                      <a:moveTo>
                        <a:pt x="107" y="0"/>
                      </a:moveTo>
                      <a:lnTo>
                        <a:pt x="0" y="204"/>
                      </a:lnTo>
                      <a:lnTo>
                        <a:pt x="205" y="204"/>
                      </a:lnTo>
                      <a:lnTo>
                        <a:pt x="107" y="0"/>
                      </a:lnTo>
                      <a:close/>
                    </a:path>
                  </a:pathLst>
                </a:custGeom>
                <a:solidFill>
                  <a:srgbClr val="FFFFFF">
                    <a:lumMod val="50000"/>
                  </a:srgb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defTabSz="93231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2" name="Rectangle 111"/>
                <p:cNvSpPr>
                  <a:spLocks noChangeArrowheads="1"/>
                </p:cNvSpPr>
                <p:nvPr/>
              </p:nvSpPr>
              <p:spPr bwMode="auto">
                <a:xfrm>
                  <a:off x="6202453" y="4048068"/>
                  <a:ext cx="225429" cy="33337"/>
                </a:xfrm>
                <a:prstGeom prst="rect">
                  <a:avLst/>
                </a:prstGeom>
                <a:solidFill>
                  <a:srgbClr val="0072C6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defTabSz="93231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3" name="Rectangle 112"/>
                <p:cNvSpPr>
                  <a:spLocks noChangeArrowheads="1"/>
                </p:cNvSpPr>
                <p:nvPr/>
              </p:nvSpPr>
              <p:spPr bwMode="auto">
                <a:xfrm>
                  <a:off x="6880321" y="4048067"/>
                  <a:ext cx="225429" cy="33337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defTabSz="93231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4" name="Freeform 113"/>
                <p:cNvSpPr>
                  <a:spLocks/>
                </p:cNvSpPr>
                <p:nvPr/>
              </p:nvSpPr>
              <p:spPr bwMode="auto">
                <a:xfrm>
                  <a:off x="7127984" y="4427532"/>
                  <a:ext cx="182566" cy="52389"/>
                </a:xfrm>
                <a:custGeom>
                  <a:avLst/>
                  <a:gdLst>
                    <a:gd name="T0" fmla="*/ 917 w 917"/>
                    <a:gd name="T1" fmla="*/ 0 h 266"/>
                    <a:gd name="T2" fmla="*/ 0 w 917"/>
                    <a:gd name="T3" fmla="*/ 0 h 266"/>
                    <a:gd name="T4" fmla="*/ 0 w 917"/>
                    <a:gd name="T5" fmla="*/ 266 h 266"/>
                    <a:gd name="T6" fmla="*/ 35 w 917"/>
                    <a:gd name="T7" fmla="*/ 266 h 266"/>
                    <a:gd name="T8" fmla="*/ 35 w 917"/>
                    <a:gd name="T9" fmla="*/ 35 h 266"/>
                    <a:gd name="T10" fmla="*/ 917 w 917"/>
                    <a:gd name="T11" fmla="*/ 35 h 266"/>
                    <a:gd name="T12" fmla="*/ 917 w 917"/>
                    <a:gd name="T13" fmla="*/ 0 h 2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17" h="266">
                      <a:moveTo>
                        <a:pt x="917" y="0"/>
                      </a:moveTo>
                      <a:lnTo>
                        <a:pt x="0" y="0"/>
                      </a:lnTo>
                      <a:lnTo>
                        <a:pt x="0" y="266"/>
                      </a:lnTo>
                      <a:lnTo>
                        <a:pt x="35" y="266"/>
                      </a:lnTo>
                      <a:lnTo>
                        <a:pt x="35" y="35"/>
                      </a:lnTo>
                      <a:lnTo>
                        <a:pt x="917" y="35"/>
                      </a:lnTo>
                      <a:lnTo>
                        <a:pt x="917" y="0"/>
                      </a:lnTo>
                      <a:close/>
                    </a:path>
                  </a:pathLst>
                </a:custGeom>
                <a:solidFill>
                  <a:srgbClr val="FFFFFF">
                    <a:lumMod val="50000"/>
                  </a:srgb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defTabSz="93231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5" name="Freeform 114"/>
                <p:cNvSpPr>
                  <a:spLocks/>
                </p:cNvSpPr>
                <p:nvPr/>
              </p:nvSpPr>
              <p:spPr bwMode="auto">
                <a:xfrm>
                  <a:off x="7119938" y="4475165"/>
                  <a:ext cx="22225" cy="20638"/>
                </a:xfrm>
                <a:custGeom>
                  <a:avLst/>
                  <a:gdLst>
                    <a:gd name="T0" fmla="*/ 117 w 117"/>
                    <a:gd name="T1" fmla="*/ 0 h 107"/>
                    <a:gd name="T2" fmla="*/ 0 w 117"/>
                    <a:gd name="T3" fmla="*/ 0 h 107"/>
                    <a:gd name="T4" fmla="*/ 55 w 117"/>
                    <a:gd name="T5" fmla="*/ 107 h 107"/>
                    <a:gd name="T6" fmla="*/ 117 w 117"/>
                    <a:gd name="T7" fmla="*/ 0 h 1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17" h="107">
                      <a:moveTo>
                        <a:pt x="117" y="0"/>
                      </a:moveTo>
                      <a:lnTo>
                        <a:pt x="0" y="0"/>
                      </a:lnTo>
                      <a:lnTo>
                        <a:pt x="55" y="107"/>
                      </a:lnTo>
                      <a:lnTo>
                        <a:pt x="117" y="0"/>
                      </a:lnTo>
                      <a:close/>
                    </a:path>
                  </a:pathLst>
                </a:custGeom>
                <a:solidFill>
                  <a:srgbClr val="FFFFFF">
                    <a:lumMod val="50000"/>
                  </a:srgb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defTabSz="93231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9" name="Group 8"/>
              <p:cNvGrpSpPr/>
              <p:nvPr/>
            </p:nvGrpSpPr>
            <p:grpSpPr>
              <a:xfrm>
                <a:off x="6343683" y="951628"/>
                <a:ext cx="3437720" cy="2552073"/>
                <a:chOff x="4429295" y="3317662"/>
                <a:chExt cx="4787916" cy="3554423"/>
              </a:xfrm>
            </p:grpSpPr>
            <p:grpSp>
              <p:nvGrpSpPr>
                <p:cNvPr id="10" name="Group 9"/>
                <p:cNvGrpSpPr/>
                <p:nvPr/>
              </p:nvGrpSpPr>
              <p:grpSpPr>
                <a:xfrm>
                  <a:off x="4867255" y="3317662"/>
                  <a:ext cx="3911895" cy="2124501"/>
                  <a:chOff x="4216105" y="4451984"/>
                  <a:chExt cx="3911895" cy="2124501"/>
                </a:xfrm>
              </p:grpSpPr>
              <p:grpSp>
                <p:nvGrpSpPr>
                  <p:cNvPr id="21" name="Group 20"/>
                  <p:cNvGrpSpPr/>
                  <p:nvPr/>
                </p:nvGrpSpPr>
                <p:grpSpPr>
                  <a:xfrm>
                    <a:off x="6976017" y="4767263"/>
                    <a:ext cx="1151983" cy="1809222"/>
                    <a:chOff x="6976017" y="1476578"/>
                    <a:chExt cx="1151983" cy="1809222"/>
                  </a:xfrm>
                </p:grpSpPr>
                <p:sp>
                  <p:nvSpPr>
                    <p:cNvPr id="75" name="Freeform 74"/>
                    <p:cNvSpPr>
                      <a:spLocks/>
                    </p:cNvSpPr>
                    <p:nvPr/>
                  </p:nvSpPr>
                  <p:spPr bwMode="auto">
                    <a:xfrm>
                      <a:off x="7284020" y="1476578"/>
                      <a:ext cx="557803" cy="642687"/>
                    </a:xfrm>
                    <a:custGeom>
                      <a:avLst/>
                      <a:gdLst>
                        <a:gd name="T0" fmla="*/ 91 w 97"/>
                        <a:gd name="T1" fmla="*/ 88 h 112"/>
                        <a:gd name="T2" fmla="*/ 82 w 97"/>
                        <a:gd name="T3" fmla="*/ 88 h 112"/>
                        <a:gd name="T4" fmla="*/ 85 w 97"/>
                        <a:gd name="T5" fmla="*/ 74 h 112"/>
                        <a:gd name="T6" fmla="*/ 88 w 97"/>
                        <a:gd name="T7" fmla="*/ 69 h 112"/>
                        <a:gd name="T8" fmla="*/ 88 w 97"/>
                        <a:gd name="T9" fmla="*/ 69 h 112"/>
                        <a:gd name="T10" fmla="*/ 88 w 97"/>
                        <a:gd name="T11" fmla="*/ 69 h 112"/>
                        <a:gd name="T12" fmla="*/ 91 w 97"/>
                        <a:gd name="T13" fmla="*/ 53 h 112"/>
                        <a:gd name="T14" fmla="*/ 69 w 97"/>
                        <a:gd name="T15" fmla="*/ 17 h 112"/>
                        <a:gd name="T16" fmla="*/ 40 w 97"/>
                        <a:gd name="T17" fmla="*/ 0 h 112"/>
                        <a:gd name="T18" fmla="*/ 4 w 97"/>
                        <a:gd name="T19" fmla="*/ 46 h 112"/>
                        <a:gd name="T20" fmla="*/ 9 w 97"/>
                        <a:gd name="T21" fmla="*/ 69 h 112"/>
                        <a:gd name="T22" fmla="*/ 9 w 97"/>
                        <a:gd name="T23" fmla="*/ 69 h 112"/>
                        <a:gd name="T24" fmla="*/ 15 w 97"/>
                        <a:gd name="T25" fmla="*/ 88 h 112"/>
                        <a:gd name="T26" fmla="*/ 6 w 97"/>
                        <a:gd name="T27" fmla="*/ 88 h 112"/>
                        <a:gd name="T28" fmla="*/ 0 w 97"/>
                        <a:gd name="T29" fmla="*/ 95 h 112"/>
                        <a:gd name="T30" fmla="*/ 16 w 97"/>
                        <a:gd name="T31" fmla="*/ 110 h 112"/>
                        <a:gd name="T32" fmla="*/ 42 w 97"/>
                        <a:gd name="T33" fmla="*/ 112 h 112"/>
                        <a:gd name="T34" fmla="*/ 44 w 97"/>
                        <a:gd name="T35" fmla="*/ 112 h 112"/>
                        <a:gd name="T36" fmla="*/ 44 w 97"/>
                        <a:gd name="T37" fmla="*/ 112 h 112"/>
                        <a:gd name="T38" fmla="*/ 47 w 97"/>
                        <a:gd name="T39" fmla="*/ 112 h 112"/>
                        <a:gd name="T40" fmla="*/ 48 w 97"/>
                        <a:gd name="T41" fmla="*/ 112 h 112"/>
                        <a:gd name="T42" fmla="*/ 49 w 97"/>
                        <a:gd name="T43" fmla="*/ 112 h 112"/>
                        <a:gd name="T44" fmla="*/ 53 w 97"/>
                        <a:gd name="T45" fmla="*/ 112 h 112"/>
                        <a:gd name="T46" fmla="*/ 53 w 97"/>
                        <a:gd name="T47" fmla="*/ 112 h 112"/>
                        <a:gd name="T48" fmla="*/ 54 w 97"/>
                        <a:gd name="T49" fmla="*/ 112 h 112"/>
                        <a:gd name="T50" fmla="*/ 81 w 97"/>
                        <a:gd name="T51" fmla="*/ 110 h 112"/>
                        <a:gd name="T52" fmla="*/ 96 w 97"/>
                        <a:gd name="T53" fmla="*/ 95 h 112"/>
                        <a:gd name="T54" fmla="*/ 91 w 97"/>
                        <a:gd name="T55" fmla="*/ 88 h 1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</a:cxnLst>
                      <a:rect l="0" t="0" r="r" b="b"/>
                      <a:pathLst>
                        <a:path w="97" h="112">
                          <a:moveTo>
                            <a:pt x="91" y="88"/>
                          </a:moveTo>
                          <a:cubicBezTo>
                            <a:pt x="89" y="95"/>
                            <a:pt x="83" y="93"/>
                            <a:pt x="82" y="88"/>
                          </a:cubicBezTo>
                          <a:cubicBezTo>
                            <a:pt x="81" y="86"/>
                            <a:pt x="83" y="79"/>
                            <a:pt x="85" y="74"/>
                          </a:cubicBezTo>
                          <a:cubicBezTo>
                            <a:pt x="86" y="73"/>
                            <a:pt x="87" y="71"/>
                            <a:pt x="88" y="69"/>
                          </a:cubicBezTo>
                          <a:cubicBezTo>
                            <a:pt x="88" y="69"/>
                            <a:pt x="88" y="69"/>
                            <a:pt x="88" y="69"/>
                          </a:cubicBezTo>
                          <a:cubicBezTo>
                            <a:pt x="88" y="69"/>
                            <a:pt x="88" y="69"/>
                            <a:pt x="88" y="69"/>
                          </a:cubicBezTo>
                          <a:cubicBezTo>
                            <a:pt x="90" y="64"/>
                            <a:pt x="91" y="59"/>
                            <a:pt x="91" y="53"/>
                          </a:cubicBezTo>
                          <a:cubicBezTo>
                            <a:pt x="91" y="36"/>
                            <a:pt x="82" y="22"/>
                            <a:pt x="69" y="17"/>
                          </a:cubicBezTo>
                          <a:cubicBezTo>
                            <a:pt x="62" y="7"/>
                            <a:pt x="52" y="0"/>
                            <a:pt x="40" y="0"/>
                          </a:cubicBezTo>
                          <a:cubicBezTo>
                            <a:pt x="20" y="0"/>
                            <a:pt x="4" y="20"/>
                            <a:pt x="4" y="46"/>
                          </a:cubicBezTo>
                          <a:cubicBezTo>
                            <a:pt x="4" y="54"/>
                            <a:pt x="6" y="62"/>
                            <a:pt x="9" y="69"/>
                          </a:cubicBezTo>
                          <a:cubicBezTo>
                            <a:pt x="9" y="69"/>
                            <a:pt x="9" y="69"/>
                            <a:pt x="9" y="69"/>
                          </a:cubicBezTo>
                          <a:cubicBezTo>
                            <a:pt x="9" y="69"/>
                            <a:pt x="17" y="84"/>
                            <a:pt x="15" y="88"/>
                          </a:cubicBezTo>
                          <a:cubicBezTo>
                            <a:pt x="13" y="93"/>
                            <a:pt x="8" y="95"/>
                            <a:pt x="6" y="88"/>
                          </a:cubicBezTo>
                          <a:cubicBezTo>
                            <a:pt x="3" y="82"/>
                            <a:pt x="0" y="90"/>
                            <a:pt x="0" y="95"/>
                          </a:cubicBezTo>
                          <a:cubicBezTo>
                            <a:pt x="1" y="101"/>
                            <a:pt x="2" y="108"/>
                            <a:pt x="16" y="110"/>
                          </a:cubicBezTo>
                          <a:cubicBezTo>
                            <a:pt x="27" y="112"/>
                            <a:pt x="33" y="112"/>
                            <a:pt x="42" y="112"/>
                          </a:cubicBezTo>
                          <a:cubicBezTo>
                            <a:pt x="43" y="112"/>
                            <a:pt x="44" y="112"/>
                            <a:pt x="44" y="112"/>
                          </a:cubicBezTo>
                          <a:cubicBezTo>
                            <a:pt x="44" y="112"/>
                            <a:pt x="44" y="112"/>
                            <a:pt x="44" y="112"/>
                          </a:cubicBezTo>
                          <a:cubicBezTo>
                            <a:pt x="45" y="112"/>
                            <a:pt x="46" y="112"/>
                            <a:pt x="47" y="112"/>
                          </a:cubicBezTo>
                          <a:cubicBezTo>
                            <a:pt x="48" y="112"/>
                            <a:pt x="48" y="112"/>
                            <a:pt x="48" y="112"/>
                          </a:cubicBezTo>
                          <a:cubicBezTo>
                            <a:pt x="49" y="112"/>
                            <a:pt x="49" y="112"/>
                            <a:pt x="49" y="112"/>
                          </a:cubicBezTo>
                          <a:cubicBezTo>
                            <a:pt x="50" y="112"/>
                            <a:pt x="51" y="112"/>
                            <a:pt x="53" y="112"/>
                          </a:cubicBezTo>
                          <a:cubicBezTo>
                            <a:pt x="53" y="112"/>
                            <a:pt x="53" y="112"/>
                            <a:pt x="53" y="112"/>
                          </a:cubicBezTo>
                          <a:cubicBezTo>
                            <a:pt x="53" y="112"/>
                            <a:pt x="54" y="112"/>
                            <a:pt x="54" y="112"/>
                          </a:cubicBezTo>
                          <a:cubicBezTo>
                            <a:pt x="63" y="112"/>
                            <a:pt x="69" y="112"/>
                            <a:pt x="81" y="110"/>
                          </a:cubicBezTo>
                          <a:cubicBezTo>
                            <a:pt x="94" y="108"/>
                            <a:pt x="96" y="101"/>
                            <a:pt x="96" y="95"/>
                          </a:cubicBezTo>
                          <a:cubicBezTo>
                            <a:pt x="97" y="90"/>
                            <a:pt x="93" y="82"/>
                            <a:pt x="91" y="88"/>
                          </a:cubicBezTo>
                          <a:close/>
                        </a:path>
                      </a:pathLst>
                    </a:custGeom>
                    <a:solidFill>
                      <a:srgbClr val="50505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76" name="Freeform 75"/>
                    <p:cNvSpPr>
                      <a:spLocks/>
                    </p:cNvSpPr>
                    <p:nvPr/>
                  </p:nvSpPr>
                  <p:spPr bwMode="auto">
                    <a:xfrm>
                      <a:off x="7456212" y="2199296"/>
                      <a:ext cx="196444" cy="977368"/>
                    </a:xfrm>
                    <a:custGeom>
                      <a:avLst/>
                      <a:gdLst>
                        <a:gd name="T0" fmla="*/ 50 w 81"/>
                        <a:gd name="T1" fmla="*/ 43 h 403"/>
                        <a:gd name="T2" fmla="*/ 74 w 81"/>
                        <a:gd name="T3" fmla="*/ 24 h 403"/>
                        <a:gd name="T4" fmla="*/ 41 w 81"/>
                        <a:gd name="T5" fmla="*/ 0 h 403"/>
                        <a:gd name="T6" fmla="*/ 8 w 81"/>
                        <a:gd name="T7" fmla="*/ 24 h 403"/>
                        <a:gd name="T8" fmla="*/ 31 w 81"/>
                        <a:gd name="T9" fmla="*/ 43 h 403"/>
                        <a:gd name="T10" fmla="*/ 0 w 81"/>
                        <a:gd name="T11" fmla="*/ 369 h 403"/>
                        <a:gd name="T12" fmla="*/ 41 w 81"/>
                        <a:gd name="T13" fmla="*/ 403 h 403"/>
                        <a:gd name="T14" fmla="*/ 81 w 81"/>
                        <a:gd name="T15" fmla="*/ 369 h 403"/>
                        <a:gd name="T16" fmla="*/ 50 w 81"/>
                        <a:gd name="T17" fmla="*/ 43 h 40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81" h="403">
                          <a:moveTo>
                            <a:pt x="50" y="43"/>
                          </a:moveTo>
                          <a:lnTo>
                            <a:pt x="74" y="24"/>
                          </a:lnTo>
                          <a:lnTo>
                            <a:pt x="41" y="0"/>
                          </a:lnTo>
                          <a:lnTo>
                            <a:pt x="8" y="24"/>
                          </a:lnTo>
                          <a:lnTo>
                            <a:pt x="31" y="43"/>
                          </a:lnTo>
                          <a:lnTo>
                            <a:pt x="0" y="369"/>
                          </a:lnTo>
                          <a:lnTo>
                            <a:pt x="41" y="403"/>
                          </a:lnTo>
                          <a:lnTo>
                            <a:pt x="81" y="369"/>
                          </a:lnTo>
                          <a:lnTo>
                            <a:pt x="50" y="43"/>
                          </a:lnTo>
                          <a:close/>
                        </a:path>
                      </a:pathLst>
                    </a:custGeom>
                    <a:solidFill>
                      <a:srgbClr val="00B294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77" name="Freeform 76"/>
                    <p:cNvSpPr>
                      <a:spLocks/>
                    </p:cNvSpPr>
                    <p:nvPr/>
                  </p:nvSpPr>
                  <p:spPr bwMode="auto">
                    <a:xfrm>
                      <a:off x="7783617" y="2170194"/>
                      <a:ext cx="344383" cy="890060"/>
                    </a:xfrm>
                    <a:custGeom>
                      <a:avLst/>
                      <a:gdLst>
                        <a:gd name="T0" fmla="*/ 0 w 60"/>
                        <a:gd name="T1" fmla="*/ 7 h 155"/>
                        <a:gd name="T2" fmla="*/ 24 w 60"/>
                        <a:gd name="T3" fmla="*/ 0 h 155"/>
                        <a:gd name="T4" fmla="*/ 60 w 60"/>
                        <a:gd name="T5" fmla="*/ 155 h 155"/>
                        <a:gd name="T6" fmla="*/ 35 w 60"/>
                        <a:gd name="T7" fmla="*/ 155 h 155"/>
                        <a:gd name="T8" fmla="*/ 0 w 60"/>
                        <a:gd name="T9" fmla="*/ 7 h 15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60" h="155">
                          <a:moveTo>
                            <a:pt x="0" y="7"/>
                          </a:moveTo>
                          <a:cubicBezTo>
                            <a:pt x="8" y="5"/>
                            <a:pt x="16" y="3"/>
                            <a:pt x="24" y="0"/>
                          </a:cubicBezTo>
                          <a:cubicBezTo>
                            <a:pt x="47" y="51"/>
                            <a:pt x="54" y="100"/>
                            <a:pt x="60" y="155"/>
                          </a:cubicBezTo>
                          <a:cubicBezTo>
                            <a:pt x="35" y="155"/>
                            <a:pt x="35" y="155"/>
                            <a:pt x="35" y="155"/>
                          </a:cubicBezTo>
                          <a:cubicBezTo>
                            <a:pt x="29" y="102"/>
                            <a:pt x="23" y="55"/>
                            <a:pt x="0" y="7"/>
                          </a:cubicBezTo>
                          <a:close/>
                        </a:path>
                      </a:pathLst>
                    </a:custGeom>
                    <a:solidFill>
                      <a:srgbClr val="96969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78" name="Freeform 77"/>
                    <p:cNvSpPr>
                      <a:spLocks/>
                    </p:cNvSpPr>
                    <p:nvPr/>
                  </p:nvSpPr>
                  <p:spPr bwMode="auto">
                    <a:xfrm>
                      <a:off x="8001888" y="3060253"/>
                      <a:ext cx="104286" cy="116411"/>
                    </a:xfrm>
                    <a:custGeom>
                      <a:avLst/>
                      <a:gdLst>
                        <a:gd name="T0" fmla="*/ 0 w 18"/>
                        <a:gd name="T1" fmla="*/ 0 h 20"/>
                        <a:gd name="T2" fmla="*/ 0 w 18"/>
                        <a:gd name="T3" fmla="*/ 11 h 20"/>
                        <a:gd name="T4" fmla="*/ 9 w 18"/>
                        <a:gd name="T5" fmla="*/ 20 h 20"/>
                        <a:gd name="T6" fmla="*/ 18 w 18"/>
                        <a:gd name="T7" fmla="*/ 11 h 20"/>
                        <a:gd name="T8" fmla="*/ 18 w 18"/>
                        <a:gd name="T9" fmla="*/ 0 h 20"/>
                        <a:gd name="T10" fmla="*/ 0 w 18"/>
                        <a:gd name="T11" fmla="*/ 0 h 2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8" h="20">
                          <a:moveTo>
                            <a:pt x="0" y="0"/>
                          </a:moveTo>
                          <a:cubicBezTo>
                            <a:pt x="0" y="11"/>
                            <a:pt x="0" y="11"/>
                            <a:pt x="0" y="11"/>
                          </a:cubicBezTo>
                          <a:cubicBezTo>
                            <a:pt x="0" y="16"/>
                            <a:pt x="4" y="20"/>
                            <a:pt x="9" y="20"/>
                          </a:cubicBezTo>
                          <a:cubicBezTo>
                            <a:pt x="14" y="20"/>
                            <a:pt x="18" y="16"/>
                            <a:pt x="18" y="11"/>
                          </a:cubicBezTo>
                          <a:cubicBezTo>
                            <a:pt x="18" y="0"/>
                            <a:pt x="18" y="0"/>
                            <a:pt x="18" y="0"/>
                          </a:cubicBez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FFB9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79" name="Freeform 78"/>
                    <p:cNvSpPr>
                      <a:spLocks/>
                    </p:cNvSpPr>
                    <p:nvPr/>
                  </p:nvSpPr>
                  <p:spPr bwMode="auto">
                    <a:xfrm>
                      <a:off x="6976017" y="2170194"/>
                      <a:ext cx="349233" cy="890060"/>
                    </a:xfrm>
                    <a:custGeom>
                      <a:avLst/>
                      <a:gdLst>
                        <a:gd name="T0" fmla="*/ 61 w 61"/>
                        <a:gd name="T1" fmla="*/ 7 h 155"/>
                        <a:gd name="T2" fmla="*/ 36 w 61"/>
                        <a:gd name="T3" fmla="*/ 0 h 155"/>
                        <a:gd name="T4" fmla="*/ 0 w 61"/>
                        <a:gd name="T5" fmla="*/ 155 h 155"/>
                        <a:gd name="T6" fmla="*/ 25 w 61"/>
                        <a:gd name="T7" fmla="*/ 155 h 155"/>
                        <a:gd name="T8" fmla="*/ 61 w 61"/>
                        <a:gd name="T9" fmla="*/ 7 h 15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61" h="155">
                          <a:moveTo>
                            <a:pt x="61" y="7"/>
                          </a:moveTo>
                          <a:cubicBezTo>
                            <a:pt x="53" y="5"/>
                            <a:pt x="44" y="3"/>
                            <a:pt x="36" y="0"/>
                          </a:cubicBezTo>
                          <a:cubicBezTo>
                            <a:pt x="12" y="51"/>
                            <a:pt x="5" y="100"/>
                            <a:pt x="0" y="155"/>
                          </a:cubicBezTo>
                          <a:cubicBezTo>
                            <a:pt x="25" y="155"/>
                            <a:pt x="25" y="155"/>
                            <a:pt x="25" y="155"/>
                          </a:cubicBezTo>
                          <a:cubicBezTo>
                            <a:pt x="31" y="102"/>
                            <a:pt x="38" y="55"/>
                            <a:pt x="61" y="7"/>
                          </a:cubicBezTo>
                          <a:close/>
                        </a:path>
                      </a:pathLst>
                    </a:custGeom>
                    <a:solidFill>
                      <a:srgbClr val="96969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80" name="Freeform 79"/>
                    <p:cNvSpPr>
                      <a:spLocks/>
                    </p:cNvSpPr>
                    <p:nvPr/>
                  </p:nvSpPr>
                  <p:spPr bwMode="auto">
                    <a:xfrm>
                      <a:off x="6992993" y="3060253"/>
                      <a:ext cx="109136" cy="116411"/>
                    </a:xfrm>
                    <a:custGeom>
                      <a:avLst/>
                      <a:gdLst>
                        <a:gd name="T0" fmla="*/ 19 w 19"/>
                        <a:gd name="T1" fmla="*/ 0 h 20"/>
                        <a:gd name="T2" fmla="*/ 19 w 19"/>
                        <a:gd name="T3" fmla="*/ 11 h 20"/>
                        <a:gd name="T4" fmla="*/ 10 w 19"/>
                        <a:gd name="T5" fmla="*/ 20 h 20"/>
                        <a:gd name="T6" fmla="*/ 0 w 19"/>
                        <a:gd name="T7" fmla="*/ 11 h 20"/>
                        <a:gd name="T8" fmla="*/ 0 w 19"/>
                        <a:gd name="T9" fmla="*/ 0 h 20"/>
                        <a:gd name="T10" fmla="*/ 19 w 19"/>
                        <a:gd name="T11" fmla="*/ 0 h 2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9" h="20">
                          <a:moveTo>
                            <a:pt x="19" y="0"/>
                          </a:moveTo>
                          <a:cubicBezTo>
                            <a:pt x="19" y="11"/>
                            <a:pt x="19" y="11"/>
                            <a:pt x="19" y="11"/>
                          </a:cubicBezTo>
                          <a:cubicBezTo>
                            <a:pt x="19" y="16"/>
                            <a:pt x="15" y="20"/>
                            <a:pt x="10" y="20"/>
                          </a:cubicBezTo>
                          <a:cubicBezTo>
                            <a:pt x="4" y="20"/>
                            <a:pt x="0" y="16"/>
                            <a:pt x="0" y="11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FFB9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81" name="Freeform 80"/>
                    <p:cNvSpPr>
                      <a:spLocks/>
                    </p:cNvSpPr>
                    <p:nvPr/>
                  </p:nvSpPr>
                  <p:spPr bwMode="auto">
                    <a:xfrm>
                      <a:off x="7187011" y="2148367"/>
                      <a:ext cx="734845" cy="1137433"/>
                    </a:xfrm>
                    <a:custGeom>
                      <a:avLst/>
                      <a:gdLst>
                        <a:gd name="T0" fmla="*/ 194 w 303"/>
                        <a:gd name="T1" fmla="*/ 0 h 469"/>
                        <a:gd name="T2" fmla="*/ 152 w 303"/>
                        <a:gd name="T3" fmla="*/ 341 h 469"/>
                        <a:gd name="T4" fmla="*/ 109 w 303"/>
                        <a:gd name="T5" fmla="*/ 0 h 469"/>
                        <a:gd name="T6" fmla="*/ 0 w 303"/>
                        <a:gd name="T7" fmla="*/ 9 h 469"/>
                        <a:gd name="T8" fmla="*/ 22 w 303"/>
                        <a:gd name="T9" fmla="*/ 469 h 469"/>
                        <a:gd name="T10" fmla="*/ 279 w 303"/>
                        <a:gd name="T11" fmla="*/ 469 h 469"/>
                        <a:gd name="T12" fmla="*/ 303 w 303"/>
                        <a:gd name="T13" fmla="*/ 9 h 469"/>
                        <a:gd name="T14" fmla="*/ 194 w 303"/>
                        <a:gd name="T15" fmla="*/ 0 h 46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303" h="469">
                          <a:moveTo>
                            <a:pt x="194" y="0"/>
                          </a:moveTo>
                          <a:lnTo>
                            <a:pt x="152" y="341"/>
                          </a:lnTo>
                          <a:lnTo>
                            <a:pt x="109" y="0"/>
                          </a:lnTo>
                          <a:lnTo>
                            <a:pt x="0" y="9"/>
                          </a:lnTo>
                          <a:lnTo>
                            <a:pt x="22" y="469"/>
                          </a:lnTo>
                          <a:lnTo>
                            <a:pt x="279" y="469"/>
                          </a:lnTo>
                          <a:lnTo>
                            <a:pt x="303" y="9"/>
                          </a:lnTo>
                          <a:lnTo>
                            <a:pt x="194" y="0"/>
                          </a:lnTo>
                          <a:close/>
                        </a:path>
                      </a:pathLst>
                    </a:custGeom>
                    <a:solidFill>
                      <a:srgbClr val="96969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82" name="Freeform 81"/>
                    <p:cNvSpPr>
                      <a:spLocks/>
                    </p:cNvSpPr>
                    <p:nvPr/>
                  </p:nvSpPr>
                  <p:spPr bwMode="auto">
                    <a:xfrm>
                      <a:off x="7720562" y="1738503"/>
                      <a:ext cx="7276" cy="0"/>
                    </a:xfrm>
                    <a:custGeom>
                      <a:avLst/>
                      <a:gdLst>
                        <a:gd name="T0" fmla="*/ 1 w 1"/>
                        <a:gd name="T1" fmla="*/ 0 w 1"/>
                        <a:gd name="T2" fmla="*/ 1 w 1"/>
                      </a:gdLst>
                      <a:ahLst/>
                      <a:cxnLst>
                        <a:cxn ang="0">
                          <a:pos x="T0" y="0"/>
                        </a:cxn>
                        <a:cxn ang="0">
                          <a:pos x="T1" y="0"/>
                        </a:cxn>
                        <a:cxn ang="0">
                          <a:pos x="T2" y="0"/>
                        </a:cxn>
                      </a:cxnLst>
                      <a:rect l="0" t="0" r="r" b="b"/>
                      <a:pathLst>
                        <a:path w="1">
                          <a:moveTo>
                            <a:pt x="1" y="0"/>
                          </a:moveTo>
                          <a:cubicBezTo>
                            <a:pt x="1" y="0"/>
                            <a:pt x="0" y="0"/>
                            <a:pt x="0" y="0"/>
                          </a:cubicBezTo>
                          <a:cubicBezTo>
                            <a:pt x="0" y="0"/>
                            <a:pt x="1" y="0"/>
                            <a:pt x="1" y="0"/>
                          </a:cubicBezTo>
                          <a:close/>
                        </a:path>
                      </a:pathLst>
                    </a:custGeom>
                    <a:solidFill>
                      <a:srgbClr val="FFD60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83" name="Freeform 82"/>
                    <p:cNvSpPr>
                      <a:spLocks/>
                    </p:cNvSpPr>
                    <p:nvPr/>
                  </p:nvSpPr>
                  <p:spPr bwMode="auto">
                    <a:xfrm>
                      <a:off x="7720562" y="1733652"/>
                      <a:ext cx="0" cy="0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>
                          <a:moveTo>
                            <a:pt x="0" y="0"/>
                          </a:move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FFD60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84" name="Freeform 83"/>
                    <p:cNvSpPr>
                      <a:spLocks/>
                    </p:cNvSpPr>
                    <p:nvPr/>
                  </p:nvSpPr>
                  <p:spPr bwMode="auto">
                    <a:xfrm>
                      <a:off x="7715711" y="1716676"/>
                      <a:ext cx="0" cy="0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>
                          <a:moveTo>
                            <a:pt x="0" y="0"/>
                          </a:move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FFD60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85" name="Freeform 84"/>
                    <p:cNvSpPr>
                      <a:spLocks/>
                    </p:cNvSpPr>
                    <p:nvPr/>
                  </p:nvSpPr>
                  <p:spPr bwMode="auto">
                    <a:xfrm>
                      <a:off x="7715711" y="1721527"/>
                      <a:ext cx="0" cy="0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>
                          <a:moveTo>
                            <a:pt x="0" y="0"/>
                          </a:move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FFD60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86" name="Freeform 85"/>
                    <p:cNvSpPr>
                      <a:spLocks/>
                    </p:cNvSpPr>
                    <p:nvPr/>
                  </p:nvSpPr>
                  <p:spPr bwMode="auto">
                    <a:xfrm>
                      <a:off x="7383455" y="1716676"/>
                      <a:ext cx="0" cy="0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>
                          <a:moveTo>
                            <a:pt x="0" y="0"/>
                          </a:move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FFD60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87" name="Freeform 86"/>
                    <p:cNvSpPr>
                      <a:spLocks/>
                    </p:cNvSpPr>
                    <p:nvPr/>
                  </p:nvSpPr>
                  <p:spPr bwMode="auto">
                    <a:xfrm>
                      <a:off x="7727838" y="1745779"/>
                      <a:ext cx="0" cy="4850"/>
                    </a:xfrm>
                    <a:custGeom>
                      <a:avLst/>
                      <a:gdLst>
                        <a:gd name="T0" fmla="*/ 1 h 1"/>
                        <a:gd name="T1" fmla="*/ 0 h 1"/>
                        <a:gd name="T2" fmla="*/ 1 h 1"/>
                      </a:gdLst>
                      <a:ahLst/>
                      <a:cxnLst>
                        <a:cxn ang="0">
                          <a:pos x="0" y="T0"/>
                        </a:cxn>
                        <a:cxn ang="0">
                          <a:pos x="0" y="T1"/>
                        </a:cxn>
                        <a:cxn ang="0">
                          <a:pos x="0" y="T2"/>
                        </a:cxn>
                      </a:cxnLst>
                      <a:rect l="0" t="0" r="r" b="b"/>
                      <a:pathLst>
                        <a:path h="1">
                          <a:moveTo>
                            <a:pt x="0" y="1"/>
                          </a:moveTo>
                          <a:cubicBezTo>
                            <a:pt x="0" y="1"/>
                            <a:pt x="0" y="0"/>
                            <a:pt x="0" y="0"/>
                          </a:cubicBezTo>
                          <a:cubicBezTo>
                            <a:pt x="0" y="0"/>
                            <a:pt x="0" y="1"/>
                            <a:pt x="0" y="1"/>
                          </a:cubicBezTo>
                          <a:close/>
                        </a:path>
                      </a:pathLst>
                    </a:custGeom>
                    <a:solidFill>
                      <a:srgbClr val="FFD60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88" name="Freeform 87"/>
                    <p:cNvSpPr>
                      <a:spLocks/>
                    </p:cNvSpPr>
                    <p:nvPr/>
                  </p:nvSpPr>
                  <p:spPr bwMode="auto">
                    <a:xfrm>
                      <a:off x="7727838" y="1750630"/>
                      <a:ext cx="0" cy="12127"/>
                    </a:xfrm>
                    <a:custGeom>
                      <a:avLst/>
                      <a:gdLst>
                        <a:gd name="T0" fmla="*/ 2 h 2"/>
                        <a:gd name="T1" fmla="*/ 0 h 2"/>
                        <a:gd name="T2" fmla="*/ 2 h 2"/>
                      </a:gdLst>
                      <a:ahLst/>
                      <a:cxnLst>
                        <a:cxn ang="0">
                          <a:pos x="0" y="T0"/>
                        </a:cxn>
                        <a:cxn ang="0">
                          <a:pos x="0" y="T1"/>
                        </a:cxn>
                        <a:cxn ang="0">
                          <a:pos x="0" y="T2"/>
                        </a:cxn>
                      </a:cxnLst>
                      <a:rect l="0" t="0" r="r" b="b"/>
                      <a:pathLst>
                        <a:path h="2">
                          <a:moveTo>
                            <a:pt x="0" y="2"/>
                          </a:moveTo>
                          <a:cubicBezTo>
                            <a:pt x="0" y="1"/>
                            <a:pt x="0" y="1"/>
                            <a:pt x="0" y="0"/>
                          </a:cubicBezTo>
                          <a:cubicBezTo>
                            <a:pt x="0" y="1"/>
                            <a:pt x="0" y="1"/>
                            <a:pt x="0" y="2"/>
                          </a:cubicBezTo>
                          <a:close/>
                        </a:path>
                      </a:pathLst>
                    </a:custGeom>
                    <a:solidFill>
                      <a:srgbClr val="FFD60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89" name="Freeform 88"/>
                    <p:cNvSpPr>
                      <a:spLocks/>
                    </p:cNvSpPr>
                    <p:nvPr/>
                  </p:nvSpPr>
                  <p:spPr bwMode="auto">
                    <a:xfrm>
                      <a:off x="7710861" y="1711826"/>
                      <a:ext cx="0" cy="0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>
                          <a:moveTo>
                            <a:pt x="0" y="0"/>
                          </a:move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FFD60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90" name="Freeform 89"/>
                    <p:cNvSpPr>
                      <a:spLocks/>
                    </p:cNvSpPr>
                    <p:nvPr/>
                  </p:nvSpPr>
                  <p:spPr bwMode="auto">
                    <a:xfrm>
                      <a:off x="7376179" y="1750630"/>
                      <a:ext cx="0" cy="0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>
                          <a:moveTo>
                            <a:pt x="0" y="0"/>
                          </a:move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FFD60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91" name="Freeform 90"/>
                    <p:cNvSpPr>
                      <a:spLocks/>
                    </p:cNvSpPr>
                    <p:nvPr/>
                  </p:nvSpPr>
                  <p:spPr bwMode="auto">
                    <a:xfrm>
                      <a:off x="7376179" y="1733652"/>
                      <a:ext cx="0" cy="0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>
                          <a:moveTo>
                            <a:pt x="0" y="0"/>
                          </a:move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FFD60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92" name="Freeform 91"/>
                    <p:cNvSpPr>
                      <a:spLocks/>
                    </p:cNvSpPr>
                    <p:nvPr/>
                  </p:nvSpPr>
                  <p:spPr bwMode="auto">
                    <a:xfrm>
                      <a:off x="7383455" y="1728802"/>
                      <a:ext cx="0" cy="0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>
                          <a:moveTo>
                            <a:pt x="0" y="0"/>
                          </a:move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FFD60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93" name="Freeform 92"/>
                    <p:cNvSpPr>
                      <a:spLocks/>
                    </p:cNvSpPr>
                    <p:nvPr/>
                  </p:nvSpPr>
                  <p:spPr bwMode="auto">
                    <a:xfrm>
                      <a:off x="7376179" y="1738503"/>
                      <a:ext cx="0" cy="7276"/>
                    </a:xfrm>
                    <a:custGeom>
                      <a:avLst/>
                      <a:gdLst>
                        <a:gd name="T0" fmla="*/ 0 h 1"/>
                        <a:gd name="T1" fmla="*/ 1 h 1"/>
                        <a:gd name="T2" fmla="*/ 0 h 1"/>
                      </a:gdLst>
                      <a:ahLst/>
                      <a:cxnLst>
                        <a:cxn ang="0">
                          <a:pos x="0" y="T0"/>
                        </a:cxn>
                        <a:cxn ang="0">
                          <a:pos x="0" y="T1"/>
                        </a:cxn>
                        <a:cxn ang="0">
                          <a:pos x="0" y="T2"/>
                        </a:cxn>
                      </a:cxnLst>
                      <a:rect l="0" t="0" r="r" b="b"/>
                      <a:pathLst>
                        <a:path h="1">
                          <a:moveTo>
                            <a:pt x="0" y="0"/>
                          </a:moveTo>
                          <a:cubicBezTo>
                            <a:pt x="0" y="0"/>
                            <a:pt x="0" y="1"/>
                            <a:pt x="0" y="1"/>
                          </a:cubicBezTo>
                          <a:cubicBezTo>
                            <a:pt x="0" y="1"/>
                            <a:pt x="0" y="0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FFD60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94" name="Freeform 93"/>
                    <p:cNvSpPr>
                      <a:spLocks/>
                    </p:cNvSpPr>
                    <p:nvPr/>
                  </p:nvSpPr>
                  <p:spPr bwMode="auto">
                    <a:xfrm>
                      <a:off x="7342226" y="1699699"/>
                      <a:ext cx="412289" cy="499597"/>
                    </a:xfrm>
                    <a:custGeom>
                      <a:avLst/>
                      <a:gdLst>
                        <a:gd name="T0" fmla="*/ 69 w 72"/>
                        <a:gd name="T1" fmla="*/ 15 h 87"/>
                        <a:gd name="T2" fmla="*/ 67 w 72"/>
                        <a:gd name="T3" fmla="*/ 15 h 87"/>
                        <a:gd name="T4" fmla="*/ 67 w 72"/>
                        <a:gd name="T5" fmla="*/ 11 h 87"/>
                        <a:gd name="T6" fmla="*/ 67 w 72"/>
                        <a:gd name="T7" fmla="*/ 9 h 87"/>
                        <a:gd name="T8" fmla="*/ 67 w 72"/>
                        <a:gd name="T9" fmla="*/ 9 h 87"/>
                        <a:gd name="T10" fmla="*/ 67 w 72"/>
                        <a:gd name="T11" fmla="*/ 8 h 87"/>
                        <a:gd name="T12" fmla="*/ 67 w 72"/>
                        <a:gd name="T13" fmla="*/ 7 h 87"/>
                        <a:gd name="T14" fmla="*/ 66 w 72"/>
                        <a:gd name="T15" fmla="*/ 7 h 87"/>
                        <a:gd name="T16" fmla="*/ 66 w 72"/>
                        <a:gd name="T17" fmla="*/ 6 h 87"/>
                        <a:gd name="T18" fmla="*/ 66 w 72"/>
                        <a:gd name="T19" fmla="*/ 6 h 87"/>
                        <a:gd name="T20" fmla="*/ 65 w 72"/>
                        <a:gd name="T21" fmla="*/ 4 h 87"/>
                        <a:gd name="T22" fmla="*/ 65 w 72"/>
                        <a:gd name="T23" fmla="*/ 4 h 87"/>
                        <a:gd name="T24" fmla="*/ 65 w 72"/>
                        <a:gd name="T25" fmla="*/ 3 h 87"/>
                        <a:gd name="T26" fmla="*/ 65 w 72"/>
                        <a:gd name="T27" fmla="*/ 3 h 87"/>
                        <a:gd name="T28" fmla="*/ 64 w 72"/>
                        <a:gd name="T29" fmla="*/ 2 h 87"/>
                        <a:gd name="T30" fmla="*/ 64 w 72"/>
                        <a:gd name="T31" fmla="*/ 2 h 87"/>
                        <a:gd name="T32" fmla="*/ 59 w 72"/>
                        <a:gd name="T33" fmla="*/ 3 h 87"/>
                        <a:gd name="T34" fmla="*/ 48 w 72"/>
                        <a:gd name="T35" fmla="*/ 0 h 87"/>
                        <a:gd name="T36" fmla="*/ 30 w 72"/>
                        <a:gd name="T37" fmla="*/ 3 h 87"/>
                        <a:gd name="T38" fmla="*/ 10 w 72"/>
                        <a:gd name="T39" fmla="*/ 0 h 87"/>
                        <a:gd name="T40" fmla="*/ 7 w 72"/>
                        <a:gd name="T41" fmla="*/ 3 h 87"/>
                        <a:gd name="T42" fmla="*/ 7 w 72"/>
                        <a:gd name="T43" fmla="*/ 3 h 87"/>
                        <a:gd name="T44" fmla="*/ 7 w 72"/>
                        <a:gd name="T45" fmla="*/ 5 h 87"/>
                        <a:gd name="T46" fmla="*/ 7 w 72"/>
                        <a:gd name="T47" fmla="*/ 5 h 87"/>
                        <a:gd name="T48" fmla="*/ 6 w 72"/>
                        <a:gd name="T49" fmla="*/ 6 h 87"/>
                        <a:gd name="T50" fmla="*/ 6 w 72"/>
                        <a:gd name="T51" fmla="*/ 6 h 87"/>
                        <a:gd name="T52" fmla="*/ 6 w 72"/>
                        <a:gd name="T53" fmla="*/ 7 h 87"/>
                        <a:gd name="T54" fmla="*/ 6 w 72"/>
                        <a:gd name="T55" fmla="*/ 8 h 87"/>
                        <a:gd name="T56" fmla="*/ 6 w 72"/>
                        <a:gd name="T57" fmla="*/ 9 h 87"/>
                        <a:gd name="T58" fmla="*/ 6 w 72"/>
                        <a:gd name="T59" fmla="*/ 9 h 87"/>
                        <a:gd name="T60" fmla="*/ 6 w 72"/>
                        <a:gd name="T61" fmla="*/ 11 h 87"/>
                        <a:gd name="T62" fmla="*/ 6 w 72"/>
                        <a:gd name="T63" fmla="*/ 15 h 87"/>
                        <a:gd name="T64" fmla="*/ 5 w 72"/>
                        <a:gd name="T65" fmla="*/ 15 h 87"/>
                        <a:gd name="T66" fmla="*/ 0 w 72"/>
                        <a:gd name="T67" fmla="*/ 20 h 87"/>
                        <a:gd name="T68" fmla="*/ 0 w 72"/>
                        <a:gd name="T69" fmla="*/ 32 h 87"/>
                        <a:gd name="T70" fmla="*/ 6 w 72"/>
                        <a:gd name="T71" fmla="*/ 37 h 87"/>
                        <a:gd name="T72" fmla="*/ 10 w 72"/>
                        <a:gd name="T73" fmla="*/ 49 h 87"/>
                        <a:gd name="T74" fmla="*/ 22 w 72"/>
                        <a:gd name="T75" fmla="*/ 64 h 87"/>
                        <a:gd name="T76" fmla="*/ 24 w 72"/>
                        <a:gd name="T77" fmla="*/ 78 h 87"/>
                        <a:gd name="T78" fmla="*/ 37 w 72"/>
                        <a:gd name="T79" fmla="*/ 87 h 87"/>
                        <a:gd name="T80" fmla="*/ 50 w 72"/>
                        <a:gd name="T81" fmla="*/ 78 h 87"/>
                        <a:gd name="T82" fmla="*/ 52 w 72"/>
                        <a:gd name="T83" fmla="*/ 63 h 87"/>
                        <a:gd name="T84" fmla="*/ 62 w 72"/>
                        <a:gd name="T85" fmla="*/ 49 h 87"/>
                        <a:gd name="T86" fmla="*/ 67 w 72"/>
                        <a:gd name="T87" fmla="*/ 37 h 87"/>
                        <a:gd name="T88" fmla="*/ 72 w 72"/>
                        <a:gd name="T89" fmla="*/ 32 h 87"/>
                        <a:gd name="T90" fmla="*/ 72 w 72"/>
                        <a:gd name="T91" fmla="*/ 20 h 87"/>
                        <a:gd name="T92" fmla="*/ 69 w 72"/>
                        <a:gd name="T93" fmla="*/ 15 h 8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</a:cxnLst>
                      <a:rect l="0" t="0" r="r" b="b"/>
                      <a:pathLst>
                        <a:path w="72" h="87">
                          <a:moveTo>
                            <a:pt x="69" y="15"/>
                          </a:moveTo>
                          <a:cubicBezTo>
                            <a:pt x="68" y="15"/>
                            <a:pt x="68" y="15"/>
                            <a:pt x="67" y="15"/>
                          </a:cubicBezTo>
                          <a:cubicBezTo>
                            <a:pt x="67" y="11"/>
                            <a:pt x="67" y="11"/>
                            <a:pt x="67" y="11"/>
                          </a:cubicBezTo>
                          <a:cubicBezTo>
                            <a:pt x="67" y="10"/>
                            <a:pt x="67" y="10"/>
                            <a:pt x="67" y="9"/>
                          </a:cubicBezTo>
                          <a:cubicBezTo>
                            <a:pt x="67" y="9"/>
                            <a:pt x="67" y="9"/>
                            <a:pt x="67" y="9"/>
                          </a:cubicBezTo>
                          <a:cubicBezTo>
                            <a:pt x="67" y="9"/>
                            <a:pt x="67" y="8"/>
                            <a:pt x="67" y="8"/>
                          </a:cubicBezTo>
                          <a:cubicBezTo>
                            <a:pt x="67" y="8"/>
                            <a:pt x="67" y="8"/>
                            <a:pt x="67" y="7"/>
                          </a:cubicBezTo>
                          <a:cubicBezTo>
                            <a:pt x="67" y="7"/>
                            <a:pt x="66" y="7"/>
                            <a:pt x="66" y="7"/>
                          </a:cubicBezTo>
                          <a:cubicBezTo>
                            <a:pt x="66" y="7"/>
                            <a:pt x="66" y="6"/>
                            <a:pt x="66" y="6"/>
                          </a:cubicBezTo>
                          <a:cubicBezTo>
                            <a:pt x="66" y="6"/>
                            <a:pt x="66" y="6"/>
                            <a:pt x="66" y="6"/>
                          </a:cubicBezTo>
                          <a:cubicBezTo>
                            <a:pt x="66" y="5"/>
                            <a:pt x="66" y="5"/>
                            <a:pt x="65" y="4"/>
                          </a:cubicBezTo>
                          <a:cubicBezTo>
                            <a:pt x="65" y="4"/>
                            <a:pt x="65" y="4"/>
                            <a:pt x="65" y="4"/>
                          </a:cubicBezTo>
                          <a:cubicBezTo>
                            <a:pt x="65" y="4"/>
                            <a:pt x="65" y="3"/>
                            <a:pt x="65" y="3"/>
                          </a:cubicBezTo>
                          <a:cubicBezTo>
                            <a:pt x="65" y="3"/>
                            <a:pt x="65" y="3"/>
                            <a:pt x="65" y="3"/>
                          </a:cubicBezTo>
                          <a:cubicBezTo>
                            <a:pt x="65" y="3"/>
                            <a:pt x="64" y="2"/>
                            <a:pt x="64" y="2"/>
                          </a:cubicBezTo>
                          <a:cubicBezTo>
                            <a:pt x="64" y="2"/>
                            <a:pt x="64" y="2"/>
                            <a:pt x="64" y="2"/>
                          </a:cubicBezTo>
                          <a:cubicBezTo>
                            <a:pt x="62" y="2"/>
                            <a:pt x="61" y="3"/>
                            <a:pt x="59" y="3"/>
                          </a:cubicBezTo>
                          <a:cubicBezTo>
                            <a:pt x="54" y="3"/>
                            <a:pt x="51" y="2"/>
                            <a:pt x="48" y="0"/>
                          </a:cubicBezTo>
                          <a:cubicBezTo>
                            <a:pt x="44" y="2"/>
                            <a:pt x="37" y="3"/>
                            <a:pt x="30" y="3"/>
                          </a:cubicBezTo>
                          <a:cubicBezTo>
                            <a:pt x="22" y="3"/>
                            <a:pt x="15" y="2"/>
                            <a:pt x="10" y="0"/>
                          </a:cubicBezTo>
                          <a:cubicBezTo>
                            <a:pt x="9" y="1"/>
                            <a:pt x="8" y="2"/>
                            <a:pt x="7" y="3"/>
                          </a:cubicBezTo>
                          <a:cubicBezTo>
                            <a:pt x="7" y="3"/>
                            <a:pt x="7" y="3"/>
                            <a:pt x="7" y="3"/>
                          </a:cubicBezTo>
                          <a:cubicBezTo>
                            <a:pt x="7" y="4"/>
                            <a:pt x="7" y="4"/>
                            <a:pt x="7" y="5"/>
                          </a:cubicBezTo>
                          <a:cubicBezTo>
                            <a:pt x="7" y="5"/>
                            <a:pt x="7" y="5"/>
                            <a:pt x="7" y="5"/>
                          </a:cubicBezTo>
                          <a:cubicBezTo>
                            <a:pt x="7" y="5"/>
                            <a:pt x="6" y="6"/>
                            <a:pt x="6" y="6"/>
                          </a:cubicBezTo>
                          <a:cubicBezTo>
                            <a:pt x="6" y="6"/>
                            <a:pt x="6" y="6"/>
                            <a:pt x="6" y="6"/>
                          </a:cubicBezTo>
                          <a:cubicBezTo>
                            <a:pt x="6" y="7"/>
                            <a:pt x="6" y="7"/>
                            <a:pt x="6" y="7"/>
                          </a:cubicBezTo>
                          <a:cubicBezTo>
                            <a:pt x="6" y="7"/>
                            <a:pt x="6" y="8"/>
                            <a:pt x="6" y="8"/>
                          </a:cubicBezTo>
                          <a:cubicBezTo>
                            <a:pt x="6" y="8"/>
                            <a:pt x="6" y="8"/>
                            <a:pt x="6" y="9"/>
                          </a:cubicBezTo>
                          <a:cubicBezTo>
                            <a:pt x="6" y="9"/>
                            <a:pt x="6" y="9"/>
                            <a:pt x="6" y="9"/>
                          </a:cubicBezTo>
                          <a:cubicBezTo>
                            <a:pt x="6" y="10"/>
                            <a:pt x="6" y="10"/>
                            <a:pt x="6" y="11"/>
                          </a:cubicBezTo>
                          <a:cubicBezTo>
                            <a:pt x="6" y="15"/>
                            <a:pt x="6" y="15"/>
                            <a:pt x="6" y="15"/>
                          </a:cubicBezTo>
                          <a:cubicBezTo>
                            <a:pt x="5" y="15"/>
                            <a:pt x="5" y="15"/>
                            <a:pt x="5" y="15"/>
                          </a:cubicBezTo>
                          <a:cubicBezTo>
                            <a:pt x="2" y="16"/>
                            <a:pt x="0" y="18"/>
                            <a:pt x="0" y="20"/>
                          </a:cubicBezTo>
                          <a:cubicBezTo>
                            <a:pt x="0" y="32"/>
                            <a:pt x="0" y="32"/>
                            <a:pt x="0" y="32"/>
                          </a:cubicBezTo>
                          <a:cubicBezTo>
                            <a:pt x="0" y="34"/>
                            <a:pt x="3" y="37"/>
                            <a:pt x="6" y="37"/>
                          </a:cubicBezTo>
                          <a:cubicBezTo>
                            <a:pt x="10" y="49"/>
                            <a:pt x="10" y="49"/>
                            <a:pt x="10" y="49"/>
                          </a:cubicBezTo>
                          <a:cubicBezTo>
                            <a:pt x="13" y="57"/>
                            <a:pt x="16" y="62"/>
                            <a:pt x="22" y="64"/>
                          </a:cubicBezTo>
                          <a:cubicBezTo>
                            <a:pt x="24" y="78"/>
                            <a:pt x="24" y="78"/>
                            <a:pt x="24" y="78"/>
                          </a:cubicBezTo>
                          <a:cubicBezTo>
                            <a:pt x="37" y="87"/>
                            <a:pt x="37" y="87"/>
                            <a:pt x="37" y="87"/>
                          </a:cubicBezTo>
                          <a:cubicBezTo>
                            <a:pt x="50" y="78"/>
                            <a:pt x="50" y="78"/>
                            <a:pt x="50" y="78"/>
                          </a:cubicBezTo>
                          <a:cubicBezTo>
                            <a:pt x="52" y="63"/>
                            <a:pt x="52" y="63"/>
                            <a:pt x="52" y="63"/>
                          </a:cubicBezTo>
                          <a:cubicBezTo>
                            <a:pt x="57" y="62"/>
                            <a:pt x="59" y="57"/>
                            <a:pt x="62" y="49"/>
                          </a:cubicBezTo>
                          <a:cubicBezTo>
                            <a:pt x="67" y="37"/>
                            <a:pt x="67" y="37"/>
                            <a:pt x="67" y="37"/>
                          </a:cubicBezTo>
                          <a:cubicBezTo>
                            <a:pt x="70" y="37"/>
                            <a:pt x="72" y="34"/>
                            <a:pt x="72" y="32"/>
                          </a:cubicBezTo>
                          <a:cubicBezTo>
                            <a:pt x="72" y="20"/>
                            <a:pt x="72" y="20"/>
                            <a:pt x="72" y="20"/>
                          </a:cubicBezTo>
                          <a:cubicBezTo>
                            <a:pt x="72" y="18"/>
                            <a:pt x="71" y="16"/>
                            <a:pt x="69" y="15"/>
                          </a:cubicBezTo>
                          <a:close/>
                        </a:path>
                      </a:pathLst>
                    </a:custGeom>
                    <a:solidFill>
                      <a:srgbClr val="FFB9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95" name="Freeform 94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7359203" y="1774882"/>
                      <a:ext cx="385612" cy="118837"/>
                    </a:xfrm>
                    <a:custGeom>
                      <a:avLst/>
                      <a:gdLst>
                        <a:gd name="T0" fmla="*/ 66 w 67"/>
                        <a:gd name="T1" fmla="*/ 1 h 21"/>
                        <a:gd name="T2" fmla="*/ 50 w 67"/>
                        <a:gd name="T3" fmla="*/ 0 h 21"/>
                        <a:gd name="T4" fmla="*/ 34 w 67"/>
                        <a:gd name="T5" fmla="*/ 4 h 21"/>
                        <a:gd name="T6" fmla="*/ 18 w 67"/>
                        <a:gd name="T7" fmla="*/ 0 h 21"/>
                        <a:gd name="T8" fmla="*/ 1 w 67"/>
                        <a:gd name="T9" fmla="*/ 1 h 21"/>
                        <a:gd name="T10" fmla="*/ 1 w 67"/>
                        <a:gd name="T11" fmla="*/ 3 h 21"/>
                        <a:gd name="T12" fmla="*/ 3 w 67"/>
                        <a:gd name="T13" fmla="*/ 6 h 21"/>
                        <a:gd name="T14" fmla="*/ 5 w 67"/>
                        <a:gd name="T15" fmla="*/ 11 h 21"/>
                        <a:gd name="T16" fmla="*/ 20 w 67"/>
                        <a:gd name="T17" fmla="*/ 20 h 21"/>
                        <a:gd name="T18" fmla="*/ 31 w 67"/>
                        <a:gd name="T19" fmla="*/ 8 h 21"/>
                        <a:gd name="T20" fmla="*/ 34 w 67"/>
                        <a:gd name="T21" fmla="*/ 7 h 21"/>
                        <a:gd name="T22" fmla="*/ 36 w 67"/>
                        <a:gd name="T23" fmla="*/ 8 h 21"/>
                        <a:gd name="T24" fmla="*/ 47 w 67"/>
                        <a:gd name="T25" fmla="*/ 20 h 21"/>
                        <a:gd name="T26" fmla="*/ 62 w 67"/>
                        <a:gd name="T27" fmla="*/ 11 h 21"/>
                        <a:gd name="T28" fmla="*/ 64 w 67"/>
                        <a:gd name="T29" fmla="*/ 6 h 21"/>
                        <a:gd name="T30" fmla="*/ 66 w 67"/>
                        <a:gd name="T31" fmla="*/ 3 h 21"/>
                        <a:gd name="T32" fmla="*/ 66 w 67"/>
                        <a:gd name="T33" fmla="*/ 1 h 21"/>
                        <a:gd name="T34" fmla="*/ 26 w 67"/>
                        <a:gd name="T35" fmla="*/ 15 h 21"/>
                        <a:gd name="T36" fmla="*/ 14 w 67"/>
                        <a:gd name="T37" fmla="*/ 18 h 21"/>
                        <a:gd name="T38" fmla="*/ 6 w 67"/>
                        <a:gd name="T39" fmla="*/ 7 h 21"/>
                        <a:gd name="T40" fmla="*/ 18 w 67"/>
                        <a:gd name="T41" fmla="*/ 2 h 21"/>
                        <a:gd name="T42" fmla="*/ 26 w 67"/>
                        <a:gd name="T43" fmla="*/ 4 h 21"/>
                        <a:gd name="T44" fmla="*/ 26 w 67"/>
                        <a:gd name="T45" fmla="*/ 15 h 21"/>
                        <a:gd name="T46" fmla="*/ 54 w 67"/>
                        <a:gd name="T47" fmla="*/ 18 h 21"/>
                        <a:gd name="T48" fmla="*/ 42 w 67"/>
                        <a:gd name="T49" fmla="*/ 15 h 21"/>
                        <a:gd name="T50" fmla="*/ 41 w 67"/>
                        <a:gd name="T51" fmla="*/ 4 h 21"/>
                        <a:gd name="T52" fmla="*/ 49 w 67"/>
                        <a:gd name="T53" fmla="*/ 2 h 21"/>
                        <a:gd name="T54" fmla="*/ 61 w 67"/>
                        <a:gd name="T55" fmla="*/ 7 h 21"/>
                        <a:gd name="T56" fmla="*/ 54 w 67"/>
                        <a:gd name="T57" fmla="*/ 18 h 2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</a:cxnLst>
                      <a:rect l="0" t="0" r="r" b="b"/>
                      <a:pathLst>
                        <a:path w="67" h="21">
                          <a:moveTo>
                            <a:pt x="66" y="1"/>
                          </a:moveTo>
                          <a:cubicBezTo>
                            <a:pt x="66" y="1"/>
                            <a:pt x="57" y="0"/>
                            <a:pt x="50" y="0"/>
                          </a:cubicBezTo>
                          <a:cubicBezTo>
                            <a:pt x="43" y="1"/>
                            <a:pt x="37" y="4"/>
                            <a:pt x="34" y="4"/>
                          </a:cubicBezTo>
                          <a:cubicBezTo>
                            <a:pt x="30" y="4"/>
                            <a:pt x="25" y="1"/>
                            <a:pt x="18" y="0"/>
                          </a:cubicBezTo>
                          <a:cubicBezTo>
                            <a:pt x="11" y="0"/>
                            <a:pt x="1" y="1"/>
                            <a:pt x="1" y="1"/>
                          </a:cubicBezTo>
                          <a:cubicBezTo>
                            <a:pt x="0" y="1"/>
                            <a:pt x="0" y="2"/>
                            <a:pt x="1" y="3"/>
                          </a:cubicBezTo>
                          <a:cubicBezTo>
                            <a:pt x="1" y="5"/>
                            <a:pt x="1" y="5"/>
                            <a:pt x="3" y="6"/>
                          </a:cubicBezTo>
                          <a:cubicBezTo>
                            <a:pt x="4" y="7"/>
                            <a:pt x="5" y="11"/>
                            <a:pt x="5" y="11"/>
                          </a:cubicBezTo>
                          <a:cubicBezTo>
                            <a:pt x="6" y="19"/>
                            <a:pt x="12" y="21"/>
                            <a:pt x="20" y="20"/>
                          </a:cubicBezTo>
                          <a:cubicBezTo>
                            <a:pt x="28" y="19"/>
                            <a:pt x="30" y="10"/>
                            <a:pt x="31" y="8"/>
                          </a:cubicBezTo>
                          <a:cubicBezTo>
                            <a:pt x="32" y="7"/>
                            <a:pt x="34" y="7"/>
                            <a:pt x="34" y="7"/>
                          </a:cubicBezTo>
                          <a:cubicBezTo>
                            <a:pt x="34" y="7"/>
                            <a:pt x="35" y="7"/>
                            <a:pt x="36" y="8"/>
                          </a:cubicBezTo>
                          <a:cubicBezTo>
                            <a:pt x="37" y="10"/>
                            <a:pt x="39" y="19"/>
                            <a:pt x="47" y="20"/>
                          </a:cubicBezTo>
                          <a:cubicBezTo>
                            <a:pt x="55" y="21"/>
                            <a:pt x="61" y="19"/>
                            <a:pt x="62" y="11"/>
                          </a:cubicBezTo>
                          <a:cubicBezTo>
                            <a:pt x="62" y="11"/>
                            <a:pt x="63" y="7"/>
                            <a:pt x="64" y="6"/>
                          </a:cubicBezTo>
                          <a:cubicBezTo>
                            <a:pt x="66" y="5"/>
                            <a:pt x="66" y="5"/>
                            <a:pt x="66" y="3"/>
                          </a:cubicBezTo>
                          <a:cubicBezTo>
                            <a:pt x="67" y="2"/>
                            <a:pt x="67" y="1"/>
                            <a:pt x="66" y="1"/>
                          </a:cubicBezTo>
                          <a:close/>
                          <a:moveTo>
                            <a:pt x="26" y="15"/>
                          </a:moveTo>
                          <a:cubicBezTo>
                            <a:pt x="23" y="18"/>
                            <a:pt x="19" y="19"/>
                            <a:pt x="14" y="18"/>
                          </a:cubicBezTo>
                          <a:cubicBezTo>
                            <a:pt x="8" y="18"/>
                            <a:pt x="6" y="14"/>
                            <a:pt x="6" y="7"/>
                          </a:cubicBezTo>
                          <a:cubicBezTo>
                            <a:pt x="6" y="0"/>
                            <a:pt x="18" y="2"/>
                            <a:pt x="18" y="2"/>
                          </a:cubicBezTo>
                          <a:cubicBezTo>
                            <a:pt x="23" y="3"/>
                            <a:pt x="23" y="3"/>
                            <a:pt x="26" y="4"/>
                          </a:cubicBezTo>
                          <a:cubicBezTo>
                            <a:pt x="30" y="5"/>
                            <a:pt x="28" y="12"/>
                            <a:pt x="26" y="15"/>
                          </a:cubicBezTo>
                          <a:close/>
                          <a:moveTo>
                            <a:pt x="54" y="18"/>
                          </a:moveTo>
                          <a:cubicBezTo>
                            <a:pt x="48" y="19"/>
                            <a:pt x="44" y="18"/>
                            <a:pt x="42" y="15"/>
                          </a:cubicBezTo>
                          <a:cubicBezTo>
                            <a:pt x="40" y="12"/>
                            <a:pt x="37" y="5"/>
                            <a:pt x="41" y="4"/>
                          </a:cubicBezTo>
                          <a:cubicBezTo>
                            <a:pt x="45" y="3"/>
                            <a:pt x="45" y="3"/>
                            <a:pt x="49" y="2"/>
                          </a:cubicBezTo>
                          <a:cubicBezTo>
                            <a:pt x="49" y="2"/>
                            <a:pt x="61" y="0"/>
                            <a:pt x="61" y="7"/>
                          </a:cubicBezTo>
                          <a:cubicBezTo>
                            <a:pt x="61" y="14"/>
                            <a:pt x="59" y="18"/>
                            <a:pt x="54" y="18"/>
                          </a:cubicBezTo>
                          <a:close/>
                        </a:path>
                      </a:pathLst>
                    </a:custGeom>
                    <a:solidFill>
                      <a:srgbClr val="50505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96" name="Oval 95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371329" y="1784583"/>
                      <a:ext cx="12127" cy="12127"/>
                    </a:xfrm>
                    <a:prstGeom prst="ellipse">
                      <a:avLst/>
                    </a:prstGeom>
                    <a:solidFill>
                      <a:srgbClr val="50505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97" name="Oval 9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720562" y="1784583"/>
                      <a:ext cx="12127" cy="12127"/>
                    </a:xfrm>
                    <a:prstGeom prst="ellipse">
                      <a:avLst/>
                    </a:prstGeom>
                    <a:solidFill>
                      <a:srgbClr val="50505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  <p:grpSp>
                <p:nvGrpSpPr>
                  <p:cNvPr id="22" name="Group 21"/>
                  <p:cNvGrpSpPr/>
                  <p:nvPr/>
                </p:nvGrpSpPr>
                <p:grpSpPr>
                  <a:xfrm>
                    <a:off x="4216105" y="4451984"/>
                    <a:ext cx="1307199" cy="2124501"/>
                    <a:chOff x="4216105" y="1418372"/>
                    <a:chExt cx="1307199" cy="2124501"/>
                  </a:xfrm>
                </p:grpSpPr>
                <p:sp>
                  <p:nvSpPr>
                    <p:cNvPr id="49" name="Rectangle 4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754506" y="2061059"/>
                      <a:ext cx="230398" cy="679064"/>
                    </a:xfrm>
                    <a:prstGeom prst="rect">
                      <a:avLst/>
                    </a:pr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" name="Freeform 49"/>
                    <p:cNvSpPr>
                      <a:spLocks/>
                    </p:cNvSpPr>
                    <p:nvPr/>
                  </p:nvSpPr>
                  <p:spPr bwMode="auto">
                    <a:xfrm>
                      <a:off x="4669622" y="1476578"/>
                      <a:ext cx="441392" cy="533550"/>
                    </a:xfrm>
                    <a:custGeom>
                      <a:avLst/>
                      <a:gdLst>
                        <a:gd name="T0" fmla="*/ 69 w 77"/>
                        <a:gd name="T1" fmla="*/ 53 h 93"/>
                        <a:gd name="T2" fmla="*/ 27 w 77"/>
                        <a:gd name="T3" fmla="*/ 87 h 93"/>
                        <a:gd name="T4" fmla="*/ 7 w 77"/>
                        <a:gd name="T5" fmla="*/ 36 h 93"/>
                        <a:gd name="T6" fmla="*/ 54 w 77"/>
                        <a:gd name="T7" fmla="*/ 6 h 93"/>
                        <a:gd name="T8" fmla="*/ 69 w 77"/>
                        <a:gd name="T9" fmla="*/ 53 h 9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7" h="93">
                          <a:moveTo>
                            <a:pt x="69" y="53"/>
                          </a:moveTo>
                          <a:cubicBezTo>
                            <a:pt x="62" y="75"/>
                            <a:pt x="45" y="93"/>
                            <a:pt x="27" y="87"/>
                          </a:cubicBezTo>
                          <a:cubicBezTo>
                            <a:pt x="9" y="81"/>
                            <a:pt x="0" y="58"/>
                            <a:pt x="7" y="36"/>
                          </a:cubicBezTo>
                          <a:cubicBezTo>
                            <a:pt x="15" y="14"/>
                            <a:pt x="35" y="0"/>
                            <a:pt x="54" y="6"/>
                          </a:cubicBezTo>
                          <a:cubicBezTo>
                            <a:pt x="72" y="12"/>
                            <a:pt x="77" y="31"/>
                            <a:pt x="69" y="53"/>
                          </a:cubicBez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" name="Freeform 50"/>
                    <p:cNvSpPr>
                      <a:spLocks/>
                    </p:cNvSpPr>
                    <p:nvPr/>
                  </p:nvSpPr>
                  <p:spPr bwMode="auto">
                    <a:xfrm>
                      <a:off x="4611417" y="1418372"/>
                      <a:ext cx="436541" cy="499597"/>
                    </a:xfrm>
                    <a:custGeom>
                      <a:avLst/>
                      <a:gdLst>
                        <a:gd name="T0" fmla="*/ 65 w 76"/>
                        <a:gd name="T1" fmla="*/ 28 h 87"/>
                        <a:gd name="T2" fmla="*/ 58 w 76"/>
                        <a:gd name="T3" fmla="*/ 78 h 87"/>
                        <a:gd name="T4" fmla="*/ 11 w 76"/>
                        <a:gd name="T5" fmla="*/ 60 h 87"/>
                        <a:gd name="T6" fmla="*/ 17 w 76"/>
                        <a:gd name="T7" fmla="*/ 9 h 87"/>
                        <a:gd name="T8" fmla="*/ 65 w 76"/>
                        <a:gd name="T9" fmla="*/ 28 h 8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6" h="87">
                          <a:moveTo>
                            <a:pt x="65" y="28"/>
                          </a:moveTo>
                          <a:cubicBezTo>
                            <a:pt x="76" y="47"/>
                            <a:pt x="73" y="69"/>
                            <a:pt x="58" y="78"/>
                          </a:cubicBezTo>
                          <a:cubicBezTo>
                            <a:pt x="43" y="87"/>
                            <a:pt x="22" y="79"/>
                            <a:pt x="11" y="60"/>
                          </a:cubicBezTo>
                          <a:cubicBezTo>
                            <a:pt x="0" y="40"/>
                            <a:pt x="3" y="18"/>
                            <a:pt x="17" y="9"/>
                          </a:cubicBezTo>
                          <a:cubicBezTo>
                            <a:pt x="32" y="0"/>
                            <a:pt x="53" y="9"/>
                            <a:pt x="65" y="28"/>
                          </a:cubicBez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2" name="Freeform 51"/>
                    <p:cNvSpPr>
                      <a:spLocks/>
                    </p:cNvSpPr>
                    <p:nvPr/>
                  </p:nvSpPr>
                  <p:spPr bwMode="auto">
                    <a:xfrm>
                      <a:off x="4754506" y="1876741"/>
                      <a:ext cx="230398" cy="242523"/>
                    </a:xfrm>
                    <a:custGeom>
                      <a:avLst/>
                      <a:gdLst>
                        <a:gd name="T0" fmla="*/ 95 w 95"/>
                        <a:gd name="T1" fmla="*/ 76 h 100"/>
                        <a:gd name="T2" fmla="*/ 47 w 95"/>
                        <a:gd name="T3" fmla="*/ 100 h 100"/>
                        <a:gd name="T4" fmla="*/ 0 w 95"/>
                        <a:gd name="T5" fmla="*/ 76 h 100"/>
                        <a:gd name="T6" fmla="*/ 0 w 95"/>
                        <a:gd name="T7" fmla="*/ 0 h 100"/>
                        <a:gd name="T8" fmla="*/ 95 w 95"/>
                        <a:gd name="T9" fmla="*/ 0 h 100"/>
                        <a:gd name="T10" fmla="*/ 95 w 95"/>
                        <a:gd name="T11" fmla="*/ 76 h 1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95" h="100">
                          <a:moveTo>
                            <a:pt x="95" y="76"/>
                          </a:moveTo>
                          <a:lnTo>
                            <a:pt x="47" y="100"/>
                          </a:lnTo>
                          <a:lnTo>
                            <a:pt x="0" y="76"/>
                          </a:lnTo>
                          <a:lnTo>
                            <a:pt x="0" y="0"/>
                          </a:lnTo>
                          <a:lnTo>
                            <a:pt x="95" y="0"/>
                          </a:lnTo>
                          <a:lnTo>
                            <a:pt x="95" y="76"/>
                          </a:lnTo>
                          <a:close/>
                        </a:path>
                      </a:pathLst>
                    </a:custGeom>
                    <a:solidFill>
                      <a:srgbClr val="FFB9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" name="Freeform 52"/>
                    <p:cNvSpPr>
                      <a:spLocks/>
                    </p:cNvSpPr>
                    <p:nvPr/>
                  </p:nvSpPr>
                  <p:spPr bwMode="auto">
                    <a:xfrm>
                      <a:off x="4805435" y="2119264"/>
                      <a:ext cx="126112" cy="894910"/>
                    </a:xfrm>
                    <a:custGeom>
                      <a:avLst/>
                      <a:gdLst>
                        <a:gd name="T0" fmla="*/ 41 w 52"/>
                        <a:gd name="T1" fmla="*/ 28 h 369"/>
                        <a:gd name="T2" fmla="*/ 52 w 52"/>
                        <a:gd name="T3" fmla="*/ 21 h 369"/>
                        <a:gd name="T4" fmla="*/ 26 w 52"/>
                        <a:gd name="T5" fmla="*/ 0 h 369"/>
                        <a:gd name="T6" fmla="*/ 0 w 52"/>
                        <a:gd name="T7" fmla="*/ 21 h 369"/>
                        <a:gd name="T8" fmla="*/ 12 w 52"/>
                        <a:gd name="T9" fmla="*/ 28 h 369"/>
                        <a:gd name="T10" fmla="*/ 10 w 52"/>
                        <a:gd name="T11" fmla="*/ 341 h 369"/>
                        <a:gd name="T12" fmla="*/ 26 w 52"/>
                        <a:gd name="T13" fmla="*/ 369 h 369"/>
                        <a:gd name="T14" fmla="*/ 41 w 52"/>
                        <a:gd name="T15" fmla="*/ 341 h 369"/>
                        <a:gd name="T16" fmla="*/ 41 w 52"/>
                        <a:gd name="T17" fmla="*/ 28 h 36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52" h="369">
                          <a:moveTo>
                            <a:pt x="41" y="28"/>
                          </a:moveTo>
                          <a:lnTo>
                            <a:pt x="52" y="21"/>
                          </a:lnTo>
                          <a:lnTo>
                            <a:pt x="26" y="0"/>
                          </a:lnTo>
                          <a:lnTo>
                            <a:pt x="0" y="21"/>
                          </a:lnTo>
                          <a:lnTo>
                            <a:pt x="12" y="28"/>
                          </a:lnTo>
                          <a:lnTo>
                            <a:pt x="10" y="341"/>
                          </a:lnTo>
                          <a:lnTo>
                            <a:pt x="26" y="369"/>
                          </a:lnTo>
                          <a:lnTo>
                            <a:pt x="41" y="341"/>
                          </a:lnTo>
                          <a:lnTo>
                            <a:pt x="41" y="28"/>
                          </a:ln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" name="Freeform 53"/>
                    <p:cNvSpPr>
                      <a:spLocks/>
                    </p:cNvSpPr>
                    <p:nvPr/>
                  </p:nvSpPr>
                  <p:spPr bwMode="auto">
                    <a:xfrm>
                      <a:off x="4216105" y="2131389"/>
                      <a:ext cx="487472" cy="1251418"/>
                    </a:xfrm>
                    <a:custGeom>
                      <a:avLst/>
                      <a:gdLst>
                        <a:gd name="T0" fmla="*/ 85 w 85"/>
                        <a:gd name="T1" fmla="*/ 9 h 218"/>
                        <a:gd name="T2" fmla="*/ 51 w 85"/>
                        <a:gd name="T3" fmla="*/ 0 h 218"/>
                        <a:gd name="T4" fmla="*/ 0 w 85"/>
                        <a:gd name="T5" fmla="*/ 218 h 218"/>
                        <a:gd name="T6" fmla="*/ 35 w 85"/>
                        <a:gd name="T7" fmla="*/ 218 h 218"/>
                        <a:gd name="T8" fmla="*/ 85 w 85"/>
                        <a:gd name="T9" fmla="*/ 9 h 21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85" h="218">
                          <a:moveTo>
                            <a:pt x="85" y="9"/>
                          </a:moveTo>
                          <a:cubicBezTo>
                            <a:pt x="74" y="6"/>
                            <a:pt x="62" y="3"/>
                            <a:pt x="51" y="0"/>
                          </a:cubicBezTo>
                          <a:cubicBezTo>
                            <a:pt x="19" y="71"/>
                            <a:pt x="8" y="141"/>
                            <a:pt x="0" y="218"/>
                          </a:cubicBezTo>
                          <a:cubicBezTo>
                            <a:pt x="35" y="218"/>
                            <a:pt x="35" y="218"/>
                            <a:pt x="35" y="218"/>
                          </a:cubicBezTo>
                          <a:cubicBezTo>
                            <a:pt x="43" y="144"/>
                            <a:pt x="53" y="77"/>
                            <a:pt x="85" y="9"/>
                          </a:cubicBez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5" name="Freeform 54"/>
                    <p:cNvSpPr>
                      <a:spLocks/>
                    </p:cNvSpPr>
                    <p:nvPr/>
                  </p:nvSpPr>
                  <p:spPr bwMode="auto">
                    <a:xfrm>
                      <a:off x="5040683" y="2131389"/>
                      <a:ext cx="482621" cy="1251418"/>
                    </a:xfrm>
                    <a:custGeom>
                      <a:avLst/>
                      <a:gdLst>
                        <a:gd name="T0" fmla="*/ 0 w 84"/>
                        <a:gd name="T1" fmla="*/ 9 h 218"/>
                        <a:gd name="T2" fmla="*/ 33 w 84"/>
                        <a:gd name="T3" fmla="*/ 0 h 218"/>
                        <a:gd name="T4" fmla="*/ 84 w 84"/>
                        <a:gd name="T5" fmla="*/ 218 h 218"/>
                        <a:gd name="T6" fmla="*/ 50 w 84"/>
                        <a:gd name="T7" fmla="*/ 218 h 218"/>
                        <a:gd name="T8" fmla="*/ 0 w 84"/>
                        <a:gd name="T9" fmla="*/ 9 h 21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84" h="218">
                          <a:moveTo>
                            <a:pt x="0" y="9"/>
                          </a:moveTo>
                          <a:cubicBezTo>
                            <a:pt x="11" y="6"/>
                            <a:pt x="22" y="3"/>
                            <a:pt x="33" y="0"/>
                          </a:cubicBezTo>
                          <a:cubicBezTo>
                            <a:pt x="66" y="71"/>
                            <a:pt x="77" y="141"/>
                            <a:pt x="84" y="218"/>
                          </a:cubicBezTo>
                          <a:cubicBezTo>
                            <a:pt x="50" y="218"/>
                            <a:pt x="50" y="218"/>
                            <a:pt x="50" y="218"/>
                          </a:cubicBezTo>
                          <a:cubicBezTo>
                            <a:pt x="42" y="144"/>
                            <a:pt x="31" y="77"/>
                            <a:pt x="0" y="9"/>
                          </a:cubicBez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" name="Freeform 55"/>
                    <p:cNvSpPr>
                      <a:spLocks/>
                    </p:cNvSpPr>
                    <p:nvPr/>
                  </p:nvSpPr>
                  <p:spPr bwMode="auto">
                    <a:xfrm>
                      <a:off x="4245208" y="3382808"/>
                      <a:ext cx="143089" cy="160065"/>
                    </a:xfrm>
                    <a:custGeom>
                      <a:avLst/>
                      <a:gdLst>
                        <a:gd name="T0" fmla="*/ 0 w 25"/>
                        <a:gd name="T1" fmla="*/ 0 h 28"/>
                        <a:gd name="T2" fmla="*/ 0 w 25"/>
                        <a:gd name="T3" fmla="*/ 15 h 28"/>
                        <a:gd name="T4" fmla="*/ 13 w 25"/>
                        <a:gd name="T5" fmla="*/ 28 h 28"/>
                        <a:gd name="T6" fmla="*/ 25 w 25"/>
                        <a:gd name="T7" fmla="*/ 15 h 28"/>
                        <a:gd name="T8" fmla="*/ 25 w 25"/>
                        <a:gd name="T9" fmla="*/ 0 h 28"/>
                        <a:gd name="T10" fmla="*/ 0 w 25"/>
                        <a:gd name="T11" fmla="*/ 0 h 2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5" h="28">
                          <a:moveTo>
                            <a:pt x="0" y="0"/>
                          </a:moveTo>
                          <a:cubicBezTo>
                            <a:pt x="0" y="15"/>
                            <a:pt x="0" y="15"/>
                            <a:pt x="0" y="15"/>
                          </a:cubicBezTo>
                          <a:cubicBezTo>
                            <a:pt x="0" y="22"/>
                            <a:pt x="6" y="28"/>
                            <a:pt x="13" y="28"/>
                          </a:cubicBezTo>
                          <a:cubicBezTo>
                            <a:pt x="20" y="28"/>
                            <a:pt x="25" y="22"/>
                            <a:pt x="25" y="15"/>
                          </a:cubicBezTo>
                          <a:cubicBezTo>
                            <a:pt x="25" y="0"/>
                            <a:pt x="25" y="0"/>
                            <a:pt x="25" y="0"/>
                          </a:cubicBez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FFB9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" name="Freeform 56"/>
                    <p:cNvSpPr>
                      <a:spLocks/>
                    </p:cNvSpPr>
                    <p:nvPr/>
                  </p:nvSpPr>
                  <p:spPr bwMode="auto">
                    <a:xfrm>
                      <a:off x="5351112" y="3382808"/>
                      <a:ext cx="150364" cy="160065"/>
                    </a:xfrm>
                    <a:custGeom>
                      <a:avLst/>
                      <a:gdLst>
                        <a:gd name="T0" fmla="*/ 0 w 26"/>
                        <a:gd name="T1" fmla="*/ 0 h 28"/>
                        <a:gd name="T2" fmla="*/ 0 w 26"/>
                        <a:gd name="T3" fmla="*/ 15 h 28"/>
                        <a:gd name="T4" fmla="*/ 13 w 26"/>
                        <a:gd name="T5" fmla="*/ 28 h 28"/>
                        <a:gd name="T6" fmla="*/ 26 w 26"/>
                        <a:gd name="T7" fmla="*/ 15 h 28"/>
                        <a:gd name="T8" fmla="*/ 26 w 26"/>
                        <a:gd name="T9" fmla="*/ 0 h 28"/>
                        <a:gd name="T10" fmla="*/ 0 w 26"/>
                        <a:gd name="T11" fmla="*/ 0 h 2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6" h="28">
                          <a:moveTo>
                            <a:pt x="0" y="0"/>
                          </a:moveTo>
                          <a:cubicBezTo>
                            <a:pt x="0" y="15"/>
                            <a:pt x="0" y="15"/>
                            <a:pt x="0" y="15"/>
                          </a:cubicBezTo>
                          <a:cubicBezTo>
                            <a:pt x="0" y="22"/>
                            <a:pt x="6" y="28"/>
                            <a:pt x="13" y="28"/>
                          </a:cubicBezTo>
                          <a:cubicBezTo>
                            <a:pt x="20" y="28"/>
                            <a:pt x="26" y="22"/>
                            <a:pt x="26" y="15"/>
                          </a:cubicBezTo>
                          <a:cubicBezTo>
                            <a:pt x="26" y="0"/>
                            <a:pt x="26" y="0"/>
                            <a:pt x="26" y="0"/>
                          </a:cubicBez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FFB9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" name="Freeform 57"/>
                    <p:cNvSpPr>
                      <a:spLocks/>
                    </p:cNvSpPr>
                    <p:nvPr/>
                  </p:nvSpPr>
                  <p:spPr bwMode="auto">
                    <a:xfrm>
                      <a:off x="4502282" y="2061059"/>
                      <a:ext cx="727569" cy="1435736"/>
                    </a:xfrm>
                    <a:custGeom>
                      <a:avLst/>
                      <a:gdLst>
                        <a:gd name="T0" fmla="*/ 199 w 300"/>
                        <a:gd name="T1" fmla="*/ 0 h 592"/>
                        <a:gd name="T2" fmla="*/ 151 w 300"/>
                        <a:gd name="T3" fmla="*/ 370 h 592"/>
                        <a:gd name="T4" fmla="*/ 104 w 300"/>
                        <a:gd name="T5" fmla="*/ 0 h 592"/>
                        <a:gd name="T6" fmla="*/ 0 w 300"/>
                        <a:gd name="T7" fmla="*/ 29 h 592"/>
                        <a:gd name="T8" fmla="*/ 7 w 300"/>
                        <a:gd name="T9" fmla="*/ 592 h 592"/>
                        <a:gd name="T10" fmla="*/ 296 w 300"/>
                        <a:gd name="T11" fmla="*/ 592 h 592"/>
                        <a:gd name="T12" fmla="*/ 300 w 300"/>
                        <a:gd name="T13" fmla="*/ 29 h 592"/>
                        <a:gd name="T14" fmla="*/ 199 w 300"/>
                        <a:gd name="T15" fmla="*/ 0 h 59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300" h="592">
                          <a:moveTo>
                            <a:pt x="199" y="0"/>
                          </a:moveTo>
                          <a:lnTo>
                            <a:pt x="151" y="370"/>
                          </a:lnTo>
                          <a:lnTo>
                            <a:pt x="104" y="0"/>
                          </a:lnTo>
                          <a:lnTo>
                            <a:pt x="0" y="29"/>
                          </a:lnTo>
                          <a:lnTo>
                            <a:pt x="7" y="592"/>
                          </a:lnTo>
                          <a:lnTo>
                            <a:pt x="296" y="592"/>
                          </a:lnTo>
                          <a:lnTo>
                            <a:pt x="300" y="29"/>
                          </a:lnTo>
                          <a:lnTo>
                            <a:pt x="199" y="0"/>
                          </a:ln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" name="Freeform 58"/>
                    <p:cNvSpPr>
                      <a:spLocks/>
                    </p:cNvSpPr>
                    <p:nvPr/>
                  </p:nvSpPr>
                  <p:spPr bwMode="auto">
                    <a:xfrm>
                      <a:off x="5052808" y="1653620"/>
                      <a:ext cx="0" cy="4850"/>
                    </a:xfrm>
                    <a:custGeom>
                      <a:avLst/>
                      <a:gdLst>
                        <a:gd name="T0" fmla="*/ 1 h 1"/>
                        <a:gd name="T1" fmla="*/ 0 h 1"/>
                        <a:gd name="T2" fmla="*/ 1 h 1"/>
                      </a:gdLst>
                      <a:ahLst/>
                      <a:cxnLst>
                        <a:cxn ang="0">
                          <a:pos x="0" y="T0"/>
                        </a:cxn>
                        <a:cxn ang="0">
                          <a:pos x="0" y="T1"/>
                        </a:cxn>
                        <a:cxn ang="0">
                          <a:pos x="0" y="T2"/>
                        </a:cxn>
                      </a:cxnLst>
                      <a:rect l="0" t="0" r="r" b="b"/>
                      <a:pathLst>
                        <a:path h="1">
                          <a:moveTo>
                            <a:pt x="0" y="1"/>
                          </a:move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0" y="0"/>
                            <a:pt x="0" y="0"/>
                            <a:pt x="0" y="1"/>
                          </a:cubicBezTo>
                          <a:close/>
                        </a:path>
                      </a:pathLst>
                    </a:custGeom>
                    <a:solidFill>
                      <a:srgbClr val="FFD60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0" name="Freeform 59"/>
                    <p:cNvSpPr>
                      <a:spLocks/>
                    </p:cNvSpPr>
                    <p:nvPr/>
                  </p:nvSpPr>
                  <p:spPr bwMode="auto">
                    <a:xfrm>
                      <a:off x="5052808" y="1648770"/>
                      <a:ext cx="0" cy="0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>
                          <a:moveTo>
                            <a:pt x="0" y="0"/>
                          </a:move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FFD60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1" name="Freeform 60"/>
                    <p:cNvSpPr>
                      <a:spLocks/>
                    </p:cNvSpPr>
                    <p:nvPr/>
                  </p:nvSpPr>
                  <p:spPr bwMode="auto">
                    <a:xfrm>
                      <a:off x="5040683" y="1631792"/>
                      <a:ext cx="0" cy="0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>
                          <a:moveTo>
                            <a:pt x="0" y="0"/>
                          </a:move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FFD60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2" name="Freeform 61"/>
                    <p:cNvSpPr>
                      <a:spLocks/>
                    </p:cNvSpPr>
                    <p:nvPr/>
                  </p:nvSpPr>
                  <p:spPr bwMode="auto">
                    <a:xfrm>
                      <a:off x="5047958" y="1636643"/>
                      <a:ext cx="0" cy="0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>
                          <a:moveTo>
                            <a:pt x="0" y="0"/>
                          </a:move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FFD60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" name="Freeform 62"/>
                    <p:cNvSpPr>
                      <a:spLocks/>
                    </p:cNvSpPr>
                    <p:nvPr/>
                  </p:nvSpPr>
                  <p:spPr bwMode="auto">
                    <a:xfrm>
                      <a:off x="4686599" y="1631792"/>
                      <a:ext cx="0" cy="0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>
                          <a:moveTo>
                            <a:pt x="0" y="0"/>
                          </a:move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FFD60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4" name="Freeform 63"/>
                    <p:cNvSpPr>
                      <a:spLocks/>
                    </p:cNvSpPr>
                    <p:nvPr/>
                  </p:nvSpPr>
                  <p:spPr bwMode="auto">
                    <a:xfrm>
                      <a:off x="5052808" y="1658470"/>
                      <a:ext cx="0" cy="7276"/>
                    </a:xfrm>
                    <a:custGeom>
                      <a:avLst/>
                      <a:gdLst>
                        <a:gd name="T0" fmla="*/ 1 h 1"/>
                        <a:gd name="T1" fmla="*/ 0 h 1"/>
                        <a:gd name="T2" fmla="*/ 1 h 1"/>
                      </a:gdLst>
                      <a:ahLst/>
                      <a:cxnLst>
                        <a:cxn ang="0">
                          <a:pos x="0" y="T0"/>
                        </a:cxn>
                        <a:cxn ang="0">
                          <a:pos x="0" y="T1"/>
                        </a:cxn>
                        <a:cxn ang="0">
                          <a:pos x="0" y="T2"/>
                        </a:cxn>
                      </a:cxnLst>
                      <a:rect l="0" t="0" r="r" b="b"/>
                      <a:pathLst>
                        <a:path h="1">
                          <a:moveTo>
                            <a:pt x="0" y="1"/>
                          </a:moveTo>
                          <a:cubicBezTo>
                            <a:pt x="0" y="1"/>
                            <a:pt x="0" y="0"/>
                            <a:pt x="0" y="0"/>
                          </a:cubicBezTo>
                          <a:cubicBezTo>
                            <a:pt x="0" y="0"/>
                            <a:pt x="0" y="1"/>
                            <a:pt x="0" y="1"/>
                          </a:cubicBezTo>
                          <a:close/>
                        </a:path>
                      </a:pathLst>
                    </a:custGeom>
                    <a:solidFill>
                      <a:srgbClr val="FFD60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" name="Freeform 64"/>
                    <p:cNvSpPr>
                      <a:spLocks/>
                    </p:cNvSpPr>
                    <p:nvPr/>
                  </p:nvSpPr>
                  <p:spPr bwMode="auto">
                    <a:xfrm>
                      <a:off x="5052808" y="1670596"/>
                      <a:ext cx="0" cy="4850"/>
                    </a:xfrm>
                    <a:custGeom>
                      <a:avLst/>
                      <a:gdLst>
                        <a:gd name="T0" fmla="*/ 1 h 1"/>
                        <a:gd name="T1" fmla="*/ 0 h 1"/>
                        <a:gd name="T2" fmla="*/ 1 h 1"/>
                      </a:gdLst>
                      <a:ahLst/>
                      <a:cxnLst>
                        <a:cxn ang="0">
                          <a:pos x="0" y="T0"/>
                        </a:cxn>
                        <a:cxn ang="0">
                          <a:pos x="0" y="T1"/>
                        </a:cxn>
                        <a:cxn ang="0">
                          <a:pos x="0" y="T2"/>
                        </a:cxn>
                      </a:cxnLst>
                      <a:rect l="0" t="0" r="r" b="b"/>
                      <a:pathLst>
                        <a:path h="1">
                          <a:moveTo>
                            <a:pt x="0" y="1"/>
                          </a:moveTo>
                          <a:cubicBezTo>
                            <a:pt x="0" y="1"/>
                            <a:pt x="0" y="0"/>
                            <a:pt x="0" y="0"/>
                          </a:cubicBezTo>
                          <a:cubicBezTo>
                            <a:pt x="0" y="0"/>
                            <a:pt x="0" y="1"/>
                            <a:pt x="0" y="1"/>
                          </a:cubicBezTo>
                          <a:close/>
                        </a:path>
                      </a:pathLst>
                    </a:custGeom>
                    <a:solidFill>
                      <a:srgbClr val="FFD60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6" name="Rectangle 65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035832" y="1624517"/>
                      <a:ext cx="2426" cy="2426"/>
                    </a:xfrm>
                    <a:prstGeom prst="rect">
                      <a:avLst/>
                    </a:prstGeom>
                    <a:solidFill>
                      <a:srgbClr val="FFD60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7" name="Freeform 66"/>
                    <p:cNvSpPr>
                      <a:spLocks/>
                    </p:cNvSpPr>
                    <p:nvPr/>
                  </p:nvSpPr>
                  <p:spPr bwMode="auto">
                    <a:xfrm>
                      <a:off x="4674473" y="1665745"/>
                      <a:ext cx="0" cy="0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>
                          <a:moveTo>
                            <a:pt x="0" y="0"/>
                          </a:move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FFD60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8" name="Freeform 67"/>
                    <p:cNvSpPr>
                      <a:spLocks/>
                    </p:cNvSpPr>
                    <p:nvPr/>
                  </p:nvSpPr>
                  <p:spPr bwMode="auto">
                    <a:xfrm>
                      <a:off x="4679323" y="1648770"/>
                      <a:ext cx="0" cy="0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>
                          <a:moveTo>
                            <a:pt x="0" y="0"/>
                          </a:move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FFD60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9" name="Freeform 68"/>
                    <p:cNvSpPr>
                      <a:spLocks/>
                    </p:cNvSpPr>
                    <p:nvPr/>
                  </p:nvSpPr>
                  <p:spPr bwMode="auto">
                    <a:xfrm>
                      <a:off x="4679323" y="1636643"/>
                      <a:ext cx="0" cy="4850"/>
                    </a:xfrm>
                    <a:custGeom>
                      <a:avLst/>
                      <a:gdLst>
                        <a:gd name="T0" fmla="*/ 0 h 1"/>
                        <a:gd name="T1" fmla="*/ 1 h 1"/>
                        <a:gd name="T2" fmla="*/ 0 h 1"/>
                      </a:gdLst>
                      <a:ahLst/>
                      <a:cxnLst>
                        <a:cxn ang="0">
                          <a:pos x="0" y="T0"/>
                        </a:cxn>
                        <a:cxn ang="0">
                          <a:pos x="0" y="T1"/>
                        </a:cxn>
                        <a:cxn ang="0">
                          <a:pos x="0" y="T2"/>
                        </a:cxn>
                      </a:cxnLst>
                      <a:rect l="0" t="0" r="r" b="b"/>
                      <a:pathLst>
                        <a:path h="1">
                          <a:moveTo>
                            <a:pt x="0" y="0"/>
                          </a:moveTo>
                          <a:cubicBezTo>
                            <a:pt x="0" y="1"/>
                            <a:pt x="0" y="1"/>
                            <a:pt x="0" y="1"/>
                          </a:cubicBezTo>
                          <a:cubicBezTo>
                            <a:pt x="0" y="1"/>
                            <a:pt x="0" y="1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FFD60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70" name="Freeform 69"/>
                    <p:cNvSpPr>
                      <a:spLocks/>
                    </p:cNvSpPr>
                    <p:nvPr/>
                  </p:nvSpPr>
                  <p:spPr bwMode="auto">
                    <a:xfrm>
                      <a:off x="4674473" y="1653620"/>
                      <a:ext cx="0" cy="4850"/>
                    </a:xfrm>
                    <a:custGeom>
                      <a:avLst/>
                      <a:gdLst>
                        <a:gd name="T0" fmla="*/ 0 h 1"/>
                        <a:gd name="T1" fmla="*/ 1 h 1"/>
                        <a:gd name="T2" fmla="*/ 0 h 1"/>
                      </a:gdLst>
                      <a:ahLst/>
                      <a:cxnLst>
                        <a:cxn ang="0">
                          <a:pos x="0" y="T0"/>
                        </a:cxn>
                        <a:cxn ang="0">
                          <a:pos x="0" y="T1"/>
                        </a:cxn>
                        <a:cxn ang="0">
                          <a:pos x="0" y="T2"/>
                        </a:cxn>
                      </a:cxnLst>
                      <a:rect l="0" t="0" r="r" b="b"/>
                      <a:pathLst>
                        <a:path h="1">
                          <a:moveTo>
                            <a:pt x="0" y="0"/>
                          </a:moveTo>
                          <a:cubicBezTo>
                            <a:pt x="0" y="0"/>
                            <a:pt x="0" y="1"/>
                            <a:pt x="0" y="1"/>
                          </a:cubicBezTo>
                          <a:cubicBezTo>
                            <a:pt x="0" y="1"/>
                            <a:pt x="0" y="0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FFD60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71" name="Freeform 70"/>
                    <p:cNvSpPr>
                      <a:spLocks/>
                    </p:cNvSpPr>
                    <p:nvPr/>
                  </p:nvSpPr>
                  <p:spPr bwMode="auto">
                    <a:xfrm>
                      <a:off x="4640519" y="1607540"/>
                      <a:ext cx="446242" cy="402588"/>
                    </a:xfrm>
                    <a:custGeom>
                      <a:avLst/>
                      <a:gdLst>
                        <a:gd name="T0" fmla="*/ 74 w 78"/>
                        <a:gd name="T1" fmla="*/ 17 h 70"/>
                        <a:gd name="T2" fmla="*/ 72 w 78"/>
                        <a:gd name="T3" fmla="*/ 17 h 70"/>
                        <a:gd name="T4" fmla="*/ 72 w 78"/>
                        <a:gd name="T5" fmla="*/ 12 h 70"/>
                        <a:gd name="T6" fmla="*/ 72 w 78"/>
                        <a:gd name="T7" fmla="*/ 11 h 70"/>
                        <a:gd name="T8" fmla="*/ 72 w 78"/>
                        <a:gd name="T9" fmla="*/ 10 h 70"/>
                        <a:gd name="T10" fmla="*/ 72 w 78"/>
                        <a:gd name="T11" fmla="*/ 9 h 70"/>
                        <a:gd name="T12" fmla="*/ 72 w 78"/>
                        <a:gd name="T13" fmla="*/ 9 h 70"/>
                        <a:gd name="T14" fmla="*/ 72 w 78"/>
                        <a:gd name="T15" fmla="*/ 8 h 70"/>
                        <a:gd name="T16" fmla="*/ 72 w 78"/>
                        <a:gd name="T17" fmla="*/ 7 h 70"/>
                        <a:gd name="T18" fmla="*/ 72 w 78"/>
                        <a:gd name="T19" fmla="*/ 7 h 70"/>
                        <a:gd name="T20" fmla="*/ 71 w 78"/>
                        <a:gd name="T21" fmla="*/ 5 h 70"/>
                        <a:gd name="T22" fmla="*/ 71 w 78"/>
                        <a:gd name="T23" fmla="*/ 5 h 70"/>
                        <a:gd name="T24" fmla="*/ 70 w 78"/>
                        <a:gd name="T25" fmla="*/ 4 h 70"/>
                        <a:gd name="T26" fmla="*/ 70 w 78"/>
                        <a:gd name="T27" fmla="*/ 4 h 70"/>
                        <a:gd name="T28" fmla="*/ 69 w 78"/>
                        <a:gd name="T29" fmla="*/ 3 h 70"/>
                        <a:gd name="T30" fmla="*/ 69 w 78"/>
                        <a:gd name="T31" fmla="*/ 3 h 70"/>
                        <a:gd name="T32" fmla="*/ 63 w 78"/>
                        <a:gd name="T33" fmla="*/ 3 h 70"/>
                        <a:gd name="T34" fmla="*/ 52 w 78"/>
                        <a:gd name="T35" fmla="*/ 1 h 70"/>
                        <a:gd name="T36" fmla="*/ 32 w 78"/>
                        <a:gd name="T37" fmla="*/ 3 h 70"/>
                        <a:gd name="T38" fmla="*/ 11 w 78"/>
                        <a:gd name="T39" fmla="*/ 0 h 70"/>
                        <a:gd name="T40" fmla="*/ 8 w 78"/>
                        <a:gd name="T41" fmla="*/ 4 h 70"/>
                        <a:gd name="T42" fmla="*/ 8 w 78"/>
                        <a:gd name="T43" fmla="*/ 4 h 70"/>
                        <a:gd name="T44" fmla="*/ 7 w 78"/>
                        <a:gd name="T45" fmla="*/ 5 h 70"/>
                        <a:gd name="T46" fmla="*/ 7 w 78"/>
                        <a:gd name="T47" fmla="*/ 6 h 70"/>
                        <a:gd name="T48" fmla="*/ 7 w 78"/>
                        <a:gd name="T49" fmla="*/ 7 h 70"/>
                        <a:gd name="T50" fmla="*/ 7 w 78"/>
                        <a:gd name="T51" fmla="*/ 7 h 70"/>
                        <a:gd name="T52" fmla="*/ 6 w 78"/>
                        <a:gd name="T53" fmla="*/ 8 h 70"/>
                        <a:gd name="T54" fmla="*/ 6 w 78"/>
                        <a:gd name="T55" fmla="*/ 9 h 70"/>
                        <a:gd name="T56" fmla="*/ 6 w 78"/>
                        <a:gd name="T57" fmla="*/ 10 h 70"/>
                        <a:gd name="T58" fmla="*/ 6 w 78"/>
                        <a:gd name="T59" fmla="*/ 10 h 70"/>
                        <a:gd name="T60" fmla="*/ 6 w 78"/>
                        <a:gd name="T61" fmla="*/ 12 h 70"/>
                        <a:gd name="T62" fmla="*/ 6 w 78"/>
                        <a:gd name="T63" fmla="*/ 17 h 70"/>
                        <a:gd name="T64" fmla="*/ 5 w 78"/>
                        <a:gd name="T65" fmla="*/ 17 h 70"/>
                        <a:gd name="T66" fmla="*/ 0 w 78"/>
                        <a:gd name="T67" fmla="*/ 22 h 70"/>
                        <a:gd name="T68" fmla="*/ 0 w 78"/>
                        <a:gd name="T69" fmla="*/ 35 h 70"/>
                        <a:gd name="T70" fmla="*/ 6 w 78"/>
                        <a:gd name="T71" fmla="*/ 40 h 70"/>
                        <a:gd name="T72" fmla="*/ 24 w 78"/>
                        <a:gd name="T73" fmla="*/ 70 h 70"/>
                        <a:gd name="T74" fmla="*/ 54 w 78"/>
                        <a:gd name="T75" fmla="*/ 70 h 70"/>
                        <a:gd name="T76" fmla="*/ 72 w 78"/>
                        <a:gd name="T77" fmla="*/ 40 h 70"/>
                        <a:gd name="T78" fmla="*/ 78 w 78"/>
                        <a:gd name="T79" fmla="*/ 35 h 70"/>
                        <a:gd name="T80" fmla="*/ 78 w 78"/>
                        <a:gd name="T81" fmla="*/ 22 h 70"/>
                        <a:gd name="T82" fmla="*/ 74 w 78"/>
                        <a:gd name="T83" fmla="*/ 17 h 7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</a:cxnLst>
                      <a:rect l="0" t="0" r="r" b="b"/>
                      <a:pathLst>
                        <a:path w="78" h="70">
                          <a:moveTo>
                            <a:pt x="74" y="17"/>
                          </a:moveTo>
                          <a:cubicBezTo>
                            <a:pt x="74" y="17"/>
                            <a:pt x="73" y="17"/>
                            <a:pt x="72" y="17"/>
                          </a:cubicBezTo>
                          <a:cubicBezTo>
                            <a:pt x="72" y="12"/>
                            <a:pt x="72" y="12"/>
                            <a:pt x="72" y="12"/>
                          </a:cubicBezTo>
                          <a:cubicBezTo>
                            <a:pt x="72" y="12"/>
                            <a:pt x="72" y="11"/>
                            <a:pt x="72" y="11"/>
                          </a:cubicBezTo>
                          <a:cubicBezTo>
                            <a:pt x="72" y="10"/>
                            <a:pt x="72" y="10"/>
                            <a:pt x="72" y="10"/>
                          </a:cubicBezTo>
                          <a:cubicBezTo>
                            <a:pt x="72" y="10"/>
                            <a:pt x="72" y="9"/>
                            <a:pt x="72" y="9"/>
                          </a:cubicBezTo>
                          <a:cubicBezTo>
                            <a:pt x="72" y="9"/>
                            <a:pt x="72" y="9"/>
                            <a:pt x="72" y="9"/>
                          </a:cubicBezTo>
                          <a:cubicBezTo>
                            <a:pt x="72" y="8"/>
                            <a:pt x="72" y="8"/>
                            <a:pt x="72" y="8"/>
                          </a:cubicBezTo>
                          <a:cubicBezTo>
                            <a:pt x="72" y="8"/>
                            <a:pt x="72" y="7"/>
                            <a:pt x="72" y="7"/>
                          </a:cubicBezTo>
                          <a:cubicBezTo>
                            <a:pt x="72" y="7"/>
                            <a:pt x="72" y="7"/>
                            <a:pt x="72" y="7"/>
                          </a:cubicBezTo>
                          <a:cubicBezTo>
                            <a:pt x="71" y="6"/>
                            <a:pt x="71" y="6"/>
                            <a:pt x="71" y="5"/>
                          </a:cubicBezTo>
                          <a:cubicBezTo>
                            <a:pt x="71" y="5"/>
                            <a:pt x="71" y="5"/>
                            <a:pt x="71" y="5"/>
                          </a:cubicBezTo>
                          <a:cubicBezTo>
                            <a:pt x="71" y="4"/>
                            <a:pt x="70" y="4"/>
                            <a:pt x="70" y="4"/>
                          </a:cubicBezTo>
                          <a:cubicBezTo>
                            <a:pt x="70" y="4"/>
                            <a:pt x="70" y="4"/>
                            <a:pt x="70" y="4"/>
                          </a:cubicBezTo>
                          <a:cubicBezTo>
                            <a:pt x="70" y="3"/>
                            <a:pt x="70" y="3"/>
                            <a:pt x="69" y="3"/>
                          </a:cubicBezTo>
                          <a:cubicBezTo>
                            <a:pt x="69" y="3"/>
                            <a:pt x="69" y="3"/>
                            <a:pt x="69" y="3"/>
                          </a:cubicBezTo>
                          <a:cubicBezTo>
                            <a:pt x="68" y="3"/>
                            <a:pt x="66" y="3"/>
                            <a:pt x="63" y="3"/>
                          </a:cubicBezTo>
                          <a:cubicBezTo>
                            <a:pt x="59" y="3"/>
                            <a:pt x="55" y="2"/>
                            <a:pt x="52" y="1"/>
                          </a:cubicBezTo>
                          <a:cubicBezTo>
                            <a:pt x="47" y="2"/>
                            <a:pt x="40" y="3"/>
                            <a:pt x="32" y="3"/>
                          </a:cubicBezTo>
                          <a:cubicBezTo>
                            <a:pt x="24" y="3"/>
                            <a:pt x="16" y="2"/>
                            <a:pt x="11" y="0"/>
                          </a:cubicBezTo>
                          <a:cubicBezTo>
                            <a:pt x="10" y="1"/>
                            <a:pt x="9" y="3"/>
                            <a:pt x="8" y="4"/>
                          </a:cubicBezTo>
                          <a:cubicBezTo>
                            <a:pt x="8" y="4"/>
                            <a:pt x="8" y="4"/>
                            <a:pt x="8" y="4"/>
                          </a:cubicBezTo>
                          <a:cubicBezTo>
                            <a:pt x="8" y="5"/>
                            <a:pt x="8" y="5"/>
                            <a:pt x="7" y="5"/>
                          </a:cubicBezTo>
                          <a:cubicBezTo>
                            <a:pt x="7" y="6"/>
                            <a:pt x="7" y="6"/>
                            <a:pt x="7" y="6"/>
                          </a:cubicBezTo>
                          <a:cubicBezTo>
                            <a:pt x="7" y="6"/>
                            <a:pt x="7" y="6"/>
                            <a:pt x="7" y="7"/>
                          </a:cubicBezTo>
                          <a:cubicBezTo>
                            <a:pt x="7" y="7"/>
                            <a:pt x="7" y="7"/>
                            <a:pt x="7" y="7"/>
                          </a:cubicBezTo>
                          <a:cubicBezTo>
                            <a:pt x="7" y="8"/>
                            <a:pt x="6" y="8"/>
                            <a:pt x="6" y="8"/>
                          </a:cubicBezTo>
                          <a:cubicBezTo>
                            <a:pt x="6" y="8"/>
                            <a:pt x="6" y="9"/>
                            <a:pt x="6" y="9"/>
                          </a:cubicBezTo>
                          <a:cubicBezTo>
                            <a:pt x="6" y="9"/>
                            <a:pt x="6" y="10"/>
                            <a:pt x="6" y="10"/>
                          </a:cubicBezTo>
                          <a:cubicBezTo>
                            <a:pt x="6" y="10"/>
                            <a:pt x="6" y="10"/>
                            <a:pt x="6" y="10"/>
                          </a:cubicBezTo>
                          <a:cubicBezTo>
                            <a:pt x="6" y="11"/>
                            <a:pt x="6" y="11"/>
                            <a:pt x="6" y="12"/>
                          </a:cubicBezTo>
                          <a:cubicBezTo>
                            <a:pt x="6" y="17"/>
                            <a:pt x="6" y="17"/>
                            <a:pt x="6" y="17"/>
                          </a:cubicBezTo>
                          <a:cubicBezTo>
                            <a:pt x="6" y="17"/>
                            <a:pt x="5" y="17"/>
                            <a:pt x="5" y="17"/>
                          </a:cubicBezTo>
                          <a:cubicBezTo>
                            <a:pt x="2" y="17"/>
                            <a:pt x="0" y="20"/>
                            <a:pt x="0" y="22"/>
                          </a:cubicBezTo>
                          <a:cubicBezTo>
                            <a:pt x="0" y="35"/>
                            <a:pt x="0" y="35"/>
                            <a:pt x="0" y="35"/>
                          </a:cubicBezTo>
                          <a:cubicBezTo>
                            <a:pt x="0" y="38"/>
                            <a:pt x="3" y="40"/>
                            <a:pt x="6" y="40"/>
                          </a:cubicBezTo>
                          <a:cubicBezTo>
                            <a:pt x="6" y="40"/>
                            <a:pt x="16" y="70"/>
                            <a:pt x="24" y="70"/>
                          </a:cubicBezTo>
                          <a:cubicBezTo>
                            <a:pt x="54" y="70"/>
                            <a:pt x="54" y="70"/>
                            <a:pt x="54" y="70"/>
                          </a:cubicBezTo>
                          <a:cubicBezTo>
                            <a:pt x="63" y="70"/>
                            <a:pt x="72" y="40"/>
                            <a:pt x="72" y="40"/>
                          </a:cubicBezTo>
                          <a:cubicBezTo>
                            <a:pt x="76" y="40"/>
                            <a:pt x="78" y="38"/>
                            <a:pt x="78" y="35"/>
                          </a:cubicBezTo>
                          <a:cubicBezTo>
                            <a:pt x="78" y="22"/>
                            <a:pt x="78" y="22"/>
                            <a:pt x="78" y="22"/>
                          </a:cubicBezTo>
                          <a:cubicBezTo>
                            <a:pt x="78" y="20"/>
                            <a:pt x="77" y="18"/>
                            <a:pt x="74" y="17"/>
                          </a:cubicBezTo>
                          <a:close/>
                        </a:path>
                      </a:pathLst>
                    </a:custGeom>
                    <a:solidFill>
                      <a:srgbClr val="FFB9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72" name="Freeform 71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4679323" y="1687573"/>
                      <a:ext cx="385612" cy="126112"/>
                    </a:xfrm>
                    <a:custGeom>
                      <a:avLst/>
                      <a:gdLst>
                        <a:gd name="T0" fmla="*/ 66 w 67"/>
                        <a:gd name="T1" fmla="*/ 2 h 22"/>
                        <a:gd name="T2" fmla="*/ 49 w 67"/>
                        <a:gd name="T3" fmla="*/ 1 h 22"/>
                        <a:gd name="T4" fmla="*/ 33 w 67"/>
                        <a:gd name="T5" fmla="*/ 5 h 22"/>
                        <a:gd name="T6" fmla="*/ 17 w 67"/>
                        <a:gd name="T7" fmla="*/ 1 h 22"/>
                        <a:gd name="T8" fmla="*/ 0 w 67"/>
                        <a:gd name="T9" fmla="*/ 2 h 22"/>
                        <a:gd name="T10" fmla="*/ 0 w 67"/>
                        <a:gd name="T11" fmla="*/ 4 h 22"/>
                        <a:gd name="T12" fmla="*/ 2 w 67"/>
                        <a:gd name="T13" fmla="*/ 7 h 22"/>
                        <a:gd name="T14" fmla="*/ 4 w 67"/>
                        <a:gd name="T15" fmla="*/ 12 h 22"/>
                        <a:gd name="T16" fmla="*/ 20 w 67"/>
                        <a:gd name="T17" fmla="*/ 21 h 22"/>
                        <a:gd name="T18" fmla="*/ 31 w 67"/>
                        <a:gd name="T19" fmla="*/ 9 h 22"/>
                        <a:gd name="T20" fmla="*/ 33 w 67"/>
                        <a:gd name="T21" fmla="*/ 8 h 22"/>
                        <a:gd name="T22" fmla="*/ 36 w 67"/>
                        <a:gd name="T23" fmla="*/ 9 h 22"/>
                        <a:gd name="T24" fmla="*/ 47 w 67"/>
                        <a:gd name="T25" fmla="*/ 21 h 22"/>
                        <a:gd name="T26" fmla="*/ 62 w 67"/>
                        <a:gd name="T27" fmla="*/ 12 h 22"/>
                        <a:gd name="T28" fmla="*/ 64 w 67"/>
                        <a:gd name="T29" fmla="*/ 7 h 22"/>
                        <a:gd name="T30" fmla="*/ 66 w 67"/>
                        <a:gd name="T31" fmla="*/ 4 h 22"/>
                        <a:gd name="T32" fmla="*/ 66 w 67"/>
                        <a:gd name="T33" fmla="*/ 2 h 22"/>
                        <a:gd name="T34" fmla="*/ 25 w 67"/>
                        <a:gd name="T35" fmla="*/ 16 h 22"/>
                        <a:gd name="T36" fmla="*/ 13 w 67"/>
                        <a:gd name="T37" fmla="*/ 19 h 22"/>
                        <a:gd name="T38" fmla="*/ 6 w 67"/>
                        <a:gd name="T39" fmla="*/ 8 h 22"/>
                        <a:gd name="T40" fmla="*/ 18 w 67"/>
                        <a:gd name="T41" fmla="*/ 3 h 22"/>
                        <a:gd name="T42" fmla="*/ 26 w 67"/>
                        <a:gd name="T43" fmla="*/ 5 h 22"/>
                        <a:gd name="T44" fmla="*/ 25 w 67"/>
                        <a:gd name="T45" fmla="*/ 16 h 22"/>
                        <a:gd name="T46" fmla="*/ 53 w 67"/>
                        <a:gd name="T47" fmla="*/ 19 h 22"/>
                        <a:gd name="T48" fmla="*/ 41 w 67"/>
                        <a:gd name="T49" fmla="*/ 16 h 22"/>
                        <a:gd name="T50" fmla="*/ 41 w 67"/>
                        <a:gd name="T51" fmla="*/ 5 h 22"/>
                        <a:gd name="T52" fmla="*/ 49 w 67"/>
                        <a:gd name="T53" fmla="*/ 3 h 22"/>
                        <a:gd name="T54" fmla="*/ 61 w 67"/>
                        <a:gd name="T55" fmla="*/ 8 h 22"/>
                        <a:gd name="T56" fmla="*/ 53 w 67"/>
                        <a:gd name="T57" fmla="*/ 19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</a:cxnLst>
                      <a:rect l="0" t="0" r="r" b="b"/>
                      <a:pathLst>
                        <a:path w="67" h="22">
                          <a:moveTo>
                            <a:pt x="66" y="2"/>
                          </a:moveTo>
                          <a:cubicBezTo>
                            <a:pt x="66" y="2"/>
                            <a:pt x="56" y="0"/>
                            <a:pt x="49" y="1"/>
                          </a:cubicBezTo>
                          <a:cubicBezTo>
                            <a:pt x="42" y="2"/>
                            <a:pt x="37" y="5"/>
                            <a:pt x="33" y="5"/>
                          </a:cubicBezTo>
                          <a:cubicBezTo>
                            <a:pt x="30" y="5"/>
                            <a:pt x="24" y="2"/>
                            <a:pt x="17" y="1"/>
                          </a:cubicBezTo>
                          <a:cubicBezTo>
                            <a:pt x="10" y="0"/>
                            <a:pt x="0" y="2"/>
                            <a:pt x="0" y="2"/>
                          </a:cubicBezTo>
                          <a:cubicBezTo>
                            <a:pt x="0" y="2"/>
                            <a:pt x="0" y="3"/>
                            <a:pt x="0" y="4"/>
                          </a:cubicBezTo>
                          <a:cubicBezTo>
                            <a:pt x="1" y="5"/>
                            <a:pt x="1" y="6"/>
                            <a:pt x="2" y="7"/>
                          </a:cubicBezTo>
                          <a:cubicBezTo>
                            <a:pt x="4" y="8"/>
                            <a:pt x="4" y="12"/>
                            <a:pt x="4" y="12"/>
                          </a:cubicBezTo>
                          <a:cubicBezTo>
                            <a:pt x="6" y="20"/>
                            <a:pt x="12" y="22"/>
                            <a:pt x="20" y="21"/>
                          </a:cubicBezTo>
                          <a:cubicBezTo>
                            <a:pt x="28" y="19"/>
                            <a:pt x="30" y="11"/>
                            <a:pt x="31" y="9"/>
                          </a:cubicBezTo>
                          <a:cubicBezTo>
                            <a:pt x="32" y="8"/>
                            <a:pt x="33" y="8"/>
                            <a:pt x="33" y="8"/>
                          </a:cubicBezTo>
                          <a:cubicBezTo>
                            <a:pt x="33" y="8"/>
                            <a:pt x="35" y="8"/>
                            <a:pt x="36" y="9"/>
                          </a:cubicBezTo>
                          <a:cubicBezTo>
                            <a:pt x="37" y="11"/>
                            <a:pt x="39" y="19"/>
                            <a:pt x="47" y="21"/>
                          </a:cubicBezTo>
                          <a:cubicBezTo>
                            <a:pt x="55" y="22"/>
                            <a:pt x="61" y="20"/>
                            <a:pt x="62" y="12"/>
                          </a:cubicBezTo>
                          <a:cubicBezTo>
                            <a:pt x="62" y="12"/>
                            <a:pt x="62" y="8"/>
                            <a:pt x="64" y="7"/>
                          </a:cubicBezTo>
                          <a:cubicBezTo>
                            <a:pt x="66" y="6"/>
                            <a:pt x="66" y="5"/>
                            <a:pt x="66" y="4"/>
                          </a:cubicBezTo>
                          <a:cubicBezTo>
                            <a:pt x="66" y="3"/>
                            <a:pt x="67" y="2"/>
                            <a:pt x="66" y="2"/>
                          </a:cubicBezTo>
                          <a:close/>
                          <a:moveTo>
                            <a:pt x="25" y="16"/>
                          </a:moveTo>
                          <a:cubicBezTo>
                            <a:pt x="23" y="19"/>
                            <a:pt x="19" y="20"/>
                            <a:pt x="13" y="19"/>
                          </a:cubicBezTo>
                          <a:cubicBezTo>
                            <a:pt x="8" y="18"/>
                            <a:pt x="6" y="14"/>
                            <a:pt x="6" y="8"/>
                          </a:cubicBezTo>
                          <a:cubicBezTo>
                            <a:pt x="6" y="1"/>
                            <a:pt x="18" y="3"/>
                            <a:pt x="18" y="3"/>
                          </a:cubicBezTo>
                          <a:cubicBezTo>
                            <a:pt x="22" y="4"/>
                            <a:pt x="22" y="4"/>
                            <a:pt x="26" y="5"/>
                          </a:cubicBezTo>
                          <a:cubicBezTo>
                            <a:pt x="30" y="6"/>
                            <a:pt x="27" y="13"/>
                            <a:pt x="25" y="16"/>
                          </a:cubicBezTo>
                          <a:close/>
                          <a:moveTo>
                            <a:pt x="53" y="19"/>
                          </a:moveTo>
                          <a:cubicBezTo>
                            <a:pt x="48" y="20"/>
                            <a:pt x="44" y="19"/>
                            <a:pt x="41" y="16"/>
                          </a:cubicBezTo>
                          <a:cubicBezTo>
                            <a:pt x="39" y="13"/>
                            <a:pt x="37" y="6"/>
                            <a:pt x="41" y="5"/>
                          </a:cubicBezTo>
                          <a:cubicBezTo>
                            <a:pt x="44" y="4"/>
                            <a:pt x="44" y="4"/>
                            <a:pt x="49" y="3"/>
                          </a:cubicBezTo>
                          <a:cubicBezTo>
                            <a:pt x="49" y="3"/>
                            <a:pt x="61" y="1"/>
                            <a:pt x="61" y="8"/>
                          </a:cubicBezTo>
                          <a:cubicBezTo>
                            <a:pt x="61" y="14"/>
                            <a:pt x="59" y="18"/>
                            <a:pt x="53" y="19"/>
                          </a:cubicBez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73" name="Oval 7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686599" y="1704549"/>
                      <a:ext cx="9701" cy="12127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74" name="Oval 7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040683" y="1704549"/>
                      <a:ext cx="12127" cy="12127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  <p:grpSp>
                <p:nvGrpSpPr>
                  <p:cNvPr id="23" name="Group 22"/>
                  <p:cNvGrpSpPr/>
                  <p:nvPr/>
                </p:nvGrpSpPr>
                <p:grpSpPr>
                  <a:xfrm>
                    <a:off x="5610611" y="4468960"/>
                    <a:ext cx="1307200" cy="2107525"/>
                    <a:chOff x="5610611" y="1297111"/>
                    <a:chExt cx="1307200" cy="2107525"/>
                  </a:xfrm>
                </p:grpSpPr>
                <p:sp>
                  <p:nvSpPr>
                    <p:cNvPr id="24" name="Freeform 23"/>
                    <p:cNvSpPr>
                      <a:spLocks/>
                    </p:cNvSpPr>
                    <p:nvPr/>
                  </p:nvSpPr>
                  <p:spPr bwMode="auto">
                    <a:xfrm>
                      <a:off x="5632439" y="3244570"/>
                      <a:ext cx="150364" cy="160065"/>
                    </a:xfrm>
                    <a:custGeom>
                      <a:avLst/>
                      <a:gdLst>
                        <a:gd name="T0" fmla="*/ 0 w 26"/>
                        <a:gd name="T1" fmla="*/ 0 h 28"/>
                        <a:gd name="T2" fmla="*/ 0 w 26"/>
                        <a:gd name="T3" fmla="*/ 16 h 28"/>
                        <a:gd name="T4" fmla="*/ 13 w 26"/>
                        <a:gd name="T5" fmla="*/ 28 h 28"/>
                        <a:gd name="T6" fmla="*/ 26 w 26"/>
                        <a:gd name="T7" fmla="*/ 16 h 28"/>
                        <a:gd name="T8" fmla="*/ 26 w 26"/>
                        <a:gd name="T9" fmla="*/ 0 h 28"/>
                        <a:gd name="T10" fmla="*/ 0 w 26"/>
                        <a:gd name="T11" fmla="*/ 0 h 2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6" h="28">
                          <a:moveTo>
                            <a:pt x="0" y="0"/>
                          </a:moveTo>
                          <a:cubicBezTo>
                            <a:pt x="0" y="16"/>
                            <a:pt x="0" y="16"/>
                            <a:pt x="0" y="16"/>
                          </a:cubicBezTo>
                          <a:cubicBezTo>
                            <a:pt x="0" y="23"/>
                            <a:pt x="6" y="28"/>
                            <a:pt x="13" y="28"/>
                          </a:cubicBezTo>
                          <a:cubicBezTo>
                            <a:pt x="20" y="28"/>
                            <a:pt x="26" y="23"/>
                            <a:pt x="26" y="16"/>
                          </a:cubicBezTo>
                          <a:cubicBezTo>
                            <a:pt x="26" y="0"/>
                            <a:pt x="26" y="0"/>
                            <a:pt x="26" y="0"/>
                          </a:cubicBez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FFB9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5" name="Freeform 24"/>
                    <p:cNvSpPr>
                      <a:spLocks/>
                    </p:cNvSpPr>
                    <p:nvPr/>
                  </p:nvSpPr>
                  <p:spPr bwMode="auto">
                    <a:xfrm>
                      <a:off x="6119909" y="1922820"/>
                      <a:ext cx="281327" cy="305579"/>
                    </a:xfrm>
                    <a:custGeom>
                      <a:avLst/>
                      <a:gdLst>
                        <a:gd name="T0" fmla="*/ 0 w 116"/>
                        <a:gd name="T1" fmla="*/ 12 h 126"/>
                        <a:gd name="T2" fmla="*/ 12 w 116"/>
                        <a:gd name="T3" fmla="*/ 0 h 126"/>
                        <a:gd name="T4" fmla="*/ 104 w 116"/>
                        <a:gd name="T5" fmla="*/ 0 h 126"/>
                        <a:gd name="T6" fmla="*/ 116 w 116"/>
                        <a:gd name="T7" fmla="*/ 12 h 126"/>
                        <a:gd name="T8" fmla="*/ 85 w 116"/>
                        <a:gd name="T9" fmla="*/ 116 h 126"/>
                        <a:gd name="T10" fmla="*/ 43 w 116"/>
                        <a:gd name="T11" fmla="*/ 126 h 126"/>
                        <a:gd name="T12" fmla="*/ 7 w 116"/>
                        <a:gd name="T13" fmla="*/ 76 h 126"/>
                        <a:gd name="T14" fmla="*/ 0 w 116"/>
                        <a:gd name="T15" fmla="*/ 12 h 1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16" h="126">
                          <a:moveTo>
                            <a:pt x="0" y="12"/>
                          </a:moveTo>
                          <a:lnTo>
                            <a:pt x="12" y="0"/>
                          </a:lnTo>
                          <a:lnTo>
                            <a:pt x="104" y="0"/>
                          </a:lnTo>
                          <a:lnTo>
                            <a:pt x="116" y="12"/>
                          </a:lnTo>
                          <a:lnTo>
                            <a:pt x="85" y="116"/>
                          </a:lnTo>
                          <a:lnTo>
                            <a:pt x="43" y="126"/>
                          </a:lnTo>
                          <a:lnTo>
                            <a:pt x="7" y="76"/>
                          </a:lnTo>
                          <a:lnTo>
                            <a:pt x="0" y="12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6" name="Freeform 25"/>
                    <p:cNvSpPr>
                      <a:spLocks/>
                    </p:cNvSpPr>
                    <p:nvPr/>
                  </p:nvSpPr>
                  <p:spPr bwMode="auto">
                    <a:xfrm>
                      <a:off x="6090807" y="1956773"/>
                      <a:ext cx="351659" cy="948265"/>
                    </a:xfrm>
                    <a:custGeom>
                      <a:avLst/>
                      <a:gdLst>
                        <a:gd name="T0" fmla="*/ 145 w 145"/>
                        <a:gd name="T1" fmla="*/ 83 h 391"/>
                        <a:gd name="T2" fmla="*/ 74 w 145"/>
                        <a:gd name="T3" fmla="*/ 0 h 391"/>
                        <a:gd name="T4" fmla="*/ 0 w 145"/>
                        <a:gd name="T5" fmla="*/ 76 h 391"/>
                        <a:gd name="T6" fmla="*/ 55 w 145"/>
                        <a:gd name="T7" fmla="*/ 360 h 391"/>
                        <a:gd name="T8" fmla="*/ 69 w 145"/>
                        <a:gd name="T9" fmla="*/ 391 h 391"/>
                        <a:gd name="T10" fmla="*/ 86 w 145"/>
                        <a:gd name="T11" fmla="*/ 360 h 391"/>
                        <a:gd name="T12" fmla="*/ 145 w 145"/>
                        <a:gd name="T13" fmla="*/ 83 h 3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45" h="391">
                          <a:moveTo>
                            <a:pt x="145" y="83"/>
                          </a:moveTo>
                          <a:lnTo>
                            <a:pt x="74" y="0"/>
                          </a:lnTo>
                          <a:lnTo>
                            <a:pt x="0" y="76"/>
                          </a:lnTo>
                          <a:lnTo>
                            <a:pt x="55" y="360"/>
                          </a:lnTo>
                          <a:lnTo>
                            <a:pt x="69" y="391"/>
                          </a:lnTo>
                          <a:lnTo>
                            <a:pt x="86" y="360"/>
                          </a:lnTo>
                          <a:lnTo>
                            <a:pt x="145" y="83"/>
                          </a:lnTo>
                          <a:close/>
                        </a:path>
                      </a:pathLst>
                    </a:custGeom>
                    <a:solidFill>
                      <a:srgbClr val="D2D2D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7" name="Freeform 26"/>
                    <p:cNvSpPr>
                      <a:spLocks/>
                    </p:cNvSpPr>
                    <p:nvPr/>
                  </p:nvSpPr>
                  <p:spPr bwMode="auto">
                    <a:xfrm>
                      <a:off x="6056853" y="1321363"/>
                      <a:ext cx="441392" cy="555378"/>
                    </a:xfrm>
                    <a:custGeom>
                      <a:avLst/>
                      <a:gdLst>
                        <a:gd name="T0" fmla="*/ 68 w 77"/>
                        <a:gd name="T1" fmla="*/ 59 h 97"/>
                        <a:gd name="T2" fmla="*/ 28 w 77"/>
                        <a:gd name="T3" fmla="*/ 90 h 97"/>
                        <a:gd name="T4" fmla="*/ 8 w 77"/>
                        <a:gd name="T5" fmla="*/ 39 h 97"/>
                        <a:gd name="T6" fmla="*/ 57 w 77"/>
                        <a:gd name="T7" fmla="*/ 6 h 97"/>
                        <a:gd name="T8" fmla="*/ 68 w 77"/>
                        <a:gd name="T9" fmla="*/ 59 h 9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7" h="97">
                          <a:moveTo>
                            <a:pt x="68" y="59"/>
                          </a:moveTo>
                          <a:cubicBezTo>
                            <a:pt x="54" y="97"/>
                            <a:pt x="46" y="96"/>
                            <a:pt x="28" y="90"/>
                          </a:cubicBezTo>
                          <a:cubicBezTo>
                            <a:pt x="9" y="84"/>
                            <a:pt x="0" y="61"/>
                            <a:pt x="8" y="39"/>
                          </a:cubicBezTo>
                          <a:cubicBezTo>
                            <a:pt x="15" y="17"/>
                            <a:pt x="39" y="0"/>
                            <a:pt x="57" y="6"/>
                          </a:cubicBezTo>
                          <a:cubicBezTo>
                            <a:pt x="76" y="12"/>
                            <a:pt x="77" y="37"/>
                            <a:pt x="68" y="59"/>
                          </a:cubicBezTo>
                          <a:close/>
                        </a:path>
                      </a:pathLst>
                    </a:custGeom>
                    <a:solidFill>
                      <a:srgbClr val="50505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8" name="Freeform 27"/>
                    <p:cNvSpPr>
                      <a:spLocks/>
                    </p:cNvSpPr>
                    <p:nvPr/>
                  </p:nvSpPr>
                  <p:spPr bwMode="auto">
                    <a:xfrm>
                      <a:off x="5976822" y="1297111"/>
                      <a:ext cx="494747" cy="608733"/>
                    </a:xfrm>
                    <a:custGeom>
                      <a:avLst/>
                      <a:gdLst>
                        <a:gd name="T0" fmla="*/ 74 w 86"/>
                        <a:gd name="T1" fmla="*/ 22 h 106"/>
                        <a:gd name="T2" fmla="*/ 62 w 86"/>
                        <a:gd name="T3" fmla="*/ 90 h 106"/>
                        <a:gd name="T4" fmla="*/ 25 w 86"/>
                        <a:gd name="T5" fmla="*/ 87 h 106"/>
                        <a:gd name="T6" fmla="*/ 25 w 86"/>
                        <a:gd name="T7" fmla="*/ 8 h 106"/>
                        <a:gd name="T8" fmla="*/ 74 w 86"/>
                        <a:gd name="T9" fmla="*/ 22 h 10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86" h="106">
                          <a:moveTo>
                            <a:pt x="74" y="22"/>
                          </a:moveTo>
                          <a:cubicBezTo>
                            <a:pt x="86" y="41"/>
                            <a:pt x="77" y="81"/>
                            <a:pt x="62" y="90"/>
                          </a:cubicBezTo>
                          <a:cubicBezTo>
                            <a:pt x="48" y="98"/>
                            <a:pt x="36" y="106"/>
                            <a:pt x="25" y="87"/>
                          </a:cubicBezTo>
                          <a:cubicBezTo>
                            <a:pt x="14" y="68"/>
                            <a:pt x="0" y="19"/>
                            <a:pt x="25" y="8"/>
                          </a:cubicBezTo>
                          <a:cubicBezTo>
                            <a:pt x="40" y="0"/>
                            <a:pt x="63" y="3"/>
                            <a:pt x="74" y="22"/>
                          </a:cubicBezTo>
                          <a:close/>
                        </a:path>
                      </a:pathLst>
                    </a:custGeom>
                    <a:solidFill>
                      <a:srgbClr val="50505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9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149012" y="1745779"/>
                      <a:ext cx="223121" cy="269201"/>
                    </a:xfrm>
                    <a:custGeom>
                      <a:avLst/>
                      <a:gdLst>
                        <a:gd name="T0" fmla="*/ 92 w 92"/>
                        <a:gd name="T1" fmla="*/ 73 h 111"/>
                        <a:gd name="T2" fmla="*/ 45 w 92"/>
                        <a:gd name="T3" fmla="*/ 111 h 111"/>
                        <a:gd name="T4" fmla="*/ 0 w 92"/>
                        <a:gd name="T5" fmla="*/ 73 h 111"/>
                        <a:gd name="T6" fmla="*/ 0 w 92"/>
                        <a:gd name="T7" fmla="*/ 0 h 111"/>
                        <a:gd name="T8" fmla="*/ 92 w 92"/>
                        <a:gd name="T9" fmla="*/ 0 h 111"/>
                        <a:gd name="T10" fmla="*/ 92 w 92"/>
                        <a:gd name="T11" fmla="*/ 73 h 11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92" h="111">
                          <a:moveTo>
                            <a:pt x="92" y="73"/>
                          </a:moveTo>
                          <a:lnTo>
                            <a:pt x="45" y="111"/>
                          </a:lnTo>
                          <a:lnTo>
                            <a:pt x="0" y="73"/>
                          </a:lnTo>
                          <a:lnTo>
                            <a:pt x="0" y="0"/>
                          </a:lnTo>
                          <a:lnTo>
                            <a:pt x="92" y="0"/>
                          </a:lnTo>
                          <a:lnTo>
                            <a:pt x="92" y="73"/>
                          </a:lnTo>
                          <a:close/>
                        </a:path>
                      </a:pathLst>
                    </a:custGeom>
                    <a:solidFill>
                      <a:srgbClr val="FFB9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30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5610611" y="1993153"/>
                      <a:ext cx="480196" cy="1251418"/>
                    </a:xfrm>
                    <a:custGeom>
                      <a:avLst/>
                      <a:gdLst>
                        <a:gd name="T0" fmla="*/ 84 w 84"/>
                        <a:gd name="T1" fmla="*/ 9 h 218"/>
                        <a:gd name="T2" fmla="*/ 51 w 84"/>
                        <a:gd name="T3" fmla="*/ 0 h 218"/>
                        <a:gd name="T4" fmla="*/ 0 w 84"/>
                        <a:gd name="T5" fmla="*/ 218 h 218"/>
                        <a:gd name="T6" fmla="*/ 34 w 84"/>
                        <a:gd name="T7" fmla="*/ 218 h 218"/>
                        <a:gd name="T8" fmla="*/ 84 w 84"/>
                        <a:gd name="T9" fmla="*/ 9 h 21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84" h="218">
                          <a:moveTo>
                            <a:pt x="84" y="9"/>
                          </a:moveTo>
                          <a:cubicBezTo>
                            <a:pt x="73" y="6"/>
                            <a:pt x="62" y="3"/>
                            <a:pt x="51" y="0"/>
                          </a:cubicBezTo>
                          <a:cubicBezTo>
                            <a:pt x="18" y="71"/>
                            <a:pt x="7" y="141"/>
                            <a:pt x="0" y="218"/>
                          </a:cubicBezTo>
                          <a:cubicBezTo>
                            <a:pt x="34" y="218"/>
                            <a:pt x="34" y="218"/>
                            <a:pt x="34" y="218"/>
                          </a:cubicBezTo>
                          <a:cubicBezTo>
                            <a:pt x="42" y="144"/>
                            <a:pt x="53" y="77"/>
                            <a:pt x="84" y="9"/>
                          </a:cubicBezTo>
                          <a:close/>
                        </a:path>
                      </a:pathLst>
                    </a:custGeom>
                    <a:solidFill>
                      <a:srgbClr val="50505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31" name="Freeform 30"/>
                    <p:cNvSpPr>
                      <a:spLocks/>
                    </p:cNvSpPr>
                    <p:nvPr/>
                  </p:nvSpPr>
                  <p:spPr bwMode="auto">
                    <a:xfrm>
                      <a:off x="6430339" y="1993153"/>
                      <a:ext cx="487472" cy="1251418"/>
                    </a:xfrm>
                    <a:custGeom>
                      <a:avLst/>
                      <a:gdLst>
                        <a:gd name="T0" fmla="*/ 0 w 85"/>
                        <a:gd name="T1" fmla="*/ 9 h 218"/>
                        <a:gd name="T2" fmla="*/ 34 w 85"/>
                        <a:gd name="T3" fmla="*/ 0 h 218"/>
                        <a:gd name="T4" fmla="*/ 85 w 85"/>
                        <a:gd name="T5" fmla="*/ 218 h 218"/>
                        <a:gd name="T6" fmla="*/ 50 w 85"/>
                        <a:gd name="T7" fmla="*/ 218 h 218"/>
                        <a:gd name="T8" fmla="*/ 0 w 85"/>
                        <a:gd name="T9" fmla="*/ 9 h 21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85" h="218">
                          <a:moveTo>
                            <a:pt x="0" y="9"/>
                          </a:moveTo>
                          <a:cubicBezTo>
                            <a:pt x="12" y="6"/>
                            <a:pt x="23" y="3"/>
                            <a:pt x="34" y="0"/>
                          </a:cubicBezTo>
                          <a:cubicBezTo>
                            <a:pt x="67" y="71"/>
                            <a:pt x="77" y="141"/>
                            <a:pt x="85" y="218"/>
                          </a:cubicBezTo>
                          <a:cubicBezTo>
                            <a:pt x="50" y="218"/>
                            <a:pt x="50" y="218"/>
                            <a:pt x="50" y="218"/>
                          </a:cubicBezTo>
                          <a:cubicBezTo>
                            <a:pt x="42" y="144"/>
                            <a:pt x="32" y="77"/>
                            <a:pt x="0" y="9"/>
                          </a:cubicBezTo>
                          <a:close/>
                        </a:path>
                      </a:pathLst>
                    </a:custGeom>
                    <a:solidFill>
                      <a:srgbClr val="50505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32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6745619" y="3244571"/>
                      <a:ext cx="143089" cy="160065"/>
                    </a:xfrm>
                    <a:custGeom>
                      <a:avLst/>
                      <a:gdLst>
                        <a:gd name="T0" fmla="*/ 0 w 25"/>
                        <a:gd name="T1" fmla="*/ 0 h 28"/>
                        <a:gd name="T2" fmla="*/ 0 w 25"/>
                        <a:gd name="T3" fmla="*/ 16 h 28"/>
                        <a:gd name="T4" fmla="*/ 12 w 25"/>
                        <a:gd name="T5" fmla="*/ 28 h 28"/>
                        <a:gd name="T6" fmla="*/ 25 w 25"/>
                        <a:gd name="T7" fmla="*/ 16 h 28"/>
                        <a:gd name="T8" fmla="*/ 25 w 25"/>
                        <a:gd name="T9" fmla="*/ 0 h 28"/>
                        <a:gd name="T10" fmla="*/ 0 w 25"/>
                        <a:gd name="T11" fmla="*/ 0 h 2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5" h="28">
                          <a:moveTo>
                            <a:pt x="0" y="0"/>
                          </a:moveTo>
                          <a:cubicBezTo>
                            <a:pt x="0" y="16"/>
                            <a:pt x="0" y="16"/>
                            <a:pt x="0" y="16"/>
                          </a:cubicBezTo>
                          <a:cubicBezTo>
                            <a:pt x="0" y="23"/>
                            <a:pt x="5" y="28"/>
                            <a:pt x="12" y="28"/>
                          </a:cubicBezTo>
                          <a:cubicBezTo>
                            <a:pt x="19" y="28"/>
                            <a:pt x="25" y="23"/>
                            <a:pt x="25" y="16"/>
                          </a:cubicBezTo>
                          <a:cubicBezTo>
                            <a:pt x="25" y="0"/>
                            <a:pt x="25" y="0"/>
                            <a:pt x="25" y="0"/>
                          </a:cubicBez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FFB9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33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5896788" y="1951923"/>
                      <a:ext cx="727569" cy="1268396"/>
                    </a:xfrm>
                    <a:custGeom>
                      <a:avLst/>
                      <a:gdLst>
                        <a:gd name="T0" fmla="*/ 208 w 300"/>
                        <a:gd name="T1" fmla="*/ 0 h 523"/>
                        <a:gd name="T2" fmla="*/ 149 w 300"/>
                        <a:gd name="T3" fmla="*/ 100 h 523"/>
                        <a:gd name="T4" fmla="*/ 92 w 300"/>
                        <a:gd name="T5" fmla="*/ 0 h 523"/>
                        <a:gd name="T6" fmla="*/ 0 w 300"/>
                        <a:gd name="T7" fmla="*/ 17 h 523"/>
                        <a:gd name="T8" fmla="*/ 5 w 300"/>
                        <a:gd name="T9" fmla="*/ 523 h 523"/>
                        <a:gd name="T10" fmla="*/ 293 w 300"/>
                        <a:gd name="T11" fmla="*/ 523 h 523"/>
                        <a:gd name="T12" fmla="*/ 300 w 300"/>
                        <a:gd name="T13" fmla="*/ 17 h 523"/>
                        <a:gd name="T14" fmla="*/ 208 w 300"/>
                        <a:gd name="T15" fmla="*/ 0 h 5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300" h="523">
                          <a:moveTo>
                            <a:pt x="208" y="0"/>
                          </a:moveTo>
                          <a:lnTo>
                            <a:pt x="149" y="100"/>
                          </a:lnTo>
                          <a:lnTo>
                            <a:pt x="92" y="0"/>
                          </a:lnTo>
                          <a:lnTo>
                            <a:pt x="0" y="17"/>
                          </a:lnTo>
                          <a:lnTo>
                            <a:pt x="5" y="523"/>
                          </a:lnTo>
                          <a:lnTo>
                            <a:pt x="293" y="523"/>
                          </a:lnTo>
                          <a:lnTo>
                            <a:pt x="300" y="17"/>
                          </a:lnTo>
                          <a:lnTo>
                            <a:pt x="208" y="0"/>
                          </a:lnTo>
                          <a:close/>
                        </a:path>
                      </a:pathLst>
                    </a:custGeom>
                    <a:solidFill>
                      <a:srgbClr val="50505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34" name="Freeform 33"/>
                    <p:cNvSpPr>
                      <a:spLocks/>
                    </p:cNvSpPr>
                    <p:nvPr/>
                  </p:nvSpPr>
                  <p:spPr bwMode="auto">
                    <a:xfrm>
                      <a:off x="6442466" y="1515382"/>
                      <a:ext cx="4850" cy="7276"/>
                    </a:xfrm>
                    <a:custGeom>
                      <a:avLst/>
                      <a:gdLst>
                        <a:gd name="T0" fmla="*/ 1 w 1"/>
                        <a:gd name="T1" fmla="*/ 1 h 1"/>
                        <a:gd name="T2" fmla="*/ 0 w 1"/>
                        <a:gd name="T3" fmla="*/ 0 h 1"/>
                        <a:gd name="T4" fmla="*/ 1 w 1"/>
                        <a:gd name="T5" fmla="*/ 1 h 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1" h="1">
                          <a:moveTo>
                            <a:pt x="1" y="1"/>
                          </a:move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0" y="0"/>
                            <a:pt x="0" y="0"/>
                            <a:pt x="1" y="1"/>
                          </a:cubicBezTo>
                          <a:close/>
                        </a:path>
                      </a:pathLst>
                    </a:custGeom>
                    <a:solidFill>
                      <a:srgbClr val="FFD60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35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6442466" y="1510531"/>
                      <a:ext cx="0" cy="0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>
                          <a:moveTo>
                            <a:pt x="0" y="0"/>
                          </a:move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FFD60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36" name="Freeform 35"/>
                    <p:cNvSpPr>
                      <a:spLocks/>
                    </p:cNvSpPr>
                    <p:nvPr/>
                  </p:nvSpPr>
                  <p:spPr bwMode="auto">
                    <a:xfrm>
                      <a:off x="6430339" y="1493555"/>
                      <a:ext cx="4850" cy="0"/>
                    </a:xfrm>
                    <a:custGeom>
                      <a:avLst/>
                      <a:gdLst>
                        <a:gd name="T0" fmla="*/ 1 w 1"/>
                        <a:gd name="T1" fmla="*/ 0 w 1"/>
                        <a:gd name="T2" fmla="*/ 1 w 1"/>
                      </a:gdLst>
                      <a:ahLst/>
                      <a:cxnLst>
                        <a:cxn ang="0">
                          <a:pos x="T0" y="0"/>
                        </a:cxn>
                        <a:cxn ang="0">
                          <a:pos x="T1" y="0"/>
                        </a:cxn>
                        <a:cxn ang="0">
                          <a:pos x="T2" y="0"/>
                        </a:cxn>
                      </a:cxnLst>
                      <a:rect l="0" t="0" r="r" b="b"/>
                      <a:pathLst>
                        <a:path w="1">
                          <a:moveTo>
                            <a:pt x="1" y="0"/>
                          </a:moveTo>
                          <a:cubicBezTo>
                            <a:pt x="1" y="0"/>
                            <a:pt x="1" y="0"/>
                            <a:pt x="0" y="0"/>
                          </a:cubicBezTo>
                          <a:cubicBezTo>
                            <a:pt x="1" y="0"/>
                            <a:pt x="1" y="0"/>
                            <a:pt x="1" y="0"/>
                          </a:cubicBezTo>
                          <a:close/>
                        </a:path>
                      </a:pathLst>
                    </a:custGeom>
                    <a:solidFill>
                      <a:srgbClr val="FFD60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37" name="Freeform 36"/>
                    <p:cNvSpPr>
                      <a:spLocks/>
                    </p:cNvSpPr>
                    <p:nvPr/>
                  </p:nvSpPr>
                  <p:spPr bwMode="auto">
                    <a:xfrm>
                      <a:off x="6435189" y="1498406"/>
                      <a:ext cx="0" cy="0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>
                          <a:moveTo>
                            <a:pt x="0" y="0"/>
                          </a:move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FFD60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38" name="Freeform 37"/>
                    <p:cNvSpPr>
                      <a:spLocks/>
                    </p:cNvSpPr>
                    <p:nvPr/>
                  </p:nvSpPr>
                  <p:spPr bwMode="auto">
                    <a:xfrm>
                      <a:off x="6073831" y="1493555"/>
                      <a:ext cx="0" cy="0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>
                          <a:moveTo>
                            <a:pt x="0" y="0"/>
                          </a:move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FFD60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39" name="Freeform 38"/>
                    <p:cNvSpPr>
                      <a:spLocks/>
                    </p:cNvSpPr>
                    <p:nvPr/>
                  </p:nvSpPr>
                  <p:spPr bwMode="auto">
                    <a:xfrm>
                      <a:off x="6447316" y="1522658"/>
                      <a:ext cx="0" cy="4850"/>
                    </a:xfrm>
                    <a:custGeom>
                      <a:avLst/>
                      <a:gdLst>
                        <a:gd name="T0" fmla="*/ 1 h 1"/>
                        <a:gd name="T1" fmla="*/ 0 h 1"/>
                        <a:gd name="T2" fmla="*/ 1 h 1"/>
                      </a:gdLst>
                      <a:ahLst/>
                      <a:cxnLst>
                        <a:cxn ang="0">
                          <a:pos x="0" y="T0"/>
                        </a:cxn>
                        <a:cxn ang="0">
                          <a:pos x="0" y="T1"/>
                        </a:cxn>
                        <a:cxn ang="0">
                          <a:pos x="0" y="T2"/>
                        </a:cxn>
                      </a:cxnLst>
                      <a:rect l="0" t="0" r="r" b="b"/>
                      <a:pathLst>
                        <a:path h="1">
                          <a:moveTo>
                            <a:pt x="0" y="1"/>
                          </a:moveTo>
                          <a:cubicBezTo>
                            <a:pt x="0" y="1"/>
                            <a:pt x="0" y="0"/>
                            <a:pt x="0" y="0"/>
                          </a:cubicBezTo>
                          <a:cubicBezTo>
                            <a:pt x="0" y="0"/>
                            <a:pt x="0" y="1"/>
                            <a:pt x="0" y="1"/>
                          </a:cubicBezTo>
                          <a:close/>
                        </a:path>
                      </a:pathLst>
                    </a:custGeom>
                    <a:solidFill>
                      <a:srgbClr val="FFD60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40" name="Freeform 39"/>
                    <p:cNvSpPr>
                      <a:spLocks/>
                    </p:cNvSpPr>
                    <p:nvPr/>
                  </p:nvSpPr>
                  <p:spPr bwMode="auto">
                    <a:xfrm>
                      <a:off x="6447316" y="1532359"/>
                      <a:ext cx="0" cy="7276"/>
                    </a:xfrm>
                    <a:custGeom>
                      <a:avLst/>
                      <a:gdLst>
                        <a:gd name="T0" fmla="*/ 1 h 1"/>
                        <a:gd name="T1" fmla="*/ 0 h 1"/>
                        <a:gd name="T2" fmla="*/ 1 h 1"/>
                      </a:gdLst>
                      <a:ahLst/>
                      <a:cxnLst>
                        <a:cxn ang="0">
                          <a:pos x="0" y="T0"/>
                        </a:cxn>
                        <a:cxn ang="0">
                          <a:pos x="0" y="T1"/>
                        </a:cxn>
                        <a:cxn ang="0">
                          <a:pos x="0" y="T2"/>
                        </a:cxn>
                      </a:cxnLst>
                      <a:rect l="0" t="0" r="r" b="b"/>
                      <a:pathLst>
                        <a:path h="1">
                          <a:moveTo>
                            <a:pt x="0" y="1"/>
                          </a:moveTo>
                          <a:cubicBezTo>
                            <a:pt x="0" y="1"/>
                            <a:pt x="0" y="0"/>
                            <a:pt x="0" y="0"/>
                          </a:cubicBezTo>
                          <a:cubicBezTo>
                            <a:pt x="0" y="0"/>
                            <a:pt x="0" y="1"/>
                            <a:pt x="0" y="1"/>
                          </a:cubicBezTo>
                          <a:close/>
                        </a:path>
                      </a:pathLst>
                    </a:custGeom>
                    <a:solidFill>
                      <a:srgbClr val="FFD60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41" name="Rectangle 4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430339" y="1486279"/>
                      <a:ext cx="2426" cy="2426"/>
                    </a:xfrm>
                    <a:prstGeom prst="rect">
                      <a:avLst/>
                    </a:prstGeom>
                    <a:solidFill>
                      <a:srgbClr val="FFD60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42" name="Freeform 41"/>
                    <p:cNvSpPr>
                      <a:spLocks/>
                    </p:cNvSpPr>
                    <p:nvPr/>
                  </p:nvSpPr>
                  <p:spPr bwMode="auto">
                    <a:xfrm>
                      <a:off x="6064130" y="1527509"/>
                      <a:ext cx="4850" cy="0"/>
                    </a:xfrm>
                    <a:custGeom>
                      <a:avLst/>
                      <a:gdLst>
                        <a:gd name="T0" fmla="*/ 1 w 1"/>
                        <a:gd name="T1" fmla="*/ 0 w 1"/>
                        <a:gd name="T2" fmla="*/ 1 w 1"/>
                      </a:gdLst>
                      <a:ahLst/>
                      <a:cxnLst>
                        <a:cxn ang="0">
                          <a:pos x="T0" y="0"/>
                        </a:cxn>
                        <a:cxn ang="0">
                          <a:pos x="T1" y="0"/>
                        </a:cxn>
                        <a:cxn ang="0">
                          <a:pos x="T2" y="0"/>
                        </a:cxn>
                      </a:cxnLst>
                      <a:rect l="0" t="0" r="r" b="b"/>
                      <a:pathLst>
                        <a:path w="1">
                          <a:moveTo>
                            <a:pt x="1" y="0"/>
                          </a:move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0" y="0"/>
                            <a:pt x="0" y="0"/>
                            <a:pt x="1" y="0"/>
                          </a:cubicBezTo>
                          <a:close/>
                        </a:path>
                      </a:pathLst>
                    </a:custGeom>
                    <a:solidFill>
                      <a:srgbClr val="FFD60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43" name="Freeform 42"/>
                    <p:cNvSpPr>
                      <a:spLocks/>
                    </p:cNvSpPr>
                    <p:nvPr/>
                  </p:nvSpPr>
                  <p:spPr bwMode="auto">
                    <a:xfrm>
                      <a:off x="6068980" y="1510531"/>
                      <a:ext cx="0" cy="0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>
                          <a:moveTo>
                            <a:pt x="0" y="0"/>
                          </a:move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FFD60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44" name="Freeform 43"/>
                    <p:cNvSpPr>
                      <a:spLocks/>
                    </p:cNvSpPr>
                    <p:nvPr/>
                  </p:nvSpPr>
                  <p:spPr bwMode="auto">
                    <a:xfrm>
                      <a:off x="6073831" y="1503256"/>
                      <a:ext cx="0" cy="0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>
                          <a:moveTo>
                            <a:pt x="0" y="0"/>
                          </a:move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FFD60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45" name="Freeform 44"/>
                    <p:cNvSpPr>
                      <a:spLocks/>
                    </p:cNvSpPr>
                    <p:nvPr/>
                  </p:nvSpPr>
                  <p:spPr bwMode="auto">
                    <a:xfrm>
                      <a:off x="6068980" y="1515382"/>
                      <a:ext cx="0" cy="7276"/>
                    </a:xfrm>
                    <a:custGeom>
                      <a:avLst/>
                      <a:gdLst>
                        <a:gd name="T0" fmla="*/ 0 h 1"/>
                        <a:gd name="T1" fmla="*/ 1 h 1"/>
                        <a:gd name="T2" fmla="*/ 0 h 1"/>
                      </a:gdLst>
                      <a:ahLst/>
                      <a:cxnLst>
                        <a:cxn ang="0">
                          <a:pos x="0" y="T0"/>
                        </a:cxn>
                        <a:cxn ang="0">
                          <a:pos x="0" y="T1"/>
                        </a:cxn>
                        <a:cxn ang="0">
                          <a:pos x="0" y="T2"/>
                        </a:cxn>
                      </a:cxnLst>
                      <a:rect l="0" t="0" r="r" b="b"/>
                      <a:pathLst>
                        <a:path h="1">
                          <a:moveTo>
                            <a:pt x="0" y="0"/>
                          </a:moveTo>
                          <a:cubicBezTo>
                            <a:pt x="0" y="1"/>
                            <a:pt x="0" y="1"/>
                            <a:pt x="0" y="1"/>
                          </a:cubicBezTo>
                          <a:cubicBezTo>
                            <a:pt x="0" y="1"/>
                            <a:pt x="0" y="1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FFD60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46" name="Freeform 45"/>
                    <p:cNvSpPr>
                      <a:spLocks/>
                    </p:cNvSpPr>
                    <p:nvPr/>
                  </p:nvSpPr>
                  <p:spPr bwMode="auto">
                    <a:xfrm>
                      <a:off x="6035027" y="1469303"/>
                      <a:ext cx="446242" cy="402588"/>
                    </a:xfrm>
                    <a:custGeom>
                      <a:avLst/>
                      <a:gdLst>
                        <a:gd name="T0" fmla="*/ 74 w 78"/>
                        <a:gd name="T1" fmla="*/ 17 h 70"/>
                        <a:gd name="T2" fmla="*/ 72 w 78"/>
                        <a:gd name="T3" fmla="*/ 17 h 70"/>
                        <a:gd name="T4" fmla="*/ 72 w 78"/>
                        <a:gd name="T5" fmla="*/ 12 h 70"/>
                        <a:gd name="T6" fmla="*/ 72 w 78"/>
                        <a:gd name="T7" fmla="*/ 11 h 70"/>
                        <a:gd name="T8" fmla="*/ 72 w 78"/>
                        <a:gd name="T9" fmla="*/ 10 h 70"/>
                        <a:gd name="T10" fmla="*/ 72 w 78"/>
                        <a:gd name="T11" fmla="*/ 9 h 70"/>
                        <a:gd name="T12" fmla="*/ 72 w 78"/>
                        <a:gd name="T13" fmla="*/ 9 h 70"/>
                        <a:gd name="T14" fmla="*/ 71 w 78"/>
                        <a:gd name="T15" fmla="*/ 8 h 70"/>
                        <a:gd name="T16" fmla="*/ 71 w 78"/>
                        <a:gd name="T17" fmla="*/ 7 h 70"/>
                        <a:gd name="T18" fmla="*/ 71 w 78"/>
                        <a:gd name="T19" fmla="*/ 7 h 70"/>
                        <a:gd name="T20" fmla="*/ 70 w 78"/>
                        <a:gd name="T21" fmla="*/ 5 h 70"/>
                        <a:gd name="T22" fmla="*/ 70 w 78"/>
                        <a:gd name="T23" fmla="*/ 5 h 70"/>
                        <a:gd name="T24" fmla="*/ 70 w 78"/>
                        <a:gd name="T25" fmla="*/ 4 h 70"/>
                        <a:gd name="T26" fmla="*/ 69 w 78"/>
                        <a:gd name="T27" fmla="*/ 4 h 70"/>
                        <a:gd name="T28" fmla="*/ 69 w 78"/>
                        <a:gd name="T29" fmla="*/ 3 h 70"/>
                        <a:gd name="T30" fmla="*/ 69 w 78"/>
                        <a:gd name="T31" fmla="*/ 3 h 70"/>
                        <a:gd name="T32" fmla="*/ 63 w 78"/>
                        <a:gd name="T33" fmla="*/ 3 h 70"/>
                        <a:gd name="T34" fmla="*/ 52 w 78"/>
                        <a:gd name="T35" fmla="*/ 1 h 70"/>
                        <a:gd name="T36" fmla="*/ 32 w 78"/>
                        <a:gd name="T37" fmla="*/ 3 h 70"/>
                        <a:gd name="T38" fmla="*/ 10 w 78"/>
                        <a:gd name="T39" fmla="*/ 0 h 70"/>
                        <a:gd name="T40" fmla="*/ 7 w 78"/>
                        <a:gd name="T41" fmla="*/ 4 h 70"/>
                        <a:gd name="T42" fmla="*/ 7 w 78"/>
                        <a:gd name="T43" fmla="*/ 4 h 70"/>
                        <a:gd name="T44" fmla="*/ 7 w 78"/>
                        <a:gd name="T45" fmla="*/ 6 h 70"/>
                        <a:gd name="T46" fmla="*/ 7 w 78"/>
                        <a:gd name="T47" fmla="*/ 6 h 70"/>
                        <a:gd name="T48" fmla="*/ 6 w 78"/>
                        <a:gd name="T49" fmla="*/ 7 h 70"/>
                        <a:gd name="T50" fmla="*/ 6 w 78"/>
                        <a:gd name="T51" fmla="*/ 7 h 70"/>
                        <a:gd name="T52" fmla="*/ 6 w 78"/>
                        <a:gd name="T53" fmla="*/ 8 h 70"/>
                        <a:gd name="T54" fmla="*/ 6 w 78"/>
                        <a:gd name="T55" fmla="*/ 9 h 70"/>
                        <a:gd name="T56" fmla="*/ 6 w 78"/>
                        <a:gd name="T57" fmla="*/ 10 h 70"/>
                        <a:gd name="T58" fmla="*/ 5 w 78"/>
                        <a:gd name="T59" fmla="*/ 10 h 70"/>
                        <a:gd name="T60" fmla="*/ 5 w 78"/>
                        <a:gd name="T61" fmla="*/ 12 h 70"/>
                        <a:gd name="T62" fmla="*/ 5 w 78"/>
                        <a:gd name="T63" fmla="*/ 17 h 70"/>
                        <a:gd name="T64" fmla="*/ 4 w 78"/>
                        <a:gd name="T65" fmla="*/ 17 h 70"/>
                        <a:gd name="T66" fmla="*/ 0 w 78"/>
                        <a:gd name="T67" fmla="*/ 23 h 70"/>
                        <a:gd name="T68" fmla="*/ 0 w 78"/>
                        <a:gd name="T69" fmla="*/ 35 h 70"/>
                        <a:gd name="T70" fmla="*/ 5 w 78"/>
                        <a:gd name="T71" fmla="*/ 40 h 70"/>
                        <a:gd name="T72" fmla="*/ 24 w 78"/>
                        <a:gd name="T73" fmla="*/ 70 h 70"/>
                        <a:gd name="T74" fmla="*/ 53 w 78"/>
                        <a:gd name="T75" fmla="*/ 70 h 70"/>
                        <a:gd name="T76" fmla="*/ 72 w 78"/>
                        <a:gd name="T77" fmla="*/ 40 h 70"/>
                        <a:gd name="T78" fmla="*/ 78 w 78"/>
                        <a:gd name="T79" fmla="*/ 35 h 70"/>
                        <a:gd name="T80" fmla="*/ 78 w 78"/>
                        <a:gd name="T81" fmla="*/ 23 h 70"/>
                        <a:gd name="T82" fmla="*/ 74 w 78"/>
                        <a:gd name="T83" fmla="*/ 17 h 7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</a:cxnLst>
                      <a:rect l="0" t="0" r="r" b="b"/>
                      <a:pathLst>
                        <a:path w="78" h="70">
                          <a:moveTo>
                            <a:pt x="74" y="17"/>
                          </a:moveTo>
                          <a:cubicBezTo>
                            <a:pt x="73" y="17"/>
                            <a:pt x="73" y="17"/>
                            <a:pt x="72" y="17"/>
                          </a:cubicBezTo>
                          <a:cubicBezTo>
                            <a:pt x="72" y="12"/>
                            <a:pt x="72" y="12"/>
                            <a:pt x="72" y="12"/>
                          </a:cubicBezTo>
                          <a:cubicBezTo>
                            <a:pt x="72" y="12"/>
                            <a:pt x="72" y="11"/>
                            <a:pt x="72" y="11"/>
                          </a:cubicBezTo>
                          <a:cubicBezTo>
                            <a:pt x="72" y="10"/>
                            <a:pt x="72" y="10"/>
                            <a:pt x="72" y="10"/>
                          </a:cubicBezTo>
                          <a:cubicBezTo>
                            <a:pt x="72" y="10"/>
                            <a:pt x="72" y="9"/>
                            <a:pt x="72" y="9"/>
                          </a:cubicBezTo>
                          <a:cubicBezTo>
                            <a:pt x="72" y="9"/>
                            <a:pt x="72" y="9"/>
                            <a:pt x="72" y="9"/>
                          </a:cubicBezTo>
                          <a:cubicBezTo>
                            <a:pt x="71" y="8"/>
                            <a:pt x="71" y="8"/>
                            <a:pt x="71" y="8"/>
                          </a:cubicBezTo>
                          <a:cubicBezTo>
                            <a:pt x="71" y="8"/>
                            <a:pt x="71" y="7"/>
                            <a:pt x="71" y="7"/>
                          </a:cubicBezTo>
                          <a:cubicBezTo>
                            <a:pt x="71" y="7"/>
                            <a:pt x="71" y="7"/>
                            <a:pt x="71" y="7"/>
                          </a:cubicBezTo>
                          <a:cubicBezTo>
                            <a:pt x="71" y="6"/>
                            <a:pt x="71" y="6"/>
                            <a:pt x="70" y="5"/>
                          </a:cubicBezTo>
                          <a:cubicBezTo>
                            <a:pt x="70" y="5"/>
                            <a:pt x="70" y="5"/>
                            <a:pt x="70" y="5"/>
                          </a:cubicBezTo>
                          <a:cubicBezTo>
                            <a:pt x="70" y="4"/>
                            <a:pt x="70" y="4"/>
                            <a:pt x="70" y="4"/>
                          </a:cubicBezTo>
                          <a:cubicBezTo>
                            <a:pt x="70" y="4"/>
                            <a:pt x="70" y="4"/>
                            <a:pt x="69" y="4"/>
                          </a:cubicBezTo>
                          <a:cubicBezTo>
                            <a:pt x="69" y="3"/>
                            <a:pt x="69" y="3"/>
                            <a:pt x="69" y="3"/>
                          </a:cubicBezTo>
                          <a:cubicBezTo>
                            <a:pt x="69" y="3"/>
                            <a:pt x="69" y="3"/>
                            <a:pt x="69" y="3"/>
                          </a:cubicBezTo>
                          <a:cubicBezTo>
                            <a:pt x="67" y="3"/>
                            <a:pt x="65" y="3"/>
                            <a:pt x="63" y="3"/>
                          </a:cubicBezTo>
                          <a:cubicBezTo>
                            <a:pt x="58" y="3"/>
                            <a:pt x="54" y="2"/>
                            <a:pt x="52" y="1"/>
                          </a:cubicBezTo>
                          <a:cubicBezTo>
                            <a:pt x="47" y="2"/>
                            <a:pt x="40" y="3"/>
                            <a:pt x="32" y="3"/>
                          </a:cubicBezTo>
                          <a:cubicBezTo>
                            <a:pt x="23" y="3"/>
                            <a:pt x="15" y="2"/>
                            <a:pt x="10" y="0"/>
                          </a:cubicBezTo>
                          <a:cubicBezTo>
                            <a:pt x="9" y="2"/>
                            <a:pt x="8" y="3"/>
                            <a:pt x="7" y="4"/>
                          </a:cubicBezTo>
                          <a:cubicBezTo>
                            <a:pt x="7" y="4"/>
                            <a:pt x="7" y="4"/>
                            <a:pt x="7" y="4"/>
                          </a:cubicBezTo>
                          <a:cubicBezTo>
                            <a:pt x="7" y="5"/>
                            <a:pt x="7" y="5"/>
                            <a:pt x="7" y="6"/>
                          </a:cubicBezTo>
                          <a:cubicBezTo>
                            <a:pt x="7" y="6"/>
                            <a:pt x="7" y="6"/>
                            <a:pt x="7" y="6"/>
                          </a:cubicBezTo>
                          <a:cubicBezTo>
                            <a:pt x="7" y="6"/>
                            <a:pt x="6" y="7"/>
                            <a:pt x="6" y="7"/>
                          </a:cubicBezTo>
                          <a:cubicBezTo>
                            <a:pt x="6" y="7"/>
                            <a:pt x="6" y="7"/>
                            <a:pt x="6" y="7"/>
                          </a:cubicBezTo>
                          <a:cubicBezTo>
                            <a:pt x="6" y="8"/>
                            <a:pt x="6" y="8"/>
                            <a:pt x="6" y="8"/>
                          </a:cubicBezTo>
                          <a:cubicBezTo>
                            <a:pt x="6" y="9"/>
                            <a:pt x="6" y="9"/>
                            <a:pt x="6" y="9"/>
                          </a:cubicBezTo>
                          <a:cubicBezTo>
                            <a:pt x="6" y="9"/>
                            <a:pt x="6" y="10"/>
                            <a:pt x="6" y="10"/>
                          </a:cubicBezTo>
                          <a:cubicBezTo>
                            <a:pt x="5" y="10"/>
                            <a:pt x="5" y="10"/>
                            <a:pt x="5" y="10"/>
                          </a:cubicBezTo>
                          <a:cubicBezTo>
                            <a:pt x="5" y="11"/>
                            <a:pt x="5" y="12"/>
                            <a:pt x="5" y="12"/>
                          </a:cubicBezTo>
                          <a:cubicBezTo>
                            <a:pt x="5" y="17"/>
                            <a:pt x="5" y="17"/>
                            <a:pt x="5" y="17"/>
                          </a:cubicBezTo>
                          <a:cubicBezTo>
                            <a:pt x="5" y="17"/>
                            <a:pt x="5" y="17"/>
                            <a:pt x="4" y="17"/>
                          </a:cubicBezTo>
                          <a:cubicBezTo>
                            <a:pt x="2" y="17"/>
                            <a:pt x="0" y="20"/>
                            <a:pt x="0" y="23"/>
                          </a:cubicBezTo>
                          <a:cubicBezTo>
                            <a:pt x="0" y="35"/>
                            <a:pt x="0" y="35"/>
                            <a:pt x="0" y="35"/>
                          </a:cubicBezTo>
                          <a:cubicBezTo>
                            <a:pt x="0" y="38"/>
                            <a:pt x="2" y="40"/>
                            <a:pt x="5" y="40"/>
                          </a:cubicBezTo>
                          <a:cubicBezTo>
                            <a:pt x="5" y="40"/>
                            <a:pt x="15" y="70"/>
                            <a:pt x="24" y="70"/>
                          </a:cubicBezTo>
                          <a:cubicBezTo>
                            <a:pt x="53" y="70"/>
                            <a:pt x="53" y="70"/>
                            <a:pt x="53" y="70"/>
                          </a:cubicBezTo>
                          <a:cubicBezTo>
                            <a:pt x="62" y="70"/>
                            <a:pt x="72" y="40"/>
                            <a:pt x="72" y="40"/>
                          </a:cubicBezTo>
                          <a:cubicBezTo>
                            <a:pt x="75" y="40"/>
                            <a:pt x="78" y="38"/>
                            <a:pt x="78" y="35"/>
                          </a:cubicBezTo>
                          <a:cubicBezTo>
                            <a:pt x="78" y="23"/>
                            <a:pt x="78" y="23"/>
                            <a:pt x="78" y="23"/>
                          </a:cubicBezTo>
                          <a:cubicBezTo>
                            <a:pt x="78" y="20"/>
                            <a:pt x="76" y="18"/>
                            <a:pt x="74" y="17"/>
                          </a:cubicBezTo>
                          <a:close/>
                        </a:path>
                      </a:pathLst>
                    </a:custGeom>
                    <a:solidFill>
                      <a:srgbClr val="FFB9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47" name="Oval 4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246021" y="2056209"/>
                      <a:ext cx="24252" cy="21828"/>
                    </a:xfrm>
                    <a:prstGeom prst="ellipse">
                      <a:avLst/>
                    </a:prstGeom>
                    <a:solidFill>
                      <a:srgbClr val="50505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48" name="Oval 4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246021" y="2136240"/>
                      <a:ext cx="24252" cy="16977"/>
                    </a:xfrm>
                    <a:prstGeom prst="ellipse">
                      <a:avLst/>
                    </a:prstGeom>
                    <a:solidFill>
                      <a:srgbClr val="50505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</p:grpSp>
            <p:grpSp>
              <p:nvGrpSpPr>
                <p:cNvPr id="11" name="Group 10"/>
                <p:cNvGrpSpPr/>
                <p:nvPr/>
              </p:nvGrpSpPr>
              <p:grpSpPr>
                <a:xfrm>
                  <a:off x="4429295" y="5207216"/>
                  <a:ext cx="4787916" cy="1664869"/>
                  <a:chOff x="5427663" y="3206750"/>
                  <a:chExt cx="1447800" cy="1123950"/>
                </a:xfrm>
              </p:grpSpPr>
              <p:sp>
                <p:nvSpPr>
                  <p:cNvPr id="12" name="Freeform 11"/>
                  <p:cNvSpPr>
                    <a:spLocks/>
                  </p:cNvSpPr>
                  <p:nvPr/>
                </p:nvSpPr>
                <p:spPr bwMode="auto">
                  <a:xfrm>
                    <a:off x="5478463" y="3830638"/>
                    <a:ext cx="55301" cy="460375"/>
                  </a:xfrm>
                  <a:custGeom>
                    <a:avLst/>
                    <a:gdLst>
                      <a:gd name="T0" fmla="*/ 0 w 213"/>
                      <a:gd name="T1" fmla="*/ 850 h 871"/>
                      <a:gd name="T2" fmla="*/ 0 w 213"/>
                      <a:gd name="T3" fmla="*/ 0 h 871"/>
                      <a:gd name="T4" fmla="*/ 213 w 213"/>
                      <a:gd name="T5" fmla="*/ 0 h 871"/>
                      <a:gd name="T6" fmla="*/ 213 w 213"/>
                      <a:gd name="T7" fmla="*/ 857 h 871"/>
                      <a:gd name="T8" fmla="*/ 165 w 213"/>
                      <a:gd name="T9" fmla="*/ 871 h 871"/>
                      <a:gd name="T10" fmla="*/ 111 w 213"/>
                      <a:gd name="T11" fmla="*/ 871 h 871"/>
                      <a:gd name="T12" fmla="*/ 56 w 213"/>
                      <a:gd name="T13" fmla="*/ 864 h 871"/>
                      <a:gd name="T14" fmla="*/ 0 w 213"/>
                      <a:gd name="T15" fmla="*/ 850 h 8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213" h="871">
                        <a:moveTo>
                          <a:pt x="0" y="850"/>
                        </a:moveTo>
                        <a:lnTo>
                          <a:pt x="0" y="0"/>
                        </a:lnTo>
                        <a:lnTo>
                          <a:pt x="213" y="0"/>
                        </a:lnTo>
                        <a:lnTo>
                          <a:pt x="213" y="857"/>
                        </a:lnTo>
                        <a:lnTo>
                          <a:pt x="165" y="871"/>
                        </a:lnTo>
                        <a:lnTo>
                          <a:pt x="111" y="871"/>
                        </a:lnTo>
                        <a:lnTo>
                          <a:pt x="56" y="864"/>
                        </a:lnTo>
                        <a:lnTo>
                          <a:pt x="0" y="850"/>
                        </a:lnTo>
                        <a:close/>
                      </a:path>
                    </a:pathLst>
                  </a:custGeom>
                  <a:solidFill>
                    <a:srgbClr val="B3B5B8"/>
                  </a:solidFill>
                  <a:ln>
                    <a:noFill/>
                  </a:ln>
                  <a:extLst>
                    <a:ext uri="{91240B29-F687-4f45-9708-019B960494DF}">
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defTabSz="932316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3" name="Freeform 12"/>
                  <p:cNvSpPr>
                    <a:spLocks/>
                  </p:cNvSpPr>
                  <p:nvPr/>
                </p:nvSpPr>
                <p:spPr bwMode="auto">
                  <a:xfrm>
                    <a:off x="5478463" y="4279900"/>
                    <a:ext cx="55301" cy="50800"/>
                  </a:xfrm>
                  <a:custGeom>
                    <a:avLst/>
                    <a:gdLst>
                      <a:gd name="T0" fmla="*/ 213 w 213"/>
                      <a:gd name="T1" fmla="*/ 7 h 96"/>
                      <a:gd name="T2" fmla="*/ 213 w 213"/>
                      <a:gd name="T3" fmla="*/ 56 h 96"/>
                      <a:gd name="T4" fmla="*/ 206 w 213"/>
                      <a:gd name="T5" fmla="*/ 69 h 96"/>
                      <a:gd name="T6" fmla="*/ 186 w 213"/>
                      <a:gd name="T7" fmla="*/ 83 h 96"/>
                      <a:gd name="T8" fmla="*/ 151 w 213"/>
                      <a:gd name="T9" fmla="*/ 89 h 96"/>
                      <a:gd name="T10" fmla="*/ 111 w 213"/>
                      <a:gd name="T11" fmla="*/ 96 h 96"/>
                      <a:gd name="T12" fmla="*/ 69 w 213"/>
                      <a:gd name="T13" fmla="*/ 89 h 96"/>
                      <a:gd name="T14" fmla="*/ 35 w 213"/>
                      <a:gd name="T15" fmla="*/ 83 h 96"/>
                      <a:gd name="T16" fmla="*/ 15 w 213"/>
                      <a:gd name="T17" fmla="*/ 69 h 96"/>
                      <a:gd name="T18" fmla="*/ 0 w 213"/>
                      <a:gd name="T19" fmla="*/ 56 h 96"/>
                      <a:gd name="T20" fmla="*/ 0 w 213"/>
                      <a:gd name="T21" fmla="*/ 0 h 96"/>
                      <a:gd name="T22" fmla="*/ 56 w 213"/>
                      <a:gd name="T23" fmla="*/ 14 h 96"/>
                      <a:gd name="T24" fmla="*/ 111 w 213"/>
                      <a:gd name="T25" fmla="*/ 21 h 96"/>
                      <a:gd name="T26" fmla="*/ 165 w 213"/>
                      <a:gd name="T27" fmla="*/ 21 h 96"/>
                      <a:gd name="T28" fmla="*/ 213 w 213"/>
                      <a:gd name="T29" fmla="*/ 7 h 9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213" h="96">
                        <a:moveTo>
                          <a:pt x="213" y="7"/>
                        </a:moveTo>
                        <a:lnTo>
                          <a:pt x="213" y="56"/>
                        </a:lnTo>
                        <a:lnTo>
                          <a:pt x="206" y="69"/>
                        </a:lnTo>
                        <a:lnTo>
                          <a:pt x="186" y="83"/>
                        </a:lnTo>
                        <a:lnTo>
                          <a:pt x="151" y="89"/>
                        </a:lnTo>
                        <a:lnTo>
                          <a:pt x="111" y="96"/>
                        </a:lnTo>
                        <a:lnTo>
                          <a:pt x="69" y="89"/>
                        </a:lnTo>
                        <a:lnTo>
                          <a:pt x="35" y="83"/>
                        </a:lnTo>
                        <a:lnTo>
                          <a:pt x="15" y="69"/>
                        </a:lnTo>
                        <a:lnTo>
                          <a:pt x="0" y="56"/>
                        </a:lnTo>
                        <a:lnTo>
                          <a:pt x="0" y="0"/>
                        </a:lnTo>
                        <a:lnTo>
                          <a:pt x="56" y="14"/>
                        </a:lnTo>
                        <a:lnTo>
                          <a:pt x="111" y="21"/>
                        </a:lnTo>
                        <a:lnTo>
                          <a:pt x="165" y="21"/>
                        </a:lnTo>
                        <a:lnTo>
                          <a:pt x="213" y="7"/>
                        </a:lnTo>
                        <a:close/>
                      </a:path>
                    </a:pathLst>
                  </a:custGeom>
                  <a:solidFill>
                    <a:srgbClr val="373D40"/>
                  </a:solidFill>
                  <a:ln>
                    <a:noFill/>
                  </a:ln>
                  <a:extLst>
                    <a:ext uri="{91240B29-F687-4f45-9708-019B960494DF}">
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defTabSz="932316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4" name="Freeform 13"/>
                  <p:cNvSpPr>
                    <a:spLocks/>
                  </p:cNvSpPr>
                  <p:nvPr/>
                </p:nvSpPr>
                <p:spPr bwMode="auto">
                  <a:xfrm>
                    <a:off x="6763308" y="3830638"/>
                    <a:ext cx="55301" cy="460375"/>
                  </a:xfrm>
                  <a:custGeom>
                    <a:avLst/>
                    <a:gdLst>
                      <a:gd name="T0" fmla="*/ 7 w 220"/>
                      <a:gd name="T1" fmla="*/ 850 h 871"/>
                      <a:gd name="T2" fmla="*/ 0 w 220"/>
                      <a:gd name="T3" fmla="*/ 0 h 871"/>
                      <a:gd name="T4" fmla="*/ 213 w 220"/>
                      <a:gd name="T5" fmla="*/ 0 h 871"/>
                      <a:gd name="T6" fmla="*/ 220 w 220"/>
                      <a:gd name="T7" fmla="*/ 857 h 871"/>
                      <a:gd name="T8" fmla="*/ 164 w 220"/>
                      <a:gd name="T9" fmla="*/ 871 h 871"/>
                      <a:gd name="T10" fmla="*/ 110 w 220"/>
                      <a:gd name="T11" fmla="*/ 871 h 871"/>
                      <a:gd name="T12" fmla="*/ 55 w 220"/>
                      <a:gd name="T13" fmla="*/ 864 h 871"/>
                      <a:gd name="T14" fmla="*/ 7 w 220"/>
                      <a:gd name="T15" fmla="*/ 850 h 8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220" h="871">
                        <a:moveTo>
                          <a:pt x="7" y="850"/>
                        </a:moveTo>
                        <a:lnTo>
                          <a:pt x="0" y="0"/>
                        </a:lnTo>
                        <a:lnTo>
                          <a:pt x="213" y="0"/>
                        </a:lnTo>
                        <a:lnTo>
                          <a:pt x="220" y="857"/>
                        </a:lnTo>
                        <a:lnTo>
                          <a:pt x="164" y="871"/>
                        </a:lnTo>
                        <a:lnTo>
                          <a:pt x="110" y="871"/>
                        </a:lnTo>
                        <a:lnTo>
                          <a:pt x="55" y="864"/>
                        </a:lnTo>
                        <a:lnTo>
                          <a:pt x="7" y="850"/>
                        </a:lnTo>
                        <a:close/>
                      </a:path>
                    </a:pathLst>
                  </a:custGeom>
                  <a:solidFill>
                    <a:srgbClr val="B3B5B8"/>
                  </a:solidFill>
                  <a:ln>
                    <a:noFill/>
                  </a:ln>
                  <a:extLst>
                    <a:ext uri="{91240B29-F687-4f45-9708-019B960494DF}">
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defTabSz="932316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5" name="Freeform 14"/>
                  <p:cNvSpPr>
                    <a:spLocks/>
                  </p:cNvSpPr>
                  <p:nvPr/>
                </p:nvSpPr>
                <p:spPr bwMode="auto">
                  <a:xfrm>
                    <a:off x="6768070" y="4279900"/>
                    <a:ext cx="55301" cy="50800"/>
                  </a:xfrm>
                  <a:custGeom>
                    <a:avLst/>
                    <a:gdLst>
                      <a:gd name="T0" fmla="*/ 213 w 213"/>
                      <a:gd name="T1" fmla="*/ 7 h 96"/>
                      <a:gd name="T2" fmla="*/ 213 w 213"/>
                      <a:gd name="T3" fmla="*/ 56 h 96"/>
                      <a:gd name="T4" fmla="*/ 199 w 213"/>
                      <a:gd name="T5" fmla="*/ 69 h 96"/>
                      <a:gd name="T6" fmla="*/ 179 w 213"/>
                      <a:gd name="T7" fmla="*/ 83 h 96"/>
                      <a:gd name="T8" fmla="*/ 144 w 213"/>
                      <a:gd name="T9" fmla="*/ 89 h 96"/>
                      <a:gd name="T10" fmla="*/ 103 w 213"/>
                      <a:gd name="T11" fmla="*/ 96 h 96"/>
                      <a:gd name="T12" fmla="*/ 62 w 213"/>
                      <a:gd name="T13" fmla="*/ 89 h 96"/>
                      <a:gd name="T14" fmla="*/ 28 w 213"/>
                      <a:gd name="T15" fmla="*/ 83 h 96"/>
                      <a:gd name="T16" fmla="*/ 8 w 213"/>
                      <a:gd name="T17" fmla="*/ 69 h 96"/>
                      <a:gd name="T18" fmla="*/ 0 w 213"/>
                      <a:gd name="T19" fmla="*/ 56 h 96"/>
                      <a:gd name="T20" fmla="*/ 0 w 213"/>
                      <a:gd name="T21" fmla="*/ 0 h 96"/>
                      <a:gd name="T22" fmla="*/ 48 w 213"/>
                      <a:gd name="T23" fmla="*/ 14 h 96"/>
                      <a:gd name="T24" fmla="*/ 103 w 213"/>
                      <a:gd name="T25" fmla="*/ 21 h 96"/>
                      <a:gd name="T26" fmla="*/ 157 w 213"/>
                      <a:gd name="T27" fmla="*/ 21 h 96"/>
                      <a:gd name="T28" fmla="*/ 213 w 213"/>
                      <a:gd name="T29" fmla="*/ 7 h 9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213" h="96">
                        <a:moveTo>
                          <a:pt x="213" y="7"/>
                        </a:moveTo>
                        <a:lnTo>
                          <a:pt x="213" y="56"/>
                        </a:lnTo>
                        <a:lnTo>
                          <a:pt x="199" y="69"/>
                        </a:lnTo>
                        <a:lnTo>
                          <a:pt x="179" y="83"/>
                        </a:lnTo>
                        <a:lnTo>
                          <a:pt x="144" y="89"/>
                        </a:lnTo>
                        <a:lnTo>
                          <a:pt x="103" y="96"/>
                        </a:lnTo>
                        <a:lnTo>
                          <a:pt x="62" y="89"/>
                        </a:lnTo>
                        <a:lnTo>
                          <a:pt x="28" y="83"/>
                        </a:lnTo>
                        <a:lnTo>
                          <a:pt x="8" y="69"/>
                        </a:lnTo>
                        <a:lnTo>
                          <a:pt x="0" y="56"/>
                        </a:lnTo>
                        <a:lnTo>
                          <a:pt x="0" y="0"/>
                        </a:lnTo>
                        <a:lnTo>
                          <a:pt x="48" y="14"/>
                        </a:lnTo>
                        <a:lnTo>
                          <a:pt x="103" y="21"/>
                        </a:lnTo>
                        <a:lnTo>
                          <a:pt x="157" y="21"/>
                        </a:lnTo>
                        <a:lnTo>
                          <a:pt x="213" y="7"/>
                        </a:lnTo>
                        <a:close/>
                      </a:path>
                    </a:pathLst>
                  </a:custGeom>
                  <a:solidFill>
                    <a:srgbClr val="373D40"/>
                  </a:solidFill>
                  <a:ln>
                    <a:noFill/>
                  </a:ln>
                  <a:extLst>
                    <a:ext uri="{91240B29-F687-4f45-9708-019B960494DF}">
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defTabSz="932316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6" name="Rectangle 15"/>
                  <p:cNvSpPr>
                    <a:spLocks noChangeArrowheads="1"/>
                  </p:cNvSpPr>
                  <p:nvPr/>
                </p:nvSpPr>
                <p:spPr bwMode="auto">
                  <a:xfrm>
                    <a:off x="5453063" y="3387725"/>
                    <a:ext cx="1397000" cy="866775"/>
                  </a:xfrm>
                  <a:prstGeom prst="rect">
                    <a:avLst/>
                  </a:prstGeom>
                  <a:solidFill>
                    <a:srgbClr val="96683C"/>
                  </a:solidFill>
                  <a:ln>
                    <a:noFill/>
                  </a:ln>
                  <a:extLst>
                    <a:ext uri="{91240B29-F687-4f45-9708-019B960494DF}">
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defTabSz="932316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7" name="Freeform 16"/>
                  <p:cNvSpPr>
                    <a:spLocks/>
                  </p:cNvSpPr>
                  <p:nvPr/>
                </p:nvSpPr>
                <p:spPr bwMode="auto">
                  <a:xfrm>
                    <a:off x="6043613" y="3976688"/>
                    <a:ext cx="806450" cy="277813"/>
                  </a:xfrm>
                  <a:custGeom>
                    <a:avLst/>
                    <a:gdLst>
                      <a:gd name="T0" fmla="*/ 480 w 1522"/>
                      <a:gd name="T1" fmla="*/ 171 h 527"/>
                      <a:gd name="T2" fmla="*/ 356 w 1522"/>
                      <a:gd name="T3" fmla="*/ 226 h 527"/>
                      <a:gd name="T4" fmla="*/ 287 w 1522"/>
                      <a:gd name="T5" fmla="*/ 253 h 527"/>
                      <a:gd name="T6" fmla="*/ 220 w 1522"/>
                      <a:gd name="T7" fmla="*/ 294 h 527"/>
                      <a:gd name="T8" fmla="*/ 151 w 1522"/>
                      <a:gd name="T9" fmla="*/ 336 h 527"/>
                      <a:gd name="T10" fmla="*/ 89 w 1522"/>
                      <a:gd name="T11" fmla="*/ 391 h 527"/>
                      <a:gd name="T12" fmla="*/ 34 w 1522"/>
                      <a:gd name="T13" fmla="*/ 452 h 527"/>
                      <a:gd name="T14" fmla="*/ 14 w 1522"/>
                      <a:gd name="T15" fmla="*/ 486 h 527"/>
                      <a:gd name="T16" fmla="*/ 0 w 1522"/>
                      <a:gd name="T17" fmla="*/ 527 h 527"/>
                      <a:gd name="T18" fmla="*/ 1522 w 1522"/>
                      <a:gd name="T19" fmla="*/ 527 h 527"/>
                      <a:gd name="T20" fmla="*/ 1522 w 1522"/>
                      <a:gd name="T21" fmla="*/ 136 h 527"/>
                      <a:gd name="T22" fmla="*/ 1466 w 1522"/>
                      <a:gd name="T23" fmla="*/ 102 h 527"/>
                      <a:gd name="T24" fmla="*/ 1406 w 1522"/>
                      <a:gd name="T25" fmla="*/ 75 h 527"/>
                      <a:gd name="T26" fmla="*/ 1344 w 1522"/>
                      <a:gd name="T27" fmla="*/ 54 h 527"/>
                      <a:gd name="T28" fmla="*/ 1282 w 1522"/>
                      <a:gd name="T29" fmla="*/ 34 h 527"/>
                      <a:gd name="T30" fmla="*/ 1220 w 1522"/>
                      <a:gd name="T31" fmla="*/ 20 h 527"/>
                      <a:gd name="T32" fmla="*/ 1151 w 1522"/>
                      <a:gd name="T33" fmla="*/ 7 h 527"/>
                      <a:gd name="T34" fmla="*/ 1090 w 1522"/>
                      <a:gd name="T35" fmla="*/ 7 h 527"/>
                      <a:gd name="T36" fmla="*/ 1022 w 1522"/>
                      <a:gd name="T37" fmla="*/ 0 h 527"/>
                      <a:gd name="T38" fmla="*/ 953 w 1522"/>
                      <a:gd name="T39" fmla="*/ 7 h 527"/>
                      <a:gd name="T40" fmla="*/ 884 w 1522"/>
                      <a:gd name="T41" fmla="*/ 13 h 527"/>
                      <a:gd name="T42" fmla="*/ 816 w 1522"/>
                      <a:gd name="T43" fmla="*/ 27 h 527"/>
                      <a:gd name="T44" fmla="*/ 747 w 1522"/>
                      <a:gd name="T45" fmla="*/ 47 h 527"/>
                      <a:gd name="T46" fmla="*/ 678 w 1522"/>
                      <a:gd name="T47" fmla="*/ 69 h 527"/>
                      <a:gd name="T48" fmla="*/ 609 w 1522"/>
                      <a:gd name="T49" fmla="*/ 96 h 527"/>
                      <a:gd name="T50" fmla="*/ 549 w 1522"/>
                      <a:gd name="T51" fmla="*/ 129 h 527"/>
                      <a:gd name="T52" fmla="*/ 480 w 1522"/>
                      <a:gd name="T53" fmla="*/ 171 h 52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</a:cxnLst>
                    <a:rect l="0" t="0" r="r" b="b"/>
                    <a:pathLst>
                      <a:path w="1522" h="527">
                        <a:moveTo>
                          <a:pt x="480" y="171"/>
                        </a:moveTo>
                        <a:lnTo>
                          <a:pt x="356" y="226"/>
                        </a:lnTo>
                        <a:lnTo>
                          <a:pt x="287" y="253"/>
                        </a:lnTo>
                        <a:lnTo>
                          <a:pt x="220" y="294"/>
                        </a:lnTo>
                        <a:lnTo>
                          <a:pt x="151" y="336"/>
                        </a:lnTo>
                        <a:lnTo>
                          <a:pt x="89" y="391"/>
                        </a:lnTo>
                        <a:lnTo>
                          <a:pt x="34" y="452"/>
                        </a:lnTo>
                        <a:lnTo>
                          <a:pt x="14" y="486"/>
                        </a:lnTo>
                        <a:lnTo>
                          <a:pt x="0" y="527"/>
                        </a:lnTo>
                        <a:lnTo>
                          <a:pt x="1522" y="527"/>
                        </a:lnTo>
                        <a:lnTo>
                          <a:pt x="1522" y="136"/>
                        </a:lnTo>
                        <a:lnTo>
                          <a:pt x="1466" y="102"/>
                        </a:lnTo>
                        <a:lnTo>
                          <a:pt x="1406" y="75"/>
                        </a:lnTo>
                        <a:lnTo>
                          <a:pt x="1344" y="54"/>
                        </a:lnTo>
                        <a:lnTo>
                          <a:pt x="1282" y="34"/>
                        </a:lnTo>
                        <a:lnTo>
                          <a:pt x="1220" y="20"/>
                        </a:lnTo>
                        <a:lnTo>
                          <a:pt x="1151" y="7"/>
                        </a:lnTo>
                        <a:lnTo>
                          <a:pt x="1090" y="7"/>
                        </a:lnTo>
                        <a:lnTo>
                          <a:pt x="1022" y="0"/>
                        </a:lnTo>
                        <a:lnTo>
                          <a:pt x="953" y="7"/>
                        </a:lnTo>
                        <a:lnTo>
                          <a:pt x="884" y="13"/>
                        </a:lnTo>
                        <a:lnTo>
                          <a:pt x="816" y="27"/>
                        </a:lnTo>
                        <a:lnTo>
                          <a:pt x="747" y="47"/>
                        </a:lnTo>
                        <a:lnTo>
                          <a:pt x="678" y="69"/>
                        </a:lnTo>
                        <a:lnTo>
                          <a:pt x="609" y="96"/>
                        </a:lnTo>
                        <a:lnTo>
                          <a:pt x="549" y="129"/>
                        </a:lnTo>
                        <a:lnTo>
                          <a:pt x="480" y="171"/>
                        </a:lnTo>
                        <a:close/>
                      </a:path>
                    </a:pathLst>
                  </a:custGeom>
                  <a:solidFill>
                    <a:srgbClr val="A47A4E"/>
                  </a:solidFill>
                  <a:ln>
                    <a:noFill/>
                  </a:ln>
                  <a:extLst>
                    <a:ext uri="{91240B29-F687-4f45-9708-019B960494DF}">
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defTabSz="932316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8" name="Rectangle 17"/>
                  <p:cNvSpPr>
                    <a:spLocks noChangeArrowheads="1"/>
                  </p:cNvSpPr>
                  <p:nvPr/>
                </p:nvSpPr>
                <p:spPr bwMode="auto">
                  <a:xfrm>
                    <a:off x="5427663" y="3348038"/>
                    <a:ext cx="1447800" cy="307975"/>
                  </a:xfrm>
                  <a:prstGeom prst="rect">
                    <a:avLst/>
                  </a:prstGeom>
                  <a:solidFill>
                    <a:srgbClr val="A1774C"/>
                  </a:solidFill>
                  <a:ln>
                    <a:noFill/>
                  </a:ln>
                  <a:extLst>
                    <a:ext uri="{91240B29-F687-4f45-9708-019B960494DF}">
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defTabSz="932316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9" name="Freeform 18"/>
                  <p:cNvSpPr>
                    <a:spLocks/>
                  </p:cNvSpPr>
                  <p:nvPr/>
                </p:nvSpPr>
                <p:spPr bwMode="auto">
                  <a:xfrm>
                    <a:off x="5427663" y="3206750"/>
                    <a:ext cx="1447800" cy="141288"/>
                  </a:xfrm>
                  <a:custGeom>
                    <a:avLst/>
                    <a:gdLst>
                      <a:gd name="T0" fmla="*/ 0 w 2735"/>
                      <a:gd name="T1" fmla="*/ 267 h 267"/>
                      <a:gd name="T2" fmla="*/ 2735 w 2735"/>
                      <a:gd name="T3" fmla="*/ 267 h 267"/>
                      <a:gd name="T4" fmla="*/ 2331 w 2735"/>
                      <a:gd name="T5" fmla="*/ 0 h 267"/>
                      <a:gd name="T6" fmla="*/ 424 w 2735"/>
                      <a:gd name="T7" fmla="*/ 0 h 267"/>
                      <a:gd name="T8" fmla="*/ 0 w 2735"/>
                      <a:gd name="T9" fmla="*/ 267 h 2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735" h="267">
                        <a:moveTo>
                          <a:pt x="0" y="267"/>
                        </a:moveTo>
                        <a:lnTo>
                          <a:pt x="2735" y="267"/>
                        </a:lnTo>
                        <a:lnTo>
                          <a:pt x="2331" y="0"/>
                        </a:lnTo>
                        <a:lnTo>
                          <a:pt x="424" y="0"/>
                        </a:lnTo>
                        <a:lnTo>
                          <a:pt x="0" y="267"/>
                        </a:lnTo>
                        <a:close/>
                      </a:path>
                    </a:pathLst>
                  </a:custGeom>
                  <a:solidFill>
                    <a:srgbClr val="BA9972"/>
                  </a:solidFill>
                  <a:ln>
                    <a:noFill/>
                  </a:ln>
                  <a:extLst>
                    <a:ext uri="{91240B29-F687-4f45-9708-019B960494DF}">
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defTabSz="932316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20" name="Freeform 19"/>
                  <p:cNvSpPr>
                    <a:spLocks/>
                  </p:cNvSpPr>
                  <p:nvPr/>
                </p:nvSpPr>
                <p:spPr bwMode="auto">
                  <a:xfrm>
                    <a:off x="5430838" y="3344863"/>
                    <a:ext cx="1397000" cy="246063"/>
                  </a:xfrm>
                  <a:custGeom>
                    <a:avLst/>
                    <a:gdLst>
                      <a:gd name="T0" fmla="*/ 0 w 2640"/>
                      <a:gd name="T1" fmla="*/ 0 h 466"/>
                      <a:gd name="T2" fmla="*/ 2640 w 2640"/>
                      <a:gd name="T3" fmla="*/ 0 h 466"/>
                      <a:gd name="T4" fmla="*/ 69 w 2640"/>
                      <a:gd name="T5" fmla="*/ 62 h 466"/>
                      <a:gd name="T6" fmla="*/ 7 w 2640"/>
                      <a:gd name="T7" fmla="*/ 466 h 466"/>
                      <a:gd name="T8" fmla="*/ 0 w 2640"/>
                      <a:gd name="T9" fmla="*/ 0 h 46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640" h="466">
                        <a:moveTo>
                          <a:pt x="0" y="0"/>
                        </a:moveTo>
                        <a:lnTo>
                          <a:pt x="2640" y="0"/>
                        </a:lnTo>
                        <a:lnTo>
                          <a:pt x="69" y="62"/>
                        </a:lnTo>
                        <a:lnTo>
                          <a:pt x="7" y="466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C7AC8A"/>
                  </a:solidFill>
                  <a:ln>
                    <a:noFill/>
                  </a:ln>
                  <a:extLst>
                    <a:ext uri="{91240B29-F687-4f45-9708-019B960494DF}">
                      <a14:hiddenLine xmlns:mc="http://schemas.openxmlformats.org/markup-compatibility/2006" xmlns:mv="urn:schemas-microsoft-com:mac:vml" xmlns:a14="http://schemas.microsoft.com/office/drawing/2010/main" xmlns="" xmlns:lc="http://schemas.openxmlformats.org/drawingml/2006/lockedCanvas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defTabSz="932316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</p:grpSp>
        </p:grpSp>
      </p:grpSp>
      <p:pic>
        <p:nvPicPr>
          <p:cNvPr id="376" name="Picture 37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66471" y="830915"/>
            <a:ext cx="1473750" cy="607500"/>
          </a:xfrm>
          <a:prstGeom prst="rect">
            <a:avLst/>
          </a:prstGeom>
        </p:spPr>
      </p:pic>
      <p:pic>
        <p:nvPicPr>
          <p:cNvPr id="378" name="Picture 37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26976" y="4706863"/>
            <a:ext cx="1334465" cy="1691358"/>
          </a:xfrm>
          <a:prstGeom prst="rect">
            <a:avLst/>
          </a:prstGeom>
        </p:spPr>
      </p:pic>
      <p:grpSp>
        <p:nvGrpSpPr>
          <p:cNvPr id="398" name="Group 397"/>
          <p:cNvGrpSpPr/>
          <p:nvPr/>
        </p:nvGrpSpPr>
        <p:grpSpPr>
          <a:xfrm>
            <a:off x="8407675" y="1691667"/>
            <a:ext cx="1033272" cy="1029675"/>
            <a:chOff x="8407675" y="1691667"/>
            <a:chExt cx="1033272" cy="1029675"/>
          </a:xfrm>
        </p:grpSpPr>
        <p:sp>
          <p:nvSpPr>
            <p:cNvPr id="395" name="Rectangle 394"/>
            <p:cNvSpPr/>
            <p:nvPr/>
          </p:nvSpPr>
          <p:spPr>
            <a:xfrm>
              <a:off x="8407675" y="1691667"/>
              <a:ext cx="1033272" cy="1029675"/>
            </a:xfrm>
            <a:prstGeom prst="rect">
              <a:avLst/>
            </a:prstGeom>
            <a:solidFill>
              <a:srgbClr val="DADF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6" name="Oval 395"/>
            <p:cNvSpPr/>
            <p:nvPr/>
          </p:nvSpPr>
          <p:spPr>
            <a:xfrm>
              <a:off x="8424721" y="1696786"/>
              <a:ext cx="999181" cy="999181"/>
            </a:xfrm>
            <a:prstGeom prst="ellipse">
              <a:avLst/>
            </a:prstGeom>
            <a:solidFill>
              <a:srgbClr val="ADD4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/>
            </a:p>
          </p:txBody>
        </p:sp>
      </p:grpSp>
      <p:pic>
        <p:nvPicPr>
          <p:cNvPr id="380" name="Picture 37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218" y="3659603"/>
            <a:ext cx="6388621" cy="2350013"/>
          </a:xfrm>
          <a:prstGeom prst="rect">
            <a:avLst/>
          </a:prstGeom>
        </p:spPr>
      </p:pic>
      <p:grpSp>
        <p:nvGrpSpPr>
          <p:cNvPr id="383" name="Group 382"/>
          <p:cNvGrpSpPr/>
          <p:nvPr/>
        </p:nvGrpSpPr>
        <p:grpSpPr>
          <a:xfrm>
            <a:off x="726006" y="5615729"/>
            <a:ext cx="2075545" cy="551542"/>
            <a:chOff x="726006" y="5615729"/>
            <a:chExt cx="2075545" cy="551542"/>
          </a:xfrm>
        </p:grpSpPr>
        <p:sp>
          <p:nvSpPr>
            <p:cNvPr id="382" name="Rectangle 381"/>
            <p:cNvSpPr/>
            <p:nvPr/>
          </p:nvSpPr>
          <p:spPr>
            <a:xfrm>
              <a:off x="726006" y="5615729"/>
              <a:ext cx="2075545" cy="551542"/>
            </a:xfrm>
            <a:prstGeom prst="rect">
              <a:avLst/>
            </a:prstGeom>
            <a:solidFill>
              <a:srgbClr val="ECF0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81" name="Picture 380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441" t="20060" r="8523" b="21876"/>
            <a:stretch/>
          </p:blipFill>
          <p:spPr>
            <a:xfrm>
              <a:off x="726007" y="5615729"/>
              <a:ext cx="2075544" cy="551542"/>
            </a:xfrm>
            <a:prstGeom prst="rect">
              <a:avLst/>
            </a:prstGeom>
            <a:ln>
              <a:noFill/>
            </a:ln>
          </p:spPr>
        </p:pic>
      </p:grpSp>
      <p:grpSp>
        <p:nvGrpSpPr>
          <p:cNvPr id="384" name="Group 383"/>
          <p:cNvGrpSpPr/>
          <p:nvPr/>
        </p:nvGrpSpPr>
        <p:grpSpPr>
          <a:xfrm>
            <a:off x="1072544" y="304755"/>
            <a:ext cx="2075545" cy="551542"/>
            <a:chOff x="726006" y="5615729"/>
            <a:chExt cx="2075545" cy="551542"/>
          </a:xfrm>
        </p:grpSpPr>
        <p:sp>
          <p:nvSpPr>
            <p:cNvPr id="385" name="Rectangle 384"/>
            <p:cNvSpPr/>
            <p:nvPr/>
          </p:nvSpPr>
          <p:spPr>
            <a:xfrm>
              <a:off x="726006" y="5615729"/>
              <a:ext cx="2075545" cy="551542"/>
            </a:xfrm>
            <a:prstGeom prst="rect">
              <a:avLst/>
            </a:prstGeom>
            <a:solidFill>
              <a:srgbClr val="D9DF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86" name="Picture 385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441" t="20060" r="8523" b="21876"/>
            <a:stretch/>
          </p:blipFill>
          <p:spPr>
            <a:xfrm>
              <a:off x="726007" y="5615729"/>
              <a:ext cx="2075544" cy="551542"/>
            </a:xfrm>
            <a:prstGeom prst="rect">
              <a:avLst/>
            </a:prstGeom>
            <a:ln>
              <a:noFill/>
            </a:ln>
          </p:spPr>
        </p:pic>
      </p:grpSp>
      <p:grpSp>
        <p:nvGrpSpPr>
          <p:cNvPr id="246" name="Group 245"/>
          <p:cNvGrpSpPr/>
          <p:nvPr/>
        </p:nvGrpSpPr>
        <p:grpSpPr>
          <a:xfrm>
            <a:off x="10261789" y="699717"/>
            <a:ext cx="1452774" cy="2793003"/>
            <a:chOff x="10523759" y="4185437"/>
            <a:chExt cx="1250567" cy="2404251"/>
          </a:xfrm>
        </p:grpSpPr>
        <p:grpSp>
          <p:nvGrpSpPr>
            <p:cNvPr id="247" name="Group 246"/>
            <p:cNvGrpSpPr/>
            <p:nvPr/>
          </p:nvGrpSpPr>
          <p:grpSpPr>
            <a:xfrm>
              <a:off x="10752802" y="4185437"/>
              <a:ext cx="865445" cy="2404251"/>
              <a:chOff x="11163443" y="1019300"/>
              <a:chExt cx="928687" cy="2579938"/>
            </a:xfrm>
          </p:grpSpPr>
          <p:grpSp>
            <p:nvGrpSpPr>
              <p:cNvPr id="361" name="Group 360"/>
              <p:cNvGrpSpPr/>
              <p:nvPr/>
            </p:nvGrpSpPr>
            <p:grpSpPr>
              <a:xfrm flipH="1">
                <a:off x="11163443" y="1505138"/>
                <a:ext cx="238124" cy="1002506"/>
                <a:chOff x="6437822" y="1926236"/>
                <a:chExt cx="238124" cy="1002506"/>
              </a:xfrm>
            </p:grpSpPr>
            <p:sp>
              <p:nvSpPr>
                <p:cNvPr id="372" name="Rounded Rectangle 371"/>
                <p:cNvSpPr/>
                <p:nvPr/>
              </p:nvSpPr>
              <p:spPr bwMode="auto">
                <a:xfrm>
                  <a:off x="6552349" y="2757292"/>
                  <a:ext cx="106928" cy="171450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FFC000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472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373" name="Freeform 372"/>
                <p:cNvSpPr/>
                <p:nvPr/>
              </p:nvSpPr>
              <p:spPr bwMode="auto">
                <a:xfrm>
                  <a:off x="6437822" y="1926236"/>
                  <a:ext cx="238124" cy="895350"/>
                </a:xfrm>
                <a:custGeom>
                  <a:avLst/>
                  <a:gdLst>
                    <a:gd name="connsiteX0" fmla="*/ 7144 w 238125"/>
                    <a:gd name="connsiteY0" fmla="*/ 0 h 833437"/>
                    <a:gd name="connsiteX1" fmla="*/ 238125 w 238125"/>
                    <a:gd name="connsiteY1" fmla="*/ 833437 h 833437"/>
                    <a:gd name="connsiteX2" fmla="*/ 109537 w 238125"/>
                    <a:gd name="connsiteY2" fmla="*/ 833437 h 833437"/>
                    <a:gd name="connsiteX3" fmla="*/ 0 w 238125"/>
                    <a:gd name="connsiteY3" fmla="*/ 361950 h 833437"/>
                    <a:gd name="connsiteX4" fmla="*/ 7144 w 238125"/>
                    <a:gd name="connsiteY4" fmla="*/ 0 h 833437"/>
                    <a:gd name="connsiteX0" fmla="*/ 7144 w 238125"/>
                    <a:gd name="connsiteY0" fmla="*/ 0 h 833437"/>
                    <a:gd name="connsiteX1" fmla="*/ 238125 w 238125"/>
                    <a:gd name="connsiteY1" fmla="*/ 833437 h 833437"/>
                    <a:gd name="connsiteX2" fmla="*/ 109537 w 238125"/>
                    <a:gd name="connsiteY2" fmla="*/ 833437 h 833437"/>
                    <a:gd name="connsiteX3" fmla="*/ 0 w 238125"/>
                    <a:gd name="connsiteY3" fmla="*/ 361950 h 833437"/>
                    <a:gd name="connsiteX4" fmla="*/ 7144 w 238125"/>
                    <a:gd name="connsiteY4" fmla="*/ 0 h 833437"/>
                    <a:gd name="connsiteX0" fmla="*/ 7144 w 238125"/>
                    <a:gd name="connsiteY0" fmla="*/ 0 h 833437"/>
                    <a:gd name="connsiteX1" fmla="*/ 238125 w 238125"/>
                    <a:gd name="connsiteY1" fmla="*/ 833437 h 833437"/>
                    <a:gd name="connsiteX2" fmla="*/ 109537 w 238125"/>
                    <a:gd name="connsiteY2" fmla="*/ 833437 h 833437"/>
                    <a:gd name="connsiteX3" fmla="*/ 0 w 238125"/>
                    <a:gd name="connsiteY3" fmla="*/ 361950 h 833437"/>
                    <a:gd name="connsiteX4" fmla="*/ 7144 w 238125"/>
                    <a:gd name="connsiteY4" fmla="*/ 0 h 833437"/>
                    <a:gd name="connsiteX0" fmla="*/ 7144 w 238125"/>
                    <a:gd name="connsiteY0" fmla="*/ 0 h 833437"/>
                    <a:gd name="connsiteX1" fmla="*/ 238125 w 238125"/>
                    <a:gd name="connsiteY1" fmla="*/ 833437 h 833437"/>
                    <a:gd name="connsiteX2" fmla="*/ 109537 w 238125"/>
                    <a:gd name="connsiteY2" fmla="*/ 833437 h 833437"/>
                    <a:gd name="connsiteX3" fmla="*/ 0 w 238125"/>
                    <a:gd name="connsiteY3" fmla="*/ 361950 h 833437"/>
                    <a:gd name="connsiteX4" fmla="*/ 7144 w 238125"/>
                    <a:gd name="connsiteY4" fmla="*/ 0 h 833437"/>
                    <a:gd name="connsiteX0" fmla="*/ 7144 w 238125"/>
                    <a:gd name="connsiteY0" fmla="*/ 0 h 833437"/>
                    <a:gd name="connsiteX1" fmla="*/ 238125 w 238125"/>
                    <a:gd name="connsiteY1" fmla="*/ 833437 h 833437"/>
                    <a:gd name="connsiteX2" fmla="*/ 109537 w 238125"/>
                    <a:gd name="connsiteY2" fmla="*/ 833437 h 833437"/>
                    <a:gd name="connsiteX3" fmla="*/ 0 w 238125"/>
                    <a:gd name="connsiteY3" fmla="*/ 361950 h 833437"/>
                    <a:gd name="connsiteX4" fmla="*/ 7144 w 238125"/>
                    <a:gd name="connsiteY4" fmla="*/ 0 h 833437"/>
                    <a:gd name="connsiteX0" fmla="*/ 7144 w 238125"/>
                    <a:gd name="connsiteY0" fmla="*/ 0 h 833437"/>
                    <a:gd name="connsiteX1" fmla="*/ 238125 w 238125"/>
                    <a:gd name="connsiteY1" fmla="*/ 833437 h 833437"/>
                    <a:gd name="connsiteX2" fmla="*/ 109537 w 238125"/>
                    <a:gd name="connsiteY2" fmla="*/ 833437 h 833437"/>
                    <a:gd name="connsiteX3" fmla="*/ 0 w 238125"/>
                    <a:gd name="connsiteY3" fmla="*/ 361950 h 833437"/>
                    <a:gd name="connsiteX4" fmla="*/ 7144 w 238125"/>
                    <a:gd name="connsiteY4" fmla="*/ 0 h 833437"/>
                    <a:gd name="connsiteX0" fmla="*/ 33338 w 238125"/>
                    <a:gd name="connsiteY0" fmla="*/ 0 h 895350"/>
                    <a:gd name="connsiteX1" fmla="*/ 238125 w 238125"/>
                    <a:gd name="connsiteY1" fmla="*/ 895350 h 895350"/>
                    <a:gd name="connsiteX2" fmla="*/ 109537 w 238125"/>
                    <a:gd name="connsiteY2" fmla="*/ 895350 h 895350"/>
                    <a:gd name="connsiteX3" fmla="*/ 0 w 238125"/>
                    <a:gd name="connsiteY3" fmla="*/ 423863 h 895350"/>
                    <a:gd name="connsiteX4" fmla="*/ 33338 w 238125"/>
                    <a:gd name="connsiteY4" fmla="*/ 0 h 895350"/>
                    <a:gd name="connsiteX0" fmla="*/ 9525 w 214312"/>
                    <a:gd name="connsiteY0" fmla="*/ 0 h 895350"/>
                    <a:gd name="connsiteX1" fmla="*/ 214312 w 214312"/>
                    <a:gd name="connsiteY1" fmla="*/ 895350 h 895350"/>
                    <a:gd name="connsiteX2" fmla="*/ 85724 w 214312"/>
                    <a:gd name="connsiteY2" fmla="*/ 895350 h 895350"/>
                    <a:gd name="connsiteX3" fmla="*/ 0 w 214312"/>
                    <a:gd name="connsiteY3" fmla="*/ 350045 h 895350"/>
                    <a:gd name="connsiteX4" fmla="*/ 9525 w 214312"/>
                    <a:gd name="connsiteY4" fmla="*/ 0 h 895350"/>
                    <a:gd name="connsiteX0" fmla="*/ 33337 w 238124"/>
                    <a:gd name="connsiteY0" fmla="*/ 0 h 895350"/>
                    <a:gd name="connsiteX1" fmla="*/ 238124 w 238124"/>
                    <a:gd name="connsiteY1" fmla="*/ 895350 h 895350"/>
                    <a:gd name="connsiteX2" fmla="*/ 109536 w 238124"/>
                    <a:gd name="connsiteY2" fmla="*/ 895350 h 895350"/>
                    <a:gd name="connsiteX3" fmla="*/ 0 w 238124"/>
                    <a:gd name="connsiteY3" fmla="*/ 350045 h 895350"/>
                    <a:gd name="connsiteX4" fmla="*/ 33337 w 238124"/>
                    <a:gd name="connsiteY4" fmla="*/ 0 h 8953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8124" h="895350">
                      <a:moveTo>
                        <a:pt x="33337" y="0"/>
                      </a:moveTo>
                      <a:cubicBezTo>
                        <a:pt x="129381" y="253999"/>
                        <a:pt x="215899" y="558007"/>
                        <a:pt x="238124" y="895350"/>
                      </a:cubicBezTo>
                      <a:lnTo>
                        <a:pt x="109536" y="895350"/>
                      </a:lnTo>
                      <a:cubicBezTo>
                        <a:pt x="94456" y="776289"/>
                        <a:pt x="74612" y="504826"/>
                        <a:pt x="0" y="350045"/>
                      </a:cubicBezTo>
                      <a:lnTo>
                        <a:pt x="33337" y="0"/>
                      </a:lnTo>
                      <a:close/>
                    </a:path>
                  </a:pathLst>
                </a:custGeom>
                <a:solidFill>
                  <a:srgbClr val="FFFFFF">
                    <a:lumMod val="65000"/>
                  </a:srgbClr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472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362" name="Freeform 361"/>
              <p:cNvSpPr/>
              <p:nvPr/>
            </p:nvSpPr>
            <p:spPr bwMode="auto">
              <a:xfrm flipH="1">
                <a:off x="11362135" y="2379536"/>
                <a:ext cx="525245" cy="1144902"/>
              </a:xfrm>
              <a:custGeom>
                <a:avLst/>
                <a:gdLst>
                  <a:gd name="connsiteX0" fmla="*/ 525245 w 525245"/>
                  <a:gd name="connsiteY0" fmla="*/ 0 h 1144902"/>
                  <a:gd name="connsiteX1" fmla="*/ 312606 w 525245"/>
                  <a:gd name="connsiteY1" fmla="*/ 0 h 1144902"/>
                  <a:gd name="connsiteX2" fmla="*/ 312606 w 525245"/>
                  <a:gd name="connsiteY2" fmla="*/ 33054 h 1144902"/>
                  <a:gd name="connsiteX3" fmla="*/ 198983 w 525245"/>
                  <a:gd name="connsiteY3" fmla="*/ 33054 h 1144902"/>
                  <a:gd name="connsiteX4" fmla="*/ 198983 w 525245"/>
                  <a:gd name="connsiteY4" fmla="*/ 0 h 1144902"/>
                  <a:gd name="connsiteX5" fmla="*/ 0 w 525245"/>
                  <a:gd name="connsiteY5" fmla="*/ 0 h 1144902"/>
                  <a:gd name="connsiteX6" fmla="*/ 0 w 525245"/>
                  <a:gd name="connsiteY6" fmla="*/ 45719 h 1144902"/>
                  <a:gd name="connsiteX7" fmla="*/ 20739 w 525245"/>
                  <a:gd name="connsiteY7" fmla="*/ 45719 h 1144902"/>
                  <a:gd name="connsiteX8" fmla="*/ 73857 w 525245"/>
                  <a:gd name="connsiteY8" fmla="*/ 1144902 h 1144902"/>
                  <a:gd name="connsiteX9" fmla="*/ 223876 w 525245"/>
                  <a:gd name="connsiteY9" fmla="*/ 1142521 h 1144902"/>
                  <a:gd name="connsiteX10" fmla="*/ 263646 w 525245"/>
                  <a:gd name="connsiteY10" fmla="*/ 218443 h 1144902"/>
                  <a:gd name="connsiteX11" fmla="*/ 267345 w 525245"/>
                  <a:gd name="connsiteY11" fmla="*/ 217759 h 1144902"/>
                  <a:gd name="connsiteX12" fmla="*/ 302458 w 525245"/>
                  <a:gd name="connsiteY12" fmla="*/ 1135377 h 1144902"/>
                  <a:gd name="connsiteX13" fmla="*/ 454857 w 525245"/>
                  <a:gd name="connsiteY13" fmla="*/ 1132996 h 1144902"/>
                  <a:gd name="connsiteX14" fmla="*/ 500546 w 525245"/>
                  <a:gd name="connsiteY14" fmla="*/ 45719 h 1144902"/>
                  <a:gd name="connsiteX15" fmla="*/ 525245 w 525245"/>
                  <a:gd name="connsiteY15" fmla="*/ 45719 h 1144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25245" h="1144902">
                    <a:moveTo>
                      <a:pt x="525245" y="0"/>
                    </a:moveTo>
                    <a:lnTo>
                      <a:pt x="312606" y="0"/>
                    </a:lnTo>
                    <a:lnTo>
                      <a:pt x="312606" y="33054"/>
                    </a:lnTo>
                    <a:lnTo>
                      <a:pt x="198983" y="33054"/>
                    </a:lnTo>
                    <a:lnTo>
                      <a:pt x="198983" y="0"/>
                    </a:lnTo>
                    <a:lnTo>
                      <a:pt x="0" y="0"/>
                    </a:lnTo>
                    <a:lnTo>
                      <a:pt x="0" y="45719"/>
                    </a:lnTo>
                    <a:lnTo>
                      <a:pt x="20739" y="45719"/>
                    </a:lnTo>
                    <a:lnTo>
                      <a:pt x="73857" y="1144902"/>
                    </a:lnTo>
                    <a:cubicBezTo>
                      <a:pt x="126244" y="1144902"/>
                      <a:pt x="171489" y="1142521"/>
                      <a:pt x="223876" y="1142521"/>
                    </a:cubicBezTo>
                    <a:lnTo>
                      <a:pt x="263646" y="218443"/>
                    </a:lnTo>
                    <a:lnTo>
                      <a:pt x="267345" y="217759"/>
                    </a:lnTo>
                    <a:lnTo>
                      <a:pt x="302458" y="1135377"/>
                    </a:lnTo>
                    <a:lnTo>
                      <a:pt x="454857" y="1132996"/>
                    </a:lnTo>
                    <a:lnTo>
                      <a:pt x="500546" y="45719"/>
                    </a:lnTo>
                    <a:lnTo>
                      <a:pt x="525245" y="45719"/>
                    </a:lnTo>
                    <a:close/>
                  </a:path>
                </a:pathLst>
              </a:custGeom>
              <a:solidFill>
                <a:srgbClr val="000000">
                  <a:lumMod val="85000"/>
                  <a:lumOff val="15000"/>
                </a:srgb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63" name="Freeform 362"/>
              <p:cNvSpPr/>
              <p:nvPr/>
            </p:nvSpPr>
            <p:spPr bwMode="auto">
              <a:xfrm>
                <a:off x="11648625" y="3506182"/>
                <a:ext cx="187714" cy="93056"/>
              </a:xfrm>
              <a:custGeom>
                <a:avLst/>
                <a:gdLst>
                  <a:gd name="connsiteX0" fmla="*/ 93857 w 187714"/>
                  <a:gd name="connsiteY0" fmla="*/ 0 h 93056"/>
                  <a:gd name="connsiteX1" fmla="*/ 180525 w 187714"/>
                  <a:gd name="connsiteY1" fmla="*/ 57448 h 93056"/>
                  <a:gd name="connsiteX2" fmla="*/ 187714 w 187714"/>
                  <a:gd name="connsiteY2" fmla="*/ 93056 h 93056"/>
                  <a:gd name="connsiteX3" fmla="*/ 0 w 187714"/>
                  <a:gd name="connsiteY3" fmla="*/ 93056 h 93056"/>
                  <a:gd name="connsiteX4" fmla="*/ 7189 w 187714"/>
                  <a:gd name="connsiteY4" fmla="*/ 57448 h 93056"/>
                  <a:gd name="connsiteX5" fmla="*/ 93857 w 187714"/>
                  <a:gd name="connsiteY5" fmla="*/ 0 h 93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7714" h="93056">
                    <a:moveTo>
                      <a:pt x="93857" y="0"/>
                    </a:moveTo>
                    <a:cubicBezTo>
                      <a:pt x="132818" y="0"/>
                      <a:pt x="166246" y="23688"/>
                      <a:pt x="180525" y="57448"/>
                    </a:cubicBezTo>
                    <a:lnTo>
                      <a:pt x="187714" y="93056"/>
                    </a:lnTo>
                    <a:lnTo>
                      <a:pt x="0" y="93056"/>
                    </a:lnTo>
                    <a:lnTo>
                      <a:pt x="7189" y="57448"/>
                    </a:lnTo>
                    <a:cubicBezTo>
                      <a:pt x="21468" y="23688"/>
                      <a:pt x="54896" y="0"/>
                      <a:pt x="93857" y="0"/>
                    </a:cubicBezTo>
                    <a:close/>
                  </a:path>
                </a:pathLst>
              </a:custGeom>
              <a:solidFill>
                <a:srgbClr val="000000">
                  <a:lumMod val="95000"/>
                  <a:lumOff val="5000"/>
                </a:srgb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64" name="Freeform 363"/>
              <p:cNvSpPr/>
              <p:nvPr/>
            </p:nvSpPr>
            <p:spPr bwMode="auto">
              <a:xfrm>
                <a:off x="11412881" y="3496657"/>
                <a:ext cx="187714" cy="93056"/>
              </a:xfrm>
              <a:custGeom>
                <a:avLst/>
                <a:gdLst>
                  <a:gd name="connsiteX0" fmla="*/ 93857 w 187714"/>
                  <a:gd name="connsiteY0" fmla="*/ 0 h 93056"/>
                  <a:gd name="connsiteX1" fmla="*/ 180525 w 187714"/>
                  <a:gd name="connsiteY1" fmla="*/ 57448 h 93056"/>
                  <a:gd name="connsiteX2" fmla="*/ 187714 w 187714"/>
                  <a:gd name="connsiteY2" fmla="*/ 93056 h 93056"/>
                  <a:gd name="connsiteX3" fmla="*/ 0 w 187714"/>
                  <a:gd name="connsiteY3" fmla="*/ 93056 h 93056"/>
                  <a:gd name="connsiteX4" fmla="*/ 7189 w 187714"/>
                  <a:gd name="connsiteY4" fmla="*/ 57448 h 93056"/>
                  <a:gd name="connsiteX5" fmla="*/ 93857 w 187714"/>
                  <a:gd name="connsiteY5" fmla="*/ 0 h 93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7714" h="93056">
                    <a:moveTo>
                      <a:pt x="93857" y="0"/>
                    </a:moveTo>
                    <a:cubicBezTo>
                      <a:pt x="132818" y="0"/>
                      <a:pt x="166246" y="23688"/>
                      <a:pt x="180525" y="57448"/>
                    </a:cubicBezTo>
                    <a:lnTo>
                      <a:pt x="187714" y="93056"/>
                    </a:lnTo>
                    <a:lnTo>
                      <a:pt x="0" y="93056"/>
                    </a:lnTo>
                    <a:lnTo>
                      <a:pt x="7189" y="57448"/>
                    </a:lnTo>
                    <a:cubicBezTo>
                      <a:pt x="21468" y="23688"/>
                      <a:pt x="54896" y="0"/>
                      <a:pt x="93857" y="0"/>
                    </a:cubicBezTo>
                    <a:close/>
                  </a:path>
                </a:pathLst>
              </a:custGeom>
              <a:solidFill>
                <a:srgbClr val="000000">
                  <a:lumMod val="95000"/>
                  <a:lumOff val="5000"/>
                </a:srgb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365" name="Group 364"/>
              <p:cNvGrpSpPr/>
              <p:nvPr/>
            </p:nvGrpSpPr>
            <p:grpSpPr>
              <a:xfrm>
                <a:off x="11854006" y="1505138"/>
                <a:ext cx="238124" cy="1002506"/>
                <a:chOff x="6437822" y="1926236"/>
                <a:chExt cx="238124" cy="1002506"/>
              </a:xfrm>
            </p:grpSpPr>
            <p:sp>
              <p:nvSpPr>
                <p:cNvPr id="370" name="Rounded Rectangle 369"/>
                <p:cNvSpPr/>
                <p:nvPr/>
              </p:nvSpPr>
              <p:spPr bwMode="auto">
                <a:xfrm>
                  <a:off x="6552349" y="2757292"/>
                  <a:ext cx="106928" cy="171450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FFC000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472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371" name="Freeform 370"/>
                <p:cNvSpPr/>
                <p:nvPr/>
              </p:nvSpPr>
              <p:spPr bwMode="auto">
                <a:xfrm>
                  <a:off x="6437822" y="1926236"/>
                  <a:ext cx="238124" cy="895350"/>
                </a:xfrm>
                <a:custGeom>
                  <a:avLst/>
                  <a:gdLst>
                    <a:gd name="connsiteX0" fmla="*/ 7144 w 238125"/>
                    <a:gd name="connsiteY0" fmla="*/ 0 h 833437"/>
                    <a:gd name="connsiteX1" fmla="*/ 238125 w 238125"/>
                    <a:gd name="connsiteY1" fmla="*/ 833437 h 833437"/>
                    <a:gd name="connsiteX2" fmla="*/ 109537 w 238125"/>
                    <a:gd name="connsiteY2" fmla="*/ 833437 h 833437"/>
                    <a:gd name="connsiteX3" fmla="*/ 0 w 238125"/>
                    <a:gd name="connsiteY3" fmla="*/ 361950 h 833437"/>
                    <a:gd name="connsiteX4" fmla="*/ 7144 w 238125"/>
                    <a:gd name="connsiteY4" fmla="*/ 0 h 833437"/>
                    <a:gd name="connsiteX0" fmla="*/ 7144 w 238125"/>
                    <a:gd name="connsiteY0" fmla="*/ 0 h 833437"/>
                    <a:gd name="connsiteX1" fmla="*/ 238125 w 238125"/>
                    <a:gd name="connsiteY1" fmla="*/ 833437 h 833437"/>
                    <a:gd name="connsiteX2" fmla="*/ 109537 w 238125"/>
                    <a:gd name="connsiteY2" fmla="*/ 833437 h 833437"/>
                    <a:gd name="connsiteX3" fmla="*/ 0 w 238125"/>
                    <a:gd name="connsiteY3" fmla="*/ 361950 h 833437"/>
                    <a:gd name="connsiteX4" fmla="*/ 7144 w 238125"/>
                    <a:gd name="connsiteY4" fmla="*/ 0 h 833437"/>
                    <a:gd name="connsiteX0" fmla="*/ 7144 w 238125"/>
                    <a:gd name="connsiteY0" fmla="*/ 0 h 833437"/>
                    <a:gd name="connsiteX1" fmla="*/ 238125 w 238125"/>
                    <a:gd name="connsiteY1" fmla="*/ 833437 h 833437"/>
                    <a:gd name="connsiteX2" fmla="*/ 109537 w 238125"/>
                    <a:gd name="connsiteY2" fmla="*/ 833437 h 833437"/>
                    <a:gd name="connsiteX3" fmla="*/ 0 w 238125"/>
                    <a:gd name="connsiteY3" fmla="*/ 361950 h 833437"/>
                    <a:gd name="connsiteX4" fmla="*/ 7144 w 238125"/>
                    <a:gd name="connsiteY4" fmla="*/ 0 h 833437"/>
                    <a:gd name="connsiteX0" fmla="*/ 7144 w 238125"/>
                    <a:gd name="connsiteY0" fmla="*/ 0 h 833437"/>
                    <a:gd name="connsiteX1" fmla="*/ 238125 w 238125"/>
                    <a:gd name="connsiteY1" fmla="*/ 833437 h 833437"/>
                    <a:gd name="connsiteX2" fmla="*/ 109537 w 238125"/>
                    <a:gd name="connsiteY2" fmla="*/ 833437 h 833437"/>
                    <a:gd name="connsiteX3" fmla="*/ 0 w 238125"/>
                    <a:gd name="connsiteY3" fmla="*/ 361950 h 833437"/>
                    <a:gd name="connsiteX4" fmla="*/ 7144 w 238125"/>
                    <a:gd name="connsiteY4" fmla="*/ 0 h 833437"/>
                    <a:gd name="connsiteX0" fmla="*/ 7144 w 238125"/>
                    <a:gd name="connsiteY0" fmla="*/ 0 h 833437"/>
                    <a:gd name="connsiteX1" fmla="*/ 238125 w 238125"/>
                    <a:gd name="connsiteY1" fmla="*/ 833437 h 833437"/>
                    <a:gd name="connsiteX2" fmla="*/ 109537 w 238125"/>
                    <a:gd name="connsiteY2" fmla="*/ 833437 h 833437"/>
                    <a:gd name="connsiteX3" fmla="*/ 0 w 238125"/>
                    <a:gd name="connsiteY3" fmla="*/ 361950 h 833437"/>
                    <a:gd name="connsiteX4" fmla="*/ 7144 w 238125"/>
                    <a:gd name="connsiteY4" fmla="*/ 0 h 833437"/>
                    <a:gd name="connsiteX0" fmla="*/ 7144 w 238125"/>
                    <a:gd name="connsiteY0" fmla="*/ 0 h 833437"/>
                    <a:gd name="connsiteX1" fmla="*/ 238125 w 238125"/>
                    <a:gd name="connsiteY1" fmla="*/ 833437 h 833437"/>
                    <a:gd name="connsiteX2" fmla="*/ 109537 w 238125"/>
                    <a:gd name="connsiteY2" fmla="*/ 833437 h 833437"/>
                    <a:gd name="connsiteX3" fmla="*/ 0 w 238125"/>
                    <a:gd name="connsiteY3" fmla="*/ 361950 h 833437"/>
                    <a:gd name="connsiteX4" fmla="*/ 7144 w 238125"/>
                    <a:gd name="connsiteY4" fmla="*/ 0 h 833437"/>
                    <a:gd name="connsiteX0" fmla="*/ 33338 w 238125"/>
                    <a:gd name="connsiteY0" fmla="*/ 0 h 895350"/>
                    <a:gd name="connsiteX1" fmla="*/ 238125 w 238125"/>
                    <a:gd name="connsiteY1" fmla="*/ 895350 h 895350"/>
                    <a:gd name="connsiteX2" fmla="*/ 109537 w 238125"/>
                    <a:gd name="connsiteY2" fmla="*/ 895350 h 895350"/>
                    <a:gd name="connsiteX3" fmla="*/ 0 w 238125"/>
                    <a:gd name="connsiteY3" fmla="*/ 423863 h 895350"/>
                    <a:gd name="connsiteX4" fmla="*/ 33338 w 238125"/>
                    <a:gd name="connsiteY4" fmla="*/ 0 h 895350"/>
                    <a:gd name="connsiteX0" fmla="*/ 9525 w 214312"/>
                    <a:gd name="connsiteY0" fmla="*/ 0 h 895350"/>
                    <a:gd name="connsiteX1" fmla="*/ 214312 w 214312"/>
                    <a:gd name="connsiteY1" fmla="*/ 895350 h 895350"/>
                    <a:gd name="connsiteX2" fmla="*/ 85724 w 214312"/>
                    <a:gd name="connsiteY2" fmla="*/ 895350 h 895350"/>
                    <a:gd name="connsiteX3" fmla="*/ 0 w 214312"/>
                    <a:gd name="connsiteY3" fmla="*/ 350045 h 895350"/>
                    <a:gd name="connsiteX4" fmla="*/ 9525 w 214312"/>
                    <a:gd name="connsiteY4" fmla="*/ 0 h 895350"/>
                    <a:gd name="connsiteX0" fmla="*/ 33337 w 238124"/>
                    <a:gd name="connsiteY0" fmla="*/ 0 h 895350"/>
                    <a:gd name="connsiteX1" fmla="*/ 238124 w 238124"/>
                    <a:gd name="connsiteY1" fmla="*/ 895350 h 895350"/>
                    <a:gd name="connsiteX2" fmla="*/ 109536 w 238124"/>
                    <a:gd name="connsiteY2" fmla="*/ 895350 h 895350"/>
                    <a:gd name="connsiteX3" fmla="*/ 0 w 238124"/>
                    <a:gd name="connsiteY3" fmla="*/ 350045 h 895350"/>
                    <a:gd name="connsiteX4" fmla="*/ 33337 w 238124"/>
                    <a:gd name="connsiteY4" fmla="*/ 0 h 8953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8124" h="895350">
                      <a:moveTo>
                        <a:pt x="33337" y="0"/>
                      </a:moveTo>
                      <a:cubicBezTo>
                        <a:pt x="129381" y="253999"/>
                        <a:pt x="215899" y="558007"/>
                        <a:pt x="238124" y="895350"/>
                      </a:cubicBezTo>
                      <a:lnTo>
                        <a:pt x="109536" y="895350"/>
                      </a:lnTo>
                      <a:cubicBezTo>
                        <a:pt x="94456" y="776289"/>
                        <a:pt x="74612" y="504826"/>
                        <a:pt x="0" y="350045"/>
                      </a:cubicBezTo>
                      <a:lnTo>
                        <a:pt x="33337" y="0"/>
                      </a:lnTo>
                      <a:close/>
                    </a:path>
                  </a:pathLst>
                </a:custGeom>
                <a:solidFill>
                  <a:srgbClr val="FFFFFF">
                    <a:lumMod val="65000"/>
                  </a:srgbClr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472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366" name="Rectangle 109"/>
              <p:cNvSpPr/>
              <p:nvPr/>
            </p:nvSpPr>
            <p:spPr bwMode="auto">
              <a:xfrm>
                <a:off x="11428839" y="1443421"/>
                <a:ext cx="391947" cy="328612"/>
              </a:xfrm>
              <a:custGeom>
                <a:avLst/>
                <a:gdLst>
                  <a:gd name="connsiteX0" fmla="*/ 0 w 390296"/>
                  <a:gd name="connsiteY0" fmla="*/ 0 h 571500"/>
                  <a:gd name="connsiteX1" fmla="*/ 390296 w 390296"/>
                  <a:gd name="connsiteY1" fmla="*/ 0 h 571500"/>
                  <a:gd name="connsiteX2" fmla="*/ 390296 w 390296"/>
                  <a:gd name="connsiteY2" fmla="*/ 571500 h 571500"/>
                  <a:gd name="connsiteX3" fmla="*/ 0 w 390296"/>
                  <a:gd name="connsiteY3" fmla="*/ 571500 h 571500"/>
                  <a:gd name="connsiteX4" fmla="*/ 0 w 390296"/>
                  <a:gd name="connsiteY4" fmla="*/ 0 h 571500"/>
                  <a:gd name="connsiteX0" fmla="*/ 0 w 390296"/>
                  <a:gd name="connsiteY0" fmla="*/ 2833 h 574333"/>
                  <a:gd name="connsiteX1" fmla="*/ 193612 w 390296"/>
                  <a:gd name="connsiteY1" fmla="*/ 0 h 574333"/>
                  <a:gd name="connsiteX2" fmla="*/ 390296 w 390296"/>
                  <a:gd name="connsiteY2" fmla="*/ 2833 h 574333"/>
                  <a:gd name="connsiteX3" fmla="*/ 390296 w 390296"/>
                  <a:gd name="connsiteY3" fmla="*/ 574333 h 574333"/>
                  <a:gd name="connsiteX4" fmla="*/ 0 w 390296"/>
                  <a:gd name="connsiteY4" fmla="*/ 574333 h 574333"/>
                  <a:gd name="connsiteX5" fmla="*/ 0 w 390296"/>
                  <a:gd name="connsiteY5" fmla="*/ 2833 h 574333"/>
                  <a:gd name="connsiteX0" fmla="*/ 0 w 390296"/>
                  <a:gd name="connsiteY0" fmla="*/ 57601 h 629101"/>
                  <a:gd name="connsiteX1" fmla="*/ 188850 w 390296"/>
                  <a:gd name="connsiteY1" fmla="*/ 0 h 629101"/>
                  <a:gd name="connsiteX2" fmla="*/ 390296 w 390296"/>
                  <a:gd name="connsiteY2" fmla="*/ 57601 h 629101"/>
                  <a:gd name="connsiteX3" fmla="*/ 390296 w 390296"/>
                  <a:gd name="connsiteY3" fmla="*/ 629101 h 629101"/>
                  <a:gd name="connsiteX4" fmla="*/ 0 w 390296"/>
                  <a:gd name="connsiteY4" fmla="*/ 629101 h 629101"/>
                  <a:gd name="connsiteX5" fmla="*/ 0 w 390296"/>
                  <a:gd name="connsiteY5" fmla="*/ 57601 h 629101"/>
                  <a:gd name="connsiteX0" fmla="*/ 0 w 390296"/>
                  <a:gd name="connsiteY0" fmla="*/ 57601 h 629101"/>
                  <a:gd name="connsiteX1" fmla="*/ 188850 w 390296"/>
                  <a:gd name="connsiteY1" fmla="*/ 0 h 629101"/>
                  <a:gd name="connsiteX2" fmla="*/ 390296 w 390296"/>
                  <a:gd name="connsiteY2" fmla="*/ 57601 h 629101"/>
                  <a:gd name="connsiteX3" fmla="*/ 388874 w 390296"/>
                  <a:gd name="connsiteY3" fmla="*/ 328612 h 629101"/>
                  <a:gd name="connsiteX4" fmla="*/ 390296 w 390296"/>
                  <a:gd name="connsiteY4" fmla="*/ 629101 h 629101"/>
                  <a:gd name="connsiteX5" fmla="*/ 0 w 390296"/>
                  <a:gd name="connsiteY5" fmla="*/ 629101 h 629101"/>
                  <a:gd name="connsiteX6" fmla="*/ 0 w 390296"/>
                  <a:gd name="connsiteY6" fmla="*/ 57601 h 629101"/>
                  <a:gd name="connsiteX0" fmla="*/ 1651 w 391947"/>
                  <a:gd name="connsiteY0" fmla="*/ 57601 h 629101"/>
                  <a:gd name="connsiteX1" fmla="*/ 190501 w 391947"/>
                  <a:gd name="connsiteY1" fmla="*/ 0 h 629101"/>
                  <a:gd name="connsiteX2" fmla="*/ 391947 w 391947"/>
                  <a:gd name="connsiteY2" fmla="*/ 57601 h 629101"/>
                  <a:gd name="connsiteX3" fmla="*/ 390525 w 391947"/>
                  <a:gd name="connsiteY3" fmla="*/ 328612 h 629101"/>
                  <a:gd name="connsiteX4" fmla="*/ 391947 w 391947"/>
                  <a:gd name="connsiteY4" fmla="*/ 629101 h 629101"/>
                  <a:gd name="connsiteX5" fmla="*/ 1651 w 391947"/>
                  <a:gd name="connsiteY5" fmla="*/ 629101 h 629101"/>
                  <a:gd name="connsiteX6" fmla="*/ 0 w 391947"/>
                  <a:gd name="connsiteY6" fmla="*/ 311944 h 629101"/>
                  <a:gd name="connsiteX7" fmla="*/ 1651 w 391947"/>
                  <a:gd name="connsiteY7" fmla="*/ 57601 h 629101"/>
                  <a:gd name="connsiteX0" fmla="*/ 1651 w 391947"/>
                  <a:gd name="connsiteY0" fmla="*/ 57601 h 629101"/>
                  <a:gd name="connsiteX1" fmla="*/ 190501 w 391947"/>
                  <a:gd name="connsiteY1" fmla="*/ 0 h 629101"/>
                  <a:gd name="connsiteX2" fmla="*/ 391947 w 391947"/>
                  <a:gd name="connsiteY2" fmla="*/ 57601 h 629101"/>
                  <a:gd name="connsiteX3" fmla="*/ 390525 w 391947"/>
                  <a:gd name="connsiteY3" fmla="*/ 328612 h 629101"/>
                  <a:gd name="connsiteX4" fmla="*/ 391947 w 391947"/>
                  <a:gd name="connsiteY4" fmla="*/ 629101 h 629101"/>
                  <a:gd name="connsiteX5" fmla="*/ 0 w 391947"/>
                  <a:gd name="connsiteY5" fmla="*/ 311944 h 629101"/>
                  <a:gd name="connsiteX6" fmla="*/ 1651 w 391947"/>
                  <a:gd name="connsiteY6" fmla="*/ 57601 h 629101"/>
                  <a:gd name="connsiteX0" fmla="*/ 1651 w 391947"/>
                  <a:gd name="connsiteY0" fmla="*/ 57601 h 328612"/>
                  <a:gd name="connsiteX1" fmla="*/ 190501 w 391947"/>
                  <a:gd name="connsiteY1" fmla="*/ 0 h 328612"/>
                  <a:gd name="connsiteX2" fmla="*/ 391947 w 391947"/>
                  <a:gd name="connsiteY2" fmla="*/ 57601 h 328612"/>
                  <a:gd name="connsiteX3" fmla="*/ 390525 w 391947"/>
                  <a:gd name="connsiteY3" fmla="*/ 328612 h 328612"/>
                  <a:gd name="connsiteX4" fmla="*/ 0 w 391947"/>
                  <a:gd name="connsiteY4" fmla="*/ 311944 h 328612"/>
                  <a:gd name="connsiteX5" fmla="*/ 1651 w 391947"/>
                  <a:gd name="connsiteY5" fmla="*/ 57601 h 3286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91947" h="328612">
                    <a:moveTo>
                      <a:pt x="1651" y="57601"/>
                    </a:moveTo>
                    <a:lnTo>
                      <a:pt x="190501" y="0"/>
                    </a:lnTo>
                    <a:lnTo>
                      <a:pt x="391947" y="57601"/>
                    </a:lnTo>
                    <a:lnTo>
                      <a:pt x="390525" y="328612"/>
                    </a:lnTo>
                    <a:lnTo>
                      <a:pt x="0" y="311944"/>
                    </a:lnTo>
                    <a:cubicBezTo>
                      <a:pt x="550" y="227163"/>
                      <a:pt x="1101" y="142382"/>
                      <a:pt x="1651" y="57601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67" name="Freeform 366"/>
              <p:cNvSpPr/>
              <p:nvPr/>
            </p:nvSpPr>
            <p:spPr bwMode="auto">
              <a:xfrm>
                <a:off x="11364266" y="1474182"/>
                <a:ext cx="525457" cy="907255"/>
              </a:xfrm>
              <a:custGeom>
                <a:avLst/>
                <a:gdLst>
                  <a:gd name="connsiteX0" fmla="*/ 0 w 608801"/>
                  <a:gd name="connsiteY0" fmla="*/ 0 h 1019175"/>
                  <a:gd name="connsiteX1" fmla="*/ 225692 w 608801"/>
                  <a:gd name="connsiteY1" fmla="*/ 0 h 1019175"/>
                  <a:gd name="connsiteX2" fmla="*/ 225420 w 608801"/>
                  <a:gd name="connsiteY2" fmla="*/ 2381 h 1019175"/>
                  <a:gd name="connsiteX3" fmla="*/ 306382 w 608801"/>
                  <a:gd name="connsiteY3" fmla="*/ 569119 h 1019175"/>
                  <a:gd name="connsiteX4" fmla="*/ 347756 w 608801"/>
                  <a:gd name="connsiteY4" fmla="*/ 283964 h 1019175"/>
                  <a:gd name="connsiteX5" fmla="*/ 379666 w 608801"/>
                  <a:gd name="connsiteY5" fmla="*/ 0 h 1019175"/>
                  <a:gd name="connsiteX6" fmla="*/ 608801 w 608801"/>
                  <a:gd name="connsiteY6" fmla="*/ 0 h 1019175"/>
                  <a:gd name="connsiteX7" fmla="*/ 608801 w 608801"/>
                  <a:gd name="connsiteY7" fmla="*/ 1019175 h 1019175"/>
                  <a:gd name="connsiteX8" fmla="*/ 0 w 608801"/>
                  <a:gd name="connsiteY8" fmla="*/ 1019175 h 1019175"/>
                  <a:gd name="connsiteX0" fmla="*/ 0 w 608801"/>
                  <a:gd name="connsiteY0" fmla="*/ 0 h 1019175"/>
                  <a:gd name="connsiteX1" fmla="*/ 225692 w 608801"/>
                  <a:gd name="connsiteY1" fmla="*/ 0 h 1019175"/>
                  <a:gd name="connsiteX2" fmla="*/ 225420 w 608801"/>
                  <a:gd name="connsiteY2" fmla="*/ 2381 h 1019175"/>
                  <a:gd name="connsiteX3" fmla="*/ 306382 w 608801"/>
                  <a:gd name="connsiteY3" fmla="*/ 569119 h 1019175"/>
                  <a:gd name="connsiteX4" fmla="*/ 347756 w 608801"/>
                  <a:gd name="connsiteY4" fmla="*/ 283964 h 1019175"/>
                  <a:gd name="connsiteX5" fmla="*/ 379666 w 608801"/>
                  <a:gd name="connsiteY5" fmla="*/ 0 h 1019175"/>
                  <a:gd name="connsiteX6" fmla="*/ 608801 w 608801"/>
                  <a:gd name="connsiteY6" fmla="*/ 0 h 1019175"/>
                  <a:gd name="connsiteX7" fmla="*/ 608801 w 608801"/>
                  <a:gd name="connsiteY7" fmla="*/ 1019175 h 1019175"/>
                  <a:gd name="connsiteX8" fmla="*/ 0 w 608801"/>
                  <a:gd name="connsiteY8" fmla="*/ 1019175 h 1019175"/>
                  <a:gd name="connsiteX9" fmla="*/ 0 w 608801"/>
                  <a:gd name="connsiteY9" fmla="*/ 0 h 1019175"/>
                  <a:gd name="connsiteX0" fmla="*/ 0 w 608801"/>
                  <a:gd name="connsiteY0" fmla="*/ 28575 h 1047750"/>
                  <a:gd name="connsiteX1" fmla="*/ 225692 w 608801"/>
                  <a:gd name="connsiteY1" fmla="*/ 28575 h 1047750"/>
                  <a:gd name="connsiteX2" fmla="*/ 225420 w 608801"/>
                  <a:gd name="connsiteY2" fmla="*/ 30956 h 1047750"/>
                  <a:gd name="connsiteX3" fmla="*/ 306382 w 608801"/>
                  <a:gd name="connsiteY3" fmla="*/ 597694 h 1047750"/>
                  <a:gd name="connsiteX4" fmla="*/ 347756 w 608801"/>
                  <a:gd name="connsiteY4" fmla="*/ 312539 h 1047750"/>
                  <a:gd name="connsiteX5" fmla="*/ 432054 w 608801"/>
                  <a:gd name="connsiteY5" fmla="*/ 0 h 1047750"/>
                  <a:gd name="connsiteX6" fmla="*/ 608801 w 608801"/>
                  <a:gd name="connsiteY6" fmla="*/ 28575 h 1047750"/>
                  <a:gd name="connsiteX7" fmla="*/ 608801 w 608801"/>
                  <a:gd name="connsiteY7" fmla="*/ 1047750 h 1047750"/>
                  <a:gd name="connsiteX8" fmla="*/ 0 w 608801"/>
                  <a:gd name="connsiteY8" fmla="*/ 1047750 h 1047750"/>
                  <a:gd name="connsiteX9" fmla="*/ 0 w 608801"/>
                  <a:gd name="connsiteY9" fmla="*/ 28575 h 1047750"/>
                  <a:gd name="connsiteX0" fmla="*/ 0 w 608801"/>
                  <a:gd name="connsiteY0" fmla="*/ 28575 h 1047750"/>
                  <a:gd name="connsiteX1" fmla="*/ 225692 w 608801"/>
                  <a:gd name="connsiteY1" fmla="*/ 28575 h 1047750"/>
                  <a:gd name="connsiteX2" fmla="*/ 306382 w 608801"/>
                  <a:gd name="connsiteY2" fmla="*/ 597694 h 1047750"/>
                  <a:gd name="connsiteX3" fmla="*/ 347756 w 608801"/>
                  <a:gd name="connsiteY3" fmla="*/ 312539 h 1047750"/>
                  <a:gd name="connsiteX4" fmla="*/ 432054 w 608801"/>
                  <a:gd name="connsiteY4" fmla="*/ 0 h 1047750"/>
                  <a:gd name="connsiteX5" fmla="*/ 608801 w 608801"/>
                  <a:gd name="connsiteY5" fmla="*/ 28575 h 1047750"/>
                  <a:gd name="connsiteX6" fmla="*/ 608801 w 608801"/>
                  <a:gd name="connsiteY6" fmla="*/ 1047750 h 1047750"/>
                  <a:gd name="connsiteX7" fmla="*/ 0 w 608801"/>
                  <a:gd name="connsiteY7" fmla="*/ 1047750 h 1047750"/>
                  <a:gd name="connsiteX8" fmla="*/ 0 w 608801"/>
                  <a:gd name="connsiteY8" fmla="*/ 28575 h 1047750"/>
                  <a:gd name="connsiteX0" fmla="*/ 0 w 608801"/>
                  <a:gd name="connsiteY0" fmla="*/ 30956 h 1050131"/>
                  <a:gd name="connsiteX1" fmla="*/ 213786 w 608801"/>
                  <a:gd name="connsiteY1" fmla="*/ 0 h 1050131"/>
                  <a:gd name="connsiteX2" fmla="*/ 306382 w 608801"/>
                  <a:gd name="connsiteY2" fmla="*/ 600075 h 1050131"/>
                  <a:gd name="connsiteX3" fmla="*/ 347756 w 608801"/>
                  <a:gd name="connsiteY3" fmla="*/ 314920 h 1050131"/>
                  <a:gd name="connsiteX4" fmla="*/ 432054 w 608801"/>
                  <a:gd name="connsiteY4" fmla="*/ 2381 h 1050131"/>
                  <a:gd name="connsiteX5" fmla="*/ 608801 w 608801"/>
                  <a:gd name="connsiteY5" fmla="*/ 30956 h 1050131"/>
                  <a:gd name="connsiteX6" fmla="*/ 608801 w 608801"/>
                  <a:gd name="connsiteY6" fmla="*/ 1050131 h 1050131"/>
                  <a:gd name="connsiteX7" fmla="*/ 0 w 608801"/>
                  <a:gd name="connsiteY7" fmla="*/ 1050131 h 1050131"/>
                  <a:gd name="connsiteX8" fmla="*/ 0 w 608801"/>
                  <a:gd name="connsiteY8" fmla="*/ 30956 h 1050131"/>
                  <a:gd name="connsiteX0" fmla="*/ 0 w 608801"/>
                  <a:gd name="connsiteY0" fmla="*/ 30956 h 1050131"/>
                  <a:gd name="connsiteX1" fmla="*/ 213786 w 608801"/>
                  <a:gd name="connsiteY1" fmla="*/ 0 h 1050131"/>
                  <a:gd name="connsiteX2" fmla="*/ 306382 w 608801"/>
                  <a:gd name="connsiteY2" fmla="*/ 600075 h 1050131"/>
                  <a:gd name="connsiteX3" fmla="*/ 347756 w 608801"/>
                  <a:gd name="connsiteY3" fmla="*/ 314920 h 1050131"/>
                  <a:gd name="connsiteX4" fmla="*/ 432054 w 608801"/>
                  <a:gd name="connsiteY4" fmla="*/ 2381 h 1050131"/>
                  <a:gd name="connsiteX5" fmla="*/ 589751 w 608801"/>
                  <a:gd name="connsiteY5" fmla="*/ 26194 h 1050131"/>
                  <a:gd name="connsiteX6" fmla="*/ 608801 w 608801"/>
                  <a:gd name="connsiteY6" fmla="*/ 1050131 h 1050131"/>
                  <a:gd name="connsiteX7" fmla="*/ 0 w 608801"/>
                  <a:gd name="connsiteY7" fmla="*/ 1050131 h 1050131"/>
                  <a:gd name="connsiteX8" fmla="*/ 0 w 608801"/>
                  <a:gd name="connsiteY8" fmla="*/ 30956 h 1050131"/>
                  <a:gd name="connsiteX0" fmla="*/ 64294 w 608801"/>
                  <a:gd name="connsiteY0" fmla="*/ 26193 h 1050131"/>
                  <a:gd name="connsiteX1" fmla="*/ 213786 w 608801"/>
                  <a:gd name="connsiteY1" fmla="*/ 0 h 1050131"/>
                  <a:gd name="connsiteX2" fmla="*/ 306382 w 608801"/>
                  <a:gd name="connsiteY2" fmla="*/ 600075 h 1050131"/>
                  <a:gd name="connsiteX3" fmla="*/ 347756 w 608801"/>
                  <a:gd name="connsiteY3" fmla="*/ 314920 h 1050131"/>
                  <a:gd name="connsiteX4" fmla="*/ 432054 w 608801"/>
                  <a:gd name="connsiteY4" fmla="*/ 2381 h 1050131"/>
                  <a:gd name="connsiteX5" fmla="*/ 589751 w 608801"/>
                  <a:gd name="connsiteY5" fmla="*/ 26194 h 1050131"/>
                  <a:gd name="connsiteX6" fmla="*/ 608801 w 608801"/>
                  <a:gd name="connsiteY6" fmla="*/ 1050131 h 1050131"/>
                  <a:gd name="connsiteX7" fmla="*/ 0 w 608801"/>
                  <a:gd name="connsiteY7" fmla="*/ 1050131 h 1050131"/>
                  <a:gd name="connsiteX8" fmla="*/ 64294 w 608801"/>
                  <a:gd name="connsiteY8" fmla="*/ 26193 h 1050131"/>
                  <a:gd name="connsiteX0" fmla="*/ 0 w 544507"/>
                  <a:gd name="connsiteY0" fmla="*/ 26193 h 1050131"/>
                  <a:gd name="connsiteX1" fmla="*/ 149492 w 544507"/>
                  <a:gd name="connsiteY1" fmla="*/ 0 h 1050131"/>
                  <a:gd name="connsiteX2" fmla="*/ 242088 w 544507"/>
                  <a:gd name="connsiteY2" fmla="*/ 600075 h 1050131"/>
                  <a:gd name="connsiteX3" fmla="*/ 283462 w 544507"/>
                  <a:gd name="connsiteY3" fmla="*/ 314920 h 1050131"/>
                  <a:gd name="connsiteX4" fmla="*/ 367760 w 544507"/>
                  <a:gd name="connsiteY4" fmla="*/ 2381 h 1050131"/>
                  <a:gd name="connsiteX5" fmla="*/ 525457 w 544507"/>
                  <a:gd name="connsiteY5" fmla="*/ 26194 h 1050131"/>
                  <a:gd name="connsiteX6" fmla="*/ 544507 w 544507"/>
                  <a:gd name="connsiteY6" fmla="*/ 1050131 h 1050131"/>
                  <a:gd name="connsiteX7" fmla="*/ 14287 w 544507"/>
                  <a:gd name="connsiteY7" fmla="*/ 900112 h 1050131"/>
                  <a:gd name="connsiteX8" fmla="*/ 0 w 544507"/>
                  <a:gd name="connsiteY8" fmla="*/ 26193 h 1050131"/>
                  <a:gd name="connsiteX0" fmla="*/ 0 w 525457"/>
                  <a:gd name="connsiteY0" fmla="*/ 26193 h 902493"/>
                  <a:gd name="connsiteX1" fmla="*/ 149492 w 525457"/>
                  <a:gd name="connsiteY1" fmla="*/ 0 h 902493"/>
                  <a:gd name="connsiteX2" fmla="*/ 242088 w 525457"/>
                  <a:gd name="connsiteY2" fmla="*/ 600075 h 902493"/>
                  <a:gd name="connsiteX3" fmla="*/ 283462 w 525457"/>
                  <a:gd name="connsiteY3" fmla="*/ 314920 h 902493"/>
                  <a:gd name="connsiteX4" fmla="*/ 367760 w 525457"/>
                  <a:gd name="connsiteY4" fmla="*/ 2381 h 902493"/>
                  <a:gd name="connsiteX5" fmla="*/ 525457 w 525457"/>
                  <a:gd name="connsiteY5" fmla="*/ 26194 h 902493"/>
                  <a:gd name="connsiteX6" fmla="*/ 511169 w 525457"/>
                  <a:gd name="connsiteY6" fmla="*/ 902493 h 902493"/>
                  <a:gd name="connsiteX7" fmla="*/ 14287 w 525457"/>
                  <a:gd name="connsiteY7" fmla="*/ 900112 h 902493"/>
                  <a:gd name="connsiteX8" fmla="*/ 0 w 525457"/>
                  <a:gd name="connsiteY8" fmla="*/ 26193 h 902493"/>
                  <a:gd name="connsiteX0" fmla="*/ 0 w 525457"/>
                  <a:gd name="connsiteY0" fmla="*/ 26193 h 902493"/>
                  <a:gd name="connsiteX1" fmla="*/ 149492 w 525457"/>
                  <a:gd name="connsiteY1" fmla="*/ 0 h 902493"/>
                  <a:gd name="connsiteX2" fmla="*/ 283462 w 525457"/>
                  <a:gd name="connsiteY2" fmla="*/ 314920 h 902493"/>
                  <a:gd name="connsiteX3" fmla="*/ 367760 w 525457"/>
                  <a:gd name="connsiteY3" fmla="*/ 2381 h 902493"/>
                  <a:gd name="connsiteX4" fmla="*/ 525457 w 525457"/>
                  <a:gd name="connsiteY4" fmla="*/ 26194 h 902493"/>
                  <a:gd name="connsiteX5" fmla="*/ 511169 w 525457"/>
                  <a:gd name="connsiteY5" fmla="*/ 902493 h 902493"/>
                  <a:gd name="connsiteX6" fmla="*/ 14287 w 525457"/>
                  <a:gd name="connsiteY6" fmla="*/ 900112 h 902493"/>
                  <a:gd name="connsiteX7" fmla="*/ 0 w 525457"/>
                  <a:gd name="connsiteY7" fmla="*/ 26193 h 902493"/>
                  <a:gd name="connsiteX0" fmla="*/ 0 w 525457"/>
                  <a:gd name="connsiteY0" fmla="*/ 26193 h 902493"/>
                  <a:gd name="connsiteX1" fmla="*/ 149492 w 525457"/>
                  <a:gd name="connsiteY1" fmla="*/ 0 h 902493"/>
                  <a:gd name="connsiteX2" fmla="*/ 264412 w 525457"/>
                  <a:gd name="connsiteY2" fmla="*/ 172045 h 902493"/>
                  <a:gd name="connsiteX3" fmla="*/ 367760 w 525457"/>
                  <a:gd name="connsiteY3" fmla="*/ 2381 h 902493"/>
                  <a:gd name="connsiteX4" fmla="*/ 525457 w 525457"/>
                  <a:gd name="connsiteY4" fmla="*/ 26194 h 902493"/>
                  <a:gd name="connsiteX5" fmla="*/ 511169 w 525457"/>
                  <a:gd name="connsiteY5" fmla="*/ 902493 h 902493"/>
                  <a:gd name="connsiteX6" fmla="*/ 14287 w 525457"/>
                  <a:gd name="connsiteY6" fmla="*/ 900112 h 902493"/>
                  <a:gd name="connsiteX7" fmla="*/ 0 w 525457"/>
                  <a:gd name="connsiteY7" fmla="*/ 26193 h 902493"/>
                  <a:gd name="connsiteX0" fmla="*/ 0 w 525457"/>
                  <a:gd name="connsiteY0" fmla="*/ 26193 h 902493"/>
                  <a:gd name="connsiteX1" fmla="*/ 149492 w 525457"/>
                  <a:gd name="connsiteY1" fmla="*/ 0 h 902493"/>
                  <a:gd name="connsiteX2" fmla="*/ 264412 w 525457"/>
                  <a:gd name="connsiteY2" fmla="*/ 172045 h 902493"/>
                  <a:gd name="connsiteX3" fmla="*/ 367760 w 525457"/>
                  <a:gd name="connsiteY3" fmla="*/ 2381 h 902493"/>
                  <a:gd name="connsiteX4" fmla="*/ 525457 w 525457"/>
                  <a:gd name="connsiteY4" fmla="*/ 26194 h 902493"/>
                  <a:gd name="connsiteX5" fmla="*/ 511169 w 525457"/>
                  <a:gd name="connsiteY5" fmla="*/ 902493 h 902493"/>
                  <a:gd name="connsiteX6" fmla="*/ 14287 w 525457"/>
                  <a:gd name="connsiteY6" fmla="*/ 900112 h 902493"/>
                  <a:gd name="connsiteX7" fmla="*/ 0 w 525457"/>
                  <a:gd name="connsiteY7" fmla="*/ 26193 h 902493"/>
                  <a:gd name="connsiteX0" fmla="*/ 0 w 525457"/>
                  <a:gd name="connsiteY0" fmla="*/ 26193 h 902493"/>
                  <a:gd name="connsiteX1" fmla="*/ 149492 w 525457"/>
                  <a:gd name="connsiteY1" fmla="*/ 0 h 902493"/>
                  <a:gd name="connsiteX2" fmla="*/ 257268 w 525457"/>
                  <a:gd name="connsiteY2" fmla="*/ 174427 h 902493"/>
                  <a:gd name="connsiteX3" fmla="*/ 367760 w 525457"/>
                  <a:gd name="connsiteY3" fmla="*/ 2381 h 902493"/>
                  <a:gd name="connsiteX4" fmla="*/ 525457 w 525457"/>
                  <a:gd name="connsiteY4" fmla="*/ 26194 h 902493"/>
                  <a:gd name="connsiteX5" fmla="*/ 511169 w 525457"/>
                  <a:gd name="connsiteY5" fmla="*/ 902493 h 902493"/>
                  <a:gd name="connsiteX6" fmla="*/ 14287 w 525457"/>
                  <a:gd name="connsiteY6" fmla="*/ 900112 h 902493"/>
                  <a:gd name="connsiteX7" fmla="*/ 0 w 525457"/>
                  <a:gd name="connsiteY7" fmla="*/ 26193 h 902493"/>
                  <a:gd name="connsiteX0" fmla="*/ 0 w 525457"/>
                  <a:gd name="connsiteY0" fmla="*/ 26193 h 902493"/>
                  <a:gd name="connsiteX1" fmla="*/ 149492 w 525457"/>
                  <a:gd name="connsiteY1" fmla="*/ 0 h 902493"/>
                  <a:gd name="connsiteX2" fmla="*/ 257268 w 525457"/>
                  <a:gd name="connsiteY2" fmla="*/ 174427 h 902493"/>
                  <a:gd name="connsiteX3" fmla="*/ 367760 w 525457"/>
                  <a:gd name="connsiteY3" fmla="*/ 2381 h 902493"/>
                  <a:gd name="connsiteX4" fmla="*/ 525457 w 525457"/>
                  <a:gd name="connsiteY4" fmla="*/ 26194 h 902493"/>
                  <a:gd name="connsiteX5" fmla="*/ 511169 w 525457"/>
                  <a:gd name="connsiteY5" fmla="*/ 902493 h 902493"/>
                  <a:gd name="connsiteX6" fmla="*/ 14287 w 525457"/>
                  <a:gd name="connsiteY6" fmla="*/ 900112 h 902493"/>
                  <a:gd name="connsiteX7" fmla="*/ 0 w 525457"/>
                  <a:gd name="connsiteY7" fmla="*/ 26193 h 902493"/>
                  <a:gd name="connsiteX0" fmla="*/ 0 w 525457"/>
                  <a:gd name="connsiteY0" fmla="*/ 30955 h 907255"/>
                  <a:gd name="connsiteX1" fmla="*/ 149492 w 525457"/>
                  <a:gd name="connsiteY1" fmla="*/ 0 h 907255"/>
                  <a:gd name="connsiteX2" fmla="*/ 257268 w 525457"/>
                  <a:gd name="connsiteY2" fmla="*/ 179189 h 907255"/>
                  <a:gd name="connsiteX3" fmla="*/ 367760 w 525457"/>
                  <a:gd name="connsiteY3" fmla="*/ 7143 h 907255"/>
                  <a:gd name="connsiteX4" fmla="*/ 525457 w 525457"/>
                  <a:gd name="connsiteY4" fmla="*/ 30956 h 907255"/>
                  <a:gd name="connsiteX5" fmla="*/ 511169 w 525457"/>
                  <a:gd name="connsiteY5" fmla="*/ 907255 h 907255"/>
                  <a:gd name="connsiteX6" fmla="*/ 14287 w 525457"/>
                  <a:gd name="connsiteY6" fmla="*/ 904874 h 907255"/>
                  <a:gd name="connsiteX7" fmla="*/ 0 w 525457"/>
                  <a:gd name="connsiteY7" fmla="*/ 30955 h 907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25457" h="907255">
                    <a:moveTo>
                      <a:pt x="0" y="30955"/>
                    </a:moveTo>
                    <a:lnTo>
                      <a:pt x="149492" y="0"/>
                    </a:lnTo>
                    <a:cubicBezTo>
                      <a:pt x="196736" y="48121"/>
                      <a:pt x="199808" y="93166"/>
                      <a:pt x="257268" y="179189"/>
                    </a:cubicBezTo>
                    <a:lnTo>
                      <a:pt x="367760" y="7143"/>
                    </a:lnTo>
                    <a:lnTo>
                      <a:pt x="525457" y="30956"/>
                    </a:lnTo>
                    <a:lnTo>
                      <a:pt x="511169" y="907255"/>
                    </a:lnTo>
                    <a:lnTo>
                      <a:pt x="14287" y="904874"/>
                    </a:lnTo>
                    <a:lnTo>
                      <a:pt x="0" y="30955"/>
                    </a:lnTo>
                    <a:close/>
                  </a:path>
                </a:pathLst>
              </a:custGeom>
              <a:solidFill>
                <a:srgbClr val="FFFFFF">
                  <a:lumMod val="65000"/>
                </a:srgb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68" name="Freeform 367"/>
              <p:cNvSpPr/>
              <p:nvPr/>
            </p:nvSpPr>
            <p:spPr bwMode="auto">
              <a:xfrm rot="5400000">
                <a:off x="11428551" y="1116145"/>
                <a:ext cx="392904" cy="309562"/>
              </a:xfrm>
              <a:custGeom>
                <a:avLst/>
                <a:gdLst>
                  <a:gd name="connsiteX0" fmla="*/ 0 w 392904"/>
                  <a:gd name="connsiteY0" fmla="*/ 184191 h 309562"/>
                  <a:gd name="connsiteX1" fmla="*/ 0 w 392904"/>
                  <a:gd name="connsiteY1" fmla="*/ 125371 h 309562"/>
                  <a:gd name="connsiteX2" fmla="*/ 95323 w 392904"/>
                  <a:gd name="connsiteY2" fmla="*/ 30048 h 309562"/>
                  <a:gd name="connsiteX3" fmla="*/ 107911 w 392904"/>
                  <a:gd name="connsiteY3" fmla="*/ 30048 h 309562"/>
                  <a:gd name="connsiteX4" fmla="*/ 116458 w 392904"/>
                  <a:gd name="connsiteY4" fmla="*/ 9416 h 309562"/>
                  <a:gd name="connsiteX5" fmla="*/ 139189 w 392904"/>
                  <a:gd name="connsiteY5" fmla="*/ 0 h 309562"/>
                  <a:gd name="connsiteX6" fmla="*/ 182279 w 392904"/>
                  <a:gd name="connsiteY6" fmla="*/ 0 h 309562"/>
                  <a:gd name="connsiteX7" fmla="*/ 205010 w 392904"/>
                  <a:gd name="connsiteY7" fmla="*/ 9416 h 309562"/>
                  <a:gd name="connsiteX8" fmla="*/ 213557 w 392904"/>
                  <a:gd name="connsiteY8" fmla="*/ 30048 h 309562"/>
                  <a:gd name="connsiteX9" fmla="*/ 252339 w 392904"/>
                  <a:gd name="connsiteY9" fmla="*/ 30048 h 309562"/>
                  <a:gd name="connsiteX10" fmla="*/ 319742 w 392904"/>
                  <a:gd name="connsiteY10" fmla="*/ 57968 h 309562"/>
                  <a:gd name="connsiteX11" fmla="*/ 336441 w 392904"/>
                  <a:gd name="connsiteY11" fmla="*/ 82735 h 309562"/>
                  <a:gd name="connsiteX12" fmla="*/ 357186 w 392904"/>
                  <a:gd name="connsiteY12" fmla="*/ 80848 h 309562"/>
                  <a:gd name="connsiteX13" fmla="*/ 392904 w 392904"/>
                  <a:gd name="connsiteY13" fmla="*/ 152286 h 309562"/>
                  <a:gd name="connsiteX14" fmla="*/ 357186 w 392904"/>
                  <a:gd name="connsiteY14" fmla="*/ 235629 h 309562"/>
                  <a:gd name="connsiteX15" fmla="*/ 330992 w 392904"/>
                  <a:gd name="connsiteY15" fmla="*/ 235629 h 309562"/>
                  <a:gd name="connsiteX16" fmla="*/ 330992 w 392904"/>
                  <a:gd name="connsiteY16" fmla="*/ 234909 h 309562"/>
                  <a:gd name="connsiteX17" fmla="*/ 319742 w 392904"/>
                  <a:gd name="connsiteY17" fmla="*/ 251594 h 309562"/>
                  <a:gd name="connsiteX18" fmla="*/ 252339 w 392904"/>
                  <a:gd name="connsiteY18" fmla="*/ 279514 h 309562"/>
                  <a:gd name="connsiteX19" fmla="*/ 213557 w 392904"/>
                  <a:gd name="connsiteY19" fmla="*/ 279514 h 309562"/>
                  <a:gd name="connsiteX20" fmla="*/ 205010 w 392904"/>
                  <a:gd name="connsiteY20" fmla="*/ 300146 h 309562"/>
                  <a:gd name="connsiteX21" fmla="*/ 182279 w 392904"/>
                  <a:gd name="connsiteY21" fmla="*/ 309562 h 309562"/>
                  <a:gd name="connsiteX22" fmla="*/ 139189 w 392904"/>
                  <a:gd name="connsiteY22" fmla="*/ 309562 h 309562"/>
                  <a:gd name="connsiteX23" fmla="*/ 116458 w 392904"/>
                  <a:gd name="connsiteY23" fmla="*/ 300146 h 309562"/>
                  <a:gd name="connsiteX24" fmla="*/ 107911 w 392904"/>
                  <a:gd name="connsiteY24" fmla="*/ 279514 h 309562"/>
                  <a:gd name="connsiteX25" fmla="*/ 95323 w 392904"/>
                  <a:gd name="connsiteY25" fmla="*/ 279514 h 309562"/>
                  <a:gd name="connsiteX26" fmla="*/ 0 w 392904"/>
                  <a:gd name="connsiteY26" fmla="*/ 184191 h 309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392904" h="309562">
                    <a:moveTo>
                      <a:pt x="0" y="184191"/>
                    </a:moveTo>
                    <a:lnTo>
                      <a:pt x="0" y="125371"/>
                    </a:lnTo>
                    <a:cubicBezTo>
                      <a:pt x="0" y="72726"/>
                      <a:pt x="42678" y="30048"/>
                      <a:pt x="95323" y="30048"/>
                    </a:cubicBezTo>
                    <a:lnTo>
                      <a:pt x="107911" y="30048"/>
                    </a:lnTo>
                    <a:lnTo>
                      <a:pt x="116458" y="9416"/>
                    </a:lnTo>
                    <a:cubicBezTo>
                      <a:pt x="122275" y="3598"/>
                      <a:pt x="130312" y="0"/>
                      <a:pt x="139189" y="0"/>
                    </a:cubicBezTo>
                    <a:lnTo>
                      <a:pt x="182279" y="0"/>
                    </a:lnTo>
                    <a:cubicBezTo>
                      <a:pt x="191156" y="0"/>
                      <a:pt x="199193" y="3598"/>
                      <a:pt x="205010" y="9416"/>
                    </a:cubicBezTo>
                    <a:lnTo>
                      <a:pt x="213557" y="30048"/>
                    </a:lnTo>
                    <a:lnTo>
                      <a:pt x="252339" y="30048"/>
                    </a:lnTo>
                    <a:cubicBezTo>
                      <a:pt x="278662" y="30048"/>
                      <a:pt x="302492" y="40718"/>
                      <a:pt x="319742" y="57968"/>
                    </a:cubicBezTo>
                    <a:lnTo>
                      <a:pt x="336441" y="82735"/>
                    </a:lnTo>
                    <a:lnTo>
                      <a:pt x="357186" y="80848"/>
                    </a:lnTo>
                    <a:lnTo>
                      <a:pt x="392904" y="152286"/>
                    </a:lnTo>
                    <a:lnTo>
                      <a:pt x="357186" y="235629"/>
                    </a:lnTo>
                    <a:lnTo>
                      <a:pt x="330992" y="235629"/>
                    </a:lnTo>
                    <a:lnTo>
                      <a:pt x="330992" y="234909"/>
                    </a:lnTo>
                    <a:lnTo>
                      <a:pt x="319742" y="251594"/>
                    </a:lnTo>
                    <a:cubicBezTo>
                      <a:pt x="302492" y="268845"/>
                      <a:pt x="278662" y="279514"/>
                      <a:pt x="252339" y="279514"/>
                    </a:cubicBezTo>
                    <a:lnTo>
                      <a:pt x="213557" y="279514"/>
                    </a:lnTo>
                    <a:lnTo>
                      <a:pt x="205010" y="300146"/>
                    </a:lnTo>
                    <a:cubicBezTo>
                      <a:pt x="199193" y="305964"/>
                      <a:pt x="191156" y="309562"/>
                      <a:pt x="182279" y="309562"/>
                    </a:cubicBezTo>
                    <a:lnTo>
                      <a:pt x="139189" y="309562"/>
                    </a:lnTo>
                    <a:cubicBezTo>
                      <a:pt x="130312" y="309562"/>
                      <a:pt x="122275" y="305964"/>
                      <a:pt x="116458" y="300146"/>
                    </a:cubicBezTo>
                    <a:lnTo>
                      <a:pt x="107911" y="279514"/>
                    </a:lnTo>
                    <a:lnTo>
                      <a:pt x="95323" y="279514"/>
                    </a:lnTo>
                    <a:cubicBezTo>
                      <a:pt x="42678" y="279514"/>
                      <a:pt x="0" y="236836"/>
                      <a:pt x="0" y="184191"/>
                    </a:cubicBezTo>
                    <a:close/>
                  </a:path>
                </a:pathLst>
              </a:custGeom>
              <a:solidFill>
                <a:srgbClr val="FFC000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69" name="Freeform 368"/>
              <p:cNvSpPr/>
              <p:nvPr/>
            </p:nvSpPr>
            <p:spPr bwMode="auto">
              <a:xfrm>
                <a:off x="11472272" y="1019300"/>
                <a:ext cx="301906" cy="195665"/>
              </a:xfrm>
              <a:custGeom>
                <a:avLst/>
                <a:gdLst>
                  <a:gd name="connsiteX0" fmla="*/ 300038 w 300038"/>
                  <a:gd name="connsiteY0" fmla="*/ 190500 h 190500"/>
                  <a:gd name="connsiteX1" fmla="*/ 271463 w 300038"/>
                  <a:gd name="connsiteY1" fmla="*/ 116681 h 190500"/>
                  <a:gd name="connsiteX2" fmla="*/ 195263 w 300038"/>
                  <a:gd name="connsiteY2" fmla="*/ 107156 h 190500"/>
                  <a:gd name="connsiteX3" fmla="*/ 52388 w 300038"/>
                  <a:gd name="connsiteY3" fmla="*/ 100012 h 190500"/>
                  <a:gd name="connsiteX4" fmla="*/ 21431 w 300038"/>
                  <a:gd name="connsiteY4" fmla="*/ 119062 h 190500"/>
                  <a:gd name="connsiteX5" fmla="*/ 23813 w 300038"/>
                  <a:gd name="connsiteY5" fmla="*/ 164306 h 190500"/>
                  <a:gd name="connsiteX6" fmla="*/ 0 w 300038"/>
                  <a:gd name="connsiteY6" fmla="*/ 171450 h 190500"/>
                  <a:gd name="connsiteX7" fmla="*/ 97631 w 300038"/>
                  <a:gd name="connsiteY7" fmla="*/ 0 h 190500"/>
                  <a:gd name="connsiteX8" fmla="*/ 214313 w 300038"/>
                  <a:gd name="connsiteY8" fmla="*/ 40481 h 190500"/>
                  <a:gd name="connsiteX9" fmla="*/ 300038 w 300038"/>
                  <a:gd name="connsiteY9" fmla="*/ 190500 h 190500"/>
                  <a:gd name="connsiteX0" fmla="*/ 300038 w 300038"/>
                  <a:gd name="connsiteY0" fmla="*/ 190500 h 190500"/>
                  <a:gd name="connsiteX1" fmla="*/ 271463 w 300038"/>
                  <a:gd name="connsiteY1" fmla="*/ 116681 h 190500"/>
                  <a:gd name="connsiteX2" fmla="*/ 195263 w 300038"/>
                  <a:gd name="connsiteY2" fmla="*/ 107156 h 190500"/>
                  <a:gd name="connsiteX3" fmla="*/ 52388 w 300038"/>
                  <a:gd name="connsiteY3" fmla="*/ 100012 h 190500"/>
                  <a:gd name="connsiteX4" fmla="*/ 21431 w 300038"/>
                  <a:gd name="connsiteY4" fmla="*/ 119062 h 190500"/>
                  <a:gd name="connsiteX5" fmla="*/ 23813 w 300038"/>
                  <a:gd name="connsiteY5" fmla="*/ 164306 h 190500"/>
                  <a:gd name="connsiteX6" fmla="*/ 0 w 300038"/>
                  <a:gd name="connsiteY6" fmla="*/ 171450 h 190500"/>
                  <a:gd name="connsiteX7" fmla="*/ 97631 w 300038"/>
                  <a:gd name="connsiteY7" fmla="*/ 0 h 190500"/>
                  <a:gd name="connsiteX8" fmla="*/ 214313 w 300038"/>
                  <a:gd name="connsiteY8" fmla="*/ 40481 h 190500"/>
                  <a:gd name="connsiteX9" fmla="*/ 300038 w 300038"/>
                  <a:gd name="connsiteY9" fmla="*/ 190500 h 190500"/>
                  <a:gd name="connsiteX0" fmla="*/ 300038 w 300038"/>
                  <a:gd name="connsiteY0" fmla="*/ 190500 h 190500"/>
                  <a:gd name="connsiteX1" fmla="*/ 271463 w 300038"/>
                  <a:gd name="connsiteY1" fmla="*/ 116681 h 190500"/>
                  <a:gd name="connsiteX2" fmla="*/ 195263 w 300038"/>
                  <a:gd name="connsiteY2" fmla="*/ 107156 h 190500"/>
                  <a:gd name="connsiteX3" fmla="*/ 52388 w 300038"/>
                  <a:gd name="connsiteY3" fmla="*/ 100012 h 190500"/>
                  <a:gd name="connsiteX4" fmla="*/ 21431 w 300038"/>
                  <a:gd name="connsiteY4" fmla="*/ 119062 h 190500"/>
                  <a:gd name="connsiteX5" fmla="*/ 23813 w 300038"/>
                  <a:gd name="connsiteY5" fmla="*/ 164306 h 190500"/>
                  <a:gd name="connsiteX6" fmla="*/ 0 w 300038"/>
                  <a:gd name="connsiteY6" fmla="*/ 171450 h 190500"/>
                  <a:gd name="connsiteX7" fmla="*/ 97631 w 300038"/>
                  <a:gd name="connsiteY7" fmla="*/ 0 h 190500"/>
                  <a:gd name="connsiteX8" fmla="*/ 214313 w 300038"/>
                  <a:gd name="connsiteY8" fmla="*/ 40481 h 190500"/>
                  <a:gd name="connsiteX9" fmla="*/ 300038 w 300038"/>
                  <a:gd name="connsiteY9" fmla="*/ 190500 h 190500"/>
                  <a:gd name="connsiteX0" fmla="*/ 300038 w 301649"/>
                  <a:gd name="connsiteY0" fmla="*/ 190500 h 190500"/>
                  <a:gd name="connsiteX1" fmla="*/ 271463 w 301649"/>
                  <a:gd name="connsiteY1" fmla="*/ 116681 h 190500"/>
                  <a:gd name="connsiteX2" fmla="*/ 195263 w 301649"/>
                  <a:gd name="connsiteY2" fmla="*/ 107156 h 190500"/>
                  <a:gd name="connsiteX3" fmla="*/ 52388 w 301649"/>
                  <a:gd name="connsiteY3" fmla="*/ 100012 h 190500"/>
                  <a:gd name="connsiteX4" fmla="*/ 21431 w 301649"/>
                  <a:gd name="connsiteY4" fmla="*/ 119062 h 190500"/>
                  <a:gd name="connsiteX5" fmla="*/ 23813 w 301649"/>
                  <a:gd name="connsiteY5" fmla="*/ 164306 h 190500"/>
                  <a:gd name="connsiteX6" fmla="*/ 0 w 301649"/>
                  <a:gd name="connsiteY6" fmla="*/ 171450 h 190500"/>
                  <a:gd name="connsiteX7" fmla="*/ 97631 w 301649"/>
                  <a:gd name="connsiteY7" fmla="*/ 0 h 190500"/>
                  <a:gd name="connsiteX8" fmla="*/ 214313 w 301649"/>
                  <a:gd name="connsiteY8" fmla="*/ 40481 h 190500"/>
                  <a:gd name="connsiteX9" fmla="*/ 300038 w 301649"/>
                  <a:gd name="connsiteY9" fmla="*/ 190500 h 190500"/>
                  <a:gd name="connsiteX0" fmla="*/ 300038 w 301649"/>
                  <a:gd name="connsiteY0" fmla="*/ 194507 h 194507"/>
                  <a:gd name="connsiteX1" fmla="*/ 271463 w 301649"/>
                  <a:gd name="connsiteY1" fmla="*/ 120688 h 194507"/>
                  <a:gd name="connsiteX2" fmla="*/ 195263 w 301649"/>
                  <a:gd name="connsiteY2" fmla="*/ 111163 h 194507"/>
                  <a:gd name="connsiteX3" fmla="*/ 52388 w 301649"/>
                  <a:gd name="connsiteY3" fmla="*/ 104019 h 194507"/>
                  <a:gd name="connsiteX4" fmla="*/ 21431 w 301649"/>
                  <a:gd name="connsiteY4" fmla="*/ 123069 h 194507"/>
                  <a:gd name="connsiteX5" fmla="*/ 23813 w 301649"/>
                  <a:gd name="connsiteY5" fmla="*/ 168313 h 194507"/>
                  <a:gd name="connsiteX6" fmla="*/ 0 w 301649"/>
                  <a:gd name="connsiteY6" fmla="*/ 175457 h 194507"/>
                  <a:gd name="connsiteX7" fmla="*/ 97631 w 301649"/>
                  <a:gd name="connsiteY7" fmla="*/ 4007 h 194507"/>
                  <a:gd name="connsiteX8" fmla="*/ 214313 w 301649"/>
                  <a:gd name="connsiteY8" fmla="*/ 44488 h 194507"/>
                  <a:gd name="connsiteX9" fmla="*/ 300038 w 301649"/>
                  <a:gd name="connsiteY9" fmla="*/ 194507 h 194507"/>
                  <a:gd name="connsiteX0" fmla="*/ 300038 w 301649"/>
                  <a:gd name="connsiteY0" fmla="*/ 195665 h 195665"/>
                  <a:gd name="connsiteX1" fmla="*/ 271463 w 301649"/>
                  <a:gd name="connsiteY1" fmla="*/ 121846 h 195665"/>
                  <a:gd name="connsiteX2" fmla="*/ 195263 w 301649"/>
                  <a:gd name="connsiteY2" fmla="*/ 112321 h 195665"/>
                  <a:gd name="connsiteX3" fmla="*/ 52388 w 301649"/>
                  <a:gd name="connsiteY3" fmla="*/ 105177 h 195665"/>
                  <a:gd name="connsiteX4" fmla="*/ 21431 w 301649"/>
                  <a:gd name="connsiteY4" fmla="*/ 124227 h 195665"/>
                  <a:gd name="connsiteX5" fmla="*/ 23813 w 301649"/>
                  <a:gd name="connsiteY5" fmla="*/ 169471 h 195665"/>
                  <a:gd name="connsiteX6" fmla="*/ 0 w 301649"/>
                  <a:gd name="connsiteY6" fmla="*/ 176615 h 195665"/>
                  <a:gd name="connsiteX7" fmla="*/ 97631 w 301649"/>
                  <a:gd name="connsiteY7" fmla="*/ 5165 h 195665"/>
                  <a:gd name="connsiteX8" fmla="*/ 214313 w 301649"/>
                  <a:gd name="connsiteY8" fmla="*/ 45646 h 195665"/>
                  <a:gd name="connsiteX9" fmla="*/ 300038 w 301649"/>
                  <a:gd name="connsiteY9" fmla="*/ 195665 h 195665"/>
                  <a:gd name="connsiteX0" fmla="*/ 300038 w 301649"/>
                  <a:gd name="connsiteY0" fmla="*/ 195665 h 195665"/>
                  <a:gd name="connsiteX1" fmla="*/ 271463 w 301649"/>
                  <a:gd name="connsiteY1" fmla="*/ 121846 h 195665"/>
                  <a:gd name="connsiteX2" fmla="*/ 195263 w 301649"/>
                  <a:gd name="connsiteY2" fmla="*/ 112321 h 195665"/>
                  <a:gd name="connsiteX3" fmla="*/ 52388 w 301649"/>
                  <a:gd name="connsiteY3" fmla="*/ 105177 h 195665"/>
                  <a:gd name="connsiteX4" fmla="*/ 45243 w 301649"/>
                  <a:gd name="connsiteY4" fmla="*/ 150420 h 195665"/>
                  <a:gd name="connsiteX5" fmla="*/ 23813 w 301649"/>
                  <a:gd name="connsiteY5" fmla="*/ 169471 h 195665"/>
                  <a:gd name="connsiteX6" fmla="*/ 0 w 301649"/>
                  <a:gd name="connsiteY6" fmla="*/ 176615 h 195665"/>
                  <a:gd name="connsiteX7" fmla="*/ 97631 w 301649"/>
                  <a:gd name="connsiteY7" fmla="*/ 5165 h 195665"/>
                  <a:gd name="connsiteX8" fmla="*/ 214313 w 301649"/>
                  <a:gd name="connsiteY8" fmla="*/ 45646 h 195665"/>
                  <a:gd name="connsiteX9" fmla="*/ 300038 w 301649"/>
                  <a:gd name="connsiteY9" fmla="*/ 195665 h 195665"/>
                  <a:gd name="connsiteX0" fmla="*/ 300483 w 302094"/>
                  <a:gd name="connsiteY0" fmla="*/ 195665 h 195665"/>
                  <a:gd name="connsiteX1" fmla="*/ 271908 w 302094"/>
                  <a:gd name="connsiteY1" fmla="*/ 121846 h 195665"/>
                  <a:gd name="connsiteX2" fmla="*/ 195708 w 302094"/>
                  <a:gd name="connsiteY2" fmla="*/ 112321 h 195665"/>
                  <a:gd name="connsiteX3" fmla="*/ 52833 w 302094"/>
                  <a:gd name="connsiteY3" fmla="*/ 105177 h 195665"/>
                  <a:gd name="connsiteX4" fmla="*/ 45688 w 302094"/>
                  <a:gd name="connsiteY4" fmla="*/ 150420 h 195665"/>
                  <a:gd name="connsiteX5" fmla="*/ 24258 w 302094"/>
                  <a:gd name="connsiteY5" fmla="*/ 169471 h 195665"/>
                  <a:gd name="connsiteX6" fmla="*/ 445 w 302094"/>
                  <a:gd name="connsiteY6" fmla="*/ 176615 h 195665"/>
                  <a:gd name="connsiteX7" fmla="*/ 98076 w 302094"/>
                  <a:gd name="connsiteY7" fmla="*/ 5165 h 195665"/>
                  <a:gd name="connsiteX8" fmla="*/ 214758 w 302094"/>
                  <a:gd name="connsiteY8" fmla="*/ 45646 h 195665"/>
                  <a:gd name="connsiteX9" fmla="*/ 300483 w 302094"/>
                  <a:gd name="connsiteY9" fmla="*/ 195665 h 195665"/>
                  <a:gd name="connsiteX0" fmla="*/ 300483 w 302094"/>
                  <a:gd name="connsiteY0" fmla="*/ 195665 h 195665"/>
                  <a:gd name="connsiteX1" fmla="*/ 271908 w 302094"/>
                  <a:gd name="connsiteY1" fmla="*/ 121846 h 195665"/>
                  <a:gd name="connsiteX2" fmla="*/ 195708 w 302094"/>
                  <a:gd name="connsiteY2" fmla="*/ 112321 h 195665"/>
                  <a:gd name="connsiteX3" fmla="*/ 52833 w 302094"/>
                  <a:gd name="connsiteY3" fmla="*/ 105177 h 195665"/>
                  <a:gd name="connsiteX4" fmla="*/ 45688 w 302094"/>
                  <a:gd name="connsiteY4" fmla="*/ 150420 h 195665"/>
                  <a:gd name="connsiteX5" fmla="*/ 21877 w 302094"/>
                  <a:gd name="connsiteY5" fmla="*/ 131371 h 195665"/>
                  <a:gd name="connsiteX6" fmla="*/ 445 w 302094"/>
                  <a:gd name="connsiteY6" fmla="*/ 176615 h 195665"/>
                  <a:gd name="connsiteX7" fmla="*/ 98076 w 302094"/>
                  <a:gd name="connsiteY7" fmla="*/ 5165 h 195665"/>
                  <a:gd name="connsiteX8" fmla="*/ 214758 w 302094"/>
                  <a:gd name="connsiteY8" fmla="*/ 45646 h 195665"/>
                  <a:gd name="connsiteX9" fmla="*/ 300483 w 302094"/>
                  <a:gd name="connsiteY9" fmla="*/ 195665 h 195665"/>
                  <a:gd name="connsiteX0" fmla="*/ 300483 w 302094"/>
                  <a:gd name="connsiteY0" fmla="*/ 195665 h 195665"/>
                  <a:gd name="connsiteX1" fmla="*/ 271908 w 302094"/>
                  <a:gd name="connsiteY1" fmla="*/ 121846 h 195665"/>
                  <a:gd name="connsiteX2" fmla="*/ 195708 w 302094"/>
                  <a:gd name="connsiteY2" fmla="*/ 112321 h 195665"/>
                  <a:gd name="connsiteX3" fmla="*/ 52833 w 302094"/>
                  <a:gd name="connsiteY3" fmla="*/ 105177 h 195665"/>
                  <a:gd name="connsiteX4" fmla="*/ 43307 w 302094"/>
                  <a:gd name="connsiteY4" fmla="*/ 126608 h 195665"/>
                  <a:gd name="connsiteX5" fmla="*/ 21877 w 302094"/>
                  <a:gd name="connsiteY5" fmla="*/ 131371 h 195665"/>
                  <a:gd name="connsiteX6" fmla="*/ 445 w 302094"/>
                  <a:gd name="connsiteY6" fmla="*/ 176615 h 195665"/>
                  <a:gd name="connsiteX7" fmla="*/ 98076 w 302094"/>
                  <a:gd name="connsiteY7" fmla="*/ 5165 h 195665"/>
                  <a:gd name="connsiteX8" fmla="*/ 214758 w 302094"/>
                  <a:gd name="connsiteY8" fmla="*/ 45646 h 195665"/>
                  <a:gd name="connsiteX9" fmla="*/ 300483 w 302094"/>
                  <a:gd name="connsiteY9" fmla="*/ 195665 h 195665"/>
                  <a:gd name="connsiteX0" fmla="*/ 300483 w 302094"/>
                  <a:gd name="connsiteY0" fmla="*/ 195665 h 195665"/>
                  <a:gd name="connsiteX1" fmla="*/ 271908 w 302094"/>
                  <a:gd name="connsiteY1" fmla="*/ 121846 h 195665"/>
                  <a:gd name="connsiteX2" fmla="*/ 195708 w 302094"/>
                  <a:gd name="connsiteY2" fmla="*/ 112321 h 195665"/>
                  <a:gd name="connsiteX3" fmla="*/ 52833 w 302094"/>
                  <a:gd name="connsiteY3" fmla="*/ 105177 h 195665"/>
                  <a:gd name="connsiteX4" fmla="*/ 43307 w 302094"/>
                  <a:gd name="connsiteY4" fmla="*/ 126608 h 195665"/>
                  <a:gd name="connsiteX5" fmla="*/ 12352 w 302094"/>
                  <a:gd name="connsiteY5" fmla="*/ 171852 h 195665"/>
                  <a:gd name="connsiteX6" fmla="*/ 445 w 302094"/>
                  <a:gd name="connsiteY6" fmla="*/ 176615 h 195665"/>
                  <a:gd name="connsiteX7" fmla="*/ 98076 w 302094"/>
                  <a:gd name="connsiteY7" fmla="*/ 5165 h 195665"/>
                  <a:gd name="connsiteX8" fmla="*/ 214758 w 302094"/>
                  <a:gd name="connsiteY8" fmla="*/ 45646 h 195665"/>
                  <a:gd name="connsiteX9" fmla="*/ 300483 w 302094"/>
                  <a:gd name="connsiteY9" fmla="*/ 195665 h 195665"/>
                  <a:gd name="connsiteX0" fmla="*/ 300483 w 302094"/>
                  <a:gd name="connsiteY0" fmla="*/ 195665 h 195665"/>
                  <a:gd name="connsiteX1" fmla="*/ 271908 w 302094"/>
                  <a:gd name="connsiteY1" fmla="*/ 121846 h 195665"/>
                  <a:gd name="connsiteX2" fmla="*/ 195708 w 302094"/>
                  <a:gd name="connsiteY2" fmla="*/ 112321 h 195665"/>
                  <a:gd name="connsiteX3" fmla="*/ 52833 w 302094"/>
                  <a:gd name="connsiteY3" fmla="*/ 105177 h 195665"/>
                  <a:gd name="connsiteX4" fmla="*/ 43307 w 302094"/>
                  <a:gd name="connsiteY4" fmla="*/ 126608 h 195665"/>
                  <a:gd name="connsiteX5" fmla="*/ 12352 w 302094"/>
                  <a:gd name="connsiteY5" fmla="*/ 171852 h 195665"/>
                  <a:gd name="connsiteX6" fmla="*/ 445 w 302094"/>
                  <a:gd name="connsiteY6" fmla="*/ 176615 h 195665"/>
                  <a:gd name="connsiteX7" fmla="*/ 98076 w 302094"/>
                  <a:gd name="connsiteY7" fmla="*/ 5165 h 195665"/>
                  <a:gd name="connsiteX8" fmla="*/ 214758 w 302094"/>
                  <a:gd name="connsiteY8" fmla="*/ 45646 h 195665"/>
                  <a:gd name="connsiteX9" fmla="*/ 300483 w 302094"/>
                  <a:gd name="connsiteY9" fmla="*/ 195665 h 195665"/>
                  <a:gd name="connsiteX0" fmla="*/ 300483 w 302094"/>
                  <a:gd name="connsiteY0" fmla="*/ 195665 h 195665"/>
                  <a:gd name="connsiteX1" fmla="*/ 271908 w 302094"/>
                  <a:gd name="connsiteY1" fmla="*/ 121846 h 195665"/>
                  <a:gd name="connsiteX2" fmla="*/ 195708 w 302094"/>
                  <a:gd name="connsiteY2" fmla="*/ 112321 h 195665"/>
                  <a:gd name="connsiteX3" fmla="*/ 52833 w 302094"/>
                  <a:gd name="connsiteY3" fmla="*/ 105177 h 195665"/>
                  <a:gd name="connsiteX4" fmla="*/ 43307 w 302094"/>
                  <a:gd name="connsiteY4" fmla="*/ 126608 h 195665"/>
                  <a:gd name="connsiteX5" fmla="*/ 12352 w 302094"/>
                  <a:gd name="connsiteY5" fmla="*/ 171852 h 195665"/>
                  <a:gd name="connsiteX6" fmla="*/ 445 w 302094"/>
                  <a:gd name="connsiteY6" fmla="*/ 176615 h 195665"/>
                  <a:gd name="connsiteX7" fmla="*/ 98076 w 302094"/>
                  <a:gd name="connsiteY7" fmla="*/ 5165 h 195665"/>
                  <a:gd name="connsiteX8" fmla="*/ 214758 w 302094"/>
                  <a:gd name="connsiteY8" fmla="*/ 45646 h 195665"/>
                  <a:gd name="connsiteX9" fmla="*/ 300483 w 302094"/>
                  <a:gd name="connsiteY9" fmla="*/ 195665 h 195665"/>
                  <a:gd name="connsiteX0" fmla="*/ 300483 w 302094"/>
                  <a:gd name="connsiteY0" fmla="*/ 195665 h 195665"/>
                  <a:gd name="connsiteX1" fmla="*/ 271908 w 302094"/>
                  <a:gd name="connsiteY1" fmla="*/ 121846 h 195665"/>
                  <a:gd name="connsiteX2" fmla="*/ 195708 w 302094"/>
                  <a:gd name="connsiteY2" fmla="*/ 112321 h 195665"/>
                  <a:gd name="connsiteX3" fmla="*/ 52833 w 302094"/>
                  <a:gd name="connsiteY3" fmla="*/ 105177 h 195665"/>
                  <a:gd name="connsiteX4" fmla="*/ 43307 w 302094"/>
                  <a:gd name="connsiteY4" fmla="*/ 126608 h 195665"/>
                  <a:gd name="connsiteX5" fmla="*/ 12352 w 302094"/>
                  <a:gd name="connsiteY5" fmla="*/ 171852 h 195665"/>
                  <a:gd name="connsiteX6" fmla="*/ 445 w 302094"/>
                  <a:gd name="connsiteY6" fmla="*/ 176615 h 195665"/>
                  <a:gd name="connsiteX7" fmla="*/ 98076 w 302094"/>
                  <a:gd name="connsiteY7" fmla="*/ 5165 h 195665"/>
                  <a:gd name="connsiteX8" fmla="*/ 214758 w 302094"/>
                  <a:gd name="connsiteY8" fmla="*/ 45646 h 195665"/>
                  <a:gd name="connsiteX9" fmla="*/ 300483 w 302094"/>
                  <a:gd name="connsiteY9" fmla="*/ 195665 h 195665"/>
                  <a:gd name="connsiteX0" fmla="*/ 300483 w 302094"/>
                  <a:gd name="connsiteY0" fmla="*/ 195665 h 195665"/>
                  <a:gd name="connsiteX1" fmla="*/ 271908 w 302094"/>
                  <a:gd name="connsiteY1" fmla="*/ 121846 h 195665"/>
                  <a:gd name="connsiteX2" fmla="*/ 195708 w 302094"/>
                  <a:gd name="connsiteY2" fmla="*/ 112321 h 195665"/>
                  <a:gd name="connsiteX3" fmla="*/ 52833 w 302094"/>
                  <a:gd name="connsiteY3" fmla="*/ 105177 h 195665"/>
                  <a:gd name="connsiteX4" fmla="*/ 43307 w 302094"/>
                  <a:gd name="connsiteY4" fmla="*/ 126608 h 195665"/>
                  <a:gd name="connsiteX5" fmla="*/ 12352 w 302094"/>
                  <a:gd name="connsiteY5" fmla="*/ 171852 h 195665"/>
                  <a:gd name="connsiteX6" fmla="*/ 445 w 302094"/>
                  <a:gd name="connsiteY6" fmla="*/ 176615 h 195665"/>
                  <a:gd name="connsiteX7" fmla="*/ 98076 w 302094"/>
                  <a:gd name="connsiteY7" fmla="*/ 5165 h 195665"/>
                  <a:gd name="connsiteX8" fmla="*/ 214758 w 302094"/>
                  <a:gd name="connsiteY8" fmla="*/ 45646 h 195665"/>
                  <a:gd name="connsiteX9" fmla="*/ 300483 w 302094"/>
                  <a:gd name="connsiteY9" fmla="*/ 195665 h 195665"/>
                  <a:gd name="connsiteX0" fmla="*/ 300483 w 301906"/>
                  <a:gd name="connsiteY0" fmla="*/ 195665 h 195665"/>
                  <a:gd name="connsiteX1" fmla="*/ 271908 w 301906"/>
                  <a:gd name="connsiteY1" fmla="*/ 121846 h 195665"/>
                  <a:gd name="connsiteX2" fmla="*/ 195708 w 301906"/>
                  <a:gd name="connsiteY2" fmla="*/ 112321 h 195665"/>
                  <a:gd name="connsiteX3" fmla="*/ 52833 w 301906"/>
                  <a:gd name="connsiteY3" fmla="*/ 105177 h 195665"/>
                  <a:gd name="connsiteX4" fmla="*/ 43307 w 301906"/>
                  <a:gd name="connsiteY4" fmla="*/ 126608 h 195665"/>
                  <a:gd name="connsiteX5" fmla="*/ 12352 w 301906"/>
                  <a:gd name="connsiteY5" fmla="*/ 171852 h 195665"/>
                  <a:gd name="connsiteX6" fmla="*/ 445 w 301906"/>
                  <a:gd name="connsiteY6" fmla="*/ 176615 h 195665"/>
                  <a:gd name="connsiteX7" fmla="*/ 98076 w 301906"/>
                  <a:gd name="connsiteY7" fmla="*/ 5165 h 195665"/>
                  <a:gd name="connsiteX8" fmla="*/ 214758 w 301906"/>
                  <a:gd name="connsiteY8" fmla="*/ 45646 h 195665"/>
                  <a:gd name="connsiteX9" fmla="*/ 300483 w 301906"/>
                  <a:gd name="connsiteY9" fmla="*/ 195665 h 195665"/>
                  <a:gd name="connsiteX0" fmla="*/ 300483 w 301906"/>
                  <a:gd name="connsiteY0" fmla="*/ 195665 h 195665"/>
                  <a:gd name="connsiteX1" fmla="*/ 271908 w 301906"/>
                  <a:gd name="connsiteY1" fmla="*/ 121846 h 195665"/>
                  <a:gd name="connsiteX2" fmla="*/ 195708 w 301906"/>
                  <a:gd name="connsiteY2" fmla="*/ 112321 h 195665"/>
                  <a:gd name="connsiteX3" fmla="*/ 52833 w 301906"/>
                  <a:gd name="connsiteY3" fmla="*/ 105177 h 195665"/>
                  <a:gd name="connsiteX4" fmla="*/ 43307 w 301906"/>
                  <a:gd name="connsiteY4" fmla="*/ 126608 h 195665"/>
                  <a:gd name="connsiteX5" fmla="*/ 12352 w 301906"/>
                  <a:gd name="connsiteY5" fmla="*/ 171852 h 195665"/>
                  <a:gd name="connsiteX6" fmla="*/ 445 w 301906"/>
                  <a:gd name="connsiteY6" fmla="*/ 176615 h 195665"/>
                  <a:gd name="connsiteX7" fmla="*/ 98076 w 301906"/>
                  <a:gd name="connsiteY7" fmla="*/ 5165 h 195665"/>
                  <a:gd name="connsiteX8" fmla="*/ 214758 w 301906"/>
                  <a:gd name="connsiteY8" fmla="*/ 45646 h 195665"/>
                  <a:gd name="connsiteX9" fmla="*/ 300483 w 301906"/>
                  <a:gd name="connsiteY9" fmla="*/ 195665 h 1956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01906" h="195665">
                    <a:moveTo>
                      <a:pt x="300483" y="195665"/>
                    </a:moveTo>
                    <a:cubicBezTo>
                      <a:pt x="231426" y="159153"/>
                      <a:pt x="281433" y="146452"/>
                      <a:pt x="271908" y="121846"/>
                    </a:cubicBezTo>
                    <a:cubicBezTo>
                      <a:pt x="246508" y="130578"/>
                      <a:pt x="221108" y="115496"/>
                      <a:pt x="195708" y="112321"/>
                    </a:cubicBezTo>
                    <a:cubicBezTo>
                      <a:pt x="117127" y="138515"/>
                      <a:pt x="86170" y="124227"/>
                      <a:pt x="52833" y="105177"/>
                    </a:cubicBezTo>
                    <a:lnTo>
                      <a:pt x="43307" y="126608"/>
                    </a:lnTo>
                    <a:cubicBezTo>
                      <a:pt x="32989" y="141689"/>
                      <a:pt x="32195" y="178203"/>
                      <a:pt x="12352" y="171852"/>
                    </a:cubicBezTo>
                    <a:lnTo>
                      <a:pt x="445" y="176615"/>
                    </a:lnTo>
                    <a:cubicBezTo>
                      <a:pt x="-2730" y="105177"/>
                      <a:pt x="9176" y="22627"/>
                      <a:pt x="98076" y="5165"/>
                    </a:cubicBezTo>
                    <a:cubicBezTo>
                      <a:pt x="186976" y="-12297"/>
                      <a:pt x="204439" y="17864"/>
                      <a:pt x="214758" y="45646"/>
                    </a:cubicBezTo>
                    <a:cubicBezTo>
                      <a:pt x="302864" y="31358"/>
                      <a:pt x="305246" y="133753"/>
                      <a:pt x="300483" y="195665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248" name="Group 247"/>
            <p:cNvGrpSpPr/>
            <p:nvPr/>
          </p:nvGrpSpPr>
          <p:grpSpPr>
            <a:xfrm>
              <a:off x="10523759" y="4758569"/>
              <a:ext cx="1250567" cy="869442"/>
              <a:chOff x="10523759" y="4758569"/>
              <a:chExt cx="1250567" cy="869442"/>
            </a:xfrm>
          </p:grpSpPr>
          <p:grpSp>
            <p:nvGrpSpPr>
              <p:cNvPr id="249" name="Group 248"/>
              <p:cNvGrpSpPr/>
              <p:nvPr/>
            </p:nvGrpSpPr>
            <p:grpSpPr>
              <a:xfrm>
                <a:off x="10523759" y="4758569"/>
                <a:ext cx="1250567" cy="869442"/>
                <a:chOff x="4684178" y="3699471"/>
                <a:chExt cx="1230015" cy="855152"/>
              </a:xfrm>
            </p:grpSpPr>
            <p:sp>
              <p:nvSpPr>
                <p:cNvPr id="359" name="Rounded Rectangle 358"/>
                <p:cNvSpPr/>
                <p:nvPr/>
              </p:nvSpPr>
              <p:spPr bwMode="auto">
                <a:xfrm>
                  <a:off x="4798066" y="3708236"/>
                  <a:ext cx="990599" cy="811898"/>
                </a:xfrm>
                <a:prstGeom prst="roundRect">
                  <a:avLst>
                    <a:gd name="adj" fmla="val 8466"/>
                  </a:avLst>
                </a:prstGeom>
                <a:solidFill>
                  <a:srgbClr val="FFFFFF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472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360" name="Freeform 20"/>
                <p:cNvSpPr>
                  <a:spLocks noEditPoints="1"/>
                </p:cNvSpPr>
                <p:nvPr/>
              </p:nvSpPr>
              <p:spPr bwMode="black">
                <a:xfrm>
                  <a:off x="4684178" y="3699471"/>
                  <a:ext cx="1230015" cy="855152"/>
                </a:xfrm>
                <a:custGeom>
                  <a:avLst/>
                  <a:gdLst/>
                  <a:ahLst/>
                  <a:cxnLst>
                    <a:cxn ang="0">
                      <a:pos x="774" y="456"/>
                    </a:cxn>
                    <a:cxn ang="0">
                      <a:pos x="774" y="36"/>
                    </a:cxn>
                    <a:cxn ang="0">
                      <a:pos x="737" y="0"/>
                    </a:cxn>
                    <a:cxn ang="0">
                      <a:pos x="107" y="0"/>
                    </a:cxn>
                    <a:cxn ang="0">
                      <a:pos x="71" y="36"/>
                    </a:cxn>
                    <a:cxn ang="0">
                      <a:pos x="71" y="456"/>
                    </a:cxn>
                    <a:cxn ang="0">
                      <a:pos x="0" y="544"/>
                    </a:cxn>
                    <a:cxn ang="0">
                      <a:pos x="44" y="588"/>
                    </a:cxn>
                    <a:cxn ang="0">
                      <a:pos x="800" y="588"/>
                    </a:cxn>
                    <a:cxn ang="0">
                      <a:pos x="844" y="544"/>
                    </a:cxn>
                    <a:cxn ang="0">
                      <a:pos x="774" y="456"/>
                    </a:cxn>
                    <a:cxn ang="0">
                      <a:pos x="481" y="554"/>
                    </a:cxn>
                    <a:cxn ang="0">
                      <a:pos x="350" y="554"/>
                    </a:cxn>
                    <a:cxn ang="0">
                      <a:pos x="337" y="547"/>
                    </a:cxn>
                    <a:cxn ang="0">
                      <a:pos x="352" y="519"/>
                    </a:cxn>
                    <a:cxn ang="0">
                      <a:pos x="363" y="514"/>
                    </a:cxn>
                    <a:cxn ang="0">
                      <a:pos x="468" y="514"/>
                    </a:cxn>
                    <a:cxn ang="0">
                      <a:pos x="478" y="519"/>
                    </a:cxn>
                    <a:cxn ang="0">
                      <a:pos x="494" y="547"/>
                    </a:cxn>
                    <a:cxn ang="0">
                      <a:pos x="481" y="554"/>
                    </a:cxn>
                    <a:cxn ang="0">
                      <a:pos x="748" y="456"/>
                    </a:cxn>
                    <a:cxn ang="0">
                      <a:pos x="99" y="456"/>
                    </a:cxn>
                    <a:cxn ang="0">
                      <a:pos x="99" y="42"/>
                    </a:cxn>
                    <a:cxn ang="0">
                      <a:pos x="117" y="24"/>
                    </a:cxn>
                    <a:cxn ang="0">
                      <a:pos x="730" y="24"/>
                    </a:cxn>
                    <a:cxn ang="0">
                      <a:pos x="748" y="42"/>
                    </a:cxn>
                    <a:cxn ang="0">
                      <a:pos x="748" y="456"/>
                    </a:cxn>
                  </a:cxnLst>
                  <a:rect l="0" t="0" r="r" b="b"/>
                  <a:pathLst>
                    <a:path w="844" h="588">
                      <a:moveTo>
                        <a:pt x="774" y="456"/>
                      </a:moveTo>
                      <a:cubicBezTo>
                        <a:pt x="774" y="36"/>
                        <a:pt x="774" y="36"/>
                        <a:pt x="774" y="36"/>
                      </a:cubicBezTo>
                      <a:cubicBezTo>
                        <a:pt x="774" y="16"/>
                        <a:pt x="757" y="0"/>
                        <a:pt x="737" y="0"/>
                      </a:cubicBezTo>
                      <a:cubicBezTo>
                        <a:pt x="107" y="0"/>
                        <a:pt x="107" y="0"/>
                        <a:pt x="107" y="0"/>
                      </a:cubicBezTo>
                      <a:cubicBezTo>
                        <a:pt x="87" y="0"/>
                        <a:pt x="71" y="16"/>
                        <a:pt x="71" y="36"/>
                      </a:cubicBezTo>
                      <a:cubicBezTo>
                        <a:pt x="71" y="456"/>
                        <a:pt x="71" y="456"/>
                        <a:pt x="71" y="456"/>
                      </a:cubicBezTo>
                      <a:cubicBezTo>
                        <a:pt x="0" y="544"/>
                        <a:pt x="0" y="544"/>
                        <a:pt x="0" y="544"/>
                      </a:cubicBezTo>
                      <a:cubicBezTo>
                        <a:pt x="0" y="568"/>
                        <a:pt x="20" y="588"/>
                        <a:pt x="44" y="588"/>
                      </a:cubicBezTo>
                      <a:cubicBezTo>
                        <a:pt x="800" y="588"/>
                        <a:pt x="800" y="588"/>
                        <a:pt x="800" y="588"/>
                      </a:cubicBezTo>
                      <a:cubicBezTo>
                        <a:pt x="824" y="588"/>
                        <a:pt x="844" y="568"/>
                        <a:pt x="844" y="544"/>
                      </a:cubicBezTo>
                      <a:lnTo>
                        <a:pt x="774" y="456"/>
                      </a:lnTo>
                      <a:close/>
                      <a:moveTo>
                        <a:pt x="481" y="554"/>
                      </a:moveTo>
                      <a:cubicBezTo>
                        <a:pt x="350" y="554"/>
                        <a:pt x="350" y="554"/>
                        <a:pt x="350" y="554"/>
                      </a:cubicBezTo>
                      <a:cubicBezTo>
                        <a:pt x="343" y="554"/>
                        <a:pt x="337" y="551"/>
                        <a:pt x="337" y="547"/>
                      </a:cubicBezTo>
                      <a:cubicBezTo>
                        <a:pt x="352" y="519"/>
                        <a:pt x="352" y="519"/>
                        <a:pt x="352" y="519"/>
                      </a:cubicBezTo>
                      <a:cubicBezTo>
                        <a:pt x="352" y="516"/>
                        <a:pt x="357" y="514"/>
                        <a:pt x="363" y="514"/>
                      </a:cubicBezTo>
                      <a:cubicBezTo>
                        <a:pt x="468" y="514"/>
                        <a:pt x="468" y="514"/>
                        <a:pt x="468" y="514"/>
                      </a:cubicBezTo>
                      <a:cubicBezTo>
                        <a:pt x="473" y="514"/>
                        <a:pt x="478" y="516"/>
                        <a:pt x="478" y="519"/>
                      </a:cubicBezTo>
                      <a:cubicBezTo>
                        <a:pt x="494" y="547"/>
                        <a:pt x="494" y="547"/>
                        <a:pt x="494" y="547"/>
                      </a:cubicBezTo>
                      <a:cubicBezTo>
                        <a:pt x="494" y="551"/>
                        <a:pt x="488" y="554"/>
                        <a:pt x="481" y="554"/>
                      </a:cubicBezTo>
                      <a:close/>
                      <a:moveTo>
                        <a:pt x="748" y="456"/>
                      </a:moveTo>
                      <a:cubicBezTo>
                        <a:pt x="99" y="456"/>
                        <a:pt x="99" y="456"/>
                        <a:pt x="99" y="456"/>
                      </a:cubicBezTo>
                      <a:cubicBezTo>
                        <a:pt x="99" y="42"/>
                        <a:pt x="99" y="42"/>
                        <a:pt x="99" y="42"/>
                      </a:cubicBezTo>
                      <a:cubicBezTo>
                        <a:pt x="99" y="32"/>
                        <a:pt x="107" y="24"/>
                        <a:pt x="117" y="24"/>
                      </a:cubicBezTo>
                      <a:cubicBezTo>
                        <a:pt x="730" y="24"/>
                        <a:pt x="730" y="24"/>
                        <a:pt x="730" y="24"/>
                      </a:cubicBezTo>
                      <a:cubicBezTo>
                        <a:pt x="740" y="24"/>
                        <a:pt x="748" y="32"/>
                        <a:pt x="748" y="42"/>
                      </a:cubicBezTo>
                      <a:lnTo>
                        <a:pt x="748" y="456"/>
                      </a:lnTo>
                      <a:close/>
                    </a:path>
                  </a:pathLst>
                </a:custGeom>
                <a:solidFill>
                  <a:srgbClr val="4B0045"/>
                </a:solidFill>
                <a:extLst/>
              </p:spPr>
              <p:txBody>
                <a:bodyPr vert="horz" wrap="square" lIns="82305" tIns="41153" rIns="82305" bIns="4115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3231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250" name="Group 249"/>
              <p:cNvGrpSpPr/>
              <p:nvPr/>
            </p:nvGrpSpPr>
            <p:grpSpPr>
              <a:xfrm>
                <a:off x="10870401" y="4863842"/>
                <a:ext cx="557283" cy="522008"/>
                <a:chOff x="6343650" y="283594"/>
                <a:chExt cx="3437711" cy="3220106"/>
              </a:xfrm>
            </p:grpSpPr>
            <p:grpSp>
              <p:nvGrpSpPr>
                <p:cNvPr id="251" name="Group 250"/>
                <p:cNvGrpSpPr/>
                <p:nvPr/>
              </p:nvGrpSpPr>
              <p:grpSpPr>
                <a:xfrm>
                  <a:off x="7095204" y="283594"/>
                  <a:ext cx="1934603" cy="1261611"/>
                  <a:chOff x="5897647" y="3902018"/>
                  <a:chExt cx="1528785" cy="996936"/>
                </a:xfrm>
              </p:grpSpPr>
              <p:sp>
                <p:nvSpPr>
                  <p:cNvPr id="341" name="Freeform 33"/>
                  <p:cNvSpPr>
                    <a:spLocks/>
                  </p:cNvSpPr>
                  <p:nvPr/>
                </p:nvSpPr>
                <p:spPr bwMode="auto">
                  <a:xfrm>
                    <a:off x="5897647" y="3902019"/>
                    <a:ext cx="1528785" cy="996935"/>
                  </a:xfrm>
                  <a:custGeom>
                    <a:avLst/>
                    <a:gdLst>
                      <a:gd name="T0" fmla="*/ 7709 w 7709"/>
                      <a:gd name="T1" fmla="*/ 4822 h 5026"/>
                      <a:gd name="T2" fmla="*/ 7709 w 7709"/>
                      <a:gd name="T3" fmla="*/ 4857 h 5026"/>
                      <a:gd name="T4" fmla="*/ 7700 w 7709"/>
                      <a:gd name="T5" fmla="*/ 4902 h 5026"/>
                      <a:gd name="T6" fmla="*/ 7673 w 7709"/>
                      <a:gd name="T7" fmla="*/ 4937 h 5026"/>
                      <a:gd name="T8" fmla="*/ 7646 w 7709"/>
                      <a:gd name="T9" fmla="*/ 4973 h 5026"/>
                      <a:gd name="T10" fmla="*/ 7620 w 7709"/>
                      <a:gd name="T11" fmla="*/ 4991 h 5026"/>
                      <a:gd name="T12" fmla="*/ 7584 w 7709"/>
                      <a:gd name="T13" fmla="*/ 5018 h 5026"/>
                      <a:gd name="T14" fmla="*/ 7540 w 7709"/>
                      <a:gd name="T15" fmla="*/ 5026 h 5026"/>
                      <a:gd name="T16" fmla="*/ 7504 w 7709"/>
                      <a:gd name="T17" fmla="*/ 5026 h 5026"/>
                      <a:gd name="T18" fmla="*/ 205 w 7709"/>
                      <a:gd name="T19" fmla="*/ 5026 h 5026"/>
                      <a:gd name="T20" fmla="*/ 169 w 7709"/>
                      <a:gd name="T21" fmla="*/ 5026 h 5026"/>
                      <a:gd name="T22" fmla="*/ 125 w 7709"/>
                      <a:gd name="T23" fmla="*/ 5018 h 5026"/>
                      <a:gd name="T24" fmla="*/ 89 w 7709"/>
                      <a:gd name="T25" fmla="*/ 4991 h 5026"/>
                      <a:gd name="T26" fmla="*/ 63 w 7709"/>
                      <a:gd name="T27" fmla="*/ 4973 h 5026"/>
                      <a:gd name="T28" fmla="*/ 36 w 7709"/>
                      <a:gd name="T29" fmla="*/ 4937 h 5026"/>
                      <a:gd name="T30" fmla="*/ 9 w 7709"/>
                      <a:gd name="T31" fmla="*/ 4902 h 5026"/>
                      <a:gd name="T32" fmla="*/ 0 w 7709"/>
                      <a:gd name="T33" fmla="*/ 4857 h 5026"/>
                      <a:gd name="T34" fmla="*/ 0 w 7709"/>
                      <a:gd name="T35" fmla="*/ 4822 h 5026"/>
                      <a:gd name="T36" fmla="*/ 0 w 7709"/>
                      <a:gd name="T37" fmla="*/ 214 h 5026"/>
                      <a:gd name="T38" fmla="*/ 0 w 7709"/>
                      <a:gd name="T39" fmla="*/ 169 h 5026"/>
                      <a:gd name="T40" fmla="*/ 9 w 7709"/>
                      <a:gd name="T41" fmla="*/ 133 h 5026"/>
                      <a:gd name="T42" fmla="*/ 36 w 7709"/>
                      <a:gd name="T43" fmla="*/ 98 h 5026"/>
                      <a:gd name="T44" fmla="*/ 63 w 7709"/>
                      <a:gd name="T45" fmla="*/ 62 h 5026"/>
                      <a:gd name="T46" fmla="*/ 89 w 7709"/>
                      <a:gd name="T47" fmla="*/ 36 h 5026"/>
                      <a:gd name="T48" fmla="*/ 125 w 7709"/>
                      <a:gd name="T49" fmla="*/ 18 h 5026"/>
                      <a:gd name="T50" fmla="*/ 169 w 7709"/>
                      <a:gd name="T51" fmla="*/ 9 h 5026"/>
                      <a:gd name="T52" fmla="*/ 205 w 7709"/>
                      <a:gd name="T53" fmla="*/ 0 h 5026"/>
                      <a:gd name="T54" fmla="*/ 7504 w 7709"/>
                      <a:gd name="T55" fmla="*/ 0 h 5026"/>
                      <a:gd name="T56" fmla="*/ 7540 w 7709"/>
                      <a:gd name="T57" fmla="*/ 9 h 5026"/>
                      <a:gd name="T58" fmla="*/ 7584 w 7709"/>
                      <a:gd name="T59" fmla="*/ 18 h 5026"/>
                      <a:gd name="T60" fmla="*/ 7620 w 7709"/>
                      <a:gd name="T61" fmla="*/ 36 h 5026"/>
                      <a:gd name="T62" fmla="*/ 7646 w 7709"/>
                      <a:gd name="T63" fmla="*/ 62 h 5026"/>
                      <a:gd name="T64" fmla="*/ 7673 w 7709"/>
                      <a:gd name="T65" fmla="*/ 98 h 5026"/>
                      <a:gd name="T66" fmla="*/ 7700 w 7709"/>
                      <a:gd name="T67" fmla="*/ 133 h 5026"/>
                      <a:gd name="T68" fmla="*/ 7709 w 7709"/>
                      <a:gd name="T69" fmla="*/ 169 h 5026"/>
                      <a:gd name="T70" fmla="*/ 7709 w 7709"/>
                      <a:gd name="T71" fmla="*/ 214 h 5026"/>
                      <a:gd name="T72" fmla="*/ 7709 w 7709"/>
                      <a:gd name="T73" fmla="*/ 4822 h 502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</a:cxnLst>
                    <a:rect l="0" t="0" r="r" b="b"/>
                    <a:pathLst>
                      <a:path w="7709" h="5026">
                        <a:moveTo>
                          <a:pt x="7709" y="4822"/>
                        </a:moveTo>
                        <a:lnTo>
                          <a:pt x="7709" y="4857"/>
                        </a:lnTo>
                        <a:lnTo>
                          <a:pt x="7700" y="4902"/>
                        </a:lnTo>
                        <a:lnTo>
                          <a:pt x="7673" y="4937"/>
                        </a:lnTo>
                        <a:lnTo>
                          <a:pt x="7646" y="4973"/>
                        </a:lnTo>
                        <a:lnTo>
                          <a:pt x="7620" y="4991"/>
                        </a:lnTo>
                        <a:lnTo>
                          <a:pt x="7584" y="5018"/>
                        </a:lnTo>
                        <a:lnTo>
                          <a:pt x="7540" y="5026"/>
                        </a:lnTo>
                        <a:lnTo>
                          <a:pt x="7504" y="5026"/>
                        </a:lnTo>
                        <a:lnTo>
                          <a:pt x="205" y="5026"/>
                        </a:lnTo>
                        <a:lnTo>
                          <a:pt x="169" y="5026"/>
                        </a:lnTo>
                        <a:lnTo>
                          <a:pt x="125" y="5018"/>
                        </a:lnTo>
                        <a:lnTo>
                          <a:pt x="89" y="4991"/>
                        </a:lnTo>
                        <a:lnTo>
                          <a:pt x="63" y="4973"/>
                        </a:lnTo>
                        <a:lnTo>
                          <a:pt x="36" y="4937"/>
                        </a:lnTo>
                        <a:lnTo>
                          <a:pt x="9" y="4902"/>
                        </a:lnTo>
                        <a:lnTo>
                          <a:pt x="0" y="4857"/>
                        </a:lnTo>
                        <a:lnTo>
                          <a:pt x="0" y="4822"/>
                        </a:lnTo>
                        <a:lnTo>
                          <a:pt x="0" y="214"/>
                        </a:lnTo>
                        <a:lnTo>
                          <a:pt x="0" y="169"/>
                        </a:lnTo>
                        <a:lnTo>
                          <a:pt x="9" y="133"/>
                        </a:lnTo>
                        <a:lnTo>
                          <a:pt x="36" y="98"/>
                        </a:lnTo>
                        <a:lnTo>
                          <a:pt x="63" y="62"/>
                        </a:lnTo>
                        <a:lnTo>
                          <a:pt x="89" y="36"/>
                        </a:lnTo>
                        <a:lnTo>
                          <a:pt x="125" y="18"/>
                        </a:lnTo>
                        <a:lnTo>
                          <a:pt x="169" y="9"/>
                        </a:lnTo>
                        <a:lnTo>
                          <a:pt x="205" y="0"/>
                        </a:lnTo>
                        <a:lnTo>
                          <a:pt x="7504" y="0"/>
                        </a:lnTo>
                        <a:lnTo>
                          <a:pt x="7540" y="9"/>
                        </a:lnTo>
                        <a:lnTo>
                          <a:pt x="7584" y="18"/>
                        </a:lnTo>
                        <a:lnTo>
                          <a:pt x="7620" y="36"/>
                        </a:lnTo>
                        <a:lnTo>
                          <a:pt x="7646" y="62"/>
                        </a:lnTo>
                        <a:lnTo>
                          <a:pt x="7673" y="98"/>
                        </a:lnTo>
                        <a:lnTo>
                          <a:pt x="7700" y="133"/>
                        </a:lnTo>
                        <a:lnTo>
                          <a:pt x="7709" y="169"/>
                        </a:lnTo>
                        <a:lnTo>
                          <a:pt x="7709" y="214"/>
                        </a:lnTo>
                        <a:lnTo>
                          <a:pt x="7709" y="4822"/>
                        </a:lnTo>
                        <a:close/>
                      </a:path>
                    </a:pathLst>
                  </a:custGeom>
                  <a:solidFill>
                    <a:srgbClr val="FFFFFF">
                      <a:lumMod val="50000"/>
                    </a:srgbClr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32316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342" name="Freeform 34"/>
                  <p:cNvSpPr>
                    <a:spLocks/>
                  </p:cNvSpPr>
                  <p:nvPr/>
                </p:nvSpPr>
                <p:spPr bwMode="auto">
                  <a:xfrm>
                    <a:off x="5897651" y="3902018"/>
                    <a:ext cx="1511322" cy="979473"/>
                  </a:xfrm>
                  <a:custGeom>
                    <a:avLst/>
                    <a:gdLst>
                      <a:gd name="T0" fmla="*/ 7620 w 7620"/>
                      <a:gd name="T1" fmla="*/ 4733 h 4937"/>
                      <a:gd name="T2" fmla="*/ 7620 w 7620"/>
                      <a:gd name="T3" fmla="*/ 4768 h 4937"/>
                      <a:gd name="T4" fmla="*/ 7602 w 7620"/>
                      <a:gd name="T5" fmla="*/ 4813 h 4937"/>
                      <a:gd name="T6" fmla="*/ 7584 w 7620"/>
                      <a:gd name="T7" fmla="*/ 4849 h 4937"/>
                      <a:gd name="T8" fmla="*/ 7558 w 7620"/>
                      <a:gd name="T9" fmla="*/ 4875 h 4937"/>
                      <a:gd name="T10" fmla="*/ 7531 w 7620"/>
                      <a:gd name="T11" fmla="*/ 4902 h 4937"/>
                      <a:gd name="T12" fmla="*/ 7495 w 7620"/>
                      <a:gd name="T13" fmla="*/ 4920 h 4937"/>
                      <a:gd name="T14" fmla="*/ 7451 w 7620"/>
                      <a:gd name="T15" fmla="*/ 4937 h 4937"/>
                      <a:gd name="T16" fmla="*/ 7415 w 7620"/>
                      <a:gd name="T17" fmla="*/ 4937 h 4937"/>
                      <a:gd name="T18" fmla="*/ 205 w 7620"/>
                      <a:gd name="T19" fmla="*/ 4937 h 4937"/>
                      <a:gd name="T20" fmla="*/ 161 w 7620"/>
                      <a:gd name="T21" fmla="*/ 4937 h 4937"/>
                      <a:gd name="T22" fmla="*/ 125 w 7620"/>
                      <a:gd name="T23" fmla="*/ 4920 h 4937"/>
                      <a:gd name="T24" fmla="*/ 89 w 7620"/>
                      <a:gd name="T25" fmla="*/ 4902 h 4937"/>
                      <a:gd name="T26" fmla="*/ 63 w 7620"/>
                      <a:gd name="T27" fmla="*/ 4875 h 4937"/>
                      <a:gd name="T28" fmla="*/ 36 w 7620"/>
                      <a:gd name="T29" fmla="*/ 4849 h 4937"/>
                      <a:gd name="T30" fmla="*/ 9 w 7620"/>
                      <a:gd name="T31" fmla="*/ 4813 h 4937"/>
                      <a:gd name="T32" fmla="*/ 0 w 7620"/>
                      <a:gd name="T33" fmla="*/ 4768 h 4937"/>
                      <a:gd name="T34" fmla="*/ 0 w 7620"/>
                      <a:gd name="T35" fmla="*/ 4733 h 4937"/>
                      <a:gd name="T36" fmla="*/ 0 w 7620"/>
                      <a:gd name="T37" fmla="*/ 214 h 4937"/>
                      <a:gd name="T38" fmla="*/ 0 w 7620"/>
                      <a:gd name="T39" fmla="*/ 169 h 4937"/>
                      <a:gd name="T40" fmla="*/ 9 w 7620"/>
                      <a:gd name="T41" fmla="*/ 133 h 4937"/>
                      <a:gd name="T42" fmla="*/ 36 w 7620"/>
                      <a:gd name="T43" fmla="*/ 98 h 4937"/>
                      <a:gd name="T44" fmla="*/ 63 w 7620"/>
                      <a:gd name="T45" fmla="*/ 62 h 4937"/>
                      <a:gd name="T46" fmla="*/ 89 w 7620"/>
                      <a:gd name="T47" fmla="*/ 36 h 4937"/>
                      <a:gd name="T48" fmla="*/ 125 w 7620"/>
                      <a:gd name="T49" fmla="*/ 18 h 4937"/>
                      <a:gd name="T50" fmla="*/ 161 w 7620"/>
                      <a:gd name="T51" fmla="*/ 9 h 4937"/>
                      <a:gd name="T52" fmla="*/ 205 w 7620"/>
                      <a:gd name="T53" fmla="*/ 0 h 4937"/>
                      <a:gd name="T54" fmla="*/ 7415 w 7620"/>
                      <a:gd name="T55" fmla="*/ 0 h 4937"/>
                      <a:gd name="T56" fmla="*/ 7451 w 7620"/>
                      <a:gd name="T57" fmla="*/ 9 h 4937"/>
                      <a:gd name="T58" fmla="*/ 7495 w 7620"/>
                      <a:gd name="T59" fmla="*/ 18 h 4937"/>
                      <a:gd name="T60" fmla="*/ 7531 w 7620"/>
                      <a:gd name="T61" fmla="*/ 36 h 4937"/>
                      <a:gd name="T62" fmla="*/ 7558 w 7620"/>
                      <a:gd name="T63" fmla="*/ 62 h 4937"/>
                      <a:gd name="T64" fmla="*/ 7584 w 7620"/>
                      <a:gd name="T65" fmla="*/ 98 h 4937"/>
                      <a:gd name="T66" fmla="*/ 7602 w 7620"/>
                      <a:gd name="T67" fmla="*/ 133 h 4937"/>
                      <a:gd name="T68" fmla="*/ 7620 w 7620"/>
                      <a:gd name="T69" fmla="*/ 169 h 4937"/>
                      <a:gd name="T70" fmla="*/ 7620 w 7620"/>
                      <a:gd name="T71" fmla="*/ 214 h 4937"/>
                      <a:gd name="T72" fmla="*/ 7620 w 7620"/>
                      <a:gd name="T73" fmla="*/ 4733 h 493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</a:cxnLst>
                    <a:rect l="0" t="0" r="r" b="b"/>
                    <a:pathLst>
                      <a:path w="7620" h="4937">
                        <a:moveTo>
                          <a:pt x="7620" y="4733"/>
                        </a:moveTo>
                        <a:lnTo>
                          <a:pt x="7620" y="4768"/>
                        </a:lnTo>
                        <a:lnTo>
                          <a:pt x="7602" y="4813"/>
                        </a:lnTo>
                        <a:lnTo>
                          <a:pt x="7584" y="4849"/>
                        </a:lnTo>
                        <a:lnTo>
                          <a:pt x="7558" y="4875"/>
                        </a:lnTo>
                        <a:lnTo>
                          <a:pt x="7531" y="4902"/>
                        </a:lnTo>
                        <a:lnTo>
                          <a:pt x="7495" y="4920"/>
                        </a:lnTo>
                        <a:lnTo>
                          <a:pt x="7451" y="4937"/>
                        </a:lnTo>
                        <a:lnTo>
                          <a:pt x="7415" y="4937"/>
                        </a:lnTo>
                        <a:lnTo>
                          <a:pt x="205" y="4937"/>
                        </a:lnTo>
                        <a:lnTo>
                          <a:pt x="161" y="4937"/>
                        </a:lnTo>
                        <a:lnTo>
                          <a:pt x="125" y="4920"/>
                        </a:lnTo>
                        <a:lnTo>
                          <a:pt x="89" y="4902"/>
                        </a:lnTo>
                        <a:lnTo>
                          <a:pt x="63" y="4875"/>
                        </a:lnTo>
                        <a:lnTo>
                          <a:pt x="36" y="4849"/>
                        </a:lnTo>
                        <a:lnTo>
                          <a:pt x="9" y="4813"/>
                        </a:lnTo>
                        <a:lnTo>
                          <a:pt x="0" y="4768"/>
                        </a:lnTo>
                        <a:lnTo>
                          <a:pt x="0" y="4733"/>
                        </a:lnTo>
                        <a:lnTo>
                          <a:pt x="0" y="214"/>
                        </a:lnTo>
                        <a:lnTo>
                          <a:pt x="0" y="169"/>
                        </a:lnTo>
                        <a:lnTo>
                          <a:pt x="9" y="133"/>
                        </a:lnTo>
                        <a:lnTo>
                          <a:pt x="36" y="98"/>
                        </a:lnTo>
                        <a:lnTo>
                          <a:pt x="63" y="62"/>
                        </a:lnTo>
                        <a:lnTo>
                          <a:pt x="89" y="36"/>
                        </a:lnTo>
                        <a:lnTo>
                          <a:pt x="125" y="18"/>
                        </a:lnTo>
                        <a:lnTo>
                          <a:pt x="161" y="9"/>
                        </a:lnTo>
                        <a:lnTo>
                          <a:pt x="205" y="0"/>
                        </a:lnTo>
                        <a:lnTo>
                          <a:pt x="7415" y="0"/>
                        </a:lnTo>
                        <a:lnTo>
                          <a:pt x="7451" y="9"/>
                        </a:lnTo>
                        <a:lnTo>
                          <a:pt x="7495" y="18"/>
                        </a:lnTo>
                        <a:lnTo>
                          <a:pt x="7531" y="36"/>
                        </a:lnTo>
                        <a:lnTo>
                          <a:pt x="7558" y="62"/>
                        </a:lnTo>
                        <a:lnTo>
                          <a:pt x="7584" y="98"/>
                        </a:lnTo>
                        <a:lnTo>
                          <a:pt x="7602" y="133"/>
                        </a:lnTo>
                        <a:lnTo>
                          <a:pt x="7620" y="169"/>
                        </a:lnTo>
                        <a:lnTo>
                          <a:pt x="7620" y="214"/>
                        </a:lnTo>
                        <a:lnTo>
                          <a:pt x="7620" y="4733"/>
                        </a:lnTo>
                        <a:close/>
                      </a:path>
                    </a:pathLst>
                  </a:custGeom>
                  <a:solidFill>
                    <a:srgbClr val="EEEFF1"/>
                  </a:solidFill>
                  <a:ln>
                    <a:noFill/>
                  </a:ln>
                  <a:extLst>
                    <a:ext uri="{91240B29-F687-4f45-9708-019B960494DF}">
                      <a14:hiddenLine xmlns="" xmlns:a14="http://schemas.microsoft.com/office/drawing/2010/main" xmlns:mv="urn:schemas-microsoft-com:mac:vml" xmlns:mc="http://schemas.openxmlformats.org/markup-compatibility/2006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32316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343" name="Freeform 35"/>
                  <p:cNvSpPr>
                    <a:spLocks/>
                  </p:cNvSpPr>
                  <p:nvPr/>
                </p:nvSpPr>
                <p:spPr bwMode="auto">
                  <a:xfrm>
                    <a:off x="5918285" y="3916310"/>
                    <a:ext cx="1497035" cy="968360"/>
                  </a:xfrm>
                  <a:custGeom>
                    <a:avLst/>
                    <a:gdLst>
                      <a:gd name="T0" fmla="*/ 7539 w 7539"/>
                      <a:gd name="T1" fmla="*/ 4680 h 4884"/>
                      <a:gd name="T2" fmla="*/ 7531 w 7539"/>
                      <a:gd name="T3" fmla="*/ 4715 h 4884"/>
                      <a:gd name="T4" fmla="*/ 7522 w 7539"/>
                      <a:gd name="T5" fmla="*/ 4760 h 4884"/>
                      <a:gd name="T6" fmla="*/ 7504 w 7539"/>
                      <a:gd name="T7" fmla="*/ 4795 h 4884"/>
                      <a:gd name="T8" fmla="*/ 7477 w 7539"/>
                      <a:gd name="T9" fmla="*/ 4822 h 4884"/>
                      <a:gd name="T10" fmla="*/ 7441 w 7539"/>
                      <a:gd name="T11" fmla="*/ 4849 h 4884"/>
                      <a:gd name="T12" fmla="*/ 7406 w 7539"/>
                      <a:gd name="T13" fmla="*/ 4866 h 4884"/>
                      <a:gd name="T14" fmla="*/ 7370 w 7539"/>
                      <a:gd name="T15" fmla="*/ 4875 h 4884"/>
                      <a:gd name="T16" fmla="*/ 7326 w 7539"/>
                      <a:gd name="T17" fmla="*/ 4884 h 4884"/>
                      <a:gd name="T18" fmla="*/ 205 w 7539"/>
                      <a:gd name="T19" fmla="*/ 4884 h 4884"/>
                      <a:gd name="T20" fmla="*/ 160 w 7539"/>
                      <a:gd name="T21" fmla="*/ 4875 h 4884"/>
                      <a:gd name="T22" fmla="*/ 125 w 7539"/>
                      <a:gd name="T23" fmla="*/ 4866 h 4884"/>
                      <a:gd name="T24" fmla="*/ 89 w 7539"/>
                      <a:gd name="T25" fmla="*/ 4849 h 4884"/>
                      <a:gd name="T26" fmla="*/ 54 w 7539"/>
                      <a:gd name="T27" fmla="*/ 4822 h 4884"/>
                      <a:gd name="T28" fmla="*/ 36 w 7539"/>
                      <a:gd name="T29" fmla="*/ 4795 h 4884"/>
                      <a:gd name="T30" fmla="*/ 9 w 7539"/>
                      <a:gd name="T31" fmla="*/ 4760 h 4884"/>
                      <a:gd name="T32" fmla="*/ 0 w 7539"/>
                      <a:gd name="T33" fmla="*/ 4715 h 4884"/>
                      <a:gd name="T34" fmla="*/ 0 w 7539"/>
                      <a:gd name="T35" fmla="*/ 4680 h 4884"/>
                      <a:gd name="T36" fmla="*/ 0 w 7539"/>
                      <a:gd name="T37" fmla="*/ 205 h 4884"/>
                      <a:gd name="T38" fmla="*/ 0 w 7539"/>
                      <a:gd name="T39" fmla="*/ 169 h 4884"/>
                      <a:gd name="T40" fmla="*/ 9 w 7539"/>
                      <a:gd name="T41" fmla="*/ 125 h 4884"/>
                      <a:gd name="T42" fmla="*/ 36 w 7539"/>
                      <a:gd name="T43" fmla="*/ 89 h 4884"/>
                      <a:gd name="T44" fmla="*/ 54 w 7539"/>
                      <a:gd name="T45" fmla="*/ 62 h 4884"/>
                      <a:gd name="T46" fmla="*/ 89 w 7539"/>
                      <a:gd name="T47" fmla="*/ 36 h 4884"/>
                      <a:gd name="T48" fmla="*/ 125 w 7539"/>
                      <a:gd name="T49" fmla="*/ 18 h 4884"/>
                      <a:gd name="T50" fmla="*/ 160 w 7539"/>
                      <a:gd name="T51" fmla="*/ 9 h 4884"/>
                      <a:gd name="T52" fmla="*/ 205 w 7539"/>
                      <a:gd name="T53" fmla="*/ 0 h 4884"/>
                      <a:gd name="T54" fmla="*/ 7326 w 7539"/>
                      <a:gd name="T55" fmla="*/ 0 h 4884"/>
                      <a:gd name="T56" fmla="*/ 7370 w 7539"/>
                      <a:gd name="T57" fmla="*/ 9 h 4884"/>
                      <a:gd name="T58" fmla="*/ 7406 w 7539"/>
                      <a:gd name="T59" fmla="*/ 18 h 4884"/>
                      <a:gd name="T60" fmla="*/ 7441 w 7539"/>
                      <a:gd name="T61" fmla="*/ 36 h 4884"/>
                      <a:gd name="T62" fmla="*/ 7477 w 7539"/>
                      <a:gd name="T63" fmla="*/ 62 h 4884"/>
                      <a:gd name="T64" fmla="*/ 7504 w 7539"/>
                      <a:gd name="T65" fmla="*/ 89 h 4884"/>
                      <a:gd name="T66" fmla="*/ 7522 w 7539"/>
                      <a:gd name="T67" fmla="*/ 125 h 4884"/>
                      <a:gd name="T68" fmla="*/ 7531 w 7539"/>
                      <a:gd name="T69" fmla="*/ 169 h 4884"/>
                      <a:gd name="T70" fmla="*/ 7539 w 7539"/>
                      <a:gd name="T71" fmla="*/ 205 h 4884"/>
                      <a:gd name="T72" fmla="*/ 7539 w 7539"/>
                      <a:gd name="T73" fmla="*/ 4680 h 48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</a:cxnLst>
                    <a:rect l="0" t="0" r="r" b="b"/>
                    <a:pathLst>
                      <a:path w="7539" h="4884">
                        <a:moveTo>
                          <a:pt x="7539" y="4680"/>
                        </a:moveTo>
                        <a:lnTo>
                          <a:pt x="7531" y="4715"/>
                        </a:lnTo>
                        <a:lnTo>
                          <a:pt x="7522" y="4760"/>
                        </a:lnTo>
                        <a:lnTo>
                          <a:pt x="7504" y="4795"/>
                        </a:lnTo>
                        <a:lnTo>
                          <a:pt x="7477" y="4822"/>
                        </a:lnTo>
                        <a:lnTo>
                          <a:pt x="7441" y="4849"/>
                        </a:lnTo>
                        <a:lnTo>
                          <a:pt x="7406" y="4866"/>
                        </a:lnTo>
                        <a:lnTo>
                          <a:pt x="7370" y="4875"/>
                        </a:lnTo>
                        <a:lnTo>
                          <a:pt x="7326" y="4884"/>
                        </a:lnTo>
                        <a:lnTo>
                          <a:pt x="205" y="4884"/>
                        </a:lnTo>
                        <a:lnTo>
                          <a:pt x="160" y="4875"/>
                        </a:lnTo>
                        <a:lnTo>
                          <a:pt x="125" y="4866"/>
                        </a:lnTo>
                        <a:lnTo>
                          <a:pt x="89" y="4849"/>
                        </a:lnTo>
                        <a:lnTo>
                          <a:pt x="54" y="4822"/>
                        </a:lnTo>
                        <a:lnTo>
                          <a:pt x="36" y="4795"/>
                        </a:lnTo>
                        <a:lnTo>
                          <a:pt x="9" y="4760"/>
                        </a:lnTo>
                        <a:lnTo>
                          <a:pt x="0" y="4715"/>
                        </a:lnTo>
                        <a:lnTo>
                          <a:pt x="0" y="4680"/>
                        </a:lnTo>
                        <a:lnTo>
                          <a:pt x="0" y="205"/>
                        </a:lnTo>
                        <a:lnTo>
                          <a:pt x="0" y="169"/>
                        </a:lnTo>
                        <a:lnTo>
                          <a:pt x="9" y="125"/>
                        </a:lnTo>
                        <a:lnTo>
                          <a:pt x="36" y="89"/>
                        </a:lnTo>
                        <a:lnTo>
                          <a:pt x="54" y="62"/>
                        </a:lnTo>
                        <a:lnTo>
                          <a:pt x="89" y="36"/>
                        </a:lnTo>
                        <a:lnTo>
                          <a:pt x="125" y="18"/>
                        </a:lnTo>
                        <a:lnTo>
                          <a:pt x="160" y="9"/>
                        </a:lnTo>
                        <a:lnTo>
                          <a:pt x="205" y="0"/>
                        </a:lnTo>
                        <a:lnTo>
                          <a:pt x="7326" y="0"/>
                        </a:lnTo>
                        <a:lnTo>
                          <a:pt x="7370" y="9"/>
                        </a:lnTo>
                        <a:lnTo>
                          <a:pt x="7406" y="18"/>
                        </a:lnTo>
                        <a:lnTo>
                          <a:pt x="7441" y="36"/>
                        </a:lnTo>
                        <a:lnTo>
                          <a:pt x="7477" y="62"/>
                        </a:lnTo>
                        <a:lnTo>
                          <a:pt x="7504" y="89"/>
                        </a:lnTo>
                        <a:lnTo>
                          <a:pt x="7522" y="125"/>
                        </a:lnTo>
                        <a:lnTo>
                          <a:pt x="7531" y="169"/>
                        </a:lnTo>
                        <a:lnTo>
                          <a:pt x="7539" y="205"/>
                        </a:lnTo>
                        <a:lnTo>
                          <a:pt x="7539" y="4680"/>
                        </a:lnTo>
                        <a:close/>
                      </a:path>
                    </a:pathLst>
                  </a:custGeom>
                  <a:solidFill>
                    <a:srgbClr val="FFFFFF">
                      <a:lumMod val="65000"/>
                    </a:srgbClr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32316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344" name="Freeform 36"/>
                  <p:cNvSpPr>
                    <a:spLocks/>
                  </p:cNvSpPr>
                  <p:nvPr/>
                </p:nvSpPr>
                <p:spPr bwMode="auto">
                  <a:xfrm>
                    <a:off x="5943686" y="3938532"/>
                    <a:ext cx="1428771" cy="912799"/>
                  </a:xfrm>
                  <a:custGeom>
                    <a:avLst/>
                    <a:gdLst>
                      <a:gd name="T0" fmla="*/ 7201 w 7201"/>
                      <a:gd name="T1" fmla="*/ 4403 h 4599"/>
                      <a:gd name="T2" fmla="*/ 7192 w 7201"/>
                      <a:gd name="T3" fmla="*/ 4448 h 4599"/>
                      <a:gd name="T4" fmla="*/ 7183 w 7201"/>
                      <a:gd name="T5" fmla="*/ 4483 h 4599"/>
                      <a:gd name="T6" fmla="*/ 7165 w 7201"/>
                      <a:gd name="T7" fmla="*/ 4519 h 4599"/>
                      <a:gd name="T8" fmla="*/ 7139 w 7201"/>
                      <a:gd name="T9" fmla="*/ 4546 h 4599"/>
                      <a:gd name="T10" fmla="*/ 7112 w 7201"/>
                      <a:gd name="T11" fmla="*/ 4564 h 4599"/>
                      <a:gd name="T12" fmla="*/ 7076 w 7201"/>
                      <a:gd name="T13" fmla="*/ 4581 h 4599"/>
                      <a:gd name="T14" fmla="*/ 7041 w 7201"/>
                      <a:gd name="T15" fmla="*/ 4599 h 4599"/>
                      <a:gd name="T16" fmla="*/ 7005 w 7201"/>
                      <a:gd name="T17" fmla="*/ 4599 h 4599"/>
                      <a:gd name="T18" fmla="*/ 196 w 7201"/>
                      <a:gd name="T19" fmla="*/ 4599 h 4599"/>
                      <a:gd name="T20" fmla="*/ 160 w 7201"/>
                      <a:gd name="T21" fmla="*/ 4599 h 4599"/>
                      <a:gd name="T22" fmla="*/ 124 w 7201"/>
                      <a:gd name="T23" fmla="*/ 4581 h 4599"/>
                      <a:gd name="T24" fmla="*/ 88 w 7201"/>
                      <a:gd name="T25" fmla="*/ 4564 h 4599"/>
                      <a:gd name="T26" fmla="*/ 62 w 7201"/>
                      <a:gd name="T27" fmla="*/ 4546 h 4599"/>
                      <a:gd name="T28" fmla="*/ 35 w 7201"/>
                      <a:gd name="T29" fmla="*/ 4519 h 4599"/>
                      <a:gd name="T30" fmla="*/ 18 w 7201"/>
                      <a:gd name="T31" fmla="*/ 4483 h 4599"/>
                      <a:gd name="T32" fmla="*/ 9 w 7201"/>
                      <a:gd name="T33" fmla="*/ 4448 h 4599"/>
                      <a:gd name="T34" fmla="*/ 0 w 7201"/>
                      <a:gd name="T35" fmla="*/ 4403 h 4599"/>
                      <a:gd name="T36" fmla="*/ 0 w 7201"/>
                      <a:gd name="T37" fmla="*/ 196 h 4599"/>
                      <a:gd name="T38" fmla="*/ 9 w 7201"/>
                      <a:gd name="T39" fmla="*/ 160 h 4599"/>
                      <a:gd name="T40" fmla="*/ 18 w 7201"/>
                      <a:gd name="T41" fmla="*/ 116 h 4599"/>
                      <a:gd name="T42" fmla="*/ 35 w 7201"/>
                      <a:gd name="T43" fmla="*/ 89 h 4599"/>
                      <a:gd name="T44" fmla="*/ 62 w 7201"/>
                      <a:gd name="T45" fmla="*/ 62 h 4599"/>
                      <a:gd name="T46" fmla="*/ 88 w 7201"/>
                      <a:gd name="T47" fmla="*/ 35 h 4599"/>
                      <a:gd name="T48" fmla="*/ 124 w 7201"/>
                      <a:gd name="T49" fmla="*/ 18 h 4599"/>
                      <a:gd name="T50" fmla="*/ 160 w 7201"/>
                      <a:gd name="T51" fmla="*/ 9 h 4599"/>
                      <a:gd name="T52" fmla="*/ 196 w 7201"/>
                      <a:gd name="T53" fmla="*/ 0 h 4599"/>
                      <a:gd name="T54" fmla="*/ 7005 w 7201"/>
                      <a:gd name="T55" fmla="*/ 0 h 4599"/>
                      <a:gd name="T56" fmla="*/ 7041 w 7201"/>
                      <a:gd name="T57" fmla="*/ 9 h 4599"/>
                      <a:gd name="T58" fmla="*/ 7076 w 7201"/>
                      <a:gd name="T59" fmla="*/ 18 h 4599"/>
                      <a:gd name="T60" fmla="*/ 7112 w 7201"/>
                      <a:gd name="T61" fmla="*/ 35 h 4599"/>
                      <a:gd name="T62" fmla="*/ 7139 w 7201"/>
                      <a:gd name="T63" fmla="*/ 62 h 4599"/>
                      <a:gd name="T64" fmla="*/ 7165 w 7201"/>
                      <a:gd name="T65" fmla="*/ 89 h 4599"/>
                      <a:gd name="T66" fmla="*/ 7183 w 7201"/>
                      <a:gd name="T67" fmla="*/ 116 h 4599"/>
                      <a:gd name="T68" fmla="*/ 7192 w 7201"/>
                      <a:gd name="T69" fmla="*/ 160 h 4599"/>
                      <a:gd name="T70" fmla="*/ 7201 w 7201"/>
                      <a:gd name="T71" fmla="*/ 196 h 4599"/>
                      <a:gd name="T72" fmla="*/ 7201 w 7201"/>
                      <a:gd name="T73" fmla="*/ 4403 h 459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</a:cxnLst>
                    <a:rect l="0" t="0" r="r" b="b"/>
                    <a:pathLst>
                      <a:path w="7201" h="4599">
                        <a:moveTo>
                          <a:pt x="7201" y="4403"/>
                        </a:moveTo>
                        <a:lnTo>
                          <a:pt x="7192" y="4448"/>
                        </a:lnTo>
                        <a:lnTo>
                          <a:pt x="7183" y="4483"/>
                        </a:lnTo>
                        <a:lnTo>
                          <a:pt x="7165" y="4519"/>
                        </a:lnTo>
                        <a:lnTo>
                          <a:pt x="7139" y="4546"/>
                        </a:lnTo>
                        <a:lnTo>
                          <a:pt x="7112" y="4564"/>
                        </a:lnTo>
                        <a:lnTo>
                          <a:pt x="7076" y="4581"/>
                        </a:lnTo>
                        <a:lnTo>
                          <a:pt x="7041" y="4599"/>
                        </a:lnTo>
                        <a:lnTo>
                          <a:pt x="7005" y="4599"/>
                        </a:lnTo>
                        <a:lnTo>
                          <a:pt x="196" y="4599"/>
                        </a:lnTo>
                        <a:lnTo>
                          <a:pt x="160" y="4599"/>
                        </a:lnTo>
                        <a:lnTo>
                          <a:pt x="124" y="4581"/>
                        </a:lnTo>
                        <a:lnTo>
                          <a:pt x="88" y="4564"/>
                        </a:lnTo>
                        <a:lnTo>
                          <a:pt x="62" y="4546"/>
                        </a:lnTo>
                        <a:lnTo>
                          <a:pt x="35" y="4519"/>
                        </a:lnTo>
                        <a:lnTo>
                          <a:pt x="18" y="4483"/>
                        </a:lnTo>
                        <a:lnTo>
                          <a:pt x="9" y="4448"/>
                        </a:lnTo>
                        <a:lnTo>
                          <a:pt x="0" y="4403"/>
                        </a:lnTo>
                        <a:lnTo>
                          <a:pt x="0" y="196"/>
                        </a:lnTo>
                        <a:lnTo>
                          <a:pt x="9" y="160"/>
                        </a:lnTo>
                        <a:lnTo>
                          <a:pt x="18" y="116"/>
                        </a:lnTo>
                        <a:lnTo>
                          <a:pt x="35" y="89"/>
                        </a:lnTo>
                        <a:lnTo>
                          <a:pt x="62" y="62"/>
                        </a:lnTo>
                        <a:lnTo>
                          <a:pt x="88" y="35"/>
                        </a:lnTo>
                        <a:lnTo>
                          <a:pt x="124" y="18"/>
                        </a:lnTo>
                        <a:lnTo>
                          <a:pt x="160" y="9"/>
                        </a:lnTo>
                        <a:lnTo>
                          <a:pt x="196" y="0"/>
                        </a:lnTo>
                        <a:lnTo>
                          <a:pt x="7005" y="0"/>
                        </a:lnTo>
                        <a:lnTo>
                          <a:pt x="7041" y="9"/>
                        </a:lnTo>
                        <a:lnTo>
                          <a:pt x="7076" y="18"/>
                        </a:lnTo>
                        <a:lnTo>
                          <a:pt x="7112" y="35"/>
                        </a:lnTo>
                        <a:lnTo>
                          <a:pt x="7139" y="62"/>
                        </a:lnTo>
                        <a:lnTo>
                          <a:pt x="7165" y="89"/>
                        </a:lnTo>
                        <a:lnTo>
                          <a:pt x="7183" y="116"/>
                        </a:lnTo>
                        <a:lnTo>
                          <a:pt x="7192" y="160"/>
                        </a:lnTo>
                        <a:lnTo>
                          <a:pt x="7201" y="196"/>
                        </a:lnTo>
                        <a:lnTo>
                          <a:pt x="7201" y="440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="" xmlns:a14="http://schemas.microsoft.com/office/drawing/2010/main" xmlns:mv="urn:schemas-microsoft-com:mac:vml" xmlns:mc="http://schemas.openxmlformats.org/markup-compatibility/2006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32316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345" name="Freeform 37"/>
                  <p:cNvSpPr>
                    <a:spLocks/>
                  </p:cNvSpPr>
                  <p:nvPr/>
                </p:nvSpPr>
                <p:spPr bwMode="auto">
                  <a:xfrm>
                    <a:off x="6692995" y="4146491"/>
                    <a:ext cx="271467" cy="265109"/>
                  </a:xfrm>
                  <a:custGeom>
                    <a:avLst/>
                    <a:gdLst>
                      <a:gd name="T0" fmla="*/ 0 w 1364"/>
                      <a:gd name="T1" fmla="*/ 1338 h 1338"/>
                      <a:gd name="T2" fmla="*/ 1364 w 1364"/>
                      <a:gd name="T3" fmla="*/ 1338 h 1338"/>
                      <a:gd name="T4" fmla="*/ 1364 w 1364"/>
                      <a:gd name="T5" fmla="*/ 0 h 1338"/>
                      <a:gd name="T6" fmla="*/ 1229 w 1364"/>
                      <a:gd name="T7" fmla="*/ 11 h 1338"/>
                      <a:gd name="T8" fmla="*/ 1096 w 1364"/>
                      <a:gd name="T9" fmla="*/ 28 h 1338"/>
                      <a:gd name="T10" fmla="*/ 962 w 1364"/>
                      <a:gd name="T11" fmla="*/ 64 h 1338"/>
                      <a:gd name="T12" fmla="*/ 837 w 1364"/>
                      <a:gd name="T13" fmla="*/ 108 h 1338"/>
                      <a:gd name="T14" fmla="*/ 722 w 1364"/>
                      <a:gd name="T15" fmla="*/ 162 h 1338"/>
                      <a:gd name="T16" fmla="*/ 615 w 1364"/>
                      <a:gd name="T17" fmla="*/ 233 h 1338"/>
                      <a:gd name="T18" fmla="*/ 507 w 1364"/>
                      <a:gd name="T19" fmla="*/ 304 h 1338"/>
                      <a:gd name="T20" fmla="*/ 409 w 1364"/>
                      <a:gd name="T21" fmla="*/ 393 h 1338"/>
                      <a:gd name="T22" fmla="*/ 320 w 1364"/>
                      <a:gd name="T23" fmla="*/ 491 h 1338"/>
                      <a:gd name="T24" fmla="*/ 240 w 1364"/>
                      <a:gd name="T25" fmla="*/ 589 h 1338"/>
                      <a:gd name="T26" fmla="*/ 178 w 1364"/>
                      <a:gd name="T27" fmla="*/ 705 h 1338"/>
                      <a:gd name="T28" fmla="*/ 116 w 1364"/>
                      <a:gd name="T29" fmla="*/ 820 h 1338"/>
                      <a:gd name="T30" fmla="*/ 71 w 1364"/>
                      <a:gd name="T31" fmla="*/ 946 h 1338"/>
                      <a:gd name="T32" fmla="*/ 35 w 1364"/>
                      <a:gd name="T33" fmla="*/ 1071 h 1338"/>
                      <a:gd name="T34" fmla="*/ 9 w 1364"/>
                      <a:gd name="T35" fmla="*/ 1204 h 1338"/>
                      <a:gd name="T36" fmla="*/ 0 w 1364"/>
                      <a:gd name="T37" fmla="*/ 1338 h 133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1364" h="1338">
                        <a:moveTo>
                          <a:pt x="0" y="1338"/>
                        </a:moveTo>
                        <a:lnTo>
                          <a:pt x="1364" y="1338"/>
                        </a:lnTo>
                        <a:lnTo>
                          <a:pt x="1364" y="0"/>
                        </a:lnTo>
                        <a:lnTo>
                          <a:pt x="1229" y="11"/>
                        </a:lnTo>
                        <a:lnTo>
                          <a:pt x="1096" y="28"/>
                        </a:lnTo>
                        <a:lnTo>
                          <a:pt x="962" y="64"/>
                        </a:lnTo>
                        <a:lnTo>
                          <a:pt x="837" y="108"/>
                        </a:lnTo>
                        <a:lnTo>
                          <a:pt x="722" y="162"/>
                        </a:lnTo>
                        <a:lnTo>
                          <a:pt x="615" y="233"/>
                        </a:lnTo>
                        <a:lnTo>
                          <a:pt x="507" y="304"/>
                        </a:lnTo>
                        <a:lnTo>
                          <a:pt x="409" y="393"/>
                        </a:lnTo>
                        <a:lnTo>
                          <a:pt x="320" y="491"/>
                        </a:lnTo>
                        <a:lnTo>
                          <a:pt x="240" y="589"/>
                        </a:lnTo>
                        <a:lnTo>
                          <a:pt x="178" y="705"/>
                        </a:lnTo>
                        <a:lnTo>
                          <a:pt x="116" y="820"/>
                        </a:lnTo>
                        <a:lnTo>
                          <a:pt x="71" y="946"/>
                        </a:lnTo>
                        <a:lnTo>
                          <a:pt x="35" y="1071"/>
                        </a:lnTo>
                        <a:lnTo>
                          <a:pt x="9" y="1204"/>
                        </a:lnTo>
                        <a:lnTo>
                          <a:pt x="0" y="1338"/>
                        </a:lnTo>
                        <a:close/>
                      </a:path>
                    </a:pathLst>
                  </a:custGeom>
                  <a:solidFill>
                    <a:srgbClr val="00BCF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32316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346" name="Freeform 38"/>
                  <p:cNvSpPr>
                    <a:spLocks/>
                  </p:cNvSpPr>
                  <p:nvPr/>
                </p:nvSpPr>
                <p:spPr bwMode="auto">
                  <a:xfrm>
                    <a:off x="6964463" y="4146491"/>
                    <a:ext cx="274642" cy="265109"/>
                  </a:xfrm>
                  <a:custGeom>
                    <a:avLst/>
                    <a:gdLst>
                      <a:gd name="T0" fmla="*/ 9 w 1389"/>
                      <a:gd name="T1" fmla="*/ 0 h 1338"/>
                      <a:gd name="T2" fmla="*/ 0 w 1389"/>
                      <a:gd name="T3" fmla="*/ 0 h 1338"/>
                      <a:gd name="T4" fmla="*/ 0 w 1389"/>
                      <a:gd name="T5" fmla="*/ 1338 h 1338"/>
                      <a:gd name="T6" fmla="*/ 1389 w 1389"/>
                      <a:gd name="T7" fmla="*/ 1338 h 1338"/>
                      <a:gd name="T8" fmla="*/ 1380 w 1389"/>
                      <a:gd name="T9" fmla="*/ 1204 h 1338"/>
                      <a:gd name="T10" fmla="*/ 1354 w 1389"/>
                      <a:gd name="T11" fmla="*/ 1071 h 1338"/>
                      <a:gd name="T12" fmla="*/ 1318 w 1389"/>
                      <a:gd name="T13" fmla="*/ 937 h 1338"/>
                      <a:gd name="T14" fmla="*/ 1273 w 1389"/>
                      <a:gd name="T15" fmla="*/ 820 h 1338"/>
                      <a:gd name="T16" fmla="*/ 1211 w 1389"/>
                      <a:gd name="T17" fmla="*/ 696 h 1338"/>
                      <a:gd name="T18" fmla="*/ 1140 w 1389"/>
                      <a:gd name="T19" fmla="*/ 589 h 1338"/>
                      <a:gd name="T20" fmla="*/ 1060 w 1389"/>
                      <a:gd name="T21" fmla="*/ 482 h 1338"/>
                      <a:gd name="T22" fmla="*/ 971 w 1389"/>
                      <a:gd name="T23" fmla="*/ 393 h 1338"/>
                      <a:gd name="T24" fmla="*/ 882 w 1389"/>
                      <a:gd name="T25" fmla="*/ 304 h 1338"/>
                      <a:gd name="T26" fmla="*/ 774 w 1389"/>
                      <a:gd name="T27" fmla="*/ 224 h 1338"/>
                      <a:gd name="T28" fmla="*/ 658 w 1389"/>
                      <a:gd name="T29" fmla="*/ 162 h 1338"/>
                      <a:gd name="T30" fmla="*/ 543 w 1389"/>
                      <a:gd name="T31" fmla="*/ 99 h 1338"/>
                      <a:gd name="T32" fmla="*/ 418 w 1389"/>
                      <a:gd name="T33" fmla="*/ 55 h 1338"/>
                      <a:gd name="T34" fmla="*/ 284 w 1389"/>
                      <a:gd name="T35" fmla="*/ 28 h 1338"/>
                      <a:gd name="T36" fmla="*/ 151 w 1389"/>
                      <a:gd name="T37" fmla="*/ 0 h 1338"/>
                      <a:gd name="T38" fmla="*/ 9 w 1389"/>
                      <a:gd name="T39" fmla="*/ 0 h 133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1389" h="1338">
                        <a:moveTo>
                          <a:pt x="9" y="0"/>
                        </a:moveTo>
                        <a:lnTo>
                          <a:pt x="0" y="0"/>
                        </a:lnTo>
                        <a:lnTo>
                          <a:pt x="0" y="1338"/>
                        </a:lnTo>
                        <a:lnTo>
                          <a:pt x="1389" y="1338"/>
                        </a:lnTo>
                        <a:lnTo>
                          <a:pt x="1380" y="1204"/>
                        </a:lnTo>
                        <a:lnTo>
                          <a:pt x="1354" y="1071"/>
                        </a:lnTo>
                        <a:lnTo>
                          <a:pt x="1318" y="937"/>
                        </a:lnTo>
                        <a:lnTo>
                          <a:pt x="1273" y="820"/>
                        </a:lnTo>
                        <a:lnTo>
                          <a:pt x="1211" y="696"/>
                        </a:lnTo>
                        <a:lnTo>
                          <a:pt x="1140" y="589"/>
                        </a:lnTo>
                        <a:lnTo>
                          <a:pt x="1060" y="482"/>
                        </a:lnTo>
                        <a:lnTo>
                          <a:pt x="971" y="393"/>
                        </a:lnTo>
                        <a:lnTo>
                          <a:pt x="882" y="304"/>
                        </a:lnTo>
                        <a:lnTo>
                          <a:pt x="774" y="224"/>
                        </a:lnTo>
                        <a:lnTo>
                          <a:pt x="658" y="162"/>
                        </a:lnTo>
                        <a:lnTo>
                          <a:pt x="543" y="99"/>
                        </a:lnTo>
                        <a:lnTo>
                          <a:pt x="418" y="55"/>
                        </a:lnTo>
                        <a:lnTo>
                          <a:pt x="284" y="28"/>
                        </a:lnTo>
                        <a:lnTo>
                          <a:pt x="151" y="0"/>
                        </a:lnTo>
                        <a:lnTo>
                          <a:pt x="9" y="0"/>
                        </a:lnTo>
                        <a:close/>
                      </a:path>
                    </a:pathLst>
                  </a:custGeom>
                  <a:solidFill>
                    <a:srgbClr val="DC3C00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32316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347" name="Freeform 39"/>
                  <p:cNvSpPr>
                    <a:spLocks/>
                  </p:cNvSpPr>
                  <p:nvPr/>
                </p:nvSpPr>
                <p:spPr bwMode="auto">
                  <a:xfrm>
                    <a:off x="6999388" y="4456048"/>
                    <a:ext cx="276229" cy="279396"/>
                  </a:xfrm>
                  <a:custGeom>
                    <a:avLst/>
                    <a:gdLst>
                      <a:gd name="T0" fmla="*/ 1389 w 1389"/>
                      <a:gd name="T1" fmla="*/ 0 h 1408"/>
                      <a:gd name="T2" fmla="*/ 0 w 1389"/>
                      <a:gd name="T3" fmla="*/ 0 h 1408"/>
                      <a:gd name="T4" fmla="*/ 0 w 1389"/>
                      <a:gd name="T5" fmla="*/ 1408 h 1408"/>
                      <a:gd name="T6" fmla="*/ 9 w 1389"/>
                      <a:gd name="T7" fmla="*/ 1408 h 1408"/>
                      <a:gd name="T8" fmla="*/ 151 w 1389"/>
                      <a:gd name="T9" fmla="*/ 1408 h 1408"/>
                      <a:gd name="T10" fmla="*/ 285 w 1389"/>
                      <a:gd name="T11" fmla="*/ 1382 h 1408"/>
                      <a:gd name="T12" fmla="*/ 418 w 1389"/>
                      <a:gd name="T13" fmla="*/ 1355 h 1408"/>
                      <a:gd name="T14" fmla="*/ 543 w 1389"/>
                      <a:gd name="T15" fmla="*/ 1302 h 1408"/>
                      <a:gd name="T16" fmla="*/ 668 w 1389"/>
                      <a:gd name="T17" fmla="*/ 1248 h 1408"/>
                      <a:gd name="T18" fmla="*/ 784 w 1389"/>
                      <a:gd name="T19" fmla="*/ 1177 h 1408"/>
                      <a:gd name="T20" fmla="*/ 891 w 1389"/>
                      <a:gd name="T21" fmla="*/ 1097 h 1408"/>
                      <a:gd name="T22" fmla="*/ 989 w 1389"/>
                      <a:gd name="T23" fmla="*/ 1008 h 1408"/>
                      <a:gd name="T24" fmla="*/ 1069 w 1389"/>
                      <a:gd name="T25" fmla="*/ 909 h 1408"/>
                      <a:gd name="T26" fmla="*/ 1149 w 1389"/>
                      <a:gd name="T27" fmla="*/ 802 h 1408"/>
                      <a:gd name="T28" fmla="*/ 1220 w 1389"/>
                      <a:gd name="T29" fmla="*/ 695 h 1408"/>
                      <a:gd name="T30" fmla="*/ 1282 w 1389"/>
                      <a:gd name="T31" fmla="*/ 571 h 1408"/>
                      <a:gd name="T32" fmla="*/ 1327 w 1389"/>
                      <a:gd name="T33" fmla="*/ 446 h 1408"/>
                      <a:gd name="T34" fmla="*/ 1363 w 1389"/>
                      <a:gd name="T35" fmla="*/ 312 h 1408"/>
                      <a:gd name="T36" fmla="*/ 1380 w 1389"/>
                      <a:gd name="T37" fmla="*/ 179 h 1408"/>
                      <a:gd name="T38" fmla="*/ 1389 w 1389"/>
                      <a:gd name="T39" fmla="*/ 36 h 1408"/>
                      <a:gd name="T40" fmla="*/ 1389 w 1389"/>
                      <a:gd name="T41" fmla="*/ 0 h 140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</a:cxnLst>
                    <a:rect l="0" t="0" r="r" b="b"/>
                    <a:pathLst>
                      <a:path w="1389" h="1408">
                        <a:moveTo>
                          <a:pt x="1389" y="0"/>
                        </a:moveTo>
                        <a:lnTo>
                          <a:pt x="0" y="0"/>
                        </a:lnTo>
                        <a:lnTo>
                          <a:pt x="0" y="1408"/>
                        </a:lnTo>
                        <a:lnTo>
                          <a:pt x="9" y="1408"/>
                        </a:lnTo>
                        <a:lnTo>
                          <a:pt x="151" y="1408"/>
                        </a:lnTo>
                        <a:lnTo>
                          <a:pt x="285" y="1382"/>
                        </a:lnTo>
                        <a:lnTo>
                          <a:pt x="418" y="1355"/>
                        </a:lnTo>
                        <a:lnTo>
                          <a:pt x="543" y="1302"/>
                        </a:lnTo>
                        <a:lnTo>
                          <a:pt x="668" y="1248"/>
                        </a:lnTo>
                        <a:lnTo>
                          <a:pt x="784" y="1177"/>
                        </a:lnTo>
                        <a:lnTo>
                          <a:pt x="891" y="1097"/>
                        </a:lnTo>
                        <a:lnTo>
                          <a:pt x="989" y="1008"/>
                        </a:lnTo>
                        <a:lnTo>
                          <a:pt x="1069" y="909"/>
                        </a:lnTo>
                        <a:lnTo>
                          <a:pt x="1149" y="802"/>
                        </a:lnTo>
                        <a:lnTo>
                          <a:pt x="1220" y="695"/>
                        </a:lnTo>
                        <a:lnTo>
                          <a:pt x="1282" y="571"/>
                        </a:lnTo>
                        <a:lnTo>
                          <a:pt x="1327" y="446"/>
                        </a:lnTo>
                        <a:lnTo>
                          <a:pt x="1363" y="312"/>
                        </a:lnTo>
                        <a:lnTo>
                          <a:pt x="1380" y="179"/>
                        </a:lnTo>
                        <a:lnTo>
                          <a:pt x="1389" y="36"/>
                        </a:lnTo>
                        <a:lnTo>
                          <a:pt x="1389" y="0"/>
                        </a:lnTo>
                        <a:close/>
                      </a:path>
                    </a:pathLst>
                  </a:custGeom>
                  <a:solidFill>
                    <a:srgbClr val="FF8C00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32316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348" name="Freeform 40"/>
                  <p:cNvSpPr>
                    <a:spLocks/>
                  </p:cNvSpPr>
                  <p:nvPr/>
                </p:nvSpPr>
                <p:spPr bwMode="auto">
                  <a:xfrm>
                    <a:off x="6692995" y="4411600"/>
                    <a:ext cx="271467" cy="280983"/>
                  </a:xfrm>
                  <a:custGeom>
                    <a:avLst/>
                    <a:gdLst>
                      <a:gd name="T0" fmla="*/ 0 w 1364"/>
                      <a:gd name="T1" fmla="*/ 0 h 1417"/>
                      <a:gd name="T2" fmla="*/ 0 w 1364"/>
                      <a:gd name="T3" fmla="*/ 35 h 1417"/>
                      <a:gd name="T4" fmla="*/ 9 w 1364"/>
                      <a:gd name="T5" fmla="*/ 178 h 1417"/>
                      <a:gd name="T6" fmla="*/ 27 w 1364"/>
                      <a:gd name="T7" fmla="*/ 311 h 1417"/>
                      <a:gd name="T8" fmla="*/ 62 w 1364"/>
                      <a:gd name="T9" fmla="*/ 445 h 1417"/>
                      <a:gd name="T10" fmla="*/ 107 w 1364"/>
                      <a:gd name="T11" fmla="*/ 570 h 1417"/>
                      <a:gd name="T12" fmla="*/ 160 w 1364"/>
                      <a:gd name="T13" fmla="*/ 695 h 1417"/>
                      <a:gd name="T14" fmla="*/ 231 w 1364"/>
                      <a:gd name="T15" fmla="*/ 802 h 1417"/>
                      <a:gd name="T16" fmla="*/ 312 w 1364"/>
                      <a:gd name="T17" fmla="*/ 908 h 1417"/>
                      <a:gd name="T18" fmla="*/ 401 w 1364"/>
                      <a:gd name="T19" fmla="*/ 1006 h 1417"/>
                      <a:gd name="T20" fmla="*/ 499 w 1364"/>
                      <a:gd name="T21" fmla="*/ 1095 h 1417"/>
                      <a:gd name="T22" fmla="*/ 596 w 1364"/>
                      <a:gd name="T23" fmla="*/ 1177 h 1417"/>
                      <a:gd name="T24" fmla="*/ 713 w 1364"/>
                      <a:gd name="T25" fmla="*/ 1248 h 1417"/>
                      <a:gd name="T26" fmla="*/ 829 w 1364"/>
                      <a:gd name="T27" fmla="*/ 1301 h 1417"/>
                      <a:gd name="T28" fmla="*/ 962 w 1364"/>
                      <a:gd name="T29" fmla="*/ 1346 h 1417"/>
                      <a:gd name="T30" fmla="*/ 1087 w 1364"/>
                      <a:gd name="T31" fmla="*/ 1381 h 1417"/>
                      <a:gd name="T32" fmla="*/ 1220 w 1364"/>
                      <a:gd name="T33" fmla="*/ 1408 h 1417"/>
                      <a:gd name="T34" fmla="*/ 1364 w 1364"/>
                      <a:gd name="T35" fmla="*/ 1417 h 1417"/>
                      <a:gd name="T36" fmla="*/ 1364 w 1364"/>
                      <a:gd name="T37" fmla="*/ 0 h 1417"/>
                      <a:gd name="T38" fmla="*/ 0 w 1364"/>
                      <a:gd name="T39" fmla="*/ 0 h 141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1364" h="1417">
                        <a:moveTo>
                          <a:pt x="0" y="0"/>
                        </a:moveTo>
                        <a:lnTo>
                          <a:pt x="0" y="35"/>
                        </a:lnTo>
                        <a:lnTo>
                          <a:pt x="9" y="178"/>
                        </a:lnTo>
                        <a:lnTo>
                          <a:pt x="27" y="311"/>
                        </a:lnTo>
                        <a:lnTo>
                          <a:pt x="62" y="445"/>
                        </a:lnTo>
                        <a:lnTo>
                          <a:pt x="107" y="570"/>
                        </a:lnTo>
                        <a:lnTo>
                          <a:pt x="160" y="695"/>
                        </a:lnTo>
                        <a:lnTo>
                          <a:pt x="231" y="802"/>
                        </a:lnTo>
                        <a:lnTo>
                          <a:pt x="312" y="908"/>
                        </a:lnTo>
                        <a:lnTo>
                          <a:pt x="401" y="1006"/>
                        </a:lnTo>
                        <a:lnTo>
                          <a:pt x="499" y="1095"/>
                        </a:lnTo>
                        <a:lnTo>
                          <a:pt x="596" y="1177"/>
                        </a:lnTo>
                        <a:lnTo>
                          <a:pt x="713" y="1248"/>
                        </a:lnTo>
                        <a:lnTo>
                          <a:pt x="829" y="1301"/>
                        </a:lnTo>
                        <a:lnTo>
                          <a:pt x="962" y="1346"/>
                        </a:lnTo>
                        <a:lnTo>
                          <a:pt x="1087" y="1381"/>
                        </a:lnTo>
                        <a:lnTo>
                          <a:pt x="1220" y="1408"/>
                        </a:lnTo>
                        <a:lnTo>
                          <a:pt x="1364" y="1417"/>
                        </a:lnTo>
                        <a:lnTo>
                          <a:pt x="1364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68217A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32316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349" name="Rectangle 41"/>
                  <p:cNvSpPr>
                    <a:spLocks noChangeArrowheads="1"/>
                  </p:cNvSpPr>
                  <p:nvPr/>
                </p:nvSpPr>
                <p:spPr bwMode="auto">
                  <a:xfrm>
                    <a:off x="6134187" y="4327463"/>
                    <a:ext cx="65089" cy="395281"/>
                  </a:xfrm>
                  <a:prstGeom prst="rect">
                    <a:avLst/>
                  </a:prstGeom>
                  <a:solidFill>
                    <a:srgbClr val="00827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32316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350" name="Rectangle 42"/>
                  <p:cNvSpPr>
                    <a:spLocks noChangeArrowheads="1"/>
                  </p:cNvSpPr>
                  <p:nvPr/>
                </p:nvSpPr>
                <p:spPr bwMode="auto">
                  <a:xfrm>
                    <a:off x="6240553" y="4521135"/>
                    <a:ext cx="66676" cy="201610"/>
                  </a:xfrm>
                  <a:prstGeom prst="rect">
                    <a:avLst/>
                  </a:prstGeom>
                  <a:solidFill>
                    <a:srgbClr val="68217A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32316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351" name="Rectangle 43"/>
                  <p:cNvSpPr>
                    <a:spLocks noChangeArrowheads="1"/>
                  </p:cNvSpPr>
                  <p:nvPr/>
                </p:nvSpPr>
                <p:spPr bwMode="auto">
                  <a:xfrm>
                    <a:off x="6351679" y="4424299"/>
                    <a:ext cx="65089" cy="298446"/>
                  </a:xfrm>
                  <a:prstGeom prst="rect">
                    <a:avLst/>
                  </a:prstGeom>
                  <a:solidFill>
                    <a:srgbClr val="DC3C00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32316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352" name="Rectangle 44"/>
                  <p:cNvSpPr>
                    <a:spLocks noChangeArrowheads="1"/>
                  </p:cNvSpPr>
                  <p:nvPr/>
                </p:nvSpPr>
                <p:spPr bwMode="auto">
                  <a:xfrm>
                    <a:off x="6462805" y="4521135"/>
                    <a:ext cx="65089" cy="201610"/>
                  </a:xfrm>
                  <a:prstGeom prst="rect">
                    <a:avLst/>
                  </a:prstGeom>
                  <a:solidFill>
                    <a:srgbClr val="00BCF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32316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353" name="Freeform 45"/>
                  <p:cNvSpPr>
                    <a:spLocks/>
                  </p:cNvSpPr>
                  <p:nvPr/>
                </p:nvSpPr>
                <p:spPr bwMode="auto">
                  <a:xfrm>
                    <a:off x="6072274" y="4163956"/>
                    <a:ext cx="511182" cy="571492"/>
                  </a:xfrm>
                  <a:custGeom>
                    <a:avLst/>
                    <a:gdLst>
                      <a:gd name="T0" fmla="*/ 0 w 2576"/>
                      <a:gd name="T1" fmla="*/ 0 h 2878"/>
                      <a:gd name="T2" fmla="*/ 0 w 2576"/>
                      <a:gd name="T3" fmla="*/ 2878 h 2878"/>
                      <a:gd name="T4" fmla="*/ 2576 w 2576"/>
                      <a:gd name="T5" fmla="*/ 2878 h 2878"/>
                      <a:gd name="T6" fmla="*/ 2576 w 2576"/>
                      <a:gd name="T7" fmla="*/ 2799 h 2878"/>
                      <a:gd name="T8" fmla="*/ 72 w 2576"/>
                      <a:gd name="T9" fmla="*/ 2799 h 2878"/>
                      <a:gd name="T10" fmla="*/ 72 w 2576"/>
                      <a:gd name="T11" fmla="*/ 0 h 2878"/>
                      <a:gd name="T12" fmla="*/ 0 w 2576"/>
                      <a:gd name="T13" fmla="*/ 0 h 287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576" h="2878">
                        <a:moveTo>
                          <a:pt x="0" y="0"/>
                        </a:moveTo>
                        <a:lnTo>
                          <a:pt x="0" y="2878"/>
                        </a:lnTo>
                        <a:lnTo>
                          <a:pt x="2576" y="2878"/>
                        </a:lnTo>
                        <a:lnTo>
                          <a:pt x="2576" y="2799"/>
                        </a:lnTo>
                        <a:lnTo>
                          <a:pt x="72" y="2799"/>
                        </a:lnTo>
                        <a:lnTo>
                          <a:pt x="72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FFFFF">
                      <a:lumMod val="50000"/>
                    </a:srgbClr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32316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354" name="Freeform 46"/>
                  <p:cNvSpPr>
                    <a:spLocks/>
                  </p:cNvSpPr>
                  <p:nvPr/>
                </p:nvSpPr>
                <p:spPr bwMode="auto">
                  <a:xfrm>
                    <a:off x="6057988" y="4140144"/>
                    <a:ext cx="41276" cy="41275"/>
                  </a:xfrm>
                  <a:custGeom>
                    <a:avLst/>
                    <a:gdLst>
                      <a:gd name="T0" fmla="*/ 107 w 205"/>
                      <a:gd name="T1" fmla="*/ 0 h 204"/>
                      <a:gd name="T2" fmla="*/ 0 w 205"/>
                      <a:gd name="T3" fmla="*/ 204 h 204"/>
                      <a:gd name="T4" fmla="*/ 205 w 205"/>
                      <a:gd name="T5" fmla="*/ 204 h 204"/>
                      <a:gd name="T6" fmla="*/ 107 w 205"/>
                      <a:gd name="T7" fmla="*/ 0 h 20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05" h="204">
                        <a:moveTo>
                          <a:pt x="107" y="0"/>
                        </a:moveTo>
                        <a:lnTo>
                          <a:pt x="0" y="204"/>
                        </a:lnTo>
                        <a:lnTo>
                          <a:pt x="205" y="204"/>
                        </a:lnTo>
                        <a:lnTo>
                          <a:pt x="107" y="0"/>
                        </a:lnTo>
                        <a:close/>
                      </a:path>
                    </a:pathLst>
                  </a:custGeom>
                  <a:solidFill>
                    <a:srgbClr val="FFFFFF">
                      <a:lumMod val="50000"/>
                    </a:srgbClr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32316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355" name="Rectangle 48"/>
                  <p:cNvSpPr>
                    <a:spLocks noChangeArrowheads="1"/>
                  </p:cNvSpPr>
                  <p:nvPr/>
                </p:nvSpPr>
                <p:spPr bwMode="auto">
                  <a:xfrm>
                    <a:off x="6202453" y="4048068"/>
                    <a:ext cx="225429" cy="33337"/>
                  </a:xfrm>
                  <a:prstGeom prst="rect">
                    <a:avLst/>
                  </a:prstGeom>
                  <a:solidFill>
                    <a:srgbClr val="0072C6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32316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356" name="Rectangle 49"/>
                  <p:cNvSpPr>
                    <a:spLocks noChangeArrowheads="1"/>
                  </p:cNvSpPr>
                  <p:nvPr/>
                </p:nvSpPr>
                <p:spPr bwMode="auto">
                  <a:xfrm>
                    <a:off x="6880321" y="4048067"/>
                    <a:ext cx="225429" cy="33337"/>
                  </a:xfrm>
                  <a:prstGeom prst="rect">
                    <a:avLst/>
                  </a:prstGeom>
                  <a:solidFill>
                    <a:srgbClr val="68217A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32316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357" name="Freeform 51"/>
                  <p:cNvSpPr>
                    <a:spLocks/>
                  </p:cNvSpPr>
                  <p:nvPr/>
                </p:nvSpPr>
                <p:spPr bwMode="auto">
                  <a:xfrm>
                    <a:off x="7127984" y="4427532"/>
                    <a:ext cx="182566" cy="52389"/>
                  </a:xfrm>
                  <a:custGeom>
                    <a:avLst/>
                    <a:gdLst>
                      <a:gd name="T0" fmla="*/ 917 w 917"/>
                      <a:gd name="T1" fmla="*/ 0 h 266"/>
                      <a:gd name="T2" fmla="*/ 0 w 917"/>
                      <a:gd name="T3" fmla="*/ 0 h 266"/>
                      <a:gd name="T4" fmla="*/ 0 w 917"/>
                      <a:gd name="T5" fmla="*/ 266 h 266"/>
                      <a:gd name="T6" fmla="*/ 35 w 917"/>
                      <a:gd name="T7" fmla="*/ 266 h 266"/>
                      <a:gd name="T8" fmla="*/ 35 w 917"/>
                      <a:gd name="T9" fmla="*/ 35 h 266"/>
                      <a:gd name="T10" fmla="*/ 917 w 917"/>
                      <a:gd name="T11" fmla="*/ 35 h 266"/>
                      <a:gd name="T12" fmla="*/ 917 w 917"/>
                      <a:gd name="T13" fmla="*/ 0 h 26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917" h="266">
                        <a:moveTo>
                          <a:pt x="917" y="0"/>
                        </a:moveTo>
                        <a:lnTo>
                          <a:pt x="0" y="0"/>
                        </a:lnTo>
                        <a:lnTo>
                          <a:pt x="0" y="266"/>
                        </a:lnTo>
                        <a:lnTo>
                          <a:pt x="35" y="266"/>
                        </a:lnTo>
                        <a:lnTo>
                          <a:pt x="35" y="35"/>
                        </a:lnTo>
                        <a:lnTo>
                          <a:pt x="917" y="35"/>
                        </a:lnTo>
                        <a:lnTo>
                          <a:pt x="917" y="0"/>
                        </a:lnTo>
                        <a:close/>
                      </a:path>
                    </a:pathLst>
                  </a:custGeom>
                  <a:solidFill>
                    <a:srgbClr val="FFFFFF">
                      <a:lumMod val="50000"/>
                    </a:srgbClr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32316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358" name="Freeform 52"/>
                  <p:cNvSpPr>
                    <a:spLocks/>
                  </p:cNvSpPr>
                  <p:nvPr/>
                </p:nvSpPr>
                <p:spPr bwMode="auto">
                  <a:xfrm>
                    <a:off x="7119938" y="4475165"/>
                    <a:ext cx="22225" cy="20638"/>
                  </a:xfrm>
                  <a:custGeom>
                    <a:avLst/>
                    <a:gdLst>
                      <a:gd name="T0" fmla="*/ 117 w 117"/>
                      <a:gd name="T1" fmla="*/ 0 h 107"/>
                      <a:gd name="T2" fmla="*/ 0 w 117"/>
                      <a:gd name="T3" fmla="*/ 0 h 107"/>
                      <a:gd name="T4" fmla="*/ 55 w 117"/>
                      <a:gd name="T5" fmla="*/ 107 h 107"/>
                      <a:gd name="T6" fmla="*/ 117 w 117"/>
                      <a:gd name="T7" fmla="*/ 0 h 10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17" h="107">
                        <a:moveTo>
                          <a:pt x="117" y="0"/>
                        </a:moveTo>
                        <a:lnTo>
                          <a:pt x="0" y="0"/>
                        </a:lnTo>
                        <a:lnTo>
                          <a:pt x="55" y="107"/>
                        </a:lnTo>
                        <a:lnTo>
                          <a:pt x="117" y="0"/>
                        </a:lnTo>
                        <a:close/>
                      </a:path>
                    </a:pathLst>
                  </a:custGeom>
                  <a:solidFill>
                    <a:srgbClr val="FFFFFF">
                      <a:lumMod val="50000"/>
                    </a:srgbClr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32316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  <p:grpSp>
              <p:nvGrpSpPr>
                <p:cNvPr id="252" name="Group 251"/>
                <p:cNvGrpSpPr/>
                <p:nvPr/>
              </p:nvGrpSpPr>
              <p:grpSpPr>
                <a:xfrm>
                  <a:off x="6343650" y="951627"/>
                  <a:ext cx="3437711" cy="2552073"/>
                  <a:chOff x="4429250" y="3317662"/>
                  <a:chExt cx="4787904" cy="3554424"/>
                </a:xfrm>
              </p:grpSpPr>
              <p:grpSp>
                <p:nvGrpSpPr>
                  <p:cNvPr id="253" name="Group 252"/>
                  <p:cNvGrpSpPr/>
                  <p:nvPr/>
                </p:nvGrpSpPr>
                <p:grpSpPr>
                  <a:xfrm>
                    <a:off x="4867255" y="3317662"/>
                    <a:ext cx="3911895" cy="2124501"/>
                    <a:chOff x="4216105" y="4451984"/>
                    <a:chExt cx="3911895" cy="2124501"/>
                  </a:xfrm>
                </p:grpSpPr>
                <p:grpSp>
                  <p:nvGrpSpPr>
                    <p:cNvPr id="264" name="Group 263"/>
                    <p:cNvGrpSpPr/>
                    <p:nvPr/>
                  </p:nvGrpSpPr>
                  <p:grpSpPr>
                    <a:xfrm>
                      <a:off x="6976017" y="4767263"/>
                      <a:ext cx="1151983" cy="1809222"/>
                      <a:chOff x="6976017" y="1476578"/>
                      <a:chExt cx="1151983" cy="1809222"/>
                    </a:xfrm>
                  </p:grpSpPr>
                  <p:sp>
                    <p:nvSpPr>
                      <p:cNvPr id="318" name="Freeform 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7284020" y="1476578"/>
                        <a:ext cx="557803" cy="642687"/>
                      </a:xfrm>
                      <a:custGeom>
                        <a:avLst/>
                        <a:gdLst>
                          <a:gd name="T0" fmla="*/ 91 w 97"/>
                          <a:gd name="T1" fmla="*/ 88 h 112"/>
                          <a:gd name="T2" fmla="*/ 82 w 97"/>
                          <a:gd name="T3" fmla="*/ 88 h 112"/>
                          <a:gd name="T4" fmla="*/ 85 w 97"/>
                          <a:gd name="T5" fmla="*/ 74 h 112"/>
                          <a:gd name="T6" fmla="*/ 88 w 97"/>
                          <a:gd name="T7" fmla="*/ 69 h 112"/>
                          <a:gd name="T8" fmla="*/ 88 w 97"/>
                          <a:gd name="T9" fmla="*/ 69 h 112"/>
                          <a:gd name="T10" fmla="*/ 88 w 97"/>
                          <a:gd name="T11" fmla="*/ 69 h 112"/>
                          <a:gd name="T12" fmla="*/ 91 w 97"/>
                          <a:gd name="T13" fmla="*/ 53 h 112"/>
                          <a:gd name="T14" fmla="*/ 69 w 97"/>
                          <a:gd name="T15" fmla="*/ 17 h 112"/>
                          <a:gd name="T16" fmla="*/ 40 w 97"/>
                          <a:gd name="T17" fmla="*/ 0 h 112"/>
                          <a:gd name="T18" fmla="*/ 4 w 97"/>
                          <a:gd name="T19" fmla="*/ 46 h 112"/>
                          <a:gd name="T20" fmla="*/ 9 w 97"/>
                          <a:gd name="T21" fmla="*/ 69 h 112"/>
                          <a:gd name="T22" fmla="*/ 9 w 97"/>
                          <a:gd name="T23" fmla="*/ 69 h 112"/>
                          <a:gd name="T24" fmla="*/ 15 w 97"/>
                          <a:gd name="T25" fmla="*/ 88 h 112"/>
                          <a:gd name="T26" fmla="*/ 6 w 97"/>
                          <a:gd name="T27" fmla="*/ 88 h 112"/>
                          <a:gd name="T28" fmla="*/ 0 w 97"/>
                          <a:gd name="T29" fmla="*/ 95 h 112"/>
                          <a:gd name="T30" fmla="*/ 16 w 97"/>
                          <a:gd name="T31" fmla="*/ 110 h 112"/>
                          <a:gd name="T32" fmla="*/ 42 w 97"/>
                          <a:gd name="T33" fmla="*/ 112 h 112"/>
                          <a:gd name="T34" fmla="*/ 44 w 97"/>
                          <a:gd name="T35" fmla="*/ 112 h 112"/>
                          <a:gd name="T36" fmla="*/ 44 w 97"/>
                          <a:gd name="T37" fmla="*/ 112 h 112"/>
                          <a:gd name="T38" fmla="*/ 47 w 97"/>
                          <a:gd name="T39" fmla="*/ 112 h 112"/>
                          <a:gd name="T40" fmla="*/ 48 w 97"/>
                          <a:gd name="T41" fmla="*/ 112 h 112"/>
                          <a:gd name="T42" fmla="*/ 49 w 97"/>
                          <a:gd name="T43" fmla="*/ 112 h 112"/>
                          <a:gd name="T44" fmla="*/ 53 w 97"/>
                          <a:gd name="T45" fmla="*/ 112 h 112"/>
                          <a:gd name="T46" fmla="*/ 53 w 97"/>
                          <a:gd name="T47" fmla="*/ 112 h 112"/>
                          <a:gd name="T48" fmla="*/ 54 w 97"/>
                          <a:gd name="T49" fmla="*/ 112 h 112"/>
                          <a:gd name="T50" fmla="*/ 81 w 97"/>
                          <a:gd name="T51" fmla="*/ 110 h 112"/>
                          <a:gd name="T52" fmla="*/ 96 w 97"/>
                          <a:gd name="T53" fmla="*/ 95 h 112"/>
                          <a:gd name="T54" fmla="*/ 91 w 97"/>
                          <a:gd name="T55" fmla="*/ 88 h 112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</a:cxnLst>
                        <a:rect l="0" t="0" r="r" b="b"/>
                        <a:pathLst>
                          <a:path w="97" h="112">
                            <a:moveTo>
                              <a:pt x="91" y="88"/>
                            </a:moveTo>
                            <a:cubicBezTo>
                              <a:pt x="89" y="95"/>
                              <a:pt x="83" y="93"/>
                              <a:pt x="82" y="88"/>
                            </a:cubicBezTo>
                            <a:cubicBezTo>
                              <a:pt x="81" y="86"/>
                              <a:pt x="83" y="79"/>
                              <a:pt x="85" y="74"/>
                            </a:cubicBezTo>
                            <a:cubicBezTo>
                              <a:pt x="86" y="73"/>
                              <a:pt x="87" y="71"/>
                              <a:pt x="88" y="69"/>
                            </a:cubicBezTo>
                            <a:cubicBezTo>
                              <a:pt x="88" y="69"/>
                              <a:pt x="88" y="69"/>
                              <a:pt x="88" y="69"/>
                            </a:cubicBezTo>
                            <a:cubicBezTo>
                              <a:pt x="88" y="69"/>
                              <a:pt x="88" y="69"/>
                              <a:pt x="88" y="69"/>
                            </a:cubicBezTo>
                            <a:cubicBezTo>
                              <a:pt x="90" y="64"/>
                              <a:pt x="91" y="59"/>
                              <a:pt x="91" y="53"/>
                            </a:cubicBezTo>
                            <a:cubicBezTo>
                              <a:pt x="91" y="36"/>
                              <a:pt x="82" y="22"/>
                              <a:pt x="69" y="17"/>
                            </a:cubicBezTo>
                            <a:cubicBezTo>
                              <a:pt x="62" y="7"/>
                              <a:pt x="52" y="0"/>
                              <a:pt x="40" y="0"/>
                            </a:cubicBezTo>
                            <a:cubicBezTo>
                              <a:pt x="20" y="0"/>
                              <a:pt x="4" y="20"/>
                              <a:pt x="4" y="46"/>
                            </a:cubicBezTo>
                            <a:cubicBezTo>
                              <a:pt x="4" y="54"/>
                              <a:pt x="6" y="62"/>
                              <a:pt x="9" y="69"/>
                            </a:cubicBezTo>
                            <a:cubicBezTo>
                              <a:pt x="9" y="69"/>
                              <a:pt x="9" y="69"/>
                              <a:pt x="9" y="69"/>
                            </a:cubicBezTo>
                            <a:cubicBezTo>
                              <a:pt x="9" y="69"/>
                              <a:pt x="17" y="84"/>
                              <a:pt x="15" y="88"/>
                            </a:cubicBezTo>
                            <a:cubicBezTo>
                              <a:pt x="13" y="93"/>
                              <a:pt x="8" y="95"/>
                              <a:pt x="6" y="88"/>
                            </a:cubicBezTo>
                            <a:cubicBezTo>
                              <a:pt x="3" y="82"/>
                              <a:pt x="0" y="90"/>
                              <a:pt x="0" y="95"/>
                            </a:cubicBezTo>
                            <a:cubicBezTo>
                              <a:pt x="1" y="101"/>
                              <a:pt x="2" y="108"/>
                              <a:pt x="16" y="110"/>
                            </a:cubicBezTo>
                            <a:cubicBezTo>
                              <a:pt x="27" y="112"/>
                              <a:pt x="33" y="112"/>
                              <a:pt x="42" y="112"/>
                            </a:cubicBezTo>
                            <a:cubicBezTo>
                              <a:pt x="43" y="112"/>
                              <a:pt x="44" y="112"/>
                              <a:pt x="44" y="112"/>
                            </a:cubicBezTo>
                            <a:cubicBezTo>
                              <a:pt x="44" y="112"/>
                              <a:pt x="44" y="112"/>
                              <a:pt x="44" y="112"/>
                            </a:cubicBezTo>
                            <a:cubicBezTo>
                              <a:pt x="45" y="112"/>
                              <a:pt x="46" y="112"/>
                              <a:pt x="47" y="112"/>
                            </a:cubicBezTo>
                            <a:cubicBezTo>
                              <a:pt x="48" y="112"/>
                              <a:pt x="48" y="112"/>
                              <a:pt x="48" y="112"/>
                            </a:cubicBezTo>
                            <a:cubicBezTo>
                              <a:pt x="49" y="112"/>
                              <a:pt x="49" y="112"/>
                              <a:pt x="49" y="112"/>
                            </a:cubicBezTo>
                            <a:cubicBezTo>
                              <a:pt x="50" y="112"/>
                              <a:pt x="51" y="112"/>
                              <a:pt x="53" y="112"/>
                            </a:cubicBezTo>
                            <a:cubicBezTo>
                              <a:pt x="53" y="112"/>
                              <a:pt x="53" y="112"/>
                              <a:pt x="53" y="112"/>
                            </a:cubicBezTo>
                            <a:cubicBezTo>
                              <a:pt x="53" y="112"/>
                              <a:pt x="54" y="112"/>
                              <a:pt x="54" y="112"/>
                            </a:cubicBezTo>
                            <a:cubicBezTo>
                              <a:pt x="63" y="112"/>
                              <a:pt x="69" y="112"/>
                              <a:pt x="81" y="110"/>
                            </a:cubicBezTo>
                            <a:cubicBezTo>
                              <a:pt x="94" y="108"/>
                              <a:pt x="96" y="101"/>
                              <a:pt x="96" y="95"/>
                            </a:cubicBezTo>
                            <a:cubicBezTo>
                              <a:pt x="97" y="90"/>
                              <a:pt x="93" y="82"/>
                              <a:pt x="91" y="88"/>
                            </a:cubicBezTo>
                            <a:close/>
                          </a:path>
                        </a:pathLst>
                      </a:custGeom>
                      <a:solidFill>
                        <a:srgbClr val="50505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19" name="Freeform 10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7456212" y="2199296"/>
                        <a:ext cx="196444" cy="977368"/>
                      </a:xfrm>
                      <a:custGeom>
                        <a:avLst/>
                        <a:gdLst>
                          <a:gd name="T0" fmla="*/ 50 w 81"/>
                          <a:gd name="T1" fmla="*/ 43 h 403"/>
                          <a:gd name="T2" fmla="*/ 74 w 81"/>
                          <a:gd name="T3" fmla="*/ 24 h 403"/>
                          <a:gd name="T4" fmla="*/ 41 w 81"/>
                          <a:gd name="T5" fmla="*/ 0 h 403"/>
                          <a:gd name="T6" fmla="*/ 8 w 81"/>
                          <a:gd name="T7" fmla="*/ 24 h 403"/>
                          <a:gd name="T8" fmla="*/ 31 w 81"/>
                          <a:gd name="T9" fmla="*/ 43 h 403"/>
                          <a:gd name="T10" fmla="*/ 0 w 81"/>
                          <a:gd name="T11" fmla="*/ 369 h 403"/>
                          <a:gd name="T12" fmla="*/ 41 w 81"/>
                          <a:gd name="T13" fmla="*/ 403 h 403"/>
                          <a:gd name="T14" fmla="*/ 81 w 81"/>
                          <a:gd name="T15" fmla="*/ 369 h 403"/>
                          <a:gd name="T16" fmla="*/ 50 w 81"/>
                          <a:gd name="T17" fmla="*/ 43 h 403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</a:cxnLst>
                        <a:rect l="0" t="0" r="r" b="b"/>
                        <a:pathLst>
                          <a:path w="81" h="403">
                            <a:moveTo>
                              <a:pt x="50" y="43"/>
                            </a:moveTo>
                            <a:lnTo>
                              <a:pt x="74" y="24"/>
                            </a:lnTo>
                            <a:lnTo>
                              <a:pt x="41" y="0"/>
                            </a:lnTo>
                            <a:lnTo>
                              <a:pt x="8" y="24"/>
                            </a:lnTo>
                            <a:lnTo>
                              <a:pt x="31" y="43"/>
                            </a:lnTo>
                            <a:lnTo>
                              <a:pt x="0" y="369"/>
                            </a:lnTo>
                            <a:lnTo>
                              <a:pt x="41" y="403"/>
                            </a:lnTo>
                            <a:lnTo>
                              <a:pt x="81" y="369"/>
                            </a:lnTo>
                            <a:lnTo>
                              <a:pt x="50" y="43"/>
                            </a:lnTo>
                            <a:close/>
                          </a:path>
                        </a:pathLst>
                      </a:custGeom>
                      <a:solidFill>
                        <a:srgbClr val="00B294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20" name="Freeform 1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7783617" y="2170194"/>
                        <a:ext cx="344383" cy="890060"/>
                      </a:xfrm>
                      <a:custGeom>
                        <a:avLst/>
                        <a:gdLst>
                          <a:gd name="T0" fmla="*/ 0 w 60"/>
                          <a:gd name="T1" fmla="*/ 7 h 155"/>
                          <a:gd name="T2" fmla="*/ 24 w 60"/>
                          <a:gd name="T3" fmla="*/ 0 h 155"/>
                          <a:gd name="T4" fmla="*/ 60 w 60"/>
                          <a:gd name="T5" fmla="*/ 155 h 155"/>
                          <a:gd name="T6" fmla="*/ 35 w 60"/>
                          <a:gd name="T7" fmla="*/ 155 h 155"/>
                          <a:gd name="T8" fmla="*/ 0 w 60"/>
                          <a:gd name="T9" fmla="*/ 7 h 155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</a:cxnLst>
                        <a:rect l="0" t="0" r="r" b="b"/>
                        <a:pathLst>
                          <a:path w="60" h="155">
                            <a:moveTo>
                              <a:pt x="0" y="7"/>
                            </a:moveTo>
                            <a:cubicBezTo>
                              <a:pt x="8" y="5"/>
                              <a:pt x="16" y="3"/>
                              <a:pt x="24" y="0"/>
                            </a:cubicBezTo>
                            <a:cubicBezTo>
                              <a:pt x="47" y="51"/>
                              <a:pt x="54" y="100"/>
                              <a:pt x="60" y="155"/>
                            </a:cubicBezTo>
                            <a:cubicBezTo>
                              <a:pt x="35" y="155"/>
                              <a:pt x="35" y="155"/>
                              <a:pt x="35" y="155"/>
                            </a:cubicBezTo>
                            <a:cubicBezTo>
                              <a:pt x="29" y="102"/>
                              <a:pt x="23" y="55"/>
                              <a:pt x="0" y="7"/>
                            </a:cubicBezTo>
                            <a:close/>
                          </a:path>
                        </a:pathLst>
                      </a:custGeom>
                      <a:solidFill>
                        <a:srgbClr val="96969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21" name="Freeform 16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8001888" y="3060253"/>
                        <a:ext cx="104286" cy="116411"/>
                      </a:xfrm>
                      <a:custGeom>
                        <a:avLst/>
                        <a:gdLst>
                          <a:gd name="T0" fmla="*/ 0 w 18"/>
                          <a:gd name="T1" fmla="*/ 0 h 20"/>
                          <a:gd name="T2" fmla="*/ 0 w 18"/>
                          <a:gd name="T3" fmla="*/ 11 h 20"/>
                          <a:gd name="T4" fmla="*/ 9 w 18"/>
                          <a:gd name="T5" fmla="*/ 20 h 20"/>
                          <a:gd name="T6" fmla="*/ 18 w 18"/>
                          <a:gd name="T7" fmla="*/ 11 h 20"/>
                          <a:gd name="T8" fmla="*/ 18 w 18"/>
                          <a:gd name="T9" fmla="*/ 0 h 20"/>
                          <a:gd name="T10" fmla="*/ 0 w 18"/>
                          <a:gd name="T11" fmla="*/ 0 h 20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</a:cxnLst>
                        <a:rect l="0" t="0" r="r" b="b"/>
                        <a:pathLst>
                          <a:path w="18" h="20">
                            <a:moveTo>
                              <a:pt x="0" y="0"/>
                            </a:moveTo>
                            <a:cubicBezTo>
                              <a:pt x="0" y="11"/>
                              <a:pt x="0" y="11"/>
                              <a:pt x="0" y="11"/>
                            </a:cubicBezTo>
                            <a:cubicBezTo>
                              <a:pt x="0" y="16"/>
                              <a:pt x="4" y="20"/>
                              <a:pt x="9" y="20"/>
                            </a:cubicBezTo>
                            <a:cubicBezTo>
                              <a:pt x="14" y="20"/>
                              <a:pt x="18" y="16"/>
                              <a:pt x="18" y="11"/>
                            </a:cubicBezTo>
                            <a:cubicBezTo>
                              <a:pt x="18" y="0"/>
                              <a:pt x="18" y="0"/>
                              <a:pt x="18" y="0"/>
                            </a:cubicBez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FFB9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22" name="Freeform 1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976017" y="2170194"/>
                        <a:ext cx="349233" cy="890060"/>
                      </a:xfrm>
                      <a:custGeom>
                        <a:avLst/>
                        <a:gdLst>
                          <a:gd name="T0" fmla="*/ 61 w 61"/>
                          <a:gd name="T1" fmla="*/ 7 h 155"/>
                          <a:gd name="T2" fmla="*/ 36 w 61"/>
                          <a:gd name="T3" fmla="*/ 0 h 155"/>
                          <a:gd name="T4" fmla="*/ 0 w 61"/>
                          <a:gd name="T5" fmla="*/ 155 h 155"/>
                          <a:gd name="T6" fmla="*/ 25 w 61"/>
                          <a:gd name="T7" fmla="*/ 155 h 155"/>
                          <a:gd name="T8" fmla="*/ 61 w 61"/>
                          <a:gd name="T9" fmla="*/ 7 h 155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</a:cxnLst>
                        <a:rect l="0" t="0" r="r" b="b"/>
                        <a:pathLst>
                          <a:path w="61" h="155">
                            <a:moveTo>
                              <a:pt x="61" y="7"/>
                            </a:moveTo>
                            <a:cubicBezTo>
                              <a:pt x="53" y="5"/>
                              <a:pt x="44" y="3"/>
                              <a:pt x="36" y="0"/>
                            </a:cubicBezTo>
                            <a:cubicBezTo>
                              <a:pt x="12" y="51"/>
                              <a:pt x="5" y="100"/>
                              <a:pt x="0" y="155"/>
                            </a:cubicBezTo>
                            <a:cubicBezTo>
                              <a:pt x="25" y="155"/>
                              <a:pt x="25" y="155"/>
                              <a:pt x="25" y="155"/>
                            </a:cubicBezTo>
                            <a:cubicBezTo>
                              <a:pt x="31" y="102"/>
                              <a:pt x="38" y="55"/>
                              <a:pt x="61" y="7"/>
                            </a:cubicBezTo>
                            <a:close/>
                          </a:path>
                        </a:pathLst>
                      </a:custGeom>
                      <a:solidFill>
                        <a:srgbClr val="96969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23" name="Freeform 1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992993" y="3060253"/>
                        <a:ext cx="109136" cy="116411"/>
                      </a:xfrm>
                      <a:custGeom>
                        <a:avLst/>
                        <a:gdLst>
                          <a:gd name="T0" fmla="*/ 19 w 19"/>
                          <a:gd name="T1" fmla="*/ 0 h 20"/>
                          <a:gd name="T2" fmla="*/ 19 w 19"/>
                          <a:gd name="T3" fmla="*/ 11 h 20"/>
                          <a:gd name="T4" fmla="*/ 10 w 19"/>
                          <a:gd name="T5" fmla="*/ 20 h 20"/>
                          <a:gd name="T6" fmla="*/ 0 w 19"/>
                          <a:gd name="T7" fmla="*/ 11 h 20"/>
                          <a:gd name="T8" fmla="*/ 0 w 19"/>
                          <a:gd name="T9" fmla="*/ 0 h 20"/>
                          <a:gd name="T10" fmla="*/ 19 w 19"/>
                          <a:gd name="T11" fmla="*/ 0 h 20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</a:cxnLst>
                        <a:rect l="0" t="0" r="r" b="b"/>
                        <a:pathLst>
                          <a:path w="19" h="20">
                            <a:moveTo>
                              <a:pt x="19" y="0"/>
                            </a:moveTo>
                            <a:cubicBezTo>
                              <a:pt x="19" y="11"/>
                              <a:pt x="19" y="11"/>
                              <a:pt x="19" y="11"/>
                            </a:cubicBezTo>
                            <a:cubicBezTo>
                              <a:pt x="19" y="16"/>
                              <a:pt x="15" y="20"/>
                              <a:pt x="10" y="20"/>
                            </a:cubicBezTo>
                            <a:cubicBezTo>
                              <a:pt x="4" y="20"/>
                              <a:pt x="0" y="16"/>
                              <a:pt x="0" y="11"/>
                            </a:cubicBezTo>
                            <a:cubicBezTo>
                              <a:pt x="0" y="0"/>
                              <a:pt x="0" y="0"/>
                              <a:pt x="0" y="0"/>
                            </a:cubicBezTo>
                            <a:lnTo>
                              <a:pt x="19" y="0"/>
                            </a:lnTo>
                            <a:close/>
                          </a:path>
                        </a:pathLst>
                      </a:custGeom>
                      <a:solidFill>
                        <a:srgbClr val="FFB9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24" name="Freeform 1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7187011" y="2148367"/>
                        <a:ext cx="734845" cy="1137433"/>
                      </a:xfrm>
                      <a:custGeom>
                        <a:avLst/>
                        <a:gdLst>
                          <a:gd name="T0" fmla="*/ 194 w 303"/>
                          <a:gd name="T1" fmla="*/ 0 h 469"/>
                          <a:gd name="T2" fmla="*/ 152 w 303"/>
                          <a:gd name="T3" fmla="*/ 341 h 469"/>
                          <a:gd name="T4" fmla="*/ 109 w 303"/>
                          <a:gd name="T5" fmla="*/ 0 h 469"/>
                          <a:gd name="T6" fmla="*/ 0 w 303"/>
                          <a:gd name="T7" fmla="*/ 9 h 469"/>
                          <a:gd name="T8" fmla="*/ 22 w 303"/>
                          <a:gd name="T9" fmla="*/ 469 h 469"/>
                          <a:gd name="T10" fmla="*/ 279 w 303"/>
                          <a:gd name="T11" fmla="*/ 469 h 469"/>
                          <a:gd name="T12" fmla="*/ 303 w 303"/>
                          <a:gd name="T13" fmla="*/ 9 h 469"/>
                          <a:gd name="T14" fmla="*/ 194 w 303"/>
                          <a:gd name="T15" fmla="*/ 0 h 46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303" h="469">
                            <a:moveTo>
                              <a:pt x="194" y="0"/>
                            </a:moveTo>
                            <a:lnTo>
                              <a:pt x="152" y="341"/>
                            </a:lnTo>
                            <a:lnTo>
                              <a:pt x="109" y="0"/>
                            </a:lnTo>
                            <a:lnTo>
                              <a:pt x="0" y="9"/>
                            </a:lnTo>
                            <a:lnTo>
                              <a:pt x="22" y="469"/>
                            </a:lnTo>
                            <a:lnTo>
                              <a:pt x="279" y="469"/>
                            </a:lnTo>
                            <a:lnTo>
                              <a:pt x="303" y="9"/>
                            </a:lnTo>
                            <a:lnTo>
                              <a:pt x="194" y="0"/>
                            </a:lnTo>
                            <a:close/>
                          </a:path>
                        </a:pathLst>
                      </a:custGeom>
                      <a:solidFill>
                        <a:srgbClr val="96969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25" name="Freeform 20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7720562" y="1738503"/>
                        <a:ext cx="7276" cy="0"/>
                      </a:xfrm>
                      <a:custGeom>
                        <a:avLst/>
                        <a:gdLst>
                          <a:gd name="T0" fmla="*/ 1 w 1"/>
                          <a:gd name="T1" fmla="*/ 0 w 1"/>
                          <a:gd name="T2" fmla="*/ 1 w 1"/>
                        </a:gdLst>
                        <a:ahLst/>
                        <a:cxnLst>
                          <a:cxn ang="0">
                            <a:pos x="T0" y="0"/>
                          </a:cxn>
                          <a:cxn ang="0">
                            <a:pos x="T1" y="0"/>
                          </a:cxn>
                          <a:cxn ang="0">
                            <a:pos x="T2" y="0"/>
                          </a:cxn>
                        </a:cxnLst>
                        <a:rect l="0" t="0" r="r" b="b"/>
                        <a:pathLst>
                          <a:path w="1">
                            <a:moveTo>
                              <a:pt x="1" y="0"/>
                            </a:moveTo>
                            <a:cubicBezTo>
                              <a:pt x="1" y="0"/>
                              <a:pt x="0" y="0"/>
                              <a:pt x="0" y="0"/>
                            </a:cubicBezTo>
                            <a:cubicBezTo>
                              <a:pt x="0" y="0"/>
                              <a:pt x="1" y="0"/>
                              <a:pt x="1" y="0"/>
                            </a:cubicBezTo>
                            <a:close/>
                          </a:path>
                        </a:pathLst>
                      </a:custGeom>
                      <a:solidFill>
                        <a:srgbClr val="FFD60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26" name="Freeform 2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7720562" y="1733652"/>
                        <a:ext cx="0" cy="0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0" y="0"/>
                          </a:cxn>
                          <a:cxn ang="0">
                            <a:pos x="0" y="0"/>
                          </a:cxn>
                          <a:cxn ang="0">
                            <a:pos x="0" y="0"/>
                          </a:cxn>
                        </a:cxnLst>
                        <a:rect l="0" t="0" r="r" b="b"/>
                        <a:pathLst>
                          <a:path>
                            <a:moveTo>
                              <a:pt x="0" y="0"/>
                            </a:moveTo>
                            <a:cubicBezTo>
                              <a:pt x="0" y="0"/>
                              <a:pt x="0" y="0"/>
                              <a:pt x="0" y="0"/>
                            </a:cubicBezTo>
                            <a:cubicBezTo>
                              <a:pt x="0" y="0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FFD60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27" name="Freeform 22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7715711" y="1716676"/>
                        <a:ext cx="0" cy="0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0" y="0"/>
                          </a:cxn>
                          <a:cxn ang="0">
                            <a:pos x="0" y="0"/>
                          </a:cxn>
                          <a:cxn ang="0">
                            <a:pos x="0" y="0"/>
                          </a:cxn>
                        </a:cxnLst>
                        <a:rect l="0" t="0" r="r" b="b"/>
                        <a:pathLst>
                          <a:path>
                            <a:moveTo>
                              <a:pt x="0" y="0"/>
                            </a:moveTo>
                            <a:cubicBezTo>
                              <a:pt x="0" y="0"/>
                              <a:pt x="0" y="0"/>
                              <a:pt x="0" y="0"/>
                            </a:cubicBezTo>
                            <a:cubicBezTo>
                              <a:pt x="0" y="0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FFD60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28" name="Freeform 2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7715711" y="1721527"/>
                        <a:ext cx="0" cy="0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0" y="0"/>
                          </a:cxn>
                          <a:cxn ang="0">
                            <a:pos x="0" y="0"/>
                          </a:cxn>
                          <a:cxn ang="0">
                            <a:pos x="0" y="0"/>
                          </a:cxn>
                        </a:cxnLst>
                        <a:rect l="0" t="0" r="r" b="b"/>
                        <a:pathLst>
                          <a:path>
                            <a:moveTo>
                              <a:pt x="0" y="0"/>
                            </a:moveTo>
                            <a:cubicBezTo>
                              <a:pt x="0" y="0"/>
                              <a:pt x="0" y="0"/>
                              <a:pt x="0" y="0"/>
                            </a:cubicBezTo>
                            <a:cubicBezTo>
                              <a:pt x="0" y="0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FFD60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29" name="Freeform 24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7383455" y="1716676"/>
                        <a:ext cx="0" cy="0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0" y="0"/>
                          </a:cxn>
                          <a:cxn ang="0">
                            <a:pos x="0" y="0"/>
                          </a:cxn>
                          <a:cxn ang="0">
                            <a:pos x="0" y="0"/>
                          </a:cxn>
                        </a:cxnLst>
                        <a:rect l="0" t="0" r="r" b="b"/>
                        <a:pathLst>
                          <a:path>
                            <a:moveTo>
                              <a:pt x="0" y="0"/>
                            </a:moveTo>
                            <a:cubicBezTo>
                              <a:pt x="0" y="0"/>
                              <a:pt x="0" y="0"/>
                              <a:pt x="0" y="0"/>
                            </a:cubicBezTo>
                            <a:cubicBezTo>
                              <a:pt x="0" y="0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FFD60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30" name="Freeform 25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7727838" y="1745779"/>
                        <a:ext cx="0" cy="4850"/>
                      </a:xfrm>
                      <a:custGeom>
                        <a:avLst/>
                        <a:gdLst>
                          <a:gd name="T0" fmla="*/ 1 h 1"/>
                          <a:gd name="T1" fmla="*/ 0 h 1"/>
                          <a:gd name="T2" fmla="*/ 1 h 1"/>
                        </a:gdLst>
                        <a:ahLst/>
                        <a:cxnLst>
                          <a:cxn ang="0">
                            <a:pos x="0" y="T0"/>
                          </a:cxn>
                          <a:cxn ang="0">
                            <a:pos x="0" y="T1"/>
                          </a:cxn>
                          <a:cxn ang="0">
                            <a:pos x="0" y="T2"/>
                          </a:cxn>
                        </a:cxnLst>
                        <a:rect l="0" t="0" r="r" b="b"/>
                        <a:pathLst>
                          <a:path h="1">
                            <a:moveTo>
                              <a:pt x="0" y="1"/>
                            </a:moveTo>
                            <a:cubicBezTo>
                              <a:pt x="0" y="1"/>
                              <a:pt x="0" y="0"/>
                              <a:pt x="0" y="0"/>
                            </a:cubicBezTo>
                            <a:cubicBezTo>
                              <a:pt x="0" y="0"/>
                              <a:pt x="0" y="1"/>
                              <a:pt x="0" y="1"/>
                            </a:cubicBezTo>
                            <a:close/>
                          </a:path>
                        </a:pathLst>
                      </a:custGeom>
                      <a:solidFill>
                        <a:srgbClr val="FFD60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31" name="Freeform 26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7727838" y="1750630"/>
                        <a:ext cx="0" cy="12127"/>
                      </a:xfrm>
                      <a:custGeom>
                        <a:avLst/>
                        <a:gdLst>
                          <a:gd name="T0" fmla="*/ 2 h 2"/>
                          <a:gd name="T1" fmla="*/ 0 h 2"/>
                          <a:gd name="T2" fmla="*/ 2 h 2"/>
                        </a:gdLst>
                        <a:ahLst/>
                        <a:cxnLst>
                          <a:cxn ang="0">
                            <a:pos x="0" y="T0"/>
                          </a:cxn>
                          <a:cxn ang="0">
                            <a:pos x="0" y="T1"/>
                          </a:cxn>
                          <a:cxn ang="0">
                            <a:pos x="0" y="T2"/>
                          </a:cxn>
                        </a:cxnLst>
                        <a:rect l="0" t="0" r="r" b="b"/>
                        <a:pathLst>
                          <a:path h="2">
                            <a:moveTo>
                              <a:pt x="0" y="2"/>
                            </a:moveTo>
                            <a:cubicBezTo>
                              <a:pt x="0" y="1"/>
                              <a:pt x="0" y="1"/>
                              <a:pt x="0" y="0"/>
                            </a:cubicBezTo>
                            <a:cubicBezTo>
                              <a:pt x="0" y="1"/>
                              <a:pt x="0" y="1"/>
                              <a:pt x="0" y="2"/>
                            </a:cubicBezTo>
                            <a:close/>
                          </a:path>
                        </a:pathLst>
                      </a:custGeom>
                      <a:solidFill>
                        <a:srgbClr val="FFD60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32" name="Freeform 2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7710861" y="1711826"/>
                        <a:ext cx="0" cy="0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0" y="0"/>
                          </a:cxn>
                          <a:cxn ang="0">
                            <a:pos x="0" y="0"/>
                          </a:cxn>
                          <a:cxn ang="0">
                            <a:pos x="0" y="0"/>
                          </a:cxn>
                        </a:cxnLst>
                        <a:rect l="0" t="0" r="r" b="b"/>
                        <a:pathLst>
                          <a:path>
                            <a:moveTo>
                              <a:pt x="0" y="0"/>
                            </a:moveTo>
                            <a:cubicBezTo>
                              <a:pt x="0" y="0"/>
                              <a:pt x="0" y="0"/>
                              <a:pt x="0" y="0"/>
                            </a:cubicBezTo>
                            <a:cubicBezTo>
                              <a:pt x="0" y="0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FFD60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33" name="Freeform 2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7376179" y="1750630"/>
                        <a:ext cx="0" cy="0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0" y="0"/>
                          </a:cxn>
                          <a:cxn ang="0">
                            <a:pos x="0" y="0"/>
                          </a:cxn>
                          <a:cxn ang="0">
                            <a:pos x="0" y="0"/>
                          </a:cxn>
                        </a:cxnLst>
                        <a:rect l="0" t="0" r="r" b="b"/>
                        <a:pathLst>
                          <a:path>
                            <a:moveTo>
                              <a:pt x="0" y="0"/>
                            </a:moveTo>
                            <a:cubicBezTo>
                              <a:pt x="0" y="0"/>
                              <a:pt x="0" y="0"/>
                              <a:pt x="0" y="0"/>
                            </a:cubicBezTo>
                            <a:cubicBezTo>
                              <a:pt x="0" y="0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FFD60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34" name="Freeform 2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7376179" y="1733652"/>
                        <a:ext cx="0" cy="0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0" y="0"/>
                          </a:cxn>
                          <a:cxn ang="0">
                            <a:pos x="0" y="0"/>
                          </a:cxn>
                          <a:cxn ang="0">
                            <a:pos x="0" y="0"/>
                          </a:cxn>
                        </a:cxnLst>
                        <a:rect l="0" t="0" r="r" b="b"/>
                        <a:pathLst>
                          <a:path>
                            <a:moveTo>
                              <a:pt x="0" y="0"/>
                            </a:moveTo>
                            <a:cubicBezTo>
                              <a:pt x="0" y="0"/>
                              <a:pt x="0" y="0"/>
                              <a:pt x="0" y="0"/>
                            </a:cubicBezTo>
                            <a:cubicBezTo>
                              <a:pt x="0" y="0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FFD60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35" name="Freeform 30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7383455" y="1728802"/>
                        <a:ext cx="0" cy="0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0" y="0"/>
                          </a:cxn>
                          <a:cxn ang="0">
                            <a:pos x="0" y="0"/>
                          </a:cxn>
                          <a:cxn ang="0">
                            <a:pos x="0" y="0"/>
                          </a:cxn>
                        </a:cxnLst>
                        <a:rect l="0" t="0" r="r" b="b"/>
                        <a:pathLst>
                          <a:path>
                            <a:moveTo>
                              <a:pt x="0" y="0"/>
                            </a:moveTo>
                            <a:cubicBezTo>
                              <a:pt x="0" y="0"/>
                              <a:pt x="0" y="0"/>
                              <a:pt x="0" y="0"/>
                            </a:cubicBezTo>
                            <a:cubicBezTo>
                              <a:pt x="0" y="0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FFD60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36" name="Freeform 3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7376179" y="1738503"/>
                        <a:ext cx="0" cy="7276"/>
                      </a:xfrm>
                      <a:custGeom>
                        <a:avLst/>
                        <a:gdLst>
                          <a:gd name="T0" fmla="*/ 0 h 1"/>
                          <a:gd name="T1" fmla="*/ 1 h 1"/>
                          <a:gd name="T2" fmla="*/ 0 h 1"/>
                        </a:gdLst>
                        <a:ahLst/>
                        <a:cxnLst>
                          <a:cxn ang="0">
                            <a:pos x="0" y="T0"/>
                          </a:cxn>
                          <a:cxn ang="0">
                            <a:pos x="0" y="T1"/>
                          </a:cxn>
                          <a:cxn ang="0">
                            <a:pos x="0" y="T2"/>
                          </a:cxn>
                        </a:cxnLst>
                        <a:rect l="0" t="0" r="r" b="b"/>
                        <a:pathLst>
                          <a:path h="1">
                            <a:moveTo>
                              <a:pt x="0" y="0"/>
                            </a:moveTo>
                            <a:cubicBezTo>
                              <a:pt x="0" y="0"/>
                              <a:pt x="0" y="1"/>
                              <a:pt x="0" y="1"/>
                            </a:cubicBezTo>
                            <a:cubicBezTo>
                              <a:pt x="0" y="1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FFD60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37" name="Freeform 32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7342226" y="1699699"/>
                        <a:ext cx="412289" cy="499597"/>
                      </a:xfrm>
                      <a:custGeom>
                        <a:avLst/>
                        <a:gdLst>
                          <a:gd name="T0" fmla="*/ 69 w 72"/>
                          <a:gd name="T1" fmla="*/ 15 h 87"/>
                          <a:gd name="T2" fmla="*/ 67 w 72"/>
                          <a:gd name="T3" fmla="*/ 15 h 87"/>
                          <a:gd name="T4" fmla="*/ 67 w 72"/>
                          <a:gd name="T5" fmla="*/ 11 h 87"/>
                          <a:gd name="T6" fmla="*/ 67 w 72"/>
                          <a:gd name="T7" fmla="*/ 9 h 87"/>
                          <a:gd name="T8" fmla="*/ 67 w 72"/>
                          <a:gd name="T9" fmla="*/ 9 h 87"/>
                          <a:gd name="T10" fmla="*/ 67 w 72"/>
                          <a:gd name="T11" fmla="*/ 8 h 87"/>
                          <a:gd name="T12" fmla="*/ 67 w 72"/>
                          <a:gd name="T13" fmla="*/ 7 h 87"/>
                          <a:gd name="T14" fmla="*/ 66 w 72"/>
                          <a:gd name="T15" fmla="*/ 7 h 87"/>
                          <a:gd name="T16" fmla="*/ 66 w 72"/>
                          <a:gd name="T17" fmla="*/ 6 h 87"/>
                          <a:gd name="T18" fmla="*/ 66 w 72"/>
                          <a:gd name="T19" fmla="*/ 6 h 87"/>
                          <a:gd name="T20" fmla="*/ 65 w 72"/>
                          <a:gd name="T21" fmla="*/ 4 h 87"/>
                          <a:gd name="T22" fmla="*/ 65 w 72"/>
                          <a:gd name="T23" fmla="*/ 4 h 87"/>
                          <a:gd name="T24" fmla="*/ 65 w 72"/>
                          <a:gd name="T25" fmla="*/ 3 h 87"/>
                          <a:gd name="T26" fmla="*/ 65 w 72"/>
                          <a:gd name="T27" fmla="*/ 3 h 87"/>
                          <a:gd name="T28" fmla="*/ 64 w 72"/>
                          <a:gd name="T29" fmla="*/ 2 h 87"/>
                          <a:gd name="T30" fmla="*/ 64 w 72"/>
                          <a:gd name="T31" fmla="*/ 2 h 87"/>
                          <a:gd name="T32" fmla="*/ 59 w 72"/>
                          <a:gd name="T33" fmla="*/ 3 h 87"/>
                          <a:gd name="T34" fmla="*/ 48 w 72"/>
                          <a:gd name="T35" fmla="*/ 0 h 87"/>
                          <a:gd name="T36" fmla="*/ 30 w 72"/>
                          <a:gd name="T37" fmla="*/ 3 h 87"/>
                          <a:gd name="T38" fmla="*/ 10 w 72"/>
                          <a:gd name="T39" fmla="*/ 0 h 87"/>
                          <a:gd name="T40" fmla="*/ 7 w 72"/>
                          <a:gd name="T41" fmla="*/ 3 h 87"/>
                          <a:gd name="T42" fmla="*/ 7 w 72"/>
                          <a:gd name="T43" fmla="*/ 3 h 87"/>
                          <a:gd name="T44" fmla="*/ 7 w 72"/>
                          <a:gd name="T45" fmla="*/ 5 h 87"/>
                          <a:gd name="T46" fmla="*/ 7 w 72"/>
                          <a:gd name="T47" fmla="*/ 5 h 87"/>
                          <a:gd name="T48" fmla="*/ 6 w 72"/>
                          <a:gd name="T49" fmla="*/ 6 h 87"/>
                          <a:gd name="T50" fmla="*/ 6 w 72"/>
                          <a:gd name="T51" fmla="*/ 6 h 87"/>
                          <a:gd name="T52" fmla="*/ 6 w 72"/>
                          <a:gd name="T53" fmla="*/ 7 h 87"/>
                          <a:gd name="T54" fmla="*/ 6 w 72"/>
                          <a:gd name="T55" fmla="*/ 8 h 87"/>
                          <a:gd name="T56" fmla="*/ 6 w 72"/>
                          <a:gd name="T57" fmla="*/ 9 h 87"/>
                          <a:gd name="T58" fmla="*/ 6 w 72"/>
                          <a:gd name="T59" fmla="*/ 9 h 87"/>
                          <a:gd name="T60" fmla="*/ 6 w 72"/>
                          <a:gd name="T61" fmla="*/ 11 h 87"/>
                          <a:gd name="T62" fmla="*/ 6 w 72"/>
                          <a:gd name="T63" fmla="*/ 15 h 87"/>
                          <a:gd name="T64" fmla="*/ 5 w 72"/>
                          <a:gd name="T65" fmla="*/ 15 h 87"/>
                          <a:gd name="T66" fmla="*/ 0 w 72"/>
                          <a:gd name="T67" fmla="*/ 20 h 87"/>
                          <a:gd name="T68" fmla="*/ 0 w 72"/>
                          <a:gd name="T69" fmla="*/ 32 h 87"/>
                          <a:gd name="T70" fmla="*/ 6 w 72"/>
                          <a:gd name="T71" fmla="*/ 37 h 87"/>
                          <a:gd name="T72" fmla="*/ 10 w 72"/>
                          <a:gd name="T73" fmla="*/ 49 h 87"/>
                          <a:gd name="T74" fmla="*/ 22 w 72"/>
                          <a:gd name="T75" fmla="*/ 64 h 87"/>
                          <a:gd name="T76" fmla="*/ 24 w 72"/>
                          <a:gd name="T77" fmla="*/ 78 h 87"/>
                          <a:gd name="T78" fmla="*/ 37 w 72"/>
                          <a:gd name="T79" fmla="*/ 87 h 87"/>
                          <a:gd name="T80" fmla="*/ 50 w 72"/>
                          <a:gd name="T81" fmla="*/ 78 h 87"/>
                          <a:gd name="T82" fmla="*/ 52 w 72"/>
                          <a:gd name="T83" fmla="*/ 63 h 87"/>
                          <a:gd name="T84" fmla="*/ 62 w 72"/>
                          <a:gd name="T85" fmla="*/ 49 h 87"/>
                          <a:gd name="T86" fmla="*/ 67 w 72"/>
                          <a:gd name="T87" fmla="*/ 37 h 87"/>
                          <a:gd name="T88" fmla="*/ 72 w 72"/>
                          <a:gd name="T89" fmla="*/ 32 h 87"/>
                          <a:gd name="T90" fmla="*/ 72 w 72"/>
                          <a:gd name="T91" fmla="*/ 20 h 87"/>
                          <a:gd name="T92" fmla="*/ 69 w 72"/>
                          <a:gd name="T93" fmla="*/ 15 h 8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  <a:cxn ang="0">
                            <a:pos x="T56" y="T57"/>
                          </a:cxn>
                          <a:cxn ang="0">
                            <a:pos x="T58" y="T59"/>
                          </a:cxn>
                          <a:cxn ang="0">
                            <a:pos x="T60" y="T61"/>
                          </a:cxn>
                          <a:cxn ang="0">
                            <a:pos x="T62" y="T63"/>
                          </a:cxn>
                          <a:cxn ang="0">
                            <a:pos x="T64" y="T65"/>
                          </a:cxn>
                          <a:cxn ang="0">
                            <a:pos x="T66" y="T67"/>
                          </a:cxn>
                          <a:cxn ang="0">
                            <a:pos x="T68" y="T69"/>
                          </a:cxn>
                          <a:cxn ang="0">
                            <a:pos x="T70" y="T71"/>
                          </a:cxn>
                          <a:cxn ang="0">
                            <a:pos x="T72" y="T73"/>
                          </a:cxn>
                          <a:cxn ang="0">
                            <a:pos x="T74" y="T75"/>
                          </a:cxn>
                          <a:cxn ang="0">
                            <a:pos x="T76" y="T77"/>
                          </a:cxn>
                          <a:cxn ang="0">
                            <a:pos x="T78" y="T79"/>
                          </a:cxn>
                          <a:cxn ang="0">
                            <a:pos x="T80" y="T81"/>
                          </a:cxn>
                          <a:cxn ang="0">
                            <a:pos x="T82" y="T83"/>
                          </a:cxn>
                          <a:cxn ang="0">
                            <a:pos x="T84" y="T85"/>
                          </a:cxn>
                          <a:cxn ang="0">
                            <a:pos x="T86" y="T87"/>
                          </a:cxn>
                          <a:cxn ang="0">
                            <a:pos x="T88" y="T89"/>
                          </a:cxn>
                          <a:cxn ang="0">
                            <a:pos x="T90" y="T91"/>
                          </a:cxn>
                          <a:cxn ang="0">
                            <a:pos x="T92" y="T93"/>
                          </a:cxn>
                        </a:cxnLst>
                        <a:rect l="0" t="0" r="r" b="b"/>
                        <a:pathLst>
                          <a:path w="72" h="87">
                            <a:moveTo>
                              <a:pt x="69" y="15"/>
                            </a:moveTo>
                            <a:cubicBezTo>
                              <a:pt x="68" y="15"/>
                              <a:pt x="68" y="15"/>
                              <a:pt x="67" y="15"/>
                            </a:cubicBezTo>
                            <a:cubicBezTo>
                              <a:pt x="67" y="11"/>
                              <a:pt x="67" y="11"/>
                              <a:pt x="67" y="11"/>
                            </a:cubicBezTo>
                            <a:cubicBezTo>
                              <a:pt x="67" y="10"/>
                              <a:pt x="67" y="10"/>
                              <a:pt x="67" y="9"/>
                            </a:cubicBezTo>
                            <a:cubicBezTo>
                              <a:pt x="67" y="9"/>
                              <a:pt x="67" y="9"/>
                              <a:pt x="67" y="9"/>
                            </a:cubicBezTo>
                            <a:cubicBezTo>
                              <a:pt x="67" y="9"/>
                              <a:pt x="67" y="8"/>
                              <a:pt x="67" y="8"/>
                            </a:cubicBezTo>
                            <a:cubicBezTo>
                              <a:pt x="67" y="8"/>
                              <a:pt x="67" y="8"/>
                              <a:pt x="67" y="7"/>
                            </a:cubicBezTo>
                            <a:cubicBezTo>
                              <a:pt x="67" y="7"/>
                              <a:pt x="66" y="7"/>
                              <a:pt x="66" y="7"/>
                            </a:cubicBezTo>
                            <a:cubicBezTo>
                              <a:pt x="66" y="7"/>
                              <a:pt x="66" y="6"/>
                              <a:pt x="66" y="6"/>
                            </a:cubicBezTo>
                            <a:cubicBezTo>
                              <a:pt x="66" y="6"/>
                              <a:pt x="66" y="6"/>
                              <a:pt x="66" y="6"/>
                            </a:cubicBezTo>
                            <a:cubicBezTo>
                              <a:pt x="66" y="5"/>
                              <a:pt x="66" y="5"/>
                              <a:pt x="65" y="4"/>
                            </a:cubicBezTo>
                            <a:cubicBezTo>
                              <a:pt x="65" y="4"/>
                              <a:pt x="65" y="4"/>
                              <a:pt x="65" y="4"/>
                            </a:cubicBezTo>
                            <a:cubicBezTo>
                              <a:pt x="65" y="4"/>
                              <a:pt x="65" y="3"/>
                              <a:pt x="65" y="3"/>
                            </a:cubicBezTo>
                            <a:cubicBezTo>
                              <a:pt x="65" y="3"/>
                              <a:pt x="65" y="3"/>
                              <a:pt x="65" y="3"/>
                            </a:cubicBezTo>
                            <a:cubicBezTo>
                              <a:pt x="65" y="3"/>
                              <a:pt x="64" y="2"/>
                              <a:pt x="64" y="2"/>
                            </a:cubicBezTo>
                            <a:cubicBezTo>
                              <a:pt x="64" y="2"/>
                              <a:pt x="64" y="2"/>
                              <a:pt x="64" y="2"/>
                            </a:cubicBezTo>
                            <a:cubicBezTo>
                              <a:pt x="62" y="2"/>
                              <a:pt x="61" y="3"/>
                              <a:pt x="59" y="3"/>
                            </a:cubicBezTo>
                            <a:cubicBezTo>
                              <a:pt x="54" y="3"/>
                              <a:pt x="51" y="2"/>
                              <a:pt x="48" y="0"/>
                            </a:cubicBezTo>
                            <a:cubicBezTo>
                              <a:pt x="44" y="2"/>
                              <a:pt x="37" y="3"/>
                              <a:pt x="30" y="3"/>
                            </a:cubicBezTo>
                            <a:cubicBezTo>
                              <a:pt x="22" y="3"/>
                              <a:pt x="15" y="2"/>
                              <a:pt x="10" y="0"/>
                            </a:cubicBezTo>
                            <a:cubicBezTo>
                              <a:pt x="9" y="1"/>
                              <a:pt x="8" y="2"/>
                              <a:pt x="7" y="3"/>
                            </a:cubicBezTo>
                            <a:cubicBezTo>
                              <a:pt x="7" y="3"/>
                              <a:pt x="7" y="3"/>
                              <a:pt x="7" y="3"/>
                            </a:cubicBezTo>
                            <a:cubicBezTo>
                              <a:pt x="7" y="4"/>
                              <a:pt x="7" y="4"/>
                              <a:pt x="7" y="5"/>
                            </a:cubicBezTo>
                            <a:cubicBezTo>
                              <a:pt x="7" y="5"/>
                              <a:pt x="7" y="5"/>
                              <a:pt x="7" y="5"/>
                            </a:cubicBezTo>
                            <a:cubicBezTo>
                              <a:pt x="7" y="5"/>
                              <a:pt x="6" y="6"/>
                              <a:pt x="6" y="6"/>
                            </a:cubicBezTo>
                            <a:cubicBezTo>
                              <a:pt x="6" y="6"/>
                              <a:pt x="6" y="6"/>
                              <a:pt x="6" y="6"/>
                            </a:cubicBezTo>
                            <a:cubicBezTo>
                              <a:pt x="6" y="7"/>
                              <a:pt x="6" y="7"/>
                              <a:pt x="6" y="7"/>
                            </a:cubicBezTo>
                            <a:cubicBezTo>
                              <a:pt x="6" y="7"/>
                              <a:pt x="6" y="8"/>
                              <a:pt x="6" y="8"/>
                            </a:cubicBezTo>
                            <a:cubicBezTo>
                              <a:pt x="6" y="8"/>
                              <a:pt x="6" y="8"/>
                              <a:pt x="6" y="9"/>
                            </a:cubicBezTo>
                            <a:cubicBezTo>
                              <a:pt x="6" y="9"/>
                              <a:pt x="6" y="9"/>
                              <a:pt x="6" y="9"/>
                            </a:cubicBezTo>
                            <a:cubicBezTo>
                              <a:pt x="6" y="10"/>
                              <a:pt x="6" y="10"/>
                              <a:pt x="6" y="11"/>
                            </a:cubicBezTo>
                            <a:cubicBezTo>
                              <a:pt x="6" y="15"/>
                              <a:pt x="6" y="15"/>
                              <a:pt x="6" y="15"/>
                            </a:cubicBezTo>
                            <a:cubicBezTo>
                              <a:pt x="5" y="15"/>
                              <a:pt x="5" y="15"/>
                              <a:pt x="5" y="15"/>
                            </a:cubicBezTo>
                            <a:cubicBezTo>
                              <a:pt x="2" y="16"/>
                              <a:pt x="0" y="18"/>
                              <a:pt x="0" y="20"/>
                            </a:cubicBezTo>
                            <a:cubicBezTo>
                              <a:pt x="0" y="32"/>
                              <a:pt x="0" y="32"/>
                              <a:pt x="0" y="32"/>
                            </a:cubicBezTo>
                            <a:cubicBezTo>
                              <a:pt x="0" y="34"/>
                              <a:pt x="3" y="37"/>
                              <a:pt x="6" y="37"/>
                            </a:cubicBezTo>
                            <a:cubicBezTo>
                              <a:pt x="10" y="49"/>
                              <a:pt x="10" y="49"/>
                              <a:pt x="10" y="49"/>
                            </a:cubicBezTo>
                            <a:cubicBezTo>
                              <a:pt x="13" y="57"/>
                              <a:pt x="16" y="62"/>
                              <a:pt x="22" y="64"/>
                            </a:cubicBezTo>
                            <a:cubicBezTo>
                              <a:pt x="24" y="78"/>
                              <a:pt x="24" y="78"/>
                              <a:pt x="24" y="78"/>
                            </a:cubicBezTo>
                            <a:cubicBezTo>
                              <a:pt x="37" y="87"/>
                              <a:pt x="37" y="87"/>
                              <a:pt x="37" y="87"/>
                            </a:cubicBezTo>
                            <a:cubicBezTo>
                              <a:pt x="50" y="78"/>
                              <a:pt x="50" y="78"/>
                              <a:pt x="50" y="78"/>
                            </a:cubicBezTo>
                            <a:cubicBezTo>
                              <a:pt x="52" y="63"/>
                              <a:pt x="52" y="63"/>
                              <a:pt x="52" y="63"/>
                            </a:cubicBezTo>
                            <a:cubicBezTo>
                              <a:pt x="57" y="62"/>
                              <a:pt x="59" y="57"/>
                              <a:pt x="62" y="49"/>
                            </a:cubicBezTo>
                            <a:cubicBezTo>
                              <a:pt x="67" y="37"/>
                              <a:pt x="67" y="37"/>
                              <a:pt x="67" y="37"/>
                            </a:cubicBezTo>
                            <a:cubicBezTo>
                              <a:pt x="70" y="37"/>
                              <a:pt x="72" y="34"/>
                              <a:pt x="72" y="32"/>
                            </a:cubicBezTo>
                            <a:cubicBezTo>
                              <a:pt x="72" y="20"/>
                              <a:pt x="72" y="20"/>
                              <a:pt x="72" y="20"/>
                            </a:cubicBezTo>
                            <a:cubicBezTo>
                              <a:pt x="72" y="18"/>
                              <a:pt x="71" y="16"/>
                              <a:pt x="69" y="15"/>
                            </a:cubicBezTo>
                            <a:close/>
                          </a:path>
                        </a:pathLst>
                      </a:custGeom>
                      <a:solidFill>
                        <a:srgbClr val="FFB9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38" name="Freeform 64"/>
                      <p:cNvSpPr>
                        <a:spLocks noEditPoints="1"/>
                      </p:cNvSpPr>
                      <p:nvPr/>
                    </p:nvSpPr>
                    <p:spPr bwMode="auto">
                      <a:xfrm>
                        <a:off x="7359203" y="1774882"/>
                        <a:ext cx="385612" cy="118837"/>
                      </a:xfrm>
                      <a:custGeom>
                        <a:avLst/>
                        <a:gdLst>
                          <a:gd name="T0" fmla="*/ 66 w 67"/>
                          <a:gd name="T1" fmla="*/ 1 h 21"/>
                          <a:gd name="T2" fmla="*/ 50 w 67"/>
                          <a:gd name="T3" fmla="*/ 0 h 21"/>
                          <a:gd name="T4" fmla="*/ 34 w 67"/>
                          <a:gd name="T5" fmla="*/ 4 h 21"/>
                          <a:gd name="T6" fmla="*/ 18 w 67"/>
                          <a:gd name="T7" fmla="*/ 0 h 21"/>
                          <a:gd name="T8" fmla="*/ 1 w 67"/>
                          <a:gd name="T9" fmla="*/ 1 h 21"/>
                          <a:gd name="T10" fmla="*/ 1 w 67"/>
                          <a:gd name="T11" fmla="*/ 3 h 21"/>
                          <a:gd name="T12" fmla="*/ 3 w 67"/>
                          <a:gd name="T13" fmla="*/ 6 h 21"/>
                          <a:gd name="T14" fmla="*/ 5 w 67"/>
                          <a:gd name="T15" fmla="*/ 11 h 21"/>
                          <a:gd name="T16" fmla="*/ 20 w 67"/>
                          <a:gd name="T17" fmla="*/ 20 h 21"/>
                          <a:gd name="T18" fmla="*/ 31 w 67"/>
                          <a:gd name="T19" fmla="*/ 8 h 21"/>
                          <a:gd name="T20" fmla="*/ 34 w 67"/>
                          <a:gd name="T21" fmla="*/ 7 h 21"/>
                          <a:gd name="T22" fmla="*/ 36 w 67"/>
                          <a:gd name="T23" fmla="*/ 8 h 21"/>
                          <a:gd name="T24" fmla="*/ 47 w 67"/>
                          <a:gd name="T25" fmla="*/ 20 h 21"/>
                          <a:gd name="T26" fmla="*/ 62 w 67"/>
                          <a:gd name="T27" fmla="*/ 11 h 21"/>
                          <a:gd name="T28" fmla="*/ 64 w 67"/>
                          <a:gd name="T29" fmla="*/ 6 h 21"/>
                          <a:gd name="T30" fmla="*/ 66 w 67"/>
                          <a:gd name="T31" fmla="*/ 3 h 21"/>
                          <a:gd name="T32" fmla="*/ 66 w 67"/>
                          <a:gd name="T33" fmla="*/ 1 h 21"/>
                          <a:gd name="T34" fmla="*/ 26 w 67"/>
                          <a:gd name="T35" fmla="*/ 15 h 21"/>
                          <a:gd name="T36" fmla="*/ 14 w 67"/>
                          <a:gd name="T37" fmla="*/ 18 h 21"/>
                          <a:gd name="T38" fmla="*/ 6 w 67"/>
                          <a:gd name="T39" fmla="*/ 7 h 21"/>
                          <a:gd name="T40" fmla="*/ 18 w 67"/>
                          <a:gd name="T41" fmla="*/ 2 h 21"/>
                          <a:gd name="T42" fmla="*/ 26 w 67"/>
                          <a:gd name="T43" fmla="*/ 4 h 21"/>
                          <a:gd name="T44" fmla="*/ 26 w 67"/>
                          <a:gd name="T45" fmla="*/ 15 h 21"/>
                          <a:gd name="T46" fmla="*/ 54 w 67"/>
                          <a:gd name="T47" fmla="*/ 18 h 21"/>
                          <a:gd name="T48" fmla="*/ 42 w 67"/>
                          <a:gd name="T49" fmla="*/ 15 h 21"/>
                          <a:gd name="T50" fmla="*/ 41 w 67"/>
                          <a:gd name="T51" fmla="*/ 4 h 21"/>
                          <a:gd name="T52" fmla="*/ 49 w 67"/>
                          <a:gd name="T53" fmla="*/ 2 h 21"/>
                          <a:gd name="T54" fmla="*/ 61 w 67"/>
                          <a:gd name="T55" fmla="*/ 7 h 21"/>
                          <a:gd name="T56" fmla="*/ 54 w 67"/>
                          <a:gd name="T57" fmla="*/ 18 h 21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  <a:cxn ang="0">
                            <a:pos x="T56" y="T57"/>
                          </a:cxn>
                        </a:cxnLst>
                        <a:rect l="0" t="0" r="r" b="b"/>
                        <a:pathLst>
                          <a:path w="67" h="21">
                            <a:moveTo>
                              <a:pt x="66" y="1"/>
                            </a:moveTo>
                            <a:cubicBezTo>
                              <a:pt x="66" y="1"/>
                              <a:pt x="57" y="0"/>
                              <a:pt x="50" y="0"/>
                            </a:cubicBezTo>
                            <a:cubicBezTo>
                              <a:pt x="43" y="1"/>
                              <a:pt x="37" y="4"/>
                              <a:pt x="34" y="4"/>
                            </a:cubicBezTo>
                            <a:cubicBezTo>
                              <a:pt x="30" y="4"/>
                              <a:pt x="25" y="1"/>
                              <a:pt x="18" y="0"/>
                            </a:cubicBezTo>
                            <a:cubicBezTo>
                              <a:pt x="11" y="0"/>
                              <a:pt x="1" y="1"/>
                              <a:pt x="1" y="1"/>
                            </a:cubicBezTo>
                            <a:cubicBezTo>
                              <a:pt x="0" y="1"/>
                              <a:pt x="0" y="2"/>
                              <a:pt x="1" y="3"/>
                            </a:cubicBezTo>
                            <a:cubicBezTo>
                              <a:pt x="1" y="5"/>
                              <a:pt x="1" y="5"/>
                              <a:pt x="3" y="6"/>
                            </a:cubicBezTo>
                            <a:cubicBezTo>
                              <a:pt x="4" y="7"/>
                              <a:pt x="5" y="11"/>
                              <a:pt x="5" y="11"/>
                            </a:cubicBezTo>
                            <a:cubicBezTo>
                              <a:pt x="6" y="19"/>
                              <a:pt x="12" y="21"/>
                              <a:pt x="20" y="20"/>
                            </a:cubicBezTo>
                            <a:cubicBezTo>
                              <a:pt x="28" y="19"/>
                              <a:pt x="30" y="10"/>
                              <a:pt x="31" y="8"/>
                            </a:cubicBezTo>
                            <a:cubicBezTo>
                              <a:pt x="32" y="7"/>
                              <a:pt x="34" y="7"/>
                              <a:pt x="34" y="7"/>
                            </a:cubicBezTo>
                            <a:cubicBezTo>
                              <a:pt x="34" y="7"/>
                              <a:pt x="35" y="7"/>
                              <a:pt x="36" y="8"/>
                            </a:cubicBezTo>
                            <a:cubicBezTo>
                              <a:pt x="37" y="10"/>
                              <a:pt x="39" y="19"/>
                              <a:pt x="47" y="20"/>
                            </a:cubicBezTo>
                            <a:cubicBezTo>
                              <a:pt x="55" y="21"/>
                              <a:pt x="61" y="19"/>
                              <a:pt x="62" y="11"/>
                            </a:cubicBezTo>
                            <a:cubicBezTo>
                              <a:pt x="62" y="11"/>
                              <a:pt x="63" y="7"/>
                              <a:pt x="64" y="6"/>
                            </a:cubicBezTo>
                            <a:cubicBezTo>
                              <a:pt x="66" y="5"/>
                              <a:pt x="66" y="5"/>
                              <a:pt x="66" y="3"/>
                            </a:cubicBezTo>
                            <a:cubicBezTo>
                              <a:pt x="67" y="2"/>
                              <a:pt x="67" y="1"/>
                              <a:pt x="66" y="1"/>
                            </a:cubicBezTo>
                            <a:close/>
                            <a:moveTo>
                              <a:pt x="26" y="15"/>
                            </a:moveTo>
                            <a:cubicBezTo>
                              <a:pt x="23" y="18"/>
                              <a:pt x="19" y="19"/>
                              <a:pt x="14" y="18"/>
                            </a:cubicBezTo>
                            <a:cubicBezTo>
                              <a:pt x="8" y="18"/>
                              <a:pt x="6" y="14"/>
                              <a:pt x="6" y="7"/>
                            </a:cubicBezTo>
                            <a:cubicBezTo>
                              <a:pt x="6" y="0"/>
                              <a:pt x="18" y="2"/>
                              <a:pt x="18" y="2"/>
                            </a:cubicBezTo>
                            <a:cubicBezTo>
                              <a:pt x="23" y="3"/>
                              <a:pt x="23" y="3"/>
                              <a:pt x="26" y="4"/>
                            </a:cubicBezTo>
                            <a:cubicBezTo>
                              <a:pt x="30" y="5"/>
                              <a:pt x="28" y="12"/>
                              <a:pt x="26" y="15"/>
                            </a:cubicBezTo>
                            <a:close/>
                            <a:moveTo>
                              <a:pt x="54" y="18"/>
                            </a:moveTo>
                            <a:cubicBezTo>
                              <a:pt x="48" y="19"/>
                              <a:pt x="44" y="18"/>
                              <a:pt x="42" y="15"/>
                            </a:cubicBezTo>
                            <a:cubicBezTo>
                              <a:pt x="40" y="12"/>
                              <a:pt x="37" y="5"/>
                              <a:pt x="41" y="4"/>
                            </a:cubicBezTo>
                            <a:cubicBezTo>
                              <a:pt x="45" y="3"/>
                              <a:pt x="45" y="3"/>
                              <a:pt x="49" y="2"/>
                            </a:cubicBezTo>
                            <a:cubicBezTo>
                              <a:pt x="49" y="2"/>
                              <a:pt x="61" y="0"/>
                              <a:pt x="61" y="7"/>
                            </a:cubicBezTo>
                            <a:cubicBezTo>
                              <a:pt x="61" y="14"/>
                              <a:pt x="59" y="18"/>
                              <a:pt x="54" y="18"/>
                            </a:cubicBezTo>
                            <a:close/>
                          </a:path>
                        </a:pathLst>
                      </a:custGeom>
                      <a:solidFill>
                        <a:srgbClr val="50505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39" name="Oval 65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7371329" y="1784583"/>
                        <a:ext cx="12127" cy="12127"/>
                      </a:xfrm>
                      <a:prstGeom prst="ellipse">
                        <a:avLst/>
                      </a:prstGeom>
                      <a:solidFill>
                        <a:srgbClr val="50505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40" name="Oval 66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7720562" y="1784583"/>
                        <a:ext cx="12127" cy="12127"/>
                      </a:xfrm>
                      <a:prstGeom prst="ellipse">
                        <a:avLst/>
                      </a:prstGeom>
                      <a:solidFill>
                        <a:srgbClr val="50505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grpSp>
                  <p:nvGrpSpPr>
                    <p:cNvPr id="265" name="Group 264"/>
                    <p:cNvGrpSpPr/>
                    <p:nvPr/>
                  </p:nvGrpSpPr>
                  <p:grpSpPr>
                    <a:xfrm>
                      <a:off x="4216105" y="4451984"/>
                      <a:ext cx="1307199" cy="2124501"/>
                      <a:chOff x="4216105" y="1418372"/>
                      <a:chExt cx="1307199" cy="2124501"/>
                    </a:xfrm>
                  </p:grpSpPr>
                  <p:sp>
                    <p:nvSpPr>
                      <p:cNvPr id="292" name="Rectangle 34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4754506" y="2061059"/>
                        <a:ext cx="230398" cy="679064"/>
                      </a:xfrm>
                      <a:prstGeom prst="rect">
                        <a:avLst/>
                      </a:prstGeom>
                      <a:solidFill>
                        <a:srgbClr val="FFFFF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293" name="Freeform 3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669622" y="1476578"/>
                        <a:ext cx="441392" cy="533550"/>
                      </a:xfrm>
                      <a:custGeom>
                        <a:avLst/>
                        <a:gdLst>
                          <a:gd name="T0" fmla="*/ 69 w 77"/>
                          <a:gd name="T1" fmla="*/ 53 h 93"/>
                          <a:gd name="T2" fmla="*/ 27 w 77"/>
                          <a:gd name="T3" fmla="*/ 87 h 93"/>
                          <a:gd name="T4" fmla="*/ 7 w 77"/>
                          <a:gd name="T5" fmla="*/ 36 h 93"/>
                          <a:gd name="T6" fmla="*/ 54 w 77"/>
                          <a:gd name="T7" fmla="*/ 6 h 93"/>
                          <a:gd name="T8" fmla="*/ 69 w 77"/>
                          <a:gd name="T9" fmla="*/ 53 h 93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</a:cxnLst>
                        <a:rect l="0" t="0" r="r" b="b"/>
                        <a:pathLst>
                          <a:path w="77" h="93">
                            <a:moveTo>
                              <a:pt x="69" y="53"/>
                            </a:moveTo>
                            <a:cubicBezTo>
                              <a:pt x="62" y="75"/>
                              <a:pt x="45" y="93"/>
                              <a:pt x="27" y="87"/>
                            </a:cubicBezTo>
                            <a:cubicBezTo>
                              <a:pt x="9" y="81"/>
                              <a:pt x="0" y="58"/>
                              <a:pt x="7" y="36"/>
                            </a:cubicBezTo>
                            <a:cubicBezTo>
                              <a:pt x="15" y="14"/>
                              <a:pt x="35" y="0"/>
                              <a:pt x="54" y="6"/>
                            </a:cubicBezTo>
                            <a:cubicBezTo>
                              <a:pt x="72" y="12"/>
                              <a:pt x="77" y="31"/>
                              <a:pt x="69" y="53"/>
                            </a:cubicBezTo>
                            <a:close/>
                          </a:path>
                        </a:pathLst>
                      </a:custGeom>
                      <a:solidFill>
                        <a:srgbClr val="0000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294" name="Freeform 3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611417" y="1418372"/>
                        <a:ext cx="436541" cy="499597"/>
                      </a:xfrm>
                      <a:custGeom>
                        <a:avLst/>
                        <a:gdLst>
                          <a:gd name="T0" fmla="*/ 65 w 76"/>
                          <a:gd name="T1" fmla="*/ 28 h 87"/>
                          <a:gd name="T2" fmla="*/ 58 w 76"/>
                          <a:gd name="T3" fmla="*/ 78 h 87"/>
                          <a:gd name="T4" fmla="*/ 11 w 76"/>
                          <a:gd name="T5" fmla="*/ 60 h 87"/>
                          <a:gd name="T6" fmla="*/ 17 w 76"/>
                          <a:gd name="T7" fmla="*/ 9 h 87"/>
                          <a:gd name="T8" fmla="*/ 65 w 76"/>
                          <a:gd name="T9" fmla="*/ 28 h 8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</a:cxnLst>
                        <a:rect l="0" t="0" r="r" b="b"/>
                        <a:pathLst>
                          <a:path w="76" h="87">
                            <a:moveTo>
                              <a:pt x="65" y="28"/>
                            </a:moveTo>
                            <a:cubicBezTo>
                              <a:pt x="76" y="47"/>
                              <a:pt x="73" y="69"/>
                              <a:pt x="58" y="78"/>
                            </a:cubicBezTo>
                            <a:cubicBezTo>
                              <a:pt x="43" y="87"/>
                              <a:pt x="22" y="79"/>
                              <a:pt x="11" y="60"/>
                            </a:cubicBezTo>
                            <a:cubicBezTo>
                              <a:pt x="0" y="40"/>
                              <a:pt x="3" y="18"/>
                              <a:pt x="17" y="9"/>
                            </a:cubicBezTo>
                            <a:cubicBezTo>
                              <a:pt x="32" y="0"/>
                              <a:pt x="53" y="9"/>
                              <a:pt x="65" y="28"/>
                            </a:cubicBezTo>
                            <a:close/>
                          </a:path>
                        </a:pathLst>
                      </a:custGeom>
                      <a:solidFill>
                        <a:srgbClr val="0000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295" name="Freeform 3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54506" y="1876741"/>
                        <a:ext cx="230398" cy="242523"/>
                      </a:xfrm>
                      <a:custGeom>
                        <a:avLst/>
                        <a:gdLst>
                          <a:gd name="T0" fmla="*/ 95 w 95"/>
                          <a:gd name="T1" fmla="*/ 76 h 100"/>
                          <a:gd name="T2" fmla="*/ 47 w 95"/>
                          <a:gd name="T3" fmla="*/ 100 h 100"/>
                          <a:gd name="T4" fmla="*/ 0 w 95"/>
                          <a:gd name="T5" fmla="*/ 76 h 100"/>
                          <a:gd name="T6" fmla="*/ 0 w 95"/>
                          <a:gd name="T7" fmla="*/ 0 h 100"/>
                          <a:gd name="T8" fmla="*/ 95 w 95"/>
                          <a:gd name="T9" fmla="*/ 0 h 100"/>
                          <a:gd name="T10" fmla="*/ 95 w 95"/>
                          <a:gd name="T11" fmla="*/ 76 h 100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</a:cxnLst>
                        <a:rect l="0" t="0" r="r" b="b"/>
                        <a:pathLst>
                          <a:path w="95" h="100">
                            <a:moveTo>
                              <a:pt x="95" y="76"/>
                            </a:moveTo>
                            <a:lnTo>
                              <a:pt x="47" y="100"/>
                            </a:lnTo>
                            <a:lnTo>
                              <a:pt x="0" y="76"/>
                            </a:lnTo>
                            <a:lnTo>
                              <a:pt x="0" y="0"/>
                            </a:lnTo>
                            <a:lnTo>
                              <a:pt x="95" y="0"/>
                            </a:lnTo>
                            <a:lnTo>
                              <a:pt x="95" y="76"/>
                            </a:lnTo>
                            <a:close/>
                          </a:path>
                        </a:pathLst>
                      </a:custGeom>
                      <a:solidFill>
                        <a:srgbClr val="FFB9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296" name="Freeform 40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805435" y="2119264"/>
                        <a:ext cx="126112" cy="894910"/>
                      </a:xfrm>
                      <a:custGeom>
                        <a:avLst/>
                        <a:gdLst>
                          <a:gd name="T0" fmla="*/ 41 w 52"/>
                          <a:gd name="T1" fmla="*/ 28 h 369"/>
                          <a:gd name="T2" fmla="*/ 52 w 52"/>
                          <a:gd name="T3" fmla="*/ 21 h 369"/>
                          <a:gd name="T4" fmla="*/ 26 w 52"/>
                          <a:gd name="T5" fmla="*/ 0 h 369"/>
                          <a:gd name="T6" fmla="*/ 0 w 52"/>
                          <a:gd name="T7" fmla="*/ 21 h 369"/>
                          <a:gd name="T8" fmla="*/ 12 w 52"/>
                          <a:gd name="T9" fmla="*/ 28 h 369"/>
                          <a:gd name="T10" fmla="*/ 10 w 52"/>
                          <a:gd name="T11" fmla="*/ 341 h 369"/>
                          <a:gd name="T12" fmla="*/ 26 w 52"/>
                          <a:gd name="T13" fmla="*/ 369 h 369"/>
                          <a:gd name="T14" fmla="*/ 41 w 52"/>
                          <a:gd name="T15" fmla="*/ 341 h 369"/>
                          <a:gd name="T16" fmla="*/ 41 w 52"/>
                          <a:gd name="T17" fmla="*/ 28 h 36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</a:cxnLst>
                        <a:rect l="0" t="0" r="r" b="b"/>
                        <a:pathLst>
                          <a:path w="52" h="369">
                            <a:moveTo>
                              <a:pt x="41" y="28"/>
                            </a:moveTo>
                            <a:lnTo>
                              <a:pt x="52" y="21"/>
                            </a:lnTo>
                            <a:lnTo>
                              <a:pt x="26" y="0"/>
                            </a:lnTo>
                            <a:lnTo>
                              <a:pt x="0" y="21"/>
                            </a:lnTo>
                            <a:lnTo>
                              <a:pt x="12" y="28"/>
                            </a:lnTo>
                            <a:lnTo>
                              <a:pt x="10" y="341"/>
                            </a:lnTo>
                            <a:lnTo>
                              <a:pt x="26" y="369"/>
                            </a:lnTo>
                            <a:lnTo>
                              <a:pt x="41" y="341"/>
                            </a:lnTo>
                            <a:lnTo>
                              <a:pt x="41" y="28"/>
                            </a:lnTo>
                            <a:close/>
                          </a:path>
                        </a:pathLst>
                      </a:custGeom>
                      <a:solidFill>
                        <a:srgbClr val="0000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297" name="Freeform 4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216105" y="2131389"/>
                        <a:ext cx="487472" cy="1251418"/>
                      </a:xfrm>
                      <a:custGeom>
                        <a:avLst/>
                        <a:gdLst>
                          <a:gd name="T0" fmla="*/ 85 w 85"/>
                          <a:gd name="T1" fmla="*/ 9 h 218"/>
                          <a:gd name="T2" fmla="*/ 51 w 85"/>
                          <a:gd name="T3" fmla="*/ 0 h 218"/>
                          <a:gd name="T4" fmla="*/ 0 w 85"/>
                          <a:gd name="T5" fmla="*/ 218 h 218"/>
                          <a:gd name="T6" fmla="*/ 35 w 85"/>
                          <a:gd name="T7" fmla="*/ 218 h 218"/>
                          <a:gd name="T8" fmla="*/ 85 w 85"/>
                          <a:gd name="T9" fmla="*/ 9 h 21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</a:cxnLst>
                        <a:rect l="0" t="0" r="r" b="b"/>
                        <a:pathLst>
                          <a:path w="85" h="218">
                            <a:moveTo>
                              <a:pt x="85" y="9"/>
                            </a:moveTo>
                            <a:cubicBezTo>
                              <a:pt x="74" y="6"/>
                              <a:pt x="62" y="3"/>
                              <a:pt x="51" y="0"/>
                            </a:cubicBezTo>
                            <a:cubicBezTo>
                              <a:pt x="19" y="71"/>
                              <a:pt x="8" y="141"/>
                              <a:pt x="0" y="218"/>
                            </a:cubicBezTo>
                            <a:cubicBezTo>
                              <a:pt x="35" y="218"/>
                              <a:pt x="35" y="218"/>
                              <a:pt x="35" y="218"/>
                            </a:cubicBezTo>
                            <a:cubicBezTo>
                              <a:pt x="43" y="144"/>
                              <a:pt x="53" y="77"/>
                              <a:pt x="85" y="9"/>
                            </a:cubicBezTo>
                            <a:close/>
                          </a:path>
                        </a:pathLst>
                      </a:custGeom>
                      <a:solidFill>
                        <a:srgbClr val="0000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298" name="Freeform 42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040683" y="2131389"/>
                        <a:ext cx="482621" cy="1251418"/>
                      </a:xfrm>
                      <a:custGeom>
                        <a:avLst/>
                        <a:gdLst>
                          <a:gd name="T0" fmla="*/ 0 w 84"/>
                          <a:gd name="T1" fmla="*/ 9 h 218"/>
                          <a:gd name="T2" fmla="*/ 33 w 84"/>
                          <a:gd name="T3" fmla="*/ 0 h 218"/>
                          <a:gd name="T4" fmla="*/ 84 w 84"/>
                          <a:gd name="T5" fmla="*/ 218 h 218"/>
                          <a:gd name="T6" fmla="*/ 50 w 84"/>
                          <a:gd name="T7" fmla="*/ 218 h 218"/>
                          <a:gd name="T8" fmla="*/ 0 w 84"/>
                          <a:gd name="T9" fmla="*/ 9 h 21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</a:cxnLst>
                        <a:rect l="0" t="0" r="r" b="b"/>
                        <a:pathLst>
                          <a:path w="84" h="218">
                            <a:moveTo>
                              <a:pt x="0" y="9"/>
                            </a:moveTo>
                            <a:cubicBezTo>
                              <a:pt x="11" y="6"/>
                              <a:pt x="22" y="3"/>
                              <a:pt x="33" y="0"/>
                            </a:cubicBezTo>
                            <a:cubicBezTo>
                              <a:pt x="66" y="71"/>
                              <a:pt x="77" y="141"/>
                              <a:pt x="84" y="218"/>
                            </a:cubicBezTo>
                            <a:cubicBezTo>
                              <a:pt x="50" y="218"/>
                              <a:pt x="50" y="218"/>
                              <a:pt x="50" y="218"/>
                            </a:cubicBezTo>
                            <a:cubicBezTo>
                              <a:pt x="42" y="144"/>
                              <a:pt x="31" y="77"/>
                              <a:pt x="0" y="9"/>
                            </a:cubicBezTo>
                            <a:close/>
                          </a:path>
                        </a:pathLst>
                      </a:custGeom>
                      <a:solidFill>
                        <a:srgbClr val="0000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299" name="Freeform 45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245208" y="3382808"/>
                        <a:ext cx="143089" cy="160065"/>
                      </a:xfrm>
                      <a:custGeom>
                        <a:avLst/>
                        <a:gdLst>
                          <a:gd name="T0" fmla="*/ 0 w 25"/>
                          <a:gd name="T1" fmla="*/ 0 h 28"/>
                          <a:gd name="T2" fmla="*/ 0 w 25"/>
                          <a:gd name="T3" fmla="*/ 15 h 28"/>
                          <a:gd name="T4" fmla="*/ 13 w 25"/>
                          <a:gd name="T5" fmla="*/ 28 h 28"/>
                          <a:gd name="T6" fmla="*/ 25 w 25"/>
                          <a:gd name="T7" fmla="*/ 15 h 28"/>
                          <a:gd name="T8" fmla="*/ 25 w 25"/>
                          <a:gd name="T9" fmla="*/ 0 h 28"/>
                          <a:gd name="T10" fmla="*/ 0 w 25"/>
                          <a:gd name="T11" fmla="*/ 0 h 2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</a:cxnLst>
                        <a:rect l="0" t="0" r="r" b="b"/>
                        <a:pathLst>
                          <a:path w="25" h="28">
                            <a:moveTo>
                              <a:pt x="0" y="0"/>
                            </a:moveTo>
                            <a:cubicBezTo>
                              <a:pt x="0" y="15"/>
                              <a:pt x="0" y="15"/>
                              <a:pt x="0" y="15"/>
                            </a:cubicBezTo>
                            <a:cubicBezTo>
                              <a:pt x="0" y="22"/>
                              <a:pt x="6" y="28"/>
                              <a:pt x="13" y="28"/>
                            </a:cubicBezTo>
                            <a:cubicBezTo>
                              <a:pt x="20" y="28"/>
                              <a:pt x="25" y="22"/>
                              <a:pt x="25" y="15"/>
                            </a:cubicBezTo>
                            <a:cubicBezTo>
                              <a:pt x="25" y="0"/>
                              <a:pt x="25" y="0"/>
                              <a:pt x="25" y="0"/>
                            </a:cubicBez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FFB9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00" name="Freeform 46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351112" y="3382808"/>
                        <a:ext cx="150364" cy="160065"/>
                      </a:xfrm>
                      <a:custGeom>
                        <a:avLst/>
                        <a:gdLst>
                          <a:gd name="T0" fmla="*/ 0 w 26"/>
                          <a:gd name="T1" fmla="*/ 0 h 28"/>
                          <a:gd name="T2" fmla="*/ 0 w 26"/>
                          <a:gd name="T3" fmla="*/ 15 h 28"/>
                          <a:gd name="T4" fmla="*/ 13 w 26"/>
                          <a:gd name="T5" fmla="*/ 28 h 28"/>
                          <a:gd name="T6" fmla="*/ 26 w 26"/>
                          <a:gd name="T7" fmla="*/ 15 h 28"/>
                          <a:gd name="T8" fmla="*/ 26 w 26"/>
                          <a:gd name="T9" fmla="*/ 0 h 28"/>
                          <a:gd name="T10" fmla="*/ 0 w 26"/>
                          <a:gd name="T11" fmla="*/ 0 h 2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</a:cxnLst>
                        <a:rect l="0" t="0" r="r" b="b"/>
                        <a:pathLst>
                          <a:path w="26" h="28">
                            <a:moveTo>
                              <a:pt x="0" y="0"/>
                            </a:moveTo>
                            <a:cubicBezTo>
                              <a:pt x="0" y="15"/>
                              <a:pt x="0" y="15"/>
                              <a:pt x="0" y="15"/>
                            </a:cubicBezTo>
                            <a:cubicBezTo>
                              <a:pt x="0" y="22"/>
                              <a:pt x="6" y="28"/>
                              <a:pt x="13" y="28"/>
                            </a:cubicBezTo>
                            <a:cubicBezTo>
                              <a:pt x="20" y="28"/>
                              <a:pt x="26" y="22"/>
                              <a:pt x="26" y="15"/>
                            </a:cubicBezTo>
                            <a:cubicBezTo>
                              <a:pt x="26" y="0"/>
                              <a:pt x="26" y="0"/>
                              <a:pt x="26" y="0"/>
                            </a:cubicBez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FFB9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01" name="Freeform 4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502282" y="2061059"/>
                        <a:ext cx="727569" cy="1435736"/>
                      </a:xfrm>
                      <a:custGeom>
                        <a:avLst/>
                        <a:gdLst>
                          <a:gd name="T0" fmla="*/ 199 w 300"/>
                          <a:gd name="T1" fmla="*/ 0 h 592"/>
                          <a:gd name="T2" fmla="*/ 151 w 300"/>
                          <a:gd name="T3" fmla="*/ 370 h 592"/>
                          <a:gd name="T4" fmla="*/ 104 w 300"/>
                          <a:gd name="T5" fmla="*/ 0 h 592"/>
                          <a:gd name="T6" fmla="*/ 0 w 300"/>
                          <a:gd name="T7" fmla="*/ 29 h 592"/>
                          <a:gd name="T8" fmla="*/ 7 w 300"/>
                          <a:gd name="T9" fmla="*/ 592 h 592"/>
                          <a:gd name="T10" fmla="*/ 296 w 300"/>
                          <a:gd name="T11" fmla="*/ 592 h 592"/>
                          <a:gd name="T12" fmla="*/ 300 w 300"/>
                          <a:gd name="T13" fmla="*/ 29 h 592"/>
                          <a:gd name="T14" fmla="*/ 199 w 300"/>
                          <a:gd name="T15" fmla="*/ 0 h 592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300" h="592">
                            <a:moveTo>
                              <a:pt x="199" y="0"/>
                            </a:moveTo>
                            <a:lnTo>
                              <a:pt x="151" y="370"/>
                            </a:lnTo>
                            <a:lnTo>
                              <a:pt x="104" y="0"/>
                            </a:lnTo>
                            <a:lnTo>
                              <a:pt x="0" y="29"/>
                            </a:lnTo>
                            <a:lnTo>
                              <a:pt x="7" y="592"/>
                            </a:lnTo>
                            <a:lnTo>
                              <a:pt x="296" y="592"/>
                            </a:lnTo>
                            <a:lnTo>
                              <a:pt x="300" y="29"/>
                            </a:lnTo>
                            <a:lnTo>
                              <a:pt x="199" y="0"/>
                            </a:lnTo>
                            <a:close/>
                          </a:path>
                        </a:pathLst>
                      </a:custGeom>
                      <a:solidFill>
                        <a:srgbClr val="0000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02" name="Freeform 4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052808" y="1653620"/>
                        <a:ext cx="0" cy="4850"/>
                      </a:xfrm>
                      <a:custGeom>
                        <a:avLst/>
                        <a:gdLst>
                          <a:gd name="T0" fmla="*/ 1 h 1"/>
                          <a:gd name="T1" fmla="*/ 0 h 1"/>
                          <a:gd name="T2" fmla="*/ 1 h 1"/>
                        </a:gdLst>
                        <a:ahLst/>
                        <a:cxnLst>
                          <a:cxn ang="0">
                            <a:pos x="0" y="T0"/>
                          </a:cxn>
                          <a:cxn ang="0">
                            <a:pos x="0" y="T1"/>
                          </a:cxn>
                          <a:cxn ang="0">
                            <a:pos x="0" y="T2"/>
                          </a:cxn>
                        </a:cxnLst>
                        <a:rect l="0" t="0" r="r" b="b"/>
                        <a:pathLst>
                          <a:path h="1">
                            <a:moveTo>
                              <a:pt x="0" y="1"/>
                            </a:moveTo>
                            <a:cubicBezTo>
                              <a:pt x="0" y="0"/>
                              <a:pt x="0" y="0"/>
                              <a:pt x="0" y="0"/>
                            </a:cubicBezTo>
                            <a:cubicBezTo>
                              <a:pt x="0" y="0"/>
                              <a:pt x="0" y="0"/>
                              <a:pt x="0" y="1"/>
                            </a:cubicBezTo>
                            <a:close/>
                          </a:path>
                        </a:pathLst>
                      </a:custGeom>
                      <a:solidFill>
                        <a:srgbClr val="FFD60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03" name="Freeform 4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052808" y="1648770"/>
                        <a:ext cx="0" cy="0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0" y="0"/>
                          </a:cxn>
                          <a:cxn ang="0">
                            <a:pos x="0" y="0"/>
                          </a:cxn>
                          <a:cxn ang="0">
                            <a:pos x="0" y="0"/>
                          </a:cxn>
                        </a:cxnLst>
                        <a:rect l="0" t="0" r="r" b="b"/>
                        <a:pathLst>
                          <a:path>
                            <a:moveTo>
                              <a:pt x="0" y="0"/>
                            </a:moveTo>
                            <a:cubicBezTo>
                              <a:pt x="0" y="0"/>
                              <a:pt x="0" y="0"/>
                              <a:pt x="0" y="0"/>
                            </a:cubicBezTo>
                            <a:cubicBezTo>
                              <a:pt x="0" y="0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FFD60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04" name="Freeform 50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040683" y="1631792"/>
                        <a:ext cx="0" cy="0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0" y="0"/>
                          </a:cxn>
                          <a:cxn ang="0">
                            <a:pos x="0" y="0"/>
                          </a:cxn>
                          <a:cxn ang="0">
                            <a:pos x="0" y="0"/>
                          </a:cxn>
                        </a:cxnLst>
                        <a:rect l="0" t="0" r="r" b="b"/>
                        <a:pathLst>
                          <a:path>
                            <a:moveTo>
                              <a:pt x="0" y="0"/>
                            </a:moveTo>
                            <a:cubicBezTo>
                              <a:pt x="0" y="0"/>
                              <a:pt x="0" y="0"/>
                              <a:pt x="0" y="0"/>
                            </a:cubicBezTo>
                            <a:cubicBezTo>
                              <a:pt x="0" y="0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FFD60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05" name="Freeform 5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047958" y="1636643"/>
                        <a:ext cx="0" cy="0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0" y="0"/>
                          </a:cxn>
                          <a:cxn ang="0">
                            <a:pos x="0" y="0"/>
                          </a:cxn>
                          <a:cxn ang="0">
                            <a:pos x="0" y="0"/>
                          </a:cxn>
                        </a:cxnLst>
                        <a:rect l="0" t="0" r="r" b="b"/>
                        <a:pathLst>
                          <a:path>
                            <a:moveTo>
                              <a:pt x="0" y="0"/>
                            </a:moveTo>
                            <a:cubicBezTo>
                              <a:pt x="0" y="0"/>
                              <a:pt x="0" y="0"/>
                              <a:pt x="0" y="0"/>
                            </a:cubicBezTo>
                            <a:cubicBezTo>
                              <a:pt x="0" y="0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FFD60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06" name="Freeform 52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686599" y="1631792"/>
                        <a:ext cx="0" cy="0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0" y="0"/>
                          </a:cxn>
                          <a:cxn ang="0">
                            <a:pos x="0" y="0"/>
                          </a:cxn>
                          <a:cxn ang="0">
                            <a:pos x="0" y="0"/>
                          </a:cxn>
                        </a:cxnLst>
                        <a:rect l="0" t="0" r="r" b="b"/>
                        <a:pathLst>
                          <a:path>
                            <a:moveTo>
                              <a:pt x="0" y="0"/>
                            </a:moveTo>
                            <a:cubicBezTo>
                              <a:pt x="0" y="0"/>
                              <a:pt x="0" y="0"/>
                              <a:pt x="0" y="0"/>
                            </a:cubicBezTo>
                            <a:cubicBezTo>
                              <a:pt x="0" y="0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FFD60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07" name="Freeform 5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052808" y="1658470"/>
                        <a:ext cx="0" cy="7276"/>
                      </a:xfrm>
                      <a:custGeom>
                        <a:avLst/>
                        <a:gdLst>
                          <a:gd name="T0" fmla="*/ 1 h 1"/>
                          <a:gd name="T1" fmla="*/ 0 h 1"/>
                          <a:gd name="T2" fmla="*/ 1 h 1"/>
                        </a:gdLst>
                        <a:ahLst/>
                        <a:cxnLst>
                          <a:cxn ang="0">
                            <a:pos x="0" y="T0"/>
                          </a:cxn>
                          <a:cxn ang="0">
                            <a:pos x="0" y="T1"/>
                          </a:cxn>
                          <a:cxn ang="0">
                            <a:pos x="0" y="T2"/>
                          </a:cxn>
                        </a:cxnLst>
                        <a:rect l="0" t="0" r="r" b="b"/>
                        <a:pathLst>
                          <a:path h="1">
                            <a:moveTo>
                              <a:pt x="0" y="1"/>
                            </a:moveTo>
                            <a:cubicBezTo>
                              <a:pt x="0" y="1"/>
                              <a:pt x="0" y="0"/>
                              <a:pt x="0" y="0"/>
                            </a:cubicBezTo>
                            <a:cubicBezTo>
                              <a:pt x="0" y="0"/>
                              <a:pt x="0" y="1"/>
                              <a:pt x="0" y="1"/>
                            </a:cubicBezTo>
                            <a:close/>
                          </a:path>
                        </a:pathLst>
                      </a:custGeom>
                      <a:solidFill>
                        <a:srgbClr val="FFD60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08" name="Freeform 54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052808" y="1670596"/>
                        <a:ext cx="0" cy="4850"/>
                      </a:xfrm>
                      <a:custGeom>
                        <a:avLst/>
                        <a:gdLst>
                          <a:gd name="T0" fmla="*/ 1 h 1"/>
                          <a:gd name="T1" fmla="*/ 0 h 1"/>
                          <a:gd name="T2" fmla="*/ 1 h 1"/>
                        </a:gdLst>
                        <a:ahLst/>
                        <a:cxnLst>
                          <a:cxn ang="0">
                            <a:pos x="0" y="T0"/>
                          </a:cxn>
                          <a:cxn ang="0">
                            <a:pos x="0" y="T1"/>
                          </a:cxn>
                          <a:cxn ang="0">
                            <a:pos x="0" y="T2"/>
                          </a:cxn>
                        </a:cxnLst>
                        <a:rect l="0" t="0" r="r" b="b"/>
                        <a:pathLst>
                          <a:path h="1">
                            <a:moveTo>
                              <a:pt x="0" y="1"/>
                            </a:moveTo>
                            <a:cubicBezTo>
                              <a:pt x="0" y="1"/>
                              <a:pt x="0" y="0"/>
                              <a:pt x="0" y="0"/>
                            </a:cubicBezTo>
                            <a:cubicBezTo>
                              <a:pt x="0" y="0"/>
                              <a:pt x="0" y="1"/>
                              <a:pt x="0" y="1"/>
                            </a:cubicBezTo>
                            <a:close/>
                          </a:path>
                        </a:pathLst>
                      </a:custGeom>
                      <a:solidFill>
                        <a:srgbClr val="FFD60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09" name="Rectangle 55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5035832" y="1624517"/>
                        <a:ext cx="2426" cy="2426"/>
                      </a:xfrm>
                      <a:prstGeom prst="rect">
                        <a:avLst/>
                      </a:prstGeom>
                      <a:solidFill>
                        <a:srgbClr val="FFD60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10" name="Freeform 56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674473" y="1665745"/>
                        <a:ext cx="0" cy="0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0" y="0"/>
                          </a:cxn>
                          <a:cxn ang="0">
                            <a:pos x="0" y="0"/>
                          </a:cxn>
                          <a:cxn ang="0">
                            <a:pos x="0" y="0"/>
                          </a:cxn>
                        </a:cxnLst>
                        <a:rect l="0" t="0" r="r" b="b"/>
                        <a:pathLst>
                          <a:path>
                            <a:moveTo>
                              <a:pt x="0" y="0"/>
                            </a:moveTo>
                            <a:cubicBezTo>
                              <a:pt x="0" y="0"/>
                              <a:pt x="0" y="0"/>
                              <a:pt x="0" y="0"/>
                            </a:cubicBezTo>
                            <a:cubicBezTo>
                              <a:pt x="0" y="0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FFD60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11" name="Freeform 5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679323" y="1648770"/>
                        <a:ext cx="0" cy="0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0" y="0"/>
                          </a:cxn>
                          <a:cxn ang="0">
                            <a:pos x="0" y="0"/>
                          </a:cxn>
                          <a:cxn ang="0">
                            <a:pos x="0" y="0"/>
                          </a:cxn>
                        </a:cxnLst>
                        <a:rect l="0" t="0" r="r" b="b"/>
                        <a:pathLst>
                          <a:path>
                            <a:moveTo>
                              <a:pt x="0" y="0"/>
                            </a:moveTo>
                            <a:cubicBezTo>
                              <a:pt x="0" y="0"/>
                              <a:pt x="0" y="0"/>
                              <a:pt x="0" y="0"/>
                            </a:cubicBezTo>
                            <a:cubicBezTo>
                              <a:pt x="0" y="0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FFD60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12" name="Freeform 5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679323" y="1636643"/>
                        <a:ext cx="0" cy="4850"/>
                      </a:xfrm>
                      <a:custGeom>
                        <a:avLst/>
                        <a:gdLst>
                          <a:gd name="T0" fmla="*/ 0 h 1"/>
                          <a:gd name="T1" fmla="*/ 1 h 1"/>
                          <a:gd name="T2" fmla="*/ 0 h 1"/>
                        </a:gdLst>
                        <a:ahLst/>
                        <a:cxnLst>
                          <a:cxn ang="0">
                            <a:pos x="0" y="T0"/>
                          </a:cxn>
                          <a:cxn ang="0">
                            <a:pos x="0" y="T1"/>
                          </a:cxn>
                          <a:cxn ang="0">
                            <a:pos x="0" y="T2"/>
                          </a:cxn>
                        </a:cxnLst>
                        <a:rect l="0" t="0" r="r" b="b"/>
                        <a:pathLst>
                          <a:path h="1">
                            <a:moveTo>
                              <a:pt x="0" y="0"/>
                            </a:moveTo>
                            <a:cubicBezTo>
                              <a:pt x="0" y="1"/>
                              <a:pt x="0" y="1"/>
                              <a:pt x="0" y="1"/>
                            </a:cubicBezTo>
                            <a:cubicBezTo>
                              <a:pt x="0" y="1"/>
                              <a:pt x="0" y="1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FFD60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13" name="Freeform 5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674473" y="1653620"/>
                        <a:ext cx="0" cy="4850"/>
                      </a:xfrm>
                      <a:custGeom>
                        <a:avLst/>
                        <a:gdLst>
                          <a:gd name="T0" fmla="*/ 0 h 1"/>
                          <a:gd name="T1" fmla="*/ 1 h 1"/>
                          <a:gd name="T2" fmla="*/ 0 h 1"/>
                        </a:gdLst>
                        <a:ahLst/>
                        <a:cxnLst>
                          <a:cxn ang="0">
                            <a:pos x="0" y="T0"/>
                          </a:cxn>
                          <a:cxn ang="0">
                            <a:pos x="0" y="T1"/>
                          </a:cxn>
                          <a:cxn ang="0">
                            <a:pos x="0" y="T2"/>
                          </a:cxn>
                        </a:cxnLst>
                        <a:rect l="0" t="0" r="r" b="b"/>
                        <a:pathLst>
                          <a:path h="1">
                            <a:moveTo>
                              <a:pt x="0" y="0"/>
                            </a:moveTo>
                            <a:cubicBezTo>
                              <a:pt x="0" y="0"/>
                              <a:pt x="0" y="1"/>
                              <a:pt x="0" y="1"/>
                            </a:cubicBezTo>
                            <a:cubicBezTo>
                              <a:pt x="0" y="1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FFD60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14" name="Freeform 60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640519" y="1607540"/>
                        <a:ext cx="446242" cy="402588"/>
                      </a:xfrm>
                      <a:custGeom>
                        <a:avLst/>
                        <a:gdLst>
                          <a:gd name="T0" fmla="*/ 74 w 78"/>
                          <a:gd name="T1" fmla="*/ 17 h 70"/>
                          <a:gd name="T2" fmla="*/ 72 w 78"/>
                          <a:gd name="T3" fmla="*/ 17 h 70"/>
                          <a:gd name="T4" fmla="*/ 72 w 78"/>
                          <a:gd name="T5" fmla="*/ 12 h 70"/>
                          <a:gd name="T6" fmla="*/ 72 w 78"/>
                          <a:gd name="T7" fmla="*/ 11 h 70"/>
                          <a:gd name="T8" fmla="*/ 72 w 78"/>
                          <a:gd name="T9" fmla="*/ 10 h 70"/>
                          <a:gd name="T10" fmla="*/ 72 w 78"/>
                          <a:gd name="T11" fmla="*/ 9 h 70"/>
                          <a:gd name="T12" fmla="*/ 72 w 78"/>
                          <a:gd name="T13" fmla="*/ 9 h 70"/>
                          <a:gd name="T14" fmla="*/ 72 w 78"/>
                          <a:gd name="T15" fmla="*/ 8 h 70"/>
                          <a:gd name="T16" fmla="*/ 72 w 78"/>
                          <a:gd name="T17" fmla="*/ 7 h 70"/>
                          <a:gd name="T18" fmla="*/ 72 w 78"/>
                          <a:gd name="T19" fmla="*/ 7 h 70"/>
                          <a:gd name="T20" fmla="*/ 71 w 78"/>
                          <a:gd name="T21" fmla="*/ 5 h 70"/>
                          <a:gd name="T22" fmla="*/ 71 w 78"/>
                          <a:gd name="T23" fmla="*/ 5 h 70"/>
                          <a:gd name="T24" fmla="*/ 70 w 78"/>
                          <a:gd name="T25" fmla="*/ 4 h 70"/>
                          <a:gd name="T26" fmla="*/ 70 w 78"/>
                          <a:gd name="T27" fmla="*/ 4 h 70"/>
                          <a:gd name="T28" fmla="*/ 69 w 78"/>
                          <a:gd name="T29" fmla="*/ 3 h 70"/>
                          <a:gd name="T30" fmla="*/ 69 w 78"/>
                          <a:gd name="T31" fmla="*/ 3 h 70"/>
                          <a:gd name="T32" fmla="*/ 63 w 78"/>
                          <a:gd name="T33" fmla="*/ 3 h 70"/>
                          <a:gd name="T34" fmla="*/ 52 w 78"/>
                          <a:gd name="T35" fmla="*/ 1 h 70"/>
                          <a:gd name="T36" fmla="*/ 32 w 78"/>
                          <a:gd name="T37" fmla="*/ 3 h 70"/>
                          <a:gd name="T38" fmla="*/ 11 w 78"/>
                          <a:gd name="T39" fmla="*/ 0 h 70"/>
                          <a:gd name="T40" fmla="*/ 8 w 78"/>
                          <a:gd name="T41" fmla="*/ 4 h 70"/>
                          <a:gd name="T42" fmla="*/ 8 w 78"/>
                          <a:gd name="T43" fmla="*/ 4 h 70"/>
                          <a:gd name="T44" fmla="*/ 7 w 78"/>
                          <a:gd name="T45" fmla="*/ 5 h 70"/>
                          <a:gd name="T46" fmla="*/ 7 w 78"/>
                          <a:gd name="T47" fmla="*/ 6 h 70"/>
                          <a:gd name="T48" fmla="*/ 7 w 78"/>
                          <a:gd name="T49" fmla="*/ 7 h 70"/>
                          <a:gd name="T50" fmla="*/ 7 w 78"/>
                          <a:gd name="T51" fmla="*/ 7 h 70"/>
                          <a:gd name="T52" fmla="*/ 6 w 78"/>
                          <a:gd name="T53" fmla="*/ 8 h 70"/>
                          <a:gd name="T54" fmla="*/ 6 w 78"/>
                          <a:gd name="T55" fmla="*/ 9 h 70"/>
                          <a:gd name="T56" fmla="*/ 6 w 78"/>
                          <a:gd name="T57" fmla="*/ 10 h 70"/>
                          <a:gd name="T58" fmla="*/ 6 w 78"/>
                          <a:gd name="T59" fmla="*/ 10 h 70"/>
                          <a:gd name="T60" fmla="*/ 6 w 78"/>
                          <a:gd name="T61" fmla="*/ 12 h 70"/>
                          <a:gd name="T62" fmla="*/ 6 w 78"/>
                          <a:gd name="T63" fmla="*/ 17 h 70"/>
                          <a:gd name="T64" fmla="*/ 5 w 78"/>
                          <a:gd name="T65" fmla="*/ 17 h 70"/>
                          <a:gd name="T66" fmla="*/ 0 w 78"/>
                          <a:gd name="T67" fmla="*/ 22 h 70"/>
                          <a:gd name="T68" fmla="*/ 0 w 78"/>
                          <a:gd name="T69" fmla="*/ 35 h 70"/>
                          <a:gd name="T70" fmla="*/ 6 w 78"/>
                          <a:gd name="T71" fmla="*/ 40 h 70"/>
                          <a:gd name="T72" fmla="*/ 24 w 78"/>
                          <a:gd name="T73" fmla="*/ 70 h 70"/>
                          <a:gd name="T74" fmla="*/ 54 w 78"/>
                          <a:gd name="T75" fmla="*/ 70 h 70"/>
                          <a:gd name="T76" fmla="*/ 72 w 78"/>
                          <a:gd name="T77" fmla="*/ 40 h 70"/>
                          <a:gd name="T78" fmla="*/ 78 w 78"/>
                          <a:gd name="T79" fmla="*/ 35 h 70"/>
                          <a:gd name="T80" fmla="*/ 78 w 78"/>
                          <a:gd name="T81" fmla="*/ 22 h 70"/>
                          <a:gd name="T82" fmla="*/ 74 w 78"/>
                          <a:gd name="T83" fmla="*/ 17 h 70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  <a:cxn ang="0">
                            <a:pos x="T56" y="T57"/>
                          </a:cxn>
                          <a:cxn ang="0">
                            <a:pos x="T58" y="T59"/>
                          </a:cxn>
                          <a:cxn ang="0">
                            <a:pos x="T60" y="T61"/>
                          </a:cxn>
                          <a:cxn ang="0">
                            <a:pos x="T62" y="T63"/>
                          </a:cxn>
                          <a:cxn ang="0">
                            <a:pos x="T64" y="T65"/>
                          </a:cxn>
                          <a:cxn ang="0">
                            <a:pos x="T66" y="T67"/>
                          </a:cxn>
                          <a:cxn ang="0">
                            <a:pos x="T68" y="T69"/>
                          </a:cxn>
                          <a:cxn ang="0">
                            <a:pos x="T70" y="T71"/>
                          </a:cxn>
                          <a:cxn ang="0">
                            <a:pos x="T72" y="T73"/>
                          </a:cxn>
                          <a:cxn ang="0">
                            <a:pos x="T74" y="T75"/>
                          </a:cxn>
                          <a:cxn ang="0">
                            <a:pos x="T76" y="T77"/>
                          </a:cxn>
                          <a:cxn ang="0">
                            <a:pos x="T78" y="T79"/>
                          </a:cxn>
                          <a:cxn ang="0">
                            <a:pos x="T80" y="T81"/>
                          </a:cxn>
                          <a:cxn ang="0">
                            <a:pos x="T82" y="T83"/>
                          </a:cxn>
                        </a:cxnLst>
                        <a:rect l="0" t="0" r="r" b="b"/>
                        <a:pathLst>
                          <a:path w="78" h="70">
                            <a:moveTo>
                              <a:pt x="74" y="17"/>
                            </a:moveTo>
                            <a:cubicBezTo>
                              <a:pt x="74" y="17"/>
                              <a:pt x="73" y="17"/>
                              <a:pt x="72" y="17"/>
                            </a:cubicBezTo>
                            <a:cubicBezTo>
                              <a:pt x="72" y="12"/>
                              <a:pt x="72" y="12"/>
                              <a:pt x="72" y="12"/>
                            </a:cubicBezTo>
                            <a:cubicBezTo>
                              <a:pt x="72" y="12"/>
                              <a:pt x="72" y="11"/>
                              <a:pt x="72" y="11"/>
                            </a:cubicBezTo>
                            <a:cubicBezTo>
                              <a:pt x="72" y="10"/>
                              <a:pt x="72" y="10"/>
                              <a:pt x="72" y="10"/>
                            </a:cubicBezTo>
                            <a:cubicBezTo>
                              <a:pt x="72" y="10"/>
                              <a:pt x="72" y="9"/>
                              <a:pt x="72" y="9"/>
                            </a:cubicBezTo>
                            <a:cubicBezTo>
                              <a:pt x="72" y="9"/>
                              <a:pt x="72" y="9"/>
                              <a:pt x="72" y="9"/>
                            </a:cubicBezTo>
                            <a:cubicBezTo>
                              <a:pt x="72" y="8"/>
                              <a:pt x="72" y="8"/>
                              <a:pt x="72" y="8"/>
                            </a:cubicBezTo>
                            <a:cubicBezTo>
                              <a:pt x="72" y="8"/>
                              <a:pt x="72" y="7"/>
                              <a:pt x="72" y="7"/>
                            </a:cubicBezTo>
                            <a:cubicBezTo>
                              <a:pt x="72" y="7"/>
                              <a:pt x="72" y="7"/>
                              <a:pt x="72" y="7"/>
                            </a:cubicBezTo>
                            <a:cubicBezTo>
                              <a:pt x="71" y="6"/>
                              <a:pt x="71" y="6"/>
                              <a:pt x="71" y="5"/>
                            </a:cubicBezTo>
                            <a:cubicBezTo>
                              <a:pt x="71" y="5"/>
                              <a:pt x="71" y="5"/>
                              <a:pt x="71" y="5"/>
                            </a:cubicBezTo>
                            <a:cubicBezTo>
                              <a:pt x="71" y="4"/>
                              <a:pt x="70" y="4"/>
                              <a:pt x="70" y="4"/>
                            </a:cubicBezTo>
                            <a:cubicBezTo>
                              <a:pt x="70" y="4"/>
                              <a:pt x="70" y="4"/>
                              <a:pt x="70" y="4"/>
                            </a:cubicBezTo>
                            <a:cubicBezTo>
                              <a:pt x="70" y="3"/>
                              <a:pt x="70" y="3"/>
                              <a:pt x="69" y="3"/>
                            </a:cubicBezTo>
                            <a:cubicBezTo>
                              <a:pt x="69" y="3"/>
                              <a:pt x="69" y="3"/>
                              <a:pt x="69" y="3"/>
                            </a:cubicBezTo>
                            <a:cubicBezTo>
                              <a:pt x="68" y="3"/>
                              <a:pt x="66" y="3"/>
                              <a:pt x="63" y="3"/>
                            </a:cubicBezTo>
                            <a:cubicBezTo>
                              <a:pt x="59" y="3"/>
                              <a:pt x="55" y="2"/>
                              <a:pt x="52" y="1"/>
                            </a:cubicBezTo>
                            <a:cubicBezTo>
                              <a:pt x="47" y="2"/>
                              <a:pt x="40" y="3"/>
                              <a:pt x="32" y="3"/>
                            </a:cubicBezTo>
                            <a:cubicBezTo>
                              <a:pt x="24" y="3"/>
                              <a:pt x="16" y="2"/>
                              <a:pt x="11" y="0"/>
                            </a:cubicBezTo>
                            <a:cubicBezTo>
                              <a:pt x="10" y="1"/>
                              <a:pt x="9" y="3"/>
                              <a:pt x="8" y="4"/>
                            </a:cubicBezTo>
                            <a:cubicBezTo>
                              <a:pt x="8" y="4"/>
                              <a:pt x="8" y="4"/>
                              <a:pt x="8" y="4"/>
                            </a:cubicBezTo>
                            <a:cubicBezTo>
                              <a:pt x="8" y="5"/>
                              <a:pt x="8" y="5"/>
                              <a:pt x="7" y="5"/>
                            </a:cubicBezTo>
                            <a:cubicBezTo>
                              <a:pt x="7" y="6"/>
                              <a:pt x="7" y="6"/>
                              <a:pt x="7" y="6"/>
                            </a:cubicBezTo>
                            <a:cubicBezTo>
                              <a:pt x="7" y="6"/>
                              <a:pt x="7" y="6"/>
                              <a:pt x="7" y="7"/>
                            </a:cubicBezTo>
                            <a:cubicBezTo>
                              <a:pt x="7" y="7"/>
                              <a:pt x="7" y="7"/>
                              <a:pt x="7" y="7"/>
                            </a:cubicBezTo>
                            <a:cubicBezTo>
                              <a:pt x="7" y="8"/>
                              <a:pt x="6" y="8"/>
                              <a:pt x="6" y="8"/>
                            </a:cubicBezTo>
                            <a:cubicBezTo>
                              <a:pt x="6" y="8"/>
                              <a:pt x="6" y="9"/>
                              <a:pt x="6" y="9"/>
                            </a:cubicBezTo>
                            <a:cubicBezTo>
                              <a:pt x="6" y="9"/>
                              <a:pt x="6" y="10"/>
                              <a:pt x="6" y="10"/>
                            </a:cubicBezTo>
                            <a:cubicBezTo>
                              <a:pt x="6" y="10"/>
                              <a:pt x="6" y="10"/>
                              <a:pt x="6" y="10"/>
                            </a:cubicBezTo>
                            <a:cubicBezTo>
                              <a:pt x="6" y="11"/>
                              <a:pt x="6" y="11"/>
                              <a:pt x="6" y="12"/>
                            </a:cubicBezTo>
                            <a:cubicBezTo>
                              <a:pt x="6" y="17"/>
                              <a:pt x="6" y="17"/>
                              <a:pt x="6" y="17"/>
                            </a:cubicBezTo>
                            <a:cubicBezTo>
                              <a:pt x="6" y="17"/>
                              <a:pt x="5" y="17"/>
                              <a:pt x="5" y="17"/>
                            </a:cubicBezTo>
                            <a:cubicBezTo>
                              <a:pt x="2" y="17"/>
                              <a:pt x="0" y="20"/>
                              <a:pt x="0" y="22"/>
                            </a:cubicBezTo>
                            <a:cubicBezTo>
                              <a:pt x="0" y="35"/>
                              <a:pt x="0" y="35"/>
                              <a:pt x="0" y="35"/>
                            </a:cubicBezTo>
                            <a:cubicBezTo>
                              <a:pt x="0" y="38"/>
                              <a:pt x="3" y="40"/>
                              <a:pt x="6" y="40"/>
                            </a:cubicBezTo>
                            <a:cubicBezTo>
                              <a:pt x="6" y="40"/>
                              <a:pt x="16" y="70"/>
                              <a:pt x="24" y="70"/>
                            </a:cubicBezTo>
                            <a:cubicBezTo>
                              <a:pt x="54" y="70"/>
                              <a:pt x="54" y="70"/>
                              <a:pt x="54" y="70"/>
                            </a:cubicBezTo>
                            <a:cubicBezTo>
                              <a:pt x="63" y="70"/>
                              <a:pt x="72" y="40"/>
                              <a:pt x="72" y="40"/>
                            </a:cubicBezTo>
                            <a:cubicBezTo>
                              <a:pt x="76" y="40"/>
                              <a:pt x="78" y="38"/>
                              <a:pt x="78" y="35"/>
                            </a:cubicBezTo>
                            <a:cubicBezTo>
                              <a:pt x="78" y="22"/>
                              <a:pt x="78" y="22"/>
                              <a:pt x="78" y="22"/>
                            </a:cubicBezTo>
                            <a:cubicBezTo>
                              <a:pt x="78" y="20"/>
                              <a:pt x="77" y="18"/>
                              <a:pt x="74" y="17"/>
                            </a:cubicBezTo>
                            <a:close/>
                          </a:path>
                        </a:pathLst>
                      </a:custGeom>
                      <a:solidFill>
                        <a:srgbClr val="FFB9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15" name="Freeform 61"/>
                      <p:cNvSpPr>
                        <a:spLocks noEditPoints="1"/>
                      </p:cNvSpPr>
                      <p:nvPr/>
                    </p:nvSpPr>
                    <p:spPr bwMode="auto">
                      <a:xfrm>
                        <a:off x="4679323" y="1687573"/>
                        <a:ext cx="385612" cy="126112"/>
                      </a:xfrm>
                      <a:custGeom>
                        <a:avLst/>
                        <a:gdLst>
                          <a:gd name="T0" fmla="*/ 66 w 67"/>
                          <a:gd name="T1" fmla="*/ 2 h 22"/>
                          <a:gd name="T2" fmla="*/ 49 w 67"/>
                          <a:gd name="T3" fmla="*/ 1 h 22"/>
                          <a:gd name="T4" fmla="*/ 33 w 67"/>
                          <a:gd name="T5" fmla="*/ 5 h 22"/>
                          <a:gd name="T6" fmla="*/ 17 w 67"/>
                          <a:gd name="T7" fmla="*/ 1 h 22"/>
                          <a:gd name="T8" fmla="*/ 0 w 67"/>
                          <a:gd name="T9" fmla="*/ 2 h 22"/>
                          <a:gd name="T10" fmla="*/ 0 w 67"/>
                          <a:gd name="T11" fmla="*/ 4 h 22"/>
                          <a:gd name="T12" fmla="*/ 2 w 67"/>
                          <a:gd name="T13" fmla="*/ 7 h 22"/>
                          <a:gd name="T14" fmla="*/ 4 w 67"/>
                          <a:gd name="T15" fmla="*/ 12 h 22"/>
                          <a:gd name="T16" fmla="*/ 20 w 67"/>
                          <a:gd name="T17" fmla="*/ 21 h 22"/>
                          <a:gd name="T18" fmla="*/ 31 w 67"/>
                          <a:gd name="T19" fmla="*/ 9 h 22"/>
                          <a:gd name="T20" fmla="*/ 33 w 67"/>
                          <a:gd name="T21" fmla="*/ 8 h 22"/>
                          <a:gd name="T22" fmla="*/ 36 w 67"/>
                          <a:gd name="T23" fmla="*/ 9 h 22"/>
                          <a:gd name="T24" fmla="*/ 47 w 67"/>
                          <a:gd name="T25" fmla="*/ 21 h 22"/>
                          <a:gd name="T26" fmla="*/ 62 w 67"/>
                          <a:gd name="T27" fmla="*/ 12 h 22"/>
                          <a:gd name="T28" fmla="*/ 64 w 67"/>
                          <a:gd name="T29" fmla="*/ 7 h 22"/>
                          <a:gd name="T30" fmla="*/ 66 w 67"/>
                          <a:gd name="T31" fmla="*/ 4 h 22"/>
                          <a:gd name="T32" fmla="*/ 66 w 67"/>
                          <a:gd name="T33" fmla="*/ 2 h 22"/>
                          <a:gd name="T34" fmla="*/ 25 w 67"/>
                          <a:gd name="T35" fmla="*/ 16 h 22"/>
                          <a:gd name="T36" fmla="*/ 13 w 67"/>
                          <a:gd name="T37" fmla="*/ 19 h 22"/>
                          <a:gd name="T38" fmla="*/ 6 w 67"/>
                          <a:gd name="T39" fmla="*/ 8 h 22"/>
                          <a:gd name="T40" fmla="*/ 18 w 67"/>
                          <a:gd name="T41" fmla="*/ 3 h 22"/>
                          <a:gd name="T42" fmla="*/ 26 w 67"/>
                          <a:gd name="T43" fmla="*/ 5 h 22"/>
                          <a:gd name="T44" fmla="*/ 25 w 67"/>
                          <a:gd name="T45" fmla="*/ 16 h 22"/>
                          <a:gd name="T46" fmla="*/ 53 w 67"/>
                          <a:gd name="T47" fmla="*/ 19 h 22"/>
                          <a:gd name="T48" fmla="*/ 41 w 67"/>
                          <a:gd name="T49" fmla="*/ 16 h 22"/>
                          <a:gd name="T50" fmla="*/ 41 w 67"/>
                          <a:gd name="T51" fmla="*/ 5 h 22"/>
                          <a:gd name="T52" fmla="*/ 49 w 67"/>
                          <a:gd name="T53" fmla="*/ 3 h 22"/>
                          <a:gd name="T54" fmla="*/ 61 w 67"/>
                          <a:gd name="T55" fmla="*/ 8 h 22"/>
                          <a:gd name="T56" fmla="*/ 53 w 67"/>
                          <a:gd name="T57" fmla="*/ 19 h 22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  <a:cxn ang="0">
                            <a:pos x="T56" y="T57"/>
                          </a:cxn>
                        </a:cxnLst>
                        <a:rect l="0" t="0" r="r" b="b"/>
                        <a:pathLst>
                          <a:path w="67" h="22">
                            <a:moveTo>
                              <a:pt x="66" y="2"/>
                            </a:moveTo>
                            <a:cubicBezTo>
                              <a:pt x="66" y="2"/>
                              <a:pt x="56" y="0"/>
                              <a:pt x="49" y="1"/>
                            </a:cubicBezTo>
                            <a:cubicBezTo>
                              <a:pt x="42" y="2"/>
                              <a:pt x="37" y="5"/>
                              <a:pt x="33" y="5"/>
                            </a:cubicBezTo>
                            <a:cubicBezTo>
                              <a:pt x="30" y="5"/>
                              <a:pt x="24" y="2"/>
                              <a:pt x="17" y="1"/>
                            </a:cubicBezTo>
                            <a:cubicBezTo>
                              <a:pt x="10" y="0"/>
                              <a:pt x="0" y="2"/>
                              <a:pt x="0" y="2"/>
                            </a:cubicBezTo>
                            <a:cubicBezTo>
                              <a:pt x="0" y="2"/>
                              <a:pt x="0" y="3"/>
                              <a:pt x="0" y="4"/>
                            </a:cubicBezTo>
                            <a:cubicBezTo>
                              <a:pt x="1" y="5"/>
                              <a:pt x="1" y="6"/>
                              <a:pt x="2" y="7"/>
                            </a:cubicBezTo>
                            <a:cubicBezTo>
                              <a:pt x="4" y="8"/>
                              <a:pt x="4" y="12"/>
                              <a:pt x="4" y="12"/>
                            </a:cubicBezTo>
                            <a:cubicBezTo>
                              <a:pt x="6" y="20"/>
                              <a:pt x="12" y="22"/>
                              <a:pt x="20" y="21"/>
                            </a:cubicBezTo>
                            <a:cubicBezTo>
                              <a:pt x="28" y="19"/>
                              <a:pt x="30" y="11"/>
                              <a:pt x="31" y="9"/>
                            </a:cubicBezTo>
                            <a:cubicBezTo>
                              <a:pt x="32" y="8"/>
                              <a:pt x="33" y="8"/>
                              <a:pt x="33" y="8"/>
                            </a:cubicBezTo>
                            <a:cubicBezTo>
                              <a:pt x="33" y="8"/>
                              <a:pt x="35" y="8"/>
                              <a:pt x="36" y="9"/>
                            </a:cubicBezTo>
                            <a:cubicBezTo>
                              <a:pt x="37" y="11"/>
                              <a:pt x="39" y="19"/>
                              <a:pt x="47" y="21"/>
                            </a:cubicBezTo>
                            <a:cubicBezTo>
                              <a:pt x="55" y="22"/>
                              <a:pt x="61" y="20"/>
                              <a:pt x="62" y="12"/>
                            </a:cubicBezTo>
                            <a:cubicBezTo>
                              <a:pt x="62" y="12"/>
                              <a:pt x="62" y="8"/>
                              <a:pt x="64" y="7"/>
                            </a:cubicBezTo>
                            <a:cubicBezTo>
                              <a:pt x="66" y="6"/>
                              <a:pt x="66" y="5"/>
                              <a:pt x="66" y="4"/>
                            </a:cubicBezTo>
                            <a:cubicBezTo>
                              <a:pt x="66" y="3"/>
                              <a:pt x="67" y="2"/>
                              <a:pt x="66" y="2"/>
                            </a:cubicBezTo>
                            <a:close/>
                            <a:moveTo>
                              <a:pt x="25" y="16"/>
                            </a:moveTo>
                            <a:cubicBezTo>
                              <a:pt x="23" y="19"/>
                              <a:pt x="19" y="20"/>
                              <a:pt x="13" y="19"/>
                            </a:cubicBezTo>
                            <a:cubicBezTo>
                              <a:pt x="8" y="18"/>
                              <a:pt x="6" y="14"/>
                              <a:pt x="6" y="8"/>
                            </a:cubicBezTo>
                            <a:cubicBezTo>
                              <a:pt x="6" y="1"/>
                              <a:pt x="18" y="3"/>
                              <a:pt x="18" y="3"/>
                            </a:cubicBezTo>
                            <a:cubicBezTo>
                              <a:pt x="22" y="4"/>
                              <a:pt x="22" y="4"/>
                              <a:pt x="26" y="5"/>
                            </a:cubicBezTo>
                            <a:cubicBezTo>
                              <a:pt x="30" y="6"/>
                              <a:pt x="27" y="13"/>
                              <a:pt x="25" y="16"/>
                            </a:cubicBezTo>
                            <a:close/>
                            <a:moveTo>
                              <a:pt x="53" y="19"/>
                            </a:moveTo>
                            <a:cubicBezTo>
                              <a:pt x="48" y="20"/>
                              <a:pt x="44" y="19"/>
                              <a:pt x="41" y="16"/>
                            </a:cubicBezTo>
                            <a:cubicBezTo>
                              <a:pt x="39" y="13"/>
                              <a:pt x="37" y="6"/>
                              <a:pt x="41" y="5"/>
                            </a:cubicBezTo>
                            <a:cubicBezTo>
                              <a:pt x="44" y="4"/>
                              <a:pt x="44" y="4"/>
                              <a:pt x="49" y="3"/>
                            </a:cubicBezTo>
                            <a:cubicBezTo>
                              <a:pt x="49" y="3"/>
                              <a:pt x="61" y="1"/>
                              <a:pt x="61" y="8"/>
                            </a:cubicBezTo>
                            <a:cubicBezTo>
                              <a:pt x="61" y="14"/>
                              <a:pt x="59" y="18"/>
                              <a:pt x="53" y="19"/>
                            </a:cubicBezTo>
                            <a:close/>
                          </a:path>
                        </a:pathLst>
                      </a:custGeom>
                      <a:solidFill>
                        <a:srgbClr val="0000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16" name="Oval 62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4686599" y="1704549"/>
                        <a:ext cx="9701" cy="12127"/>
                      </a:xfrm>
                      <a:prstGeom prst="ellipse">
                        <a:avLst/>
                      </a:prstGeom>
                      <a:solidFill>
                        <a:srgbClr val="FFFFF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17" name="Oval 63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5040683" y="1704549"/>
                        <a:ext cx="12127" cy="12127"/>
                      </a:xfrm>
                      <a:prstGeom prst="ellipse">
                        <a:avLst/>
                      </a:prstGeom>
                      <a:solidFill>
                        <a:srgbClr val="FFFFF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grpSp>
                  <p:nvGrpSpPr>
                    <p:cNvPr id="266" name="Group 265"/>
                    <p:cNvGrpSpPr/>
                    <p:nvPr/>
                  </p:nvGrpSpPr>
                  <p:grpSpPr>
                    <a:xfrm>
                      <a:off x="5610611" y="4468960"/>
                      <a:ext cx="1307200" cy="2107525"/>
                      <a:chOff x="5610611" y="1297111"/>
                      <a:chExt cx="1307200" cy="2107525"/>
                    </a:xfrm>
                  </p:grpSpPr>
                  <p:sp>
                    <p:nvSpPr>
                      <p:cNvPr id="267" name="Freeform 7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632439" y="3244570"/>
                        <a:ext cx="150364" cy="160065"/>
                      </a:xfrm>
                      <a:custGeom>
                        <a:avLst/>
                        <a:gdLst>
                          <a:gd name="T0" fmla="*/ 0 w 26"/>
                          <a:gd name="T1" fmla="*/ 0 h 28"/>
                          <a:gd name="T2" fmla="*/ 0 w 26"/>
                          <a:gd name="T3" fmla="*/ 16 h 28"/>
                          <a:gd name="T4" fmla="*/ 13 w 26"/>
                          <a:gd name="T5" fmla="*/ 28 h 28"/>
                          <a:gd name="T6" fmla="*/ 26 w 26"/>
                          <a:gd name="T7" fmla="*/ 16 h 28"/>
                          <a:gd name="T8" fmla="*/ 26 w 26"/>
                          <a:gd name="T9" fmla="*/ 0 h 28"/>
                          <a:gd name="T10" fmla="*/ 0 w 26"/>
                          <a:gd name="T11" fmla="*/ 0 h 2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</a:cxnLst>
                        <a:rect l="0" t="0" r="r" b="b"/>
                        <a:pathLst>
                          <a:path w="26" h="28">
                            <a:moveTo>
                              <a:pt x="0" y="0"/>
                            </a:moveTo>
                            <a:cubicBezTo>
                              <a:pt x="0" y="16"/>
                              <a:pt x="0" y="16"/>
                              <a:pt x="0" y="16"/>
                            </a:cubicBezTo>
                            <a:cubicBezTo>
                              <a:pt x="0" y="23"/>
                              <a:pt x="6" y="28"/>
                              <a:pt x="13" y="28"/>
                            </a:cubicBezTo>
                            <a:cubicBezTo>
                              <a:pt x="20" y="28"/>
                              <a:pt x="26" y="23"/>
                              <a:pt x="26" y="16"/>
                            </a:cubicBezTo>
                            <a:cubicBezTo>
                              <a:pt x="26" y="0"/>
                              <a:pt x="26" y="0"/>
                              <a:pt x="26" y="0"/>
                            </a:cubicBez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FFB9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268" name="Freeform 6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119909" y="1922820"/>
                        <a:ext cx="281327" cy="305579"/>
                      </a:xfrm>
                      <a:custGeom>
                        <a:avLst/>
                        <a:gdLst>
                          <a:gd name="T0" fmla="*/ 0 w 116"/>
                          <a:gd name="T1" fmla="*/ 12 h 126"/>
                          <a:gd name="T2" fmla="*/ 12 w 116"/>
                          <a:gd name="T3" fmla="*/ 0 h 126"/>
                          <a:gd name="T4" fmla="*/ 104 w 116"/>
                          <a:gd name="T5" fmla="*/ 0 h 126"/>
                          <a:gd name="T6" fmla="*/ 116 w 116"/>
                          <a:gd name="T7" fmla="*/ 12 h 126"/>
                          <a:gd name="T8" fmla="*/ 85 w 116"/>
                          <a:gd name="T9" fmla="*/ 116 h 126"/>
                          <a:gd name="T10" fmla="*/ 43 w 116"/>
                          <a:gd name="T11" fmla="*/ 126 h 126"/>
                          <a:gd name="T12" fmla="*/ 7 w 116"/>
                          <a:gd name="T13" fmla="*/ 76 h 126"/>
                          <a:gd name="T14" fmla="*/ 0 w 116"/>
                          <a:gd name="T15" fmla="*/ 12 h 126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116" h="126">
                            <a:moveTo>
                              <a:pt x="0" y="12"/>
                            </a:moveTo>
                            <a:lnTo>
                              <a:pt x="12" y="0"/>
                            </a:lnTo>
                            <a:lnTo>
                              <a:pt x="104" y="0"/>
                            </a:lnTo>
                            <a:lnTo>
                              <a:pt x="116" y="12"/>
                            </a:lnTo>
                            <a:lnTo>
                              <a:pt x="85" y="116"/>
                            </a:lnTo>
                            <a:lnTo>
                              <a:pt x="43" y="126"/>
                            </a:lnTo>
                            <a:lnTo>
                              <a:pt x="7" y="76"/>
                            </a:lnTo>
                            <a:lnTo>
                              <a:pt x="0" y="12"/>
                            </a:ln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269" name="Freeform 72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090807" y="1956773"/>
                        <a:ext cx="351659" cy="948265"/>
                      </a:xfrm>
                      <a:custGeom>
                        <a:avLst/>
                        <a:gdLst>
                          <a:gd name="T0" fmla="*/ 145 w 145"/>
                          <a:gd name="T1" fmla="*/ 83 h 391"/>
                          <a:gd name="T2" fmla="*/ 74 w 145"/>
                          <a:gd name="T3" fmla="*/ 0 h 391"/>
                          <a:gd name="T4" fmla="*/ 0 w 145"/>
                          <a:gd name="T5" fmla="*/ 76 h 391"/>
                          <a:gd name="T6" fmla="*/ 55 w 145"/>
                          <a:gd name="T7" fmla="*/ 360 h 391"/>
                          <a:gd name="T8" fmla="*/ 69 w 145"/>
                          <a:gd name="T9" fmla="*/ 391 h 391"/>
                          <a:gd name="T10" fmla="*/ 86 w 145"/>
                          <a:gd name="T11" fmla="*/ 360 h 391"/>
                          <a:gd name="T12" fmla="*/ 145 w 145"/>
                          <a:gd name="T13" fmla="*/ 83 h 391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145" h="391">
                            <a:moveTo>
                              <a:pt x="145" y="83"/>
                            </a:moveTo>
                            <a:lnTo>
                              <a:pt x="74" y="0"/>
                            </a:lnTo>
                            <a:lnTo>
                              <a:pt x="0" y="76"/>
                            </a:lnTo>
                            <a:lnTo>
                              <a:pt x="55" y="360"/>
                            </a:lnTo>
                            <a:lnTo>
                              <a:pt x="69" y="391"/>
                            </a:lnTo>
                            <a:lnTo>
                              <a:pt x="86" y="360"/>
                            </a:lnTo>
                            <a:lnTo>
                              <a:pt x="145" y="83"/>
                            </a:lnTo>
                            <a:close/>
                          </a:path>
                        </a:pathLst>
                      </a:custGeom>
                      <a:solidFill>
                        <a:srgbClr val="D2D2D2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270" name="Freeform 7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056853" y="1321363"/>
                        <a:ext cx="441392" cy="555378"/>
                      </a:xfrm>
                      <a:custGeom>
                        <a:avLst/>
                        <a:gdLst>
                          <a:gd name="T0" fmla="*/ 68 w 77"/>
                          <a:gd name="T1" fmla="*/ 59 h 97"/>
                          <a:gd name="T2" fmla="*/ 28 w 77"/>
                          <a:gd name="T3" fmla="*/ 90 h 97"/>
                          <a:gd name="T4" fmla="*/ 8 w 77"/>
                          <a:gd name="T5" fmla="*/ 39 h 97"/>
                          <a:gd name="T6" fmla="*/ 57 w 77"/>
                          <a:gd name="T7" fmla="*/ 6 h 97"/>
                          <a:gd name="T8" fmla="*/ 68 w 77"/>
                          <a:gd name="T9" fmla="*/ 59 h 9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</a:cxnLst>
                        <a:rect l="0" t="0" r="r" b="b"/>
                        <a:pathLst>
                          <a:path w="77" h="97">
                            <a:moveTo>
                              <a:pt x="68" y="59"/>
                            </a:moveTo>
                            <a:cubicBezTo>
                              <a:pt x="54" y="97"/>
                              <a:pt x="46" y="96"/>
                              <a:pt x="28" y="90"/>
                            </a:cubicBezTo>
                            <a:cubicBezTo>
                              <a:pt x="9" y="84"/>
                              <a:pt x="0" y="61"/>
                              <a:pt x="8" y="39"/>
                            </a:cubicBezTo>
                            <a:cubicBezTo>
                              <a:pt x="15" y="17"/>
                              <a:pt x="39" y="0"/>
                              <a:pt x="57" y="6"/>
                            </a:cubicBezTo>
                            <a:cubicBezTo>
                              <a:pt x="76" y="12"/>
                              <a:pt x="77" y="37"/>
                              <a:pt x="68" y="59"/>
                            </a:cubicBezTo>
                            <a:close/>
                          </a:path>
                        </a:pathLst>
                      </a:custGeom>
                      <a:solidFill>
                        <a:srgbClr val="50505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271" name="Freeform 74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976822" y="1297111"/>
                        <a:ext cx="494747" cy="608733"/>
                      </a:xfrm>
                      <a:custGeom>
                        <a:avLst/>
                        <a:gdLst>
                          <a:gd name="T0" fmla="*/ 74 w 86"/>
                          <a:gd name="T1" fmla="*/ 22 h 106"/>
                          <a:gd name="T2" fmla="*/ 62 w 86"/>
                          <a:gd name="T3" fmla="*/ 90 h 106"/>
                          <a:gd name="T4" fmla="*/ 25 w 86"/>
                          <a:gd name="T5" fmla="*/ 87 h 106"/>
                          <a:gd name="T6" fmla="*/ 25 w 86"/>
                          <a:gd name="T7" fmla="*/ 8 h 106"/>
                          <a:gd name="T8" fmla="*/ 74 w 86"/>
                          <a:gd name="T9" fmla="*/ 22 h 106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</a:cxnLst>
                        <a:rect l="0" t="0" r="r" b="b"/>
                        <a:pathLst>
                          <a:path w="86" h="106">
                            <a:moveTo>
                              <a:pt x="74" y="22"/>
                            </a:moveTo>
                            <a:cubicBezTo>
                              <a:pt x="86" y="41"/>
                              <a:pt x="77" y="81"/>
                              <a:pt x="62" y="90"/>
                            </a:cubicBezTo>
                            <a:cubicBezTo>
                              <a:pt x="48" y="98"/>
                              <a:pt x="36" y="106"/>
                              <a:pt x="25" y="87"/>
                            </a:cubicBezTo>
                            <a:cubicBezTo>
                              <a:pt x="14" y="68"/>
                              <a:pt x="0" y="19"/>
                              <a:pt x="25" y="8"/>
                            </a:cubicBezTo>
                            <a:cubicBezTo>
                              <a:pt x="40" y="0"/>
                              <a:pt x="63" y="3"/>
                              <a:pt x="74" y="22"/>
                            </a:cubicBezTo>
                            <a:close/>
                          </a:path>
                        </a:pathLst>
                      </a:custGeom>
                      <a:solidFill>
                        <a:srgbClr val="50505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272" name="Freeform 75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149012" y="1745779"/>
                        <a:ext cx="223121" cy="269201"/>
                      </a:xfrm>
                      <a:custGeom>
                        <a:avLst/>
                        <a:gdLst>
                          <a:gd name="T0" fmla="*/ 92 w 92"/>
                          <a:gd name="T1" fmla="*/ 73 h 111"/>
                          <a:gd name="T2" fmla="*/ 45 w 92"/>
                          <a:gd name="T3" fmla="*/ 111 h 111"/>
                          <a:gd name="T4" fmla="*/ 0 w 92"/>
                          <a:gd name="T5" fmla="*/ 73 h 111"/>
                          <a:gd name="T6" fmla="*/ 0 w 92"/>
                          <a:gd name="T7" fmla="*/ 0 h 111"/>
                          <a:gd name="T8" fmla="*/ 92 w 92"/>
                          <a:gd name="T9" fmla="*/ 0 h 111"/>
                          <a:gd name="T10" fmla="*/ 92 w 92"/>
                          <a:gd name="T11" fmla="*/ 73 h 111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</a:cxnLst>
                        <a:rect l="0" t="0" r="r" b="b"/>
                        <a:pathLst>
                          <a:path w="92" h="111">
                            <a:moveTo>
                              <a:pt x="92" y="73"/>
                            </a:moveTo>
                            <a:lnTo>
                              <a:pt x="45" y="111"/>
                            </a:lnTo>
                            <a:lnTo>
                              <a:pt x="0" y="73"/>
                            </a:lnTo>
                            <a:lnTo>
                              <a:pt x="0" y="0"/>
                            </a:lnTo>
                            <a:lnTo>
                              <a:pt x="92" y="0"/>
                            </a:lnTo>
                            <a:lnTo>
                              <a:pt x="92" y="73"/>
                            </a:lnTo>
                            <a:close/>
                          </a:path>
                        </a:pathLst>
                      </a:custGeom>
                      <a:solidFill>
                        <a:srgbClr val="FFB9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273" name="Freeform 76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610611" y="1993153"/>
                        <a:ext cx="480196" cy="1251418"/>
                      </a:xfrm>
                      <a:custGeom>
                        <a:avLst/>
                        <a:gdLst>
                          <a:gd name="T0" fmla="*/ 84 w 84"/>
                          <a:gd name="T1" fmla="*/ 9 h 218"/>
                          <a:gd name="T2" fmla="*/ 51 w 84"/>
                          <a:gd name="T3" fmla="*/ 0 h 218"/>
                          <a:gd name="T4" fmla="*/ 0 w 84"/>
                          <a:gd name="T5" fmla="*/ 218 h 218"/>
                          <a:gd name="T6" fmla="*/ 34 w 84"/>
                          <a:gd name="T7" fmla="*/ 218 h 218"/>
                          <a:gd name="T8" fmla="*/ 84 w 84"/>
                          <a:gd name="T9" fmla="*/ 9 h 21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</a:cxnLst>
                        <a:rect l="0" t="0" r="r" b="b"/>
                        <a:pathLst>
                          <a:path w="84" h="218">
                            <a:moveTo>
                              <a:pt x="84" y="9"/>
                            </a:moveTo>
                            <a:cubicBezTo>
                              <a:pt x="73" y="6"/>
                              <a:pt x="62" y="3"/>
                              <a:pt x="51" y="0"/>
                            </a:cubicBezTo>
                            <a:cubicBezTo>
                              <a:pt x="18" y="71"/>
                              <a:pt x="7" y="141"/>
                              <a:pt x="0" y="218"/>
                            </a:cubicBezTo>
                            <a:cubicBezTo>
                              <a:pt x="34" y="218"/>
                              <a:pt x="34" y="218"/>
                              <a:pt x="34" y="218"/>
                            </a:cubicBezTo>
                            <a:cubicBezTo>
                              <a:pt x="42" y="144"/>
                              <a:pt x="53" y="77"/>
                              <a:pt x="84" y="9"/>
                            </a:cubicBezTo>
                            <a:close/>
                          </a:path>
                        </a:pathLst>
                      </a:custGeom>
                      <a:solidFill>
                        <a:srgbClr val="50505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274" name="Freeform 7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430339" y="1993153"/>
                        <a:ext cx="487472" cy="1251418"/>
                      </a:xfrm>
                      <a:custGeom>
                        <a:avLst/>
                        <a:gdLst>
                          <a:gd name="T0" fmla="*/ 0 w 85"/>
                          <a:gd name="T1" fmla="*/ 9 h 218"/>
                          <a:gd name="T2" fmla="*/ 34 w 85"/>
                          <a:gd name="T3" fmla="*/ 0 h 218"/>
                          <a:gd name="T4" fmla="*/ 85 w 85"/>
                          <a:gd name="T5" fmla="*/ 218 h 218"/>
                          <a:gd name="T6" fmla="*/ 50 w 85"/>
                          <a:gd name="T7" fmla="*/ 218 h 218"/>
                          <a:gd name="T8" fmla="*/ 0 w 85"/>
                          <a:gd name="T9" fmla="*/ 9 h 21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</a:cxnLst>
                        <a:rect l="0" t="0" r="r" b="b"/>
                        <a:pathLst>
                          <a:path w="85" h="218">
                            <a:moveTo>
                              <a:pt x="0" y="9"/>
                            </a:moveTo>
                            <a:cubicBezTo>
                              <a:pt x="12" y="6"/>
                              <a:pt x="23" y="3"/>
                              <a:pt x="34" y="0"/>
                            </a:cubicBezTo>
                            <a:cubicBezTo>
                              <a:pt x="67" y="71"/>
                              <a:pt x="77" y="141"/>
                              <a:pt x="85" y="218"/>
                            </a:cubicBezTo>
                            <a:cubicBezTo>
                              <a:pt x="50" y="218"/>
                              <a:pt x="50" y="218"/>
                              <a:pt x="50" y="218"/>
                            </a:cubicBezTo>
                            <a:cubicBezTo>
                              <a:pt x="42" y="144"/>
                              <a:pt x="32" y="77"/>
                              <a:pt x="0" y="9"/>
                            </a:cubicBezTo>
                            <a:close/>
                          </a:path>
                        </a:pathLst>
                      </a:custGeom>
                      <a:solidFill>
                        <a:srgbClr val="50505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275" name="Freeform 7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745619" y="3244571"/>
                        <a:ext cx="143089" cy="160065"/>
                      </a:xfrm>
                      <a:custGeom>
                        <a:avLst/>
                        <a:gdLst>
                          <a:gd name="T0" fmla="*/ 0 w 25"/>
                          <a:gd name="T1" fmla="*/ 0 h 28"/>
                          <a:gd name="T2" fmla="*/ 0 w 25"/>
                          <a:gd name="T3" fmla="*/ 16 h 28"/>
                          <a:gd name="T4" fmla="*/ 12 w 25"/>
                          <a:gd name="T5" fmla="*/ 28 h 28"/>
                          <a:gd name="T6" fmla="*/ 25 w 25"/>
                          <a:gd name="T7" fmla="*/ 16 h 28"/>
                          <a:gd name="T8" fmla="*/ 25 w 25"/>
                          <a:gd name="T9" fmla="*/ 0 h 28"/>
                          <a:gd name="T10" fmla="*/ 0 w 25"/>
                          <a:gd name="T11" fmla="*/ 0 h 2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</a:cxnLst>
                        <a:rect l="0" t="0" r="r" b="b"/>
                        <a:pathLst>
                          <a:path w="25" h="28">
                            <a:moveTo>
                              <a:pt x="0" y="0"/>
                            </a:moveTo>
                            <a:cubicBezTo>
                              <a:pt x="0" y="16"/>
                              <a:pt x="0" y="16"/>
                              <a:pt x="0" y="16"/>
                            </a:cubicBezTo>
                            <a:cubicBezTo>
                              <a:pt x="0" y="23"/>
                              <a:pt x="5" y="28"/>
                              <a:pt x="12" y="28"/>
                            </a:cubicBezTo>
                            <a:cubicBezTo>
                              <a:pt x="19" y="28"/>
                              <a:pt x="25" y="23"/>
                              <a:pt x="25" y="16"/>
                            </a:cubicBezTo>
                            <a:cubicBezTo>
                              <a:pt x="25" y="0"/>
                              <a:pt x="25" y="0"/>
                              <a:pt x="25" y="0"/>
                            </a:cubicBez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FFB9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276" name="Freeform 80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896788" y="1951923"/>
                        <a:ext cx="727569" cy="1268396"/>
                      </a:xfrm>
                      <a:custGeom>
                        <a:avLst/>
                        <a:gdLst>
                          <a:gd name="T0" fmla="*/ 208 w 300"/>
                          <a:gd name="T1" fmla="*/ 0 h 523"/>
                          <a:gd name="T2" fmla="*/ 149 w 300"/>
                          <a:gd name="T3" fmla="*/ 100 h 523"/>
                          <a:gd name="T4" fmla="*/ 92 w 300"/>
                          <a:gd name="T5" fmla="*/ 0 h 523"/>
                          <a:gd name="T6" fmla="*/ 0 w 300"/>
                          <a:gd name="T7" fmla="*/ 17 h 523"/>
                          <a:gd name="T8" fmla="*/ 5 w 300"/>
                          <a:gd name="T9" fmla="*/ 523 h 523"/>
                          <a:gd name="T10" fmla="*/ 293 w 300"/>
                          <a:gd name="T11" fmla="*/ 523 h 523"/>
                          <a:gd name="T12" fmla="*/ 300 w 300"/>
                          <a:gd name="T13" fmla="*/ 17 h 523"/>
                          <a:gd name="T14" fmla="*/ 208 w 300"/>
                          <a:gd name="T15" fmla="*/ 0 h 523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300" h="523">
                            <a:moveTo>
                              <a:pt x="208" y="0"/>
                            </a:moveTo>
                            <a:lnTo>
                              <a:pt x="149" y="100"/>
                            </a:lnTo>
                            <a:lnTo>
                              <a:pt x="92" y="0"/>
                            </a:lnTo>
                            <a:lnTo>
                              <a:pt x="0" y="17"/>
                            </a:lnTo>
                            <a:lnTo>
                              <a:pt x="5" y="523"/>
                            </a:lnTo>
                            <a:lnTo>
                              <a:pt x="293" y="523"/>
                            </a:lnTo>
                            <a:lnTo>
                              <a:pt x="300" y="17"/>
                            </a:lnTo>
                            <a:lnTo>
                              <a:pt x="208" y="0"/>
                            </a:lnTo>
                            <a:close/>
                          </a:path>
                        </a:pathLst>
                      </a:custGeom>
                      <a:solidFill>
                        <a:srgbClr val="50505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277" name="Freeform 8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442466" y="1515382"/>
                        <a:ext cx="4850" cy="7276"/>
                      </a:xfrm>
                      <a:custGeom>
                        <a:avLst/>
                        <a:gdLst>
                          <a:gd name="T0" fmla="*/ 1 w 1"/>
                          <a:gd name="T1" fmla="*/ 1 h 1"/>
                          <a:gd name="T2" fmla="*/ 0 w 1"/>
                          <a:gd name="T3" fmla="*/ 0 h 1"/>
                          <a:gd name="T4" fmla="*/ 1 w 1"/>
                          <a:gd name="T5" fmla="*/ 1 h 1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</a:cxnLst>
                        <a:rect l="0" t="0" r="r" b="b"/>
                        <a:pathLst>
                          <a:path w="1" h="1">
                            <a:moveTo>
                              <a:pt x="1" y="1"/>
                            </a:moveTo>
                            <a:cubicBezTo>
                              <a:pt x="0" y="0"/>
                              <a:pt x="0" y="0"/>
                              <a:pt x="0" y="0"/>
                            </a:cubicBezTo>
                            <a:cubicBezTo>
                              <a:pt x="0" y="0"/>
                              <a:pt x="0" y="0"/>
                              <a:pt x="1" y="1"/>
                            </a:cubicBezTo>
                            <a:close/>
                          </a:path>
                        </a:pathLst>
                      </a:custGeom>
                      <a:solidFill>
                        <a:srgbClr val="FFD60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278" name="Freeform 82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442466" y="1510531"/>
                        <a:ext cx="0" cy="0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0" y="0"/>
                          </a:cxn>
                          <a:cxn ang="0">
                            <a:pos x="0" y="0"/>
                          </a:cxn>
                          <a:cxn ang="0">
                            <a:pos x="0" y="0"/>
                          </a:cxn>
                        </a:cxnLst>
                        <a:rect l="0" t="0" r="r" b="b"/>
                        <a:pathLst>
                          <a:path>
                            <a:moveTo>
                              <a:pt x="0" y="0"/>
                            </a:moveTo>
                            <a:cubicBezTo>
                              <a:pt x="0" y="0"/>
                              <a:pt x="0" y="0"/>
                              <a:pt x="0" y="0"/>
                            </a:cubicBezTo>
                            <a:cubicBezTo>
                              <a:pt x="0" y="0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FFD60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279" name="Freeform 8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430339" y="1493555"/>
                        <a:ext cx="4850" cy="0"/>
                      </a:xfrm>
                      <a:custGeom>
                        <a:avLst/>
                        <a:gdLst>
                          <a:gd name="T0" fmla="*/ 1 w 1"/>
                          <a:gd name="T1" fmla="*/ 0 w 1"/>
                          <a:gd name="T2" fmla="*/ 1 w 1"/>
                        </a:gdLst>
                        <a:ahLst/>
                        <a:cxnLst>
                          <a:cxn ang="0">
                            <a:pos x="T0" y="0"/>
                          </a:cxn>
                          <a:cxn ang="0">
                            <a:pos x="T1" y="0"/>
                          </a:cxn>
                          <a:cxn ang="0">
                            <a:pos x="T2" y="0"/>
                          </a:cxn>
                        </a:cxnLst>
                        <a:rect l="0" t="0" r="r" b="b"/>
                        <a:pathLst>
                          <a:path w="1">
                            <a:moveTo>
                              <a:pt x="1" y="0"/>
                            </a:moveTo>
                            <a:cubicBezTo>
                              <a:pt x="1" y="0"/>
                              <a:pt x="1" y="0"/>
                              <a:pt x="0" y="0"/>
                            </a:cubicBezTo>
                            <a:cubicBezTo>
                              <a:pt x="1" y="0"/>
                              <a:pt x="1" y="0"/>
                              <a:pt x="1" y="0"/>
                            </a:cubicBezTo>
                            <a:close/>
                          </a:path>
                        </a:pathLst>
                      </a:custGeom>
                      <a:solidFill>
                        <a:srgbClr val="FFD60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280" name="Freeform 84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435189" y="1498406"/>
                        <a:ext cx="0" cy="0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0" y="0"/>
                          </a:cxn>
                          <a:cxn ang="0">
                            <a:pos x="0" y="0"/>
                          </a:cxn>
                          <a:cxn ang="0">
                            <a:pos x="0" y="0"/>
                          </a:cxn>
                        </a:cxnLst>
                        <a:rect l="0" t="0" r="r" b="b"/>
                        <a:pathLst>
                          <a:path>
                            <a:moveTo>
                              <a:pt x="0" y="0"/>
                            </a:moveTo>
                            <a:cubicBezTo>
                              <a:pt x="0" y="0"/>
                              <a:pt x="0" y="0"/>
                              <a:pt x="0" y="0"/>
                            </a:cubicBezTo>
                            <a:cubicBezTo>
                              <a:pt x="0" y="0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FFD60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281" name="Freeform 85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073831" y="1493555"/>
                        <a:ext cx="0" cy="0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0" y="0"/>
                          </a:cxn>
                          <a:cxn ang="0">
                            <a:pos x="0" y="0"/>
                          </a:cxn>
                          <a:cxn ang="0">
                            <a:pos x="0" y="0"/>
                          </a:cxn>
                        </a:cxnLst>
                        <a:rect l="0" t="0" r="r" b="b"/>
                        <a:pathLst>
                          <a:path>
                            <a:moveTo>
                              <a:pt x="0" y="0"/>
                            </a:moveTo>
                            <a:cubicBezTo>
                              <a:pt x="0" y="0"/>
                              <a:pt x="0" y="0"/>
                              <a:pt x="0" y="0"/>
                            </a:cubicBezTo>
                            <a:cubicBezTo>
                              <a:pt x="0" y="0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FFD60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282" name="Freeform 86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447316" y="1522658"/>
                        <a:ext cx="0" cy="4850"/>
                      </a:xfrm>
                      <a:custGeom>
                        <a:avLst/>
                        <a:gdLst>
                          <a:gd name="T0" fmla="*/ 1 h 1"/>
                          <a:gd name="T1" fmla="*/ 0 h 1"/>
                          <a:gd name="T2" fmla="*/ 1 h 1"/>
                        </a:gdLst>
                        <a:ahLst/>
                        <a:cxnLst>
                          <a:cxn ang="0">
                            <a:pos x="0" y="T0"/>
                          </a:cxn>
                          <a:cxn ang="0">
                            <a:pos x="0" y="T1"/>
                          </a:cxn>
                          <a:cxn ang="0">
                            <a:pos x="0" y="T2"/>
                          </a:cxn>
                        </a:cxnLst>
                        <a:rect l="0" t="0" r="r" b="b"/>
                        <a:pathLst>
                          <a:path h="1">
                            <a:moveTo>
                              <a:pt x="0" y="1"/>
                            </a:moveTo>
                            <a:cubicBezTo>
                              <a:pt x="0" y="1"/>
                              <a:pt x="0" y="0"/>
                              <a:pt x="0" y="0"/>
                            </a:cubicBezTo>
                            <a:cubicBezTo>
                              <a:pt x="0" y="0"/>
                              <a:pt x="0" y="1"/>
                              <a:pt x="0" y="1"/>
                            </a:cubicBezTo>
                            <a:close/>
                          </a:path>
                        </a:pathLst>
                      </a:custGeom>
                      <a:solidFill>
                        <a:srgbClr val="FFD60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283" name="Freeform 8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447316" y="1532359"/>
                        <a:ext cx="0" cy="7276"/>
                      </a:xfrm>
                      <a:custGeom>
                        <a:avLst/>
                        <a:gdLst>
                          <a:gd name="T0" fmla="*/ 1 h 1"/>
                          <a:gd name="T1" fmla="*/ 0 h 1"/>
                          <a:gd name="T2" fmla="*/ 1 h 1"/>
                        </a:gdLst>
                        <a:ahLst/>
                        <a:cxnLst>
                          <a:cxn ang="0">
                            <a:pos x="0" y="T0"/>
                          </a:cxn>
                          <a:cxn ang="0">
                            <a:pos x="0" y="T1"/>
                          </a:cxn>
                          <a:cxn ang="0">
                            <a:pos x="0" y="T2"/>
                          </a:cxn>
                        </a:cxnLst>
                        <a:rect l="0" t="0" r="r" b="b"/>
                        <a:pathLst>
                          <a:path h="1">
                            <a:moveTo>
                              <a:pt x="0" y="1"/>
                            </a:moveTo>
                            <a:cubicBezTo>
                              <a:pt x="0" y="1"/>
                              <a:pt x="0" y="0"/>
                              <a:pt x="0" y="0"/>
                            </a:cubicBezTo>
                            <a:cubicBezTo>
                              <a:pt x="0" y="0"/>
                              <a:pt x="0" y="1"/>
                              <a:pt x="0" y="1"/>
                            </a:cubicBezTo>
                            <a:close/>
                          </a:path>
                        </a:pathLst>
                      </a:custGeom>
                      <a:solidFill>
                        <a:srgbClr val="FFD60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284" name="Rectangle 88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6430339" y="1486279"/>
                        <a:ext cx="2426" cy="2426"/>
                      </a:xfrm>
                      <a:prstGeom prst="rect">
                        <a:avLst/>
                      </a:prstGeom>
                      <a:solidFill>
                        <a:srgbClr val="FFD60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285" name="Freeform 8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064130" y="1527509"/>
                        <a:ext cx="4850" cy="0"/>
                      </a:xfrm>
                      <a:custGeom>
                        <a:avLst/>
                        <a:gdLst>
                          <a:gd name="T0" fmla="*/ 1 w 1"/>
                          <a:gd name="T1" fmla="*/ 0 w 1"/>
                          <a:gd name="T2" fmla="*/ 1 w 1"/>
                        </a:gdLst>
                        <a:ahLst/>
                        <a:cxnLst>
                          <a:cxn ang="0">
                            <a:pos x="T0" y="0"/>
                          </a:cxn>
                          <a:cxn ang="0">
                            <a:pos x="T1" y="0"/>
                          </a:cxn>
                          <a:cxn ang="0">
                            <a:pos x="T2" y="0"/>
                          </a:cxn>
                        </a:cxnLst>
                        <a:rect l="0" t="0" r="r" b="b"/>
                        <a:pathLst>
                          <a:path w="1">
                            <a:moveTo>
                              <a:pt x="1" y="0"/>
                            </a:moveTo>
                            <a:cubicBezTo>
                              <a:pt x="0" y="0"/>
                              <a:pt x="0" y="0"/>
                              <a:pt x="0" y="0"/>
                            </a:cubicBezTo>
                            <a:cubicBezTo>
                              <a:pt x="0" y="0"/>
                              <a:pt x="0" y="0"/>
                              <a:pt x="1" y="0"/>
                            </a:cubicBezTo>
                            <a:close/>
                          </a:path>
                        </a:pathLst>
                      </a:custGeom>
                      <a:solidFill>
                        <a:srgbClr val="FFD60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286" name="Freeform 90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068980" y="1510531"/>
                        <a:ext cx="0" cy="0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0" y="0"/>
                          </a:cxn>
                          <a:cxn ang="0">
                            <a:pos x="0" y="0"/>
                          </a:cxn>
                          <a:cxn ang="0">
                            <a:pos x="0" y="0"/>
                          </a:cxn>
                        </a:cxnLst>
                        <a:rect l="0" t="0" r="r" b="b"/>
                        <a:pathLst>
                          <a:path>
                            <a:moveTo>
                              <a:pt x="0" y="0"/>
                            </a:moveTo>
                            <a:cubicBezTo>
                              <a:pt x="0" y="0"/>
                              <a:pt x="0" y="0"/>
                              <a:pt x="0" y="0"/>
                            </a:cubicBezTo>
                            <a:cubicBezTo>
                              <a:pt x="0" y="0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FFD60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287" name="Freeform 9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073831" y="1503256"/>
                        <a:ext cx="0" cy="0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0" y="0"/>
                          </a:cxn>
                          <a:cxn ang="0">
                            <a:pos x="0" y="0"/>
                          </a:cxn>
                          <a:cxn ang="0">
                            <a:pos x="0" y="0"/>
                          </a:cxn>
                        </a:cxnLst>
                        <a:rect l="0" t="0" r="r" b="b"/>
                        <a:pathLst>
                          <a:path>
                            <a:moveTo>
                              <a:pt x="0" y="0"/>
                            </a:moveTo>
                            <a:cubicBezTo>
                              <a:pt x="0" y="0"/>
                              <a:pt x="0" y="0"/>
                              <a:pt x="0" y="0"/>
                            </a:cubicBezTo>
                            <a:cubicBezTo>
                              <a:pt x="0" y="0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FFD60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288" name="Freeform 92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068980" y="1515382"/>
                        <a:ext cx="0" cy="7276"/>
                      </a:xfrm>
                      <a:custGeom>
                        <a:avLst/>
                        <a:gdLst>
                          <a:gd name="T0" fmla="*/ 0 h 1"/>
                          <a:gd name="T1" fmla="*/ 1 h 1"/>
                          <a:gd name="T2" fmla="*/ 0 h 1"/>
                        </a:gdLst>
                        <a:ahLst/>
                        <a:cxnLst>
                          <a:cxn ang="0">
                            <a:pos x="0" y="T0"/>
                          </a:cxn>
                          <a:cxn ang="0">
                            <a:pos x="0" y="T1"/>
                          </a:cxn>
                          <a:cxn ang="0">
                            <a:pos x="0" y="T2"/>
                          </a:cxn>
                        </a:cxnLst>
                        <a:rect l="0" t="0" r="r" b="b"/>
                        <a:pathLst>
                          <a:path h="1">
                            <a:moveTo>
                              <a:pt x="0" y="0"/>
                            </a:moveTo>
                            <a:cubicBezTo>
                              <a:pt x="0" y="1"/>
                              <a:pt x="0" y="1"/>
                              <a:pt x="0" y="1"/>
                            </a:cubicBezTo>
                            <a:cubicBezTo>
                              <a:pt x="0" y="1"/>
                              <a:pt x="0" y="1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FFD60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289" name="Freeform 9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035027" y="1469303"/>
                        <a:ext cx="446242" cy="402588"/>
                      </a:xfrm>
                      <a:custGeom>
                        <a:avLst/>
                        <a:gdLst>
                          <a:gd name="T0" fmla="*/ 74 w 78"/>
                          <a:gd name="T1" fmla="*/ 17 h 70"/>
                          <a:gd name="T2" fmla="*/ 72 w 78"/>
                          <a:gd name="T3" fmla="*/ 17 h 70"/>
                          <a:gd name="T4" fmla="*/ 72 w 78"/>
                          <a:gd name="T5" fmla="*/ 12 h 70"/>
                          <a:gd name="T6" fmla="*/ 72 w 78"/>
                          <a:gd name="T7" fmla="*/ 11 h 70"/>
                          <a:gd name="T8" fmla="*/ 72 w 78"/>
                          <a:gd name="T9" fmla="*/ 10 h 70"/>
                          <a:gd name="T10" fmla="*/ 72 w 78"/>
                          <a:gd name="T11" fmla="*/ 9 h 70"/>
                          <a:gd name="T12" fmla="*/ 72 w 78"/>
                          <a:gd name="T13" fmla="*/ 9 h 70"/>
                          <a:gd name="T14" fmla="*/ 71 w 78"/>
                          <a:gd name="T15" fmla="*/ 8 h 70"/>
                          <a:gd name="T16" fmla="*/ 71 w 78"/>
                          <a:gd name="T17" fmla="*/ 7 h 70"/>
                          <a:gd name="T18" fmla="*/ 71 w 78"/>
                          <a:gd name="T19" fmla="*/ 7 h 70"/>
                          <a:gd name="T20" fmla="*/ 70 w 78"/>
                          <a:gd name="T21" fmla="*/ 5 h 70"/>
                          <a:gd name="T22" fmla="*/ 70 w 78"/>
                          <a:gd name="T23" fmla="*/ 5 h 70"/>
                          <a:gd name="T24" fmla="*/ 70 w 78"/>
                          <a:gd name="T25" fmla="*/ 4 h 70"/>
                          <a:gd name="T26" fmla="*/ 69 w 78"/>
                          <a:gd name="T27" fmla="*/ 4 h 70"/>
                          <a:gd name="T28" fmla="*/ 69 w 78"/>
                          <a:gd name="T29" fmla="*/ 3 h 70"/>
                          <a:gd name="T30" fmla="*/ 69 w 78"/>
                          <a:gd name="T31" fmla="*/ 3 h 70"/>
                          <a:gd name="T32" fmla="*/ 63 w 78"/>
                          <a:gd name="T33" fmla="*/ 3 h 70"/>
                          <a:gd name="T34" fmla="*/ 52 w 78"/>
                          <a:gd name="T35" fmla="*/ 1 h 70"/>
                          <a:gd name="T36" fmla="*/ 32 w 78"/>
                          <a:gd name="T37" fmla="*/ 3 h 70"/>
                          <a:gd name="T38" fmla="*/ 10 w 78"/>
                          <a:gd name="T39" fmla="*/ 0 h 70"/>
                          <a:gd name="T40" fmla="*/ 7 w 78"/>
                          <a:gd name="T41" fmla="*/ 4 h 70"/>
                          <a:gd name="T42" fmla="*/ 7 w 78"/>
                          <a:gd name="T43" fmla="*/ 4 h 70"/>
                          <a:gd name="T44" fmla="*/ 7 w 78"/>
                          <a:gd name="T45" fmla="*/ 6 h 70"/>
                          <a:gd name="T46" fmla="*/ 7 w 78"/>
                          <a:gd name="T47" fmla="*/ 6 h 70"/>
                          <a:gd name="T48" fmla="*/ 6 w 78"/>
                          <a:gd name="T49" fmla="*/ 7 h 70"/>
                          <a:gd name="T50" fmla="*/ 6 w 78"/>
                          <a:gd name="T51" fmla="*/ 7 h 70"/>
                          <a:gd name="T52" fmla="*/ 6 w 78"/>
                          <a:gd name="T53" fmla="*/ 8 h 70"/>
                          <a:gd name="T54" fmla="*/ 6 w 78"/>
                          <a:gd name="T55" fmla="*/ 9 h 70"/>
                          <a:gd name="T56" fmla="*/ 6 w 78"/>
                          <a:gd name="T57" fmla="*/ 10 h 70"/>
                          <a:gd name="T58" fmla="*/ 5 w 78"/>
                          <a:gd name="T59" fmla="*/ 10 h 70"/>
                          <a:gd name="T60" fmla="*/ 5 w 78"/>
                          <a:gd name="T61" fmla="*/ 12 h 70"/>
                          <a:gd name="T62" fmla="*/ 5 w 78"/>
                          <a:gd name="T63" fmla="*/ 17 h 70"/>
                          <a:gd name="T64" fmla="*/ 4 w 78"/>
                          <a:gd name="T65" fmla="*/ 17 h 70"/>
                          <a:gd name="T66" fmla="*/ 0 w 78"/>
                          <a:gd name="T67" fmla="*/ 23 h 70"/>
                          <a:gd name="T68" fmla="*/ 0 w 78"/>
                          <a:gd name="T69" fmla="*/ 35 h 70"/>
                          <a:gd name="T70" fmla="*/ 5 w 78"/>
                          <a:gd name="T71" fmla="*/ 40 h 70"/>
                          <a:gd name="T72" fmla="*/ 24 w 78"/>
                          <a:gd name="T73" fmla="*/ 70 h 70"/>
                          <a:gd name="T74" fmla="*/ 53 w 78"/>
                          <a:gd name="T75" fmla="*/ 70 h 70"/>
                          <a:gd name="T76" fmla="*/ 72 w 78"/>
                          <a:gd name="T77" fmla="*/ 40 h 70"/>
                          <a:gd name="T78" fmla="*/ 78 w 78"/>
                          <a:gd name="T79" fmla="*/ 35 h 70"/>
                          <a:gd name="T80" fmla="*/ 78 w 78"/>
                          <a:gd name="T81" fmla="*/ 23 h 70"/>
                          <a:gd name="T82" fmla="*/ 74 w 78"/>
                          <a:gd name="T83" fmla="*/ 17 h 70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  <a:cxn ang="0">
                            <a:pos x="T56" y="T57"/>
                          </a:cxn>
                          <a:cxn ang="0">
                            <a:pos x="T58" y="T59"/>
                          </a:cxn>
                          <a:cxn ang="0">
                            <a:pos x="T60" y="T61"/>
                          </a:cxn>
                          <a:cxn ang="0">
                            <a:pos x="T62" y="T63"/>
                          </a:cxn>
                          <a:cxn ang="0">
                            <a:pos x="T64" y="T65"/>
                          </a:cxn>
                          <a:cxn ang="0">
                            <a:pos x="T66" y="T67"/>
                          </a:cxn>
                          <a:cxn ang="0">
                            <a:pos x="T68" y="T69"/>
                          </a:cxn>
                          <a:cxn ang="0">
                            <a:pos x="T70" y="T71"/>
                          </a:cxn>
                          <a:cxn ang="0">
                            <a:pos x="T72" y="T73"/>
                          </a:cxn>
                          <a:cxn ang="0">
                            <a:pos x="T74" y="T75"/>
                          </a:cxn>
                          <a:cxn ang="0">
                            <a:pos x="T76" y="T77"/>
                          </a:cxn>
                          <a:cxn ang="0">
                            <a:pos x="T78" y="T79"/>
                          </a:cxn>
                          <a:cxn ang="0">
                            <a:pos x="T80" y="T81"/>
                          </a:cxn>
                          <a:cxn ang="0">
                            <a:pos x="T82" y="T83"/>
                          </a:cxn>
                        </a:cxnLst>
                        <a:rect l="0" t="0" r="r" b="b"/>
                        <a:pathLst>
                          <a:path w="78" h="70">
                            <a:moveTo>
                              <a:pt x="74" y="17"/>
                            </a:moveTo>
                            <a:cubicBezTo>
                              <a:pt x="73" y="17"/>
                              <a:pt x="73" y="17"/>
                              <a:pt x="72" y="17"/>
                            </a:cubicBezTo>
                            <a:cubicBezTo>
                              <a:pt x="72" y="12"/>
                              <a:pt x="72" y="12"/>
                              <a:pt x="72" y="12"/>
                            </a:cubicBezTo>
                            <a:cubicBezTo>
                              <a:pt x="72" y="12"/>
                              <a:pt x="72" y="11"/>
                              <a:pt x="72" y="11"/>
                            </a:cubicBezTo>
                            <a:cubicBezTo>
                              <a:pt x="72" y="10"/>
                              <a:pt x="72" y="10"/>
                              <a:pt x="72" y="10"/>
                            </a:cubicBezTo>
                            <a:cubicBezTo>
                              <a:pt x="72" y="10"/>
                              <a:pt x="72" y="9"/>
                              <a:pt x="72" y="9"/>
                            </a:cubicBezTo>
                            <a:cubicBezTo>
                              <a:pt x="72" y="9"/>
                              <a:pt x="72" y="9"/>
                              <a:pt x="72" y="9"/>
                            </a:cubicBezTo>
                            <a:cubicBezTo>
                              <a:pt x="71" y="8"/>
                              <a:pt x="71" y="8"/>
                              <a:pt x="71" y="8"/>
                            </a:cubicBezTo>
                            <a:cubicBezTo>
                              <a:pt x="71" y="8"/>
                              <a:pt x="71" y="7"/>
                              <a:pt x="71" y="7"/>
                            </a:cubicBezTo>
                            <a:cubicBezTo>
                              <a:pt x="71" y="7"/>
                              <a:pt x="71" y="7"/>
                              <a:pt x="71" y="7"/>
                            </a:cubicBezTo>
                            <a:cubicBezTo>
                              <a:pt x="71" y="6"/>
                              <a:pt x="71" y="6"/>
                              <a:pt x="70" y="5"/>
                            </a:cubicBezTo>
                            <a:cubicBezTo>
                              <a:pt x="70" y="5"/>
                              <a:pt x="70" y="5"/>
                              <a:pt x="70" y="5"/>
                            </a:cubicBezTo>
                            <a:cubicBezTo>
                              <a:pt x="70" y="4"/>
                              <a:pt x="70" y="4"/>
                              <a:pt x="70" y="4"/>
                            </a:cubicBezTo>
                            <a:cubicBezTo>
                              <a:pt x="70" y="4"/>
                              <a:pt x="70" y="4"/>
                              <a:pt x="69" y="4"/>
                            </a:cubicBezTo>
                            <a:cubicBezTo>
                              <a:pt x="69" y="3"/>
                              <a:pt x="69" y="3"/>
                              <a:pt x="69" y="3"/>
                            </a:cubicBezTo>
                            <a:cubicBezTo>
                              <a:pt x="69" y="3"/>
                              <a:pt x="69" y="3"/>
                              <a:pt x="69" y="3"/>
                            </a:cubicBezTo>
                            <a:cubicBezTo>
                              <a:pt x="67" y="3"/>
                              <a:pt x="65" y="3"/>
                              <a:pt x="63" y="3"/>
                            </a:cubicBezTo>
                            <a:cubicBezTo>
                              <a:pt x="58" y="3"/>
                              <a:pt x="54" y="2"/>
                              <a:pt x="52" y="1"/>
                            </a:cubicBezTo>
                            <a:cubicBezTo>
                              <a:pt x="47" y="2"/>
                              <a:pt x="40" y="3"/>
                              <a:pt x="32" y="3"/>
                            </a:cubicBezTo>
                            <a:cubicBezTo>
                              <a:pt x="23" y="3"/>
                              <a:pt x="15" y="2"/>
                              <a:pt x="10" y="0"/>
                            </a:cubicBezTo>
                            <a:cubicBezTo>
                              <a:pt x="9" y="2"/>
                              <a:pt x="8" y="3"/>
                              <a:pt x="7" y="4"/>
                            </a:cubicBezTo>
                            <a:cubicBezTo>
                              <a:pt x="7" y="4"/>
                              <a:pt x="7" y="4"/>
                              <a:pt x="7" y="4"/>
                            </a:cubicBezTo>
                            <a:cubicBezTo>
                              <a:pt x="7" y="5"/>
                              <a:pt x="7" y="5"/>
                              <a:pt x="7" y="6"/>
                            </a:cubicBezTo>
                            <a:cubicBezTo>
                              <a:pt x="7" y="6"/>
                              <a:pt x="7" y="6"/>
                              <a:pt x="7" y="6"/>
                            </a:cubicBezTo>
                            <a:cubicBezTo>
                              <a:pt x="7" y="6"/>
                              <a:pt x="6" y="7"/>
                              <a:pt x="6" y="7"/>
                            </a:cubicBezTo>
                            <a:cubicBezTo>
                              <a:pt x="6" y="7"/>
                              <a:pt x="6" y="7"/>
                              <a:pt x="6" y="7"/>
                            </a:cubicBezTo>
                            <a:cubicBezTo>
                              <a:pt x="6" y="8"/>
                              <a:pt x="6" y="8"/>
                              <a:pt x="6" y="8"/>
                            </a:cubicBezTo>
                            <a:cubicBezTo>
                              <a:pt x="6" y="9"/>
                              <a:pt x="6" y="9"/>
                              <a:pt x="6" y="9"/>
                            </a:cubicBezTo>
                            <a:cubicBezTo>
                              <a:pt x="6" y="9"/>
                              <a:pt x="6" y="10"/>
                              <a:pt x="6" y="10"/>
                            </a:cubicBezTo>
                            <a:cubicBezTo>
                              <a:pt x="5" y="10"/>
                              <a:pt x="5" y="10"/>
                              <a:pt x="5" y="10"/>
                            </a:cubicBezTo>
                            <a:cubicBezTo>
                              <a:pt x="5" y="11"/>
                              <a:pt x="5" y="12"/>
                              <a:pt x="5" y="12"/>
                            </a:cubicBezTo>
                            <a:cubicBezTo>
                              <a:pt x="5" y="17"/>
                              <a:pt x="5" y="17"/>
                              <a:pt x="5" y="17"/>
                            </a:cubicBezTo>
                            <a:cubicBezTo>
                              <a:pt x="5" y="17"/>
                              <a:pt x="5" y="17"/>
                              <a:pt x="4" y="17"/>
                            </a:cubicBezTo>
                            <a:cubicBezTo>
                              <a:pt x="2" y="17"/>
                              <a:pt x="0" y="20"/>
                              <a:pt x="0" y="23"/>
                            </a:cubicBezTo>
                            <a:cubicBezTo>
                              <a:pt x="0" y="35"/>
                              <a:pt x="0" y="35"/>
                              <a:pt x="0" y="35"/>
                            </a:cubicBezTo>
                            <a:cubicBezTo>
                              <a:pt x="0" y="38"/>
                              <a:pt x="2" y="40"/>
                              <a:pt x="5" y="40"/>
                            </a:cubicBezTo>
                            <a:cubicBezTo>
                              <a:pt x="5" y="40"/>
                              <a:pt x="15" y="70"/>
                              <a:pt x="24" y="70"/>
                            </a:cubicBezTo>
                            <a:cubicBezTo>
                              <a:pt x="53" y="70"/>
                              <a:pt x="53" y="70"/>
                              <a:pt x="53" y="70"/>
                            </a:cubicBezTo>
                            <a:cubicBezTo>
                              <a:pt x="62" y="70"/>
                              <a:pt x="72" y="40"/>
                              <a:pt x="72" y="40"/>
                            </a:cubicBezTo>
                            <a:cubicBezTo>
                              <a:pt x="75" y="40"/>
                              <a:pt x="78" y="38"/>
                              <a:pt x="78" y="35"/>
                            </a:cubicBezTo>
                            <a:cubicBezTo>
                              <a:pt x="78" y="23"/>
                              <a:pt x="78" y="23"/>
                              <a:pt x="78" y="23"/>
                            </a:cubicBezTo>
                            <a:cubicBezTo>
                              <a:pt x="78" y="20"/>
                              <a:pt x="76" y="18"/>
                              <a:pt x="74" y="17"/>
                            </a:cubicBezTo>
                            <a:close/>
                          </a:path>
                        </a:pathLst>
                      </a:custGeom>
                      <a:solidFill>
                        <a:srgbClr val="FFB9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290" name="Oval 96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6246021" y="2056209"/>
                        <a:ext cx="24252" cy="21828"/>
                      </a:xfrm>
                      <a:prstGeom prst="ellipse">
                        <a:avLst/>
                      </a:prstGeom>
                      <a:solidFill>
                        <a:srgbClr val="50505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291" name="Oval 97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6246021" y="2136240"/>
                        <a:ext cx="24252" cy="16977"/>
                      </a:xfrm>
                      <a:prstGeom prst="ellipse">
                        <a:avLst/>
                      </a:prstGeom>
                      <a:solidFill>
                        <a:srgbClr val="50505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xmlns:mv="urn:schemas-microsoft-com:mac:vml" xmlns:mc="http://schemas.openxmlformats.org/markup-compatibility/2006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36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</p:grpSp>
              <p:grpSp>
                <p:nvGrpSpPr>
                  <p:cNvPr id="254" name="Group 253"/>
                  <p:cNvGrpSpPr/>
                  <p:nvPr/>
                </p:nvGrpSpPr>
                <p:grpSpPr>
                  <a:xfrm>
                    <a:off x="4429250" y="5207217"/>
                    <a:ext cx="4787904" cy="1664869"/>
                    <a:chOff x="5427663" y="3206750"/>
                    <a:chExt cx="1447800" cy="1123950"/>
                  </a:xfrm>
                </p:grpSpPr>
                <p:sp>
                  <p:nvSpPr>
                    <p:cNvPr id="255" name="Freeform 470"/>
                    <p:cNvSpPr>
                      <a:spLocks/>
                    </p:cNvSpPr>
                    <p:nvPr/>
                  </p:nvSpPr>
                  <p:spPr bwMode="auto">
                    <a:xfrm>
                      <a:off x="5478463" y="3830638"/>
                      <a:ext cx="55301" cy="460375"/>
                    </a:xfrm>
                    <a:custGeom>
                      <a:avLst/>
                      <a:gdLst>
                        <a:gd name="T0" fmla="*/ 0 w 213"/>
                        <a:gd name="T1" fmla="*/ 850 h 871"/>
                        <a:gd name="T2" fmla="*/ 0 w 213"/>
                        <a:gd name="T3" fmla="*/ 0 h 871"/>
                        <a:gd name="T4" fmla="*/ 213 w 213"/>
                        <a:gd name="T5" fmla="*/ 0 h 871"/>
                        <a:gd name="T6" fmla="*/ 213 w 213"/>
                        <a:gd name="T7" fmla="*/ 857 h 871"/>
                        <a:gd name="T8" fmla="*/ 165 w 213"/>
                        <a:gd name="T9" fmla="*/ 871 h 871"/>
                        <a:gd name="T10" fmla="*/ 111 w 213"/>
                        <a:gd name="T11" fmla="*/ 871 h 871"/>
                        <a:gd name="T12" fmla="*/ 56 w 213"/>
                        <a:gd name="T13" fmla="*/ 864 h 871"/>
                        <a:gd name="T14" fmla="*/ 0 w 213"/>
                        <a:gd name="T15" fmla="*/ 850 h 8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213" h="871">
                          <a:moveTo>
                            <a:pt x="0" y="850"/>
                          </a:moveTo>
                          <a:lnTo>
                            <a:pt x="0" y="0"/>
                          </a:lnTo>
                          <a:lnTo>
                            <a:pt x="213" y="0"/>
                          </a:lnTo>
                          <a:lnTo>
                            <a:pt x="213" y="857"/>
                          </a:lnTo>
                          <a:lnTo>
                            <a:pt x="165" y="871"/>
                          </a:lnTo>
                          <a:lnTo>
                            <a:pt x="111" y="871"/>
                          </a:lnTo>
                          <a:lnTo>
                            <a:pt x="56" y="864"/>
                          </a:lnTo>
                          <a:lnTo>
                            <a:pt x="0" y="850"/>
                          </a:lnTo>
                          <a:close/>
                        </a:path>
                      </a:pathLst>
                    </a:custGeom>
                    <a:solidFill>
                      <a:srgbClr val="B3B5B8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xmlns:mv="urn:schemas-microsoft-com:mac:vml" xmlns:mc="http://schemas.openxmlformats.org/markup-compatibility/2006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56" name="Freeform 471"/>
                    <p:cNvSpPr>
                      <a:spLocks/>
                    </p:cNvSpPr>
                    <p:nvPr/>
                  </p:nvSpPr>
                  <p:spPr bwMode="auto">
                    <a:xfrm>
                      <a:off x="5478463" y="4279900"/>
                      <a:ext cx="55301" cy="50800"/>
                    </a:xfrm>
                    <a:custGeom>
                      <a:avLst/>
                      <a:gdLst>
                        <a:gd name="T0" fmla="*/ 213 w 213"/>
                        <a:gd name="T1" fmla="*/ 7 h 96"/>
                        <a:gd name="T2" fmla="*/ 213 w 213"/>
                        <a:gd name="T3" fmla="*/ 56 h 96"/>
                        <a:gd name="T4" fmla="*/ 206 w 213"/>
                        <a:gd name="T5" fmla="*/ 69 h 96"/>
                        <a:gd name="T6" fmla="*/ 186 w 213"/>
                        <a:gd name="T7" fmla="*/ 83 h 96"/>
                        <a:gd name="T8" fmla="*/ 151 w 213"/>
                        <a:gd name="T9" fmla="*/ 89 h 96"/>
                        <a:gd name="T10" fmla="*/ 111 w 213"/>
                        <a:gd name="T11" fmla="*/ 96 h 96"/>
                        <a:gd name="T12" fmla="*/ 69 w 213"/>
                        <a:gd name="T13" fmla="*/ 89 h 96"/>
                        <a:gd name="T14" fmla="*/ 35 w 213"/>
                        <a:gd name="T15" fmla="*/ 83 h 96"/>
                        <a:gd name="T16" fmla="*/ 15 w 213"/>
                        <a:gd name="T17" fmla="*/ 69 h 96"/>
                        <a:gd name="T18" fmla="*/ 0 w 213"/>
                        <a:gd name="T19" fmla="*/ 56 h 96"/>
                        <a:gd name="T20" fmla="*/ 0 w 213"/>
                        <a:gd name="T21" fmla="*/ 0 h 96"/>
                        <a:gd name="T22" fmla="*/ 56 w 213"/>
                        <a:gd name="T23" fmla="*/ 14 h 96"/>
                        <a:gd name="T24" fmla="*/ 111 w 213"/>
                        <a:gd name="T25" fmla="*/ 21 h 96"/>
                        <a:gd name="T26" fmla="*/ 165 w 213"/>
                        <a:gd name="T27" fmla="*/ 21 h 96"/>
                        <a:gd name="T28" fmla="*/ 213 w 213"/>
                        <a:gd name="T29" fmla="*/ 7 h 9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213" h="96">
                          <a:moveTo>
                            <a:pt x="213" y="7"/>
                          </a:moveTo>
                          <a:lnTo>
                            <a:pt x="213" y="56"/>
                          </a:lnTo>
                          <a:lnTo>
                            <a:pt x="206" y="69"/>
                          </a:lnTo>
                          <a:lnTo>
                            <a:pt x="186" y="83"/>
                          </a:lnTo>
                          <a:lnTo>
                            <a:pt x="151" y="89"/>
                          </a:lnTo>
                          <a:lnTo>
                            <a:pt x="111" y="96"/>
                          </a:lnTo>
                          <a:lnTo>
                            <a:pt x="69" y="89"/>
                          </a:lnTo>
                          <a:lnTo>
                            <a:pt x="35" y="83"/>
                          </a:lnTo>
                          <a:lnTo>
                            <a:pt x="15" y="69"/>
                          </a:lnTo>
                          <a:lnTo>
                            <a:pt x="0" y="56"/>
                          </a:lnTo>
                          <a:lnTo>
                            <a:pt x="0" y="0"/>
                          </a:lnTo>
                          <a:lnTo>
                            <a:pt x="56" y="14"/>
                          </a:lnTo>
                          <a:lnTo>
                            <a:pt x="111" y="21"/>
                          </a:lnTo>
                          <a:lnTo>
                            <a:pt x="165" y="21"/>
                          </a:lnTo>
                          <a:lnTo>
                            <a:pt x="213" y="7"/>
                          </a:lnTo>
                          <a:close/>
                        </a:path>
                      </a:pathLst>
                    </a:custGeom>
                    <a:solidFill>
                      <a:srgbClr val="373D4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xmlns:mv="urn:schemas-microsoft-com:mac:vml" xmlns:mc="http://schemas.openxmlformats.org/markup-compatibility/2006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57" name="Freeform 472"/>
                    <p:cNvSpPr>
                      <a:spLocks/>
                    </p:cNvSpPr>
                    <p:nvPr/>
                  </p:nvSpPr>
                  <p:spPr bwMode="auto">
                    <a:xfrm>
                      <a:off x="6763308" y="3830638"/>
                      <a:ext cx="55301" cy="460375"/>
                    </a:xfrm>
                    <a:custGeom>
                      <a:avLst/>
                      <a:gdLst>
                        <a:gd name="T0" fmla="*/ 7 w 220"/>
                        <a:gd name="T1" fmla="*/ 850 h 871"/>
                        <a:gd name="T2" fmla="*/ 0 w 220"/>
                        <a:gd name="T3" fmla="*/ 0 h 871"/>
                        <a:gd name="T4" fmla="*/ 213 w 220"/>
                        <a:gd name="T5" fmla="*/ 0 h 871"/>
                        <a:gd name="T6" fmla="*/ 220 w 220"/>
                        <a:gd name="T7" fmla="*/ 857 h 871"/>
                        <a:gd name="T8" fmla="*/ 164 w 220"/>
                        <a:gd name="T9" fmla="*/ 871 h 871"/>
                        <a:gd name="T10" fmla="*/ 110 w 220"/>
                        <a:gd name="T11" fmla="*/ 871 h 871"/>
                        <a:gd name="T12" fmla="*/ 55 w 220"/>
                        <a:gd name="T13" fmla="*/ 864 h 871"/>
                        <a:gd name="T14" fmla="*/ 7 w 220"/>
                        <a:gd name="T15" fmla="*/ 850 h 8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220" h="871">
                          <a:moveTo>
                            <a:pt x="7" y="850"/>
                          </a:moveTo>
                          <a:lnTo>
                            <a:pt x="0" y="0"/>
                          </a:lnTo>
                          <a:lnTo>
                            <a:pt x="213" y="0"/>
                          </a:lnTo>
                          <a:lnTo>
                            <a:pt x="220" y="857"/>
                          </a:lnTo>
                          <a:lnTo>
                            <a:pt x="164" y="871"/>
                          </a:lnTo>
                          <a:lnTo>
                            <a:pt x="110" y="871"/>
                          </a:lnTo>
                          <a:lnTo>
                            <a:pt x="55" y="864"/>
                          </a:lnTo>
                          <a:lnTo>
                            <a:pt x="7" y="850"/>
                          </a:lnTo>
                          <a:close/>
                        </a:path>
                      </a:pathLst>
                    </a:custGeom>
                    <a:solidFill>
                      <a:srgbClr val="B3B5B8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xmlns:mv="urn:schemas-microsoft-com:mac:vml" xmlns:mc="http://schemas.openxmlformats.org/markup-compatibility/2006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58" name="Freeform 473"/>
                    <p:cNvSpPr>
                      <a:spLocks/>
                    </p:cNvSpPr>
                    <p:nvPr/>
                  </p:nvSpPr>
                  <p:spPr bwMode="auto">
                    <a:xfrm>
                      <a:off x="6768070" y="4279900"/>
                      <a:ext cx="55301" cy="50800"/>
                    </a:xfrm>
                    <a:custGeom>
                      <a:avLst/>
                      <a:gdLst>
                        <a:gd name="T0" fmla="*/ 213 w 213"/>
                        <a:gd name="T1" fmla="*/ 7 h 96"/>
                        <a:gd name="T2" fmla="*/ 213 w 213"/>
                        <a:gd name="T3" fmla="*/ 56 h 96"/>
                        <a:gd name="T4" fmla="*/ 199 w 213"/>
                        <a:gd name="T5" fmla="*/ 69 h 96"/>
                        <a:gd name="T6" fmla="*/ 179 w 213"/>
                        <a:gd name="T7" fmla="*/ 83 h 96"/>
                        <a:gd name="T8" fmla="*/ 144 w 213"/>
                        <a:gd name="T9" fmla="*/ 89 h 96"/>
                        <a:gd name="T10" fmla="*/ 103 w 213"/>
                        <a:gd name="T11" fmla="*/ 96 h 96"/>
                        <a:gd name="T12" fmla="*/ 62 w 213"/>
                        <a:gd name="T13" fmla="*/ 89 h 96"/>
                        <a:gd name="T14" fmla="*/ 28 w 213"/>
                        <a:gd name="T15" fmla="*/ 83 h 96"/>
                        <a:gd name="T16" fmla="*/ 8 w 213"/>
                        <a:gd name="T17" fmla="*/ 69 h 96"/>
                        <a:gd name="T18" fmla="*/ 0 w 213"/>
                        <a:gd name="T19" fmla="*/ 56 h 96"/>
                        <a:gd name="T20" fmla="*/ 0 w 213"/>
                        <a:gd name="T21" fmla="*/ 0 h 96"/>
                        <a:gd name="T22" fmla="*/ 48 w 213"/>
                        <a:gd name="T23" fmla="*/ 14 h 96"/>
                        <a:gd name="T24" fmla="*/ 103 w 213"/>
                        <a:gd name="T25" fmla="*/ 21 h 96"/>
                        <a:gd name="T26" fmla="*/ 157 w 213"/>
                        <a:gd name="T27" fmla="*/ 21 h 96"/>
                        <a:gd name="T28" fmla="*/ 213 w 213"/>
                        <a:gd name="T29" fmla="*/ 7 h 9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213" h="96">
                          <a:moveTo>
                            <a:pt x="213" y="7"/>
                          </a:moveTo>
                          <a:lnTo>
                            <a:pt x="213" y="56"/>
                          </a:lnTo>
                          <a:lnTo>
                            <a:pt x="199" y="69"/>
                          </a:lnTo>
                          <a:lnTo>
                            <a:pt x="179" y="83"/>
                          </a:lnTo>
                          <a:lnTo>
                            <a:pt x="144" y="89"/>
                          </a:lnTo>
                          <a:lnTo>
                            <a:pt x="103" y="96"/>
                          </a:lnTo>
                          <a:lnTo>
                            <a:pt x="62" y="89"/>
                          </a:lnTo>
                          <a:lnTo>
                            <a:pt x="28" y="83"/>
                          </a:lnTo>
                          <a:lnTo>
                            <a:pt x="8" y="69"/>
                          </a:lnTo>
                          <a:lnTo>
                            <a:pt x="0" y="56"/>
                          </a:lnTo>
                          <a:lnTo>
                            <a:pt x="0" y="0"/>
                          </a:lnTo>
                          <a:lnTo>
                            <a:pt x="48" y="14"/>
                          </a:lnTo>
                          <a:lnTo>
                            <a:pt x="103" y="21"/>
                          </a:lnTo>
                          <a:lnTo>
                            <a:pt x="157" y="21"/>
                          </a:lnTo>
                          <a:lnTo>
                            <a:pt x="213" y="7"/>
                          </a:lnTo>
                          <a:close/>
                        </a:path>
                      </a:pathLst>
                    </a:custGeom>
                    <a:solidFill>
                      <a:srgbClr val="373D4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xmlns:mv="urn:schemas-microsoft-com:mac:vml" xmlns:mc="http://schemas.openxmlformats.org/markup-compatibility/2006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59" name="Rectangle 4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453063" y="3387725"/>
                      <a:ext cx="1397000" cy="866775"/>
                    </a:xfrm>
                    <a:prstGeom prst="rect">
                      <a:avLst/>
                    </a:prstGeom>
                    <a:solidFill>
                      <a:srgbClr val="96683C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xmlns:mv="urn:schemas-microsoft-com:mac:vml" xmlns:mc="http://schemas.openxmlformats.org/markup-compatibility/2006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60" name="Freeform 475"/>
                    <p:cNvSpPr>
                      <a:spLocks/>
                    </p:cNvSpPr>
                    <p:nvPr/>
                  </p:nvSpPr>
                  <p:spPr bwMode="auto">
                    <a:xfrm>
                      <a:off x="6043613" y="3976688"/>
                      <a:ext cx="806450" cy="277813"/>
                    </a:xfrm>
                    <a:custGeom>
                      <a:avLst/>
                      <a:gdLst>
                        <a:gd name="T0" fmla="*/ 480 w 1522"/>
                        <a:gd name="T1" fmla="*/ 171 h 527"/>
                        <a:gd name="T2" fmla="*/ 356 w 1522"/>
                        <a:gd name="T3" fmla="*/ 226 h 527"/>
                        <a:gd name="T4" fmla="*/ 287 w 1522"/>
                        <a:gd name="T5" fmla="*/ 253 h 527"/>
                        <a:gd name="T6" fmla="*/ 220 w 1522"/>
                        <a:gd name="T7" fmla="*/ 294 h 527"/>
                        <a:gd name="T8" fmla="*/ 151 w 1522"/>
                        <a:gd name="T9" fmla="*/ 336 h 527"/>
                        <a:gd name="T10" fmla="*/ 89 w 1522"/>
                        <a:gd name="T11" fmla="*/ 391 h 527"/>
                        <a:gd name="T12" fmla="*/ 34 w 1522"/>
                        <a:gd name="T13" fmla="*/ 452 h 527"/>
                        <a:gd name="T14" fmla="*/ 14 w 1522"/>
                        <a:gd name="T15" fmla="*/ 486 h 527"/>
                        <a:gd name="T16" fmla="*/ 0 w 1522"/>
                        <a:gd name="T17" fmla="*/ 527 h 527"/>
                        <a:gd name="T18" fmla="*/ 1522 w 1522"/>
                        <a:gd name="T19" fmla="*/ 527 h 527"/>
                        <a:gd name="T20" fmla="*/ 1522 w 1522"/>
                        <a:gd name="T21" fmla="*/ 136 h 527"/>
                        <a:gd name="T22" fmla="*/ 1466 w 1522"/>
                        <a:gd name="T23" fmla="*/ 102 h 527"/>
                        <a:gd name="T24" fmla="*/ 1406 w 1522"/>
                        <a:gd name="T25" fmla="*/ 75 h 527"/>
                        <a:gd name="T26" fmla="*/ 1344 w 1522"/>
                        <a:gd name="T27" fmla="*/ 54 h 527"/>
                        <a:gd name="T28" fmla="*/ 1282 w 1522"/>
                        <a:gd name="T29" fmla="*/ 34 h 527"/>
                        <a:gd name="T30" fmla="*/ 1220 w 1522"/>
                        <a:gd name="T31" fmla="*/ 20 h 527"/>
                        <a:gd name="T32" fmla="*/ 1151 w 1522"/>
                        <a:gd name="T33" fmla="*/ 7 h 527"/>
                        <a:gd name="T34" fmla="*/ 1090 w 1522"/>
                        <a:gd name="T35" fmla="*/ 7 h 527"/>
                        <a:gd name="T36" fmla="*/ 1022 w 1522"/>
                        <a:gd name="T37" fmla="*/ 0 h 527"/>
                        <a:gd name="T38" fmla="*/ 953 w 1522"/>
                        <a:gd name="T39" fmla="*/ 7 h 527"/>
                        <a:gd name="T40" fmla="*/ 884 w 1522"/>
                        <a:gd name="T41" fmla="*/ 13 h 527"/>
                        <a:gd name="T42" fmla="*/ 816 w 1522"/>
                        <a:gd name="T43" fmla="*/ 27 h 527"/>
                        <a:gd name="T44" fmla="*/ 747 w 1522"/>
                        <a:gd name="T45" fmla="*/ 47 h 527"/>
                        <a:gd name="T46" fmla="*/ 678 w 1522"/>
                        <a:gd name="T47" fmla="*/ 69 h 527"/>
                        <a:gd name="T48" fmla="*/ 609 w 1522"/>
                        <a:gd name="T49" fmla="*/ 96 h 527"/>
                        <a:gd name="T50" fmla="*/ 549 w 1522"/>
                        <a:gd name="T51" fmla="*/ 129 h 527"/>
                        <a:gd name="T52" fmla="*/ 480 w 1522"/>
                        <a:gd name="T53" fmla="*/ 171 h 5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</a:cxnLst>
                      <a:rect l="0" t="0" r="r" b="b"/>
                      <a:pathLst>
                        <a:path w="1522" h="527">
                          <a:moveTo>
                            <a:pt x="480" y="171"/>
                          </a:moveTo>
                          <a:lnTo>
                            <a:pt x="356" y="226"/>
                          </a:lnTo>
                          <a:lnTo>
                            <a:pt x="287" y="253"/>
                          </a:lnTo>
                          <a:lnTo>
                            <a:pt x="220" y="294"/>
                          </a:lnTo>
                          <a:lnTo>
                            <a:pt x="151" y="336"/>
                          </a:lnTo>
                          <a:lnTo>
                            <a:pt x="89" y="391"/>
                          </a:lnTo>
                          <a:lnTo>
                            <a:pt x="34" y="452"/>
                          </a:lnTo>
                          <a:lnTo>
                            <a:pt x="14" y="486"/>
                          </a:lnTo>
                          <a:lnTo>
                            <a:pt x="0" y="527"/>
                          </a:lnTo>
                          <a:lnTo>
                            <a:pt x="1522" y="527"/>
                          </a:lnTo>
                          <a:lnTo>
                            <a:pt x="1522" y="136"/>
                          </a:lnTo>
                          <a:lnTo>
                            <a:pt x="1466" y="102"/>
                          </a:lnTo>
                          <a:lnTo>
                            <a:pt x="1406" y="75"/>
                          </a:lnTo>
                          <a:lnTo>
                            <a:pt x="1344" y="54"/>
                          </a:lnTo>
                          <a:lnTo>
                            <a:pt x="1282" y="34"/>
                          </a:lnTo>
                          <a:lnTo>
                            <a:pt x="1220" y="20"/>
                          </a:lnTo>
                          <a:lnTo>
                            <a:pt x="1151" y="7"/>
                          </a:lnTo>
                          <a:lnTo>
                            <a:pt x="1090" y="7"/>
                          </a:lnTo>
                          <a:lnTo>
                            <a:pt x="1022" y="0"/>
                          </a:lnTo>
                          <a:lnTo>
                            <a:pt x="953" y="7"/>
                          </a:lnTo>
                          <a:lnTo>
                            <a:pt x="884" y="13"/>
                          </a:lnTo>
                          <a:lnTo>
                            <a:pt x="816" y="27"/>
                          </a:lnTo>
                          <a:lnTo>
                            <a:pt x="747" y="47"/>
                          </a:lnTo>
                          <a:lnTo>
                            <a:pt x="678" y="69"/>
                          </a:lnTo>
                          <a:lnTo>
                            <a:pt x="609" y="96"/>
                          </a:lnTo>
                          <a:lnTo>
                            <a:pt x="549" y="129"/>
                          </a:lnTo>
                          <a:lnTo>
                            <a:pt x="480" y="171"/>
                          </a:lnTo>
                          <a:close/>
                        </a:path>
                      </a:pathLst>
                    </a:custGeom>
                    <a:solidFill>
                      <a:srgbClr val="A47A4E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xmlns:mv="urn:schemas-microsoft-com:mac:vml" xmlns:mc="http://schemas.openxmlformats.org/markup-compatibility/2006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61" name="Rectangle 47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427663" y="3348038"/>
                      <a:ext cx="1447800" cy="307975"/>
                    </a:xfrm>
                    <a:prstGeom prst="rect">
                      <a:avLst/>
                    </a:prstGeom>
                    <a:solidFill>
                      <a:srgbClr val="A1774C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xmlns:mv="urn:schemas-microsoft-com:mac:vml" xmlns:mc="http://schemas.openxmlformats.org/markup-compatibility/2006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62" name="Freeform 479"/>
                    <p:cNvSpPr>
                      <a:spLocks/>
                    </p:cNvSpPr>
                    <p:nvPr/>
                  </p:nvSpPr>
                  <p:spPr bwMode="auto">
                    <a:xfrm>
                      <a:off x="5427663" y="3206750"/>
                      <a:ext cx="1447800" cy="141288"/>
                    </a:xfrm>
                    <a:custGeom>
                      <a:avLst/>
                      <a:gdLst>
                        <a:gd name="T0" fmla="*/ 0 w 2735"/>
                        <a:gd name="T1" fmla="*/ 267 h 267"/>
                        <a:gd name="T2" fmla="*/ 2735 w 2735"/>
                        <a:gd name="T3" fmla="*/ 267 h 267"/>
                        <a:gd name="T4" fmla="*/ 2331 w 2735"/>
                        <a:gd name="T5" fmla="*/ 0 h 267"/>
                        <a:gd name="T6" fmla="*/ 424 w 2735"/>
                        <a:gd name="T7" fmla="*/ 0 h 267"/>
                        <a:gd name="T8" fmla="*/ 0 w 2735"/>
                        <a:gd name="T9" fmla="*/ 267 h 26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735" h="267">
                          <a:moveTo>
                            <a:pt x="0" y="267"/>
                          </a:moveTo>
                          <a:lnTo>
                            <a:pt x="2735" y="267"/>
                          </a:lnTo>
                          <a:lnTo>
                            <a:pt x="2331" y="0"/>
                          </a:lnTo>
                          <a:lnTo>
                            <a:pt x="424" y="0"/>
                          </a:lnTo>
                          <a:lnTo>
                            <a:pt x="0" y="267"/>
                          </a:lnTo>
                          <a:close/>
                        </a:path>
                      </a:pathLst>
                    </a:custGeom>
                    <a:solidFill>
                      <a:srgbClr val="BA997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xmlns:mv="urn:schemas-microsoft-com:mac:vml" xmlns:mc="http://schemas.openxmlformats.org/markup-compatibility/2006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63" name="Freeform 599"/>
                    <p:cNvSpPr>
                      <a:spLocks/>
                    </p:cNvSpPr>
                    <p:nvPr/>
                  </p:nvSpPr>
                  <p:spPr bwMode="auto">
                    <a:xfrm>
                      <a:off x="5430838" y="3344863"/>
                      <a:ext cx="1397000" cy="246063"/>
                    </a:xfrm>
                    <a:custGeom>
                      <a:avLst/>
                      <a:gdLst>
                        <a:gd name="T0" fmla="*/ 0 w 2640"/>
                        <a:gd name="T1" fmla="*/ 0 h 466"/>
                        <a:gd name="T2" fmla="*/ 2640 w 2640"/>
                        <a:gd name="T3" fmla="*/ 0 h 466"/>
                        <a:gd name="T4" fmla="*/ 69 w 2640"/>
                        <a:gd name="T5" fmla="*/ 62 h 466"/>
                        <a:gd name="T6" fmla="*/ 7 w 2640"/>
                        <a:gd name="T7" fmla="*/ 466 h 466"/>
                        <a:gd name="T8" fmla="*/ 0 w 2640"/>
                        <a:gd name="T9" fmla="*/ 0 h 46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640" h="466">
                          <a:moveTo>
                            <a:pt x="0" y="0"/>
                          </a:moveTo>
                          <a:lnTo>
                            <a:pt x="2640" y="0"/>
                          </a:lnTo>
                          <a:lnTo>
                            <a:pt x="69" y="62"/>
                          </a:lnTo>
                          <a:lnTo>
                            <a:pt x="7" y="46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7AC8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xmlns:mv="urn:schemas-microsoft-com:mac:vml" xmlns:mc="http://schemas.openxmlformats.org/markup-compatibility/2006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</p:grpSp>
          </p:grpSp>
        </p:grpSp>
      </p:grpSp>
      <p:sp>
        <p:nvSpPr>
          <p:cNvPr id="393" name="Rectangle 392"/>
          <p:cNvSpPr/>
          <p:nvPr/>
        </p:nvSpPr>
        <p:spPr>
          <a:xfrm>
            <a:off x="8054217" y="4545361"/>
            <a:ext cx="3301036" cy="578498"/>
          </a:xfrm>
          <a:prstGeom prst="rect">
            <a:avLst/>
          </a:prstGeom>
          <a:solidFill>
            <a:srgbClr val="ADD40D"/>
          </a:solidFill>
          <a:ln>
            <a:solidFill>
              <a:srgbClr val="ADD40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/>
              <a:t>Watch the recorded webcast</a:t>
            </a:r>
            <a:endParaRPr lang="en-US" b="1" dirty="0"/>
          </a:p>
        </p:txBody>
      </p:sp>
      <p:pic>
        <p:nvPicPr>
          <p:cNvPr id="394" name="Picture 39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1958" y="200112"/>
            <a:ext cx="1047750" cy="1028700"/>
          </a:xfrm>
          <a:prstGeom prst="rect">
            <a:avLst/>
          </a:prstGeom>
        </p:spPr>
      </p:pic>
      <p:pic>
        <p:nvPicPr>
          <p:cNvPr id="118" name="Picture 11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1134" y="217307"/>
            <a:ext cx="3952178" cy="1453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3287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072544" y="304754"/>
            <a:ext cx="5647570" cy="2119131"/>
          </a:xfrm>
          <a:prstGeom prst="rect">
            <a:avLst/>
          </a:prstGeom>
          <a:solidFill>
            <a:srgbClr val="D9DF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41" t="20060" r="8523" b="21876"/>
          <a:stretch/>
        </p:blipFill>
        <p:spPr>
          <a:xfrm>
            <a:off x="1203174" y="406355"/>
            <a:ext cx="2075544" cy="551542"/>
          </a:xfrm>
          <a:prstGeom prst="rect">
            <a:avLst/>
          </a:prstGeom>
          <a:ln>
            <a:noFill/>
          </a:ln>
        </p:spPr>
      </p:pic>
      <p:sp>
        <p:nvSpPr>
          <p:cNvPr id="6" name="TextBox 5"/>
          <p:cNvSpPr txBox="1"/>
          <p:nvPr/>
        </p:nvSpPr>
        <p:spPr>
          <a:xfrm>
            <a:off x="1191095" y="1182487"/>
            <a:ext cx="539356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800" dirty="0">
                <a:solidFill>
                  <a:srgbClr val="3333CC"/>
                </a:solidFill>
                <a:latin typeface="Segoe UI Bold" panose="020B0802040204020203" pitchFamily="34" charset="0"/>
                <a:cs typeface="Segoe UI Bold" panose="020B0802040204020203" pitchFamily="34" charset="0"/>
              </a:rPr>
              <a:t>Build </a:t>
            </a:r>
            <a:r>
              <a:rPr lang="en-US" sz="2800" dirty="0" smtClean="0">
                <a:solidFill>
                  <a:srgbClr val="3333CC"/>
                </a:solidFill>
                <a:latin typeface="Segoe UI Bold" panose="020B0802040204020203" pitchFamily="34" charset="0"/>
                <a:cs typeface="Segoe UI Bold" panose="020B0802040204020203" pitchFamily="34" charset="0"/>
              </a:rPr>
              <a:t>superior, more </a:t>
            </a:r>
            <a:r>
              <a:rPr lang="en-US" sz="2800" dirty="0">
                <a:solidFill>
                  <a:srgbClr val="3333CC"/>
                </a:solidFill>
                <a:latin typeface="Segoe UI Bold" panose="020B0802040204020203" pitchFamily="34" charset="0"/>
                <a:cs typeface="Segoe UI Bold" panose="020B0802040204020203" pitchFamily="34" charset="0"/>
              </a:rPr>
              <a:t>profitable customer relationships </a:t>
            </a:r>
            <a:r>
              <a:rPr lang="en-US" sz="2800" dirty="0" smtClean="0">
                <a:solidFill>
                  <a:srgbClr val="3333CC"/>
                </a:solidFill>
                <a:latin typeface="Segoe UI Bold" panose="020B0802040204020203" pitchFamily="34" charset="0"/>
                <a:cs typeface="Segoe UI Bold" panose="020B0802040204020203" pitchFamily="34" charset="0"/>
              </a:rPr>
              <a:t> </a:t>
            </a:r>
            <a:endParaRPr lang="en-US" sz="2800" dirty="0">
              <a:solidFill>
                <a:srgbClr val="3333CC"/>
              </a:solidFill>
              <a:latin typeface="Segoe UI Bold" panose="020B0802040204020203" pitchFamily="34" charset="0"/>
              <a:cs typeface="Segoe UI Bold" panose="020B0802040204020203" pitchFamily="34" charset="0"/>
            </a:endParaRPr>
          </a:p>
        </p:txBody>
      </p:sp>
      <p:grpSp>
        <p:nvGrpSpPr>
          <p:cNvPr id="216" name="Group 215"/>
          <p:cNvGrpSpPr/>
          <p:nvPr/>
        </p:nvGrpSpPr>
        <p:grpSpPr>
          <a:xfrm>
            <a:off x="10508413" y="1510846"/>
            <a:ext cx="1452774" cy="2793003"/>
            <a:chOff x="10261789" y="699717"/>
            <a:chExt cx="1452774" cy="2793003"/>
          </a:xfrm>
        </p:grpSpPr>
        <p:grpSp>
          <p:nvGrpSpPr>
            <p:cNvPr id="7" name="Group 6"/>
            <p:cNvGrpSpPr/>
            <p:nvPr/>
          </p:nvGrpSpPr>
          <p:grpSpPr>
            <a:xfrm>
              <a:off x="10527866" y="699717"/>
              <a:ext cx="1005381" cy="2793003"/>
              <a:chOff x="11163443" y="1019300"/>
              <a:chExt cx="928687" cy="2579938"/>
            </a:xfrm>
          </p:grpSpPr>
          <p:grpSp>
            <p:nvGrpSpPr>
              <p:cNvPr id="121" name="Group 120"/>
              <p:cNvGrpSpPr/>
              <p:nvPr/>
            </p:nvGrpSpPr>
            <p:grpSpPr>
              <a:xfrm flipH="1">
                <a:off x="11163443" y="1505138"/>
                <a:ext cx="238124" cy="1002506"/>
                <a:chOff x="6437822" y="1926236"/>
                <a:chExt cx="238124" cy="1002506"/>
              </a:xfrm>
            </p:grpSpPr>
            <p:sp>
              <p:nvSpPr>
                <p:cNvPr id="132" name="Rounded Rectangle 131"/>
                <p:cNvSpPr/>
                <p:nvPr/>
              </p:nvSpPr>
              <p:spPr bwMode="auto">
                <a:xfrm>
                  <a:off x="6552349" y="2757292"/>
                  <a:ext cx="106928" cy="171450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FFC000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472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33" name="Freeform 132"/>
                <p:cNvSpPr/>
                <p:nvPr/>
              </p:nvSpPr>
              <p:spPr bwMode="auto">
                <a:xfrm>
                  <a:off x="6437822" y="1926236"/>
                  <a:ext cx="238124" cy="895350"/>
                </a:xfrm>
                <a:custGeom>
                  <a:avLst/>
                  <a:gdLst>
                    <a:gd name="connsiteX0" fmla="*/ 7144 w 238125"/>
                    <a:gd name="connsiteY0" fmla="*/ 0 h 833437"/>
                    <a:gd name="connsiteX1" fmla="*/ 238125 w 238125"/>
                    <a:gd name="connsiteY1" fmla="*/ 833437 h 833437"/>
                    <a:gd name="connsiteX2" fmla="*/ 109537 w 238125"/>
                    <a:gd name="connsiteY2" fmla="*/ 833437 h 833437"/>
                    <a:gd name="connsiteX3" fmla="*/ 0 w 238125"/>
                    <a:gd name="connsiteY3" fmla="*/ 361950 h 833437"/>
                    <a:gd name="connsiteX4" fmla="*/ 7144 w 238125"/>
                    <a:gd name="connsiteY4" fmla="*/ 0 h 833437"/>
                    <a:gd name="connsiteX0" fmla="*/ 7144 w 238125"/>
                    <a:gd name="connsiteY0" fmla="*/ 0 h 833437"/>
                    <a:gd name="connsiteX1" fmla="*/ 238125 w 238125"/>
                    <a:gd name="connsiteY1" fmla="*/ 833437 h 833437"/>
                    <a:gd name="connsiteX2" fmla="*/ 109537 w 238125"/>
                    <a:gd name="connsiteY2" fmla="*/ 833437 h 833437"/>
                    <a:gd name="connsiteX3" fmla="*/ 0 w 238125"/>
                    <a:gd name="connsiteY3" fmla="*/ 361950 h 833437"/>
                    <a:gd name="connsiteX4" fmla="*/ 7144 w 238125"/>
                    <a:gd name="connsiteY4" fmla="*/ 0 h 833437"/>
                    <a:gd name="connsiteX0" fmla="*/ 7144 w 238125"/>
                    <a:gd name="connsiteY0" fmla="*/ 0 h 833437"/>
                    <a:gd name="connsiteX1" fmla="*/ 238125 w 238125"/>
                    <a:gd name="connsiteY1" fmla="*/ 833437 h 833437"/>
                    <a:gd name="connsiteX2" fmla="*/ 109537 w 238125"/>
                    <a:gd name="connsiteY2" fmla="*/ 833437 h 833437"/>
                    <a:gd name="connsiteX3" fmla="*/ 0 w 238125"/>
                    <a:gd name="connsiteY3" fmla="*/ 361950 h 833437"/>
                    <a:gd name="connsiteX4" fmla="*/ 7144 w 238125"/>
                    <a:gd name="connsiteY4" fmla="*/ 0 h 833437"/>
                    <a:gd name="connsiteX0" fmla="*/ 7144 w 238125"/>
                    <a:gd name="connsiteY0" fmla="*/ 0 h 833437"/>
                    <a:gd name="connsiteX1" fmla="*/ 238125 w 238125"/>
                    <a:gd name="connsiteY1" fmla="*/ 833437 h 833437"/>
                    <a:gd name="connsiteX2" fmla="*/ 109537 w 238125"/>
                    <a:gd name="connsiteY2" fmla="*/ 833437 h 833437"/>
                    <a:gd name="connsiteX3" fmla="*/ 0 w 238125"/>
                    <a:gd name="connsiteY3" fmla="*/ 361950 h 833437"/>
                    <a:gd name="connsiteX4" fmla="*/ 7144 w 238125"/>
                    <a:gd name="connsiteY4" fmla="*/ 0 h 833437"/>
                    <a:gd name="connsiteX0" fmla="*/ 7144 w 238125"/>
                    <a:gd name="connsiteY0" fmla="*/ 0 h 833437"/>
                    <a:gd name="connsiteX1" fmla="*/ 238125 w 238125"/>
                    <a:gd name="connsiteY1" fmla="*/ 833437 h 833437"/>
                    <a:gd name="connsiteX2" fmla="*/ 109537 w 238125"/>
                    <a:gd name="connsiteY2" fmla="*/ 833437 h 833437"/>
                    <a:gd name="connsiteX3" fmla="*/ 0 w 238125"/>
                    <a:gd name="connsiteY3" fmla="*/ 361950 h 833437"/>
                    <a:gd name="connsiteX4" fmla="*/ 7144 w 238125"/>
                    <a:gd name="connsiteY4" fmla="*/ 0 h 833437"/>
                    <a:gd name="connsiteX0" fmla="*/ 7144 w 238125"/>
                    <a:gd name="connsiteY0" fmla="*/ 0 h 833437"/>
                    <a:gd name="connsiteX1" fmla="*/ 238125 w 238125"/>
                    <a:gd name="connsiteY1" fmla="*/ 833437 h 833437"/>
                    <a:gd name="connsiteX2" fmla="*/ 109537 w 238125"/>
                    <a:gd name="connsiteY2" fmla="*/ 833437 h 833437"/>
                    <a:gd name="connsiteX3" fmla="*/ 0 w 238125"/>
                    <a:gd name="connsiteY3" fmla="*/ 361950 h 833437"/>
                    <a:gd name="connsiteX4" fmla="*/ 7144 w 238125"/>
                    <a:gd name="connsiteY4" fmla="*/ 0 h 833437"/>
                    <a:gd name="connsiteX0" fmla="*/ 33338 w 238125"/>
                    <a:gd name="connsiteY0" fmla="*/ 0 h 895350"/>
                    <a:gd name="connsiteX1" fmla="*/ 238125 w 238125"/>
                    <a:gd name="connsiteY1" fmla="*/ 895350 h 895350"/>
                    <a:gd name="connsiteX2" fmla="*/ 109537 w 238125"/>
                    <a:gd name="connsiteY2" fmla="*/ 895350 h 895350"/>
                    <a:gd name="connsiteX3" fmla="*/ 0 w 238125"/>
                    <a:gd name="connsiteY3" fmla="*/ 423863 h 895350"/>
                    <a:gd name="connsiteX4" fmla="*/ 33338 w 238125"/>
                    <a:gd name="connsiteY4" fmla="*/ 0 h 895350"/>
                    <a:gd name="connsiteX0" fmla="*/ 9525 w 214312"/>
                    <a:gd name="connsiteY0" fmla="*/ 0 h 895350"/>
                    <a:gd name="connsiteX1" fmla="*/ 214312 w 214312"/>
                    <a:gd name="connsiteY1" fmla="*/ 895350 h 895350"/>
                    <a:gd name="connsiteX2" fmla="*/ 85724 w 214312"/>
                    <a:gd name="connsiteY2" fmla="*/ 895350 h 895350"/>
                    <a:gd name="connsiteX3" fmla="*/ 0 w 214312"/>
                    <a:gd name="connsiteY3" fmla="*/ 350045 h 895350"/>
                    <a:gd name="connsiteX4" fmla="*/ 9525 w 214312"/>
                    <a:gd name="connsiteY4" fmla="*/ 0 h 895350"/>
                    <a:gd name="connsiteX0" fmla="*/ 33337 w 238124"/>
                    <a:gd name="connsiteY0" fmla="*/ 0 h 895350"/>
                    <a:gd name="connsiteX1" fmla="*/ 238124 w 238124"/>
                    <a:gd name="connsiteY1" fmla="*/ 895350 h 895350"/>
                    <a:gd name="connsiteX2" fmla="*/ 109536 w 238124"/>
                    <a:gd name="connsiteY2" fmla="*/ 895350 h 895350"/>
                    <a:gd name="connsiteX3" fmla="*/ 0 w 238124"/>
                    <a:gd name="connsiteY3" fmla="*/ 350045 h 895350"/>
                    <a:gd name="connsiteX4" fmla="*/ 33337 w 238124"/>
                    <a:gd name="connsiteY4" fmla="*/ 0 h 8953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8124" h="895350">
                      <a:moveTo>
                        <a:pt x="33337" y="0"/>
                      </a:moveTo>
                      <a:cubicBezTo>
                        <a:pt x="129381" y="253999"/>
                        <a:pt x="215899" y="558007"/>
                        <a:pt x="238124" y="895350"/>
                      </a:cubicBezTo>
                      <a:lnTo>
                        <a:pt x="109536" y="895350"/>
                      </a:lnTo>
                      <a:cubicBezTo>
                        <a:pt x="94456" y="776289"/>
                        <a:pt x="74612" y="504826"/>
                        <a:pt x="0" y="350045"/>
                      </a:cubicBezTo>
                      <a:lnTo>
                        <a:pt x="33337" y="0"/>
                      </a:lnTo>
                      <a:close/>
                    </a:path>
                  </a:pathLst>
                </a:custGeom>
                <a:solidFill>
                  <a:srgbClr val="FFFFFF">
                    <a:lumMod val="65000"/>
                  </a:srgbClr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472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122" name="Freeform 121"/>
              <p:cNvSpPr/>
              <p:nvPr/>
            </p:nvSpPr>
            <p:spPr bwMode="auto">
              <a:xfrm flipH="1">
                <a:off x="11362135" y="2379536"/>
                <a:ext cx="525245" cy="1144902"/>
              </a:xfrm>
              <a:custGeom>
                <a:avLst/>
                <a:gdLst>
                  <a:gd name="connsiteX0" fmla="*/ 525245 w 525245"/>
                  <a:gd name="connsiteY0" fmla="*/ 0 h 1144902"/>
                  <a:gd name="connsiteX1" fmla="*/ 312606 w 525245"/>
                  <a:gd name="connsiteY1" fmla="*/ 0 h 1144902"/>
                  <a:gd name="connsiteX2" fmla="*/ 312606 w 525245"/>
                  <a:gd name="connsiteY2" fmla="*/ 33054 h 1144902"/>
                  <a:gd name="connsiteX3" fmla="*/ 198983 w 525245"/>
                  <a:gd name="connsiteY3" fmla="*/ 33054 h 1144902"/>
                  <a:gd name="connsiteX4" fmla="*/ 198983 w 525245"/>
                  <a:gd name="connsiteY4" fmla="*/ 0 h 1144902"/>
                  <a:gd name="connsiteX5" fmla="*/ 0 w 525245"/>
                  <a:gd name="connsiteY5" fmla="*/ 0 h 1144902"/>
                  <a:gd name="connsiteX6" fmla="*/ 0 w 525245"/>
                  <a:gd name="connsiteY6" fmla="*/ 45719 h 1144902"/>
                  <a:gd name="connsiteX7" fmla="*/ 20739 w 525245"/>
                  <a:gd name="connsiteY7" fmla="*/ 45719 h 1144902"/>
                  <a:gd name="connsiteX8" fmla="*/ 73857 w 525245"/>
                  <a:gd name="connsiteY8" fmla="*/ 1144902 h 1144902"/>
                  <a:gd name="connsiteX9" fmla="*/ 223876 w 525245"/>
                  <a:gd name="connsiteY9" fmla="*/ 1142521 h 1144902"/>
                  <a:gd name="connsiteX10" fmla="*/ 263646 w 525245"/>
                  <a:gd name="connsiteY10" fmla="*/ 218443 h 1144902"/>
                  <a:gd name="connsiteX11" fmla="*/ 267345 w 525245"/>
                  <a:gd name="connsiteY11" fmla="*/ 217759 h 1144902"/>
                  <a:gd name="connsiteX12" fmla="*/ 302458 w 525245"/>
                  <a:gd name="connsiteY12" fmla="*/ 1135377 h 1144902"/>
                  <a:gd name="connsiteX13" fmla="*/ 454857 w 525245"/>
                  <a:gd name="connsiteY13" fmla="*/ 1132996 h 1144902"/>
                  <a:gd name="connsiteX14" fmla="*/ 500546 w 525245"/>
                  <a:gd name="connsiteY14" fmla="*/ 45719 h 1144902"/>
                  <a:gd name="connsiteX15" fmla="*/ 525245 w 525245"/>
                  <a:gd name="connsiteY15" fmla="*/ 45719 h 1144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25245" h="1144902">
                    <a:moveTo>
                      <a:pt x="525245" y="0"/>
                    </a:moveTo>
                    <a:lnTo>
                      <a:pt x="312606" y="0"/>
                    </a:lnTo>
                    <a:lnTo>
                      <a:pt x="312606" y="33054"/>
                    </a:lnTo>
                    <a:lnTo>
                      <a:pt x="198983" y="33054"/>
                    </a:lnTo>
                    <a:lnTo>
                      <a:pt x="198983" y="0"/>
                    </a:lnTo>
                    <a:lnTo>
                      <a:pt x="0" y="0"/>
                    </a:lnTo>
                    <a:lnTo>
                      <a:pt x="0" y="45719"/>
                    </a:lnTo>
                    <a:lnTo>
                      <a:pt x="20739" y="45719"/>
                    </a:lnTo>
                    <a:lnTo>
                      <a:pt x="73857" y="1144902"/>
                    </a:lnTo>
                    <a:cubicBezTo>
                      <a:pt x="126244" y="1144902"/>
                      <a:pt x="171489" y="1142521"/>
                      <a:pt x="223876" y="1142521"/>
                    </a:cubicBezTo>
                    <a:lnTo>
                      <a:pt x="263646" y="218443"/>
                    </a:lnTo>
                    <a:lnTo>
                      <a:pt x="267345" y="217759"/>
                    </a:lnTo>
                    <a:lnTo>
                      <a:pt x="302458" y="1135377"/>
                    </a:lnTo>
                    <a:lnTo>
                      <a:pt x="454857" y="1132996"/>
                    </a:lnTo>
                    <a:lnTo>
                      <a:pt x="500546" y="45719"/>
                    </a:lnTo>
                    <a:lnTo>
                      <a:pt x="525245" y="45719"/>
                    </a:lnTo>
                    <a:close/>
                  </a:path>
                </a:pathLst>
              </a:custGeom>
              <a:solidFill>
                <a:srgbClr val="000000">
                  <a:lumMod val="85000"/>
                  <a:lumOff val="15000"/>
                </a:srgb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23" name="Freeform 122"/>
              <p:cNvSpPr/>
              <p:nvPr/>
            </p:nvSpPr>
            <p:spPr bwMode="auto">
              <a:xfrm>
                <a:off x="11648625" y="3506182"/>
                <a:ext cx="187714" cy="93056"/>
              </a:xfrm>
              <a:custGeom>
                <a:avLst/>
                <a:gdLst>
                  <a:gd name="connsiteX0" fmla="*/ 93857 w 187714"/>
                  <a:gd name="connsiteY0" fmla="*/ 0 h 93056"/>
                  <a:gd name="connsiteX1" fmla="*/ 180525 w 187714"/>
                  <a:gd name="connsiteY1" fmla="*/ 57448 h 93056"/>
                  <a:gd name="connsiteX2" fmla="*/ 187714 w 187714"/>
                  <a:gd name="connsiteY2" fmla="*/ 93056 h 93056"/>
                  <a:gd name="connsiteX3" fmla="*/ 0 w 187714"/>
                  <a:gd name="connsiteY3" fmla="*/ 93056 h 93056"/>
                  <a:gd name="connsiteX4" fmla="*/ 7189 w 187714"/>
                  <a:gd name="connsiteY4" fmla="*/ 57448 h 93056"/>
                  <a:gd name="connsiteX5" fmla="*/ 93857 w 187714"/>
                  <a:gd name="connsiteY5" fmla="*/ 0 h 93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7714" h="93056">
                    <a:moveTo>
                      <a:pt x="93857" y="0"/>
                    </a:moveTo>
                    <a:cubicBezTo>
                      <a:pt x="132818" y="0"/>
                      <a:pt x="166246" y="23688"/>
                      <a:pt x="180525" y="57448"/>
                    </a:cubicBezTo>
                    <a:lnTo>
                      <a:pt x="187714" y="93056"/>
                    </a:lnTo>
                    <a:lnTo>
                      <a:pt x="0" y="93056"/>
                    </a:lnTo>
                    <a:lnTo>
                      <a:pt x="7189" y="57448"/>
                    </a:lnTo>
                    <a:cubicBezTo>
                      <a:pt x="21468" y="23688"/>
                      <a:pt x="54896" y="0"/>
                      <a:pt x="93857" y="0"/>
                    </a:cubicBezTo>
                    <a:close/>
                  </a:path>
                </a:pathLst>
              </a:custGeom>
              <a:solidFill>
                <a:srgbClr val="000000">
                  <a:lumMod val="95000"/>
                  <a:lumOff val="5000"/>
                </a:srgb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24" name="Freeform 123"/>
              <p:cNvSpPr/>
              <p:nvPr/>
            </p:nvSpPr>
            <p:spPr bwMode="auto">
              <a:xfrm>
                <a:off x="11412881" y="3496657"/>
                <a:ext cx="187714" cy="93056"/>
              </a:xfrm>
              <a:custGeom>
                <a:avLst/>
                <a:gdLst>
                  <a:gd name="connsiteX0" fmla="*/ 93857 w 187714"/>
                  <a:gd name="connsiteY0" fmla="*/ 0 h 93056"/>
                  <a:gd name="connsiteX1" fmla="*/ 180525 w 187714"/>
                  <a:gd name="connsiteY1" fmla="*/ 57448 h 93056"/>
                  <a:gd name="connsiteX2" fmla="*/ 187714 w 187714"/>
                  <a:gd name="connsiteY2" fmla="*/ 93056 h 93056"/>
                  <a:gd name="connsiteX3" fmla="*/ 0 w 187714"/>
                  <a:gd name="connsiteY3" fmla="*/ 93056 h 93056"/>
                  <a:gd name="connsiteX4" fmla="*/ 7189 w 187714"/>
                  <a:gd name="connsiteY4" fmla="*/ 57448 h 93056"/>
                  <a:gd name="connsiteX5" fmla="*/ 93857 w 187714"/>
                  <a:gd name="connsiteY5" fmla="*/ 0 h 93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7714" h="93056">
                    <a:moveTo>
                      <a:pt x="93857" y="0"/>
                    </a:moveTo>
                    <a:cubicBezTo>
                      <a:pt x="132818" y="0"/>
                      <a:pt x="166246" y="23688"/>
                      <a:pt x="180525" y="57448"/>
                    </a:cubicBezTo>
                    <a:lnTo>
                      <a:pt x="187714" y="93056"/>
                    </a:lnTo>
                    <a:lnTo>
                      <a:pt x="0" y="93056"/>
                    </a:lnTo>
                    <a:lnTo>
                      <a:pt x="7189" y="57448"/>
                    </a:lnTo>
                    <a:cubicBezTo>
                      <a:pt x="21468" y="23688"/>
                      <a:pt x="54896" y="0"/>
                      <a:pt x="93857" y="0"/>
                    </a:cubicBezTo>
                    <a:close/>
                  </a:path>
                </a:pathLst>
              </a:custGeom>
              <a:solidFill>
                <a:srgbClr val="000000">
                  <a:lumMod val="95000"/>
                  <a:lumOff val="5000"/>
                </a:srgb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125" name="Group 124"/>
              <p:cNvGrpSpPr/>
              <p:nvPr/>
            </p:nvGrpSpPr>
            <p:grpSpPr>
              <a:xfrm>
                <a:off x="11854006" y="1505138"/>
                <a:ext cx="238124" cy="1002506"/>
                <a:chOff x="6437822" y="1926236"/>
                <a:chExt cx="238124" cy="1002506"/>
              </a:xfrm>
            </p:grpSpPr>
            <p:sp>
              <p:nvSpPr>
                <p:cNvPr id="130" name="Rounded Rectangle 129"/>
                <p:cNvSpPr/>
                <p:nvPr/>
              </p:nvSpPr>
              <p:spPr bwMode="auto">
                <a:xfrm>
                  <a:off x="6552349" y="2757292"/>
                  <a:ext cx="106928" cy="171450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FFC000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472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31" name="Freeform 130"/>
                <p:cNvSpPr/>
                <p:nvPr/>
              </p:nvSpPr>
              <p:spPr bwMode="auto">
                <a:xfrm>
                  <a:off x="6437822" y="1926236"/>
                  <a:ext cx="238124" cy="895350"/>
                </a:xfrm>
                <a:custGeom>
                  <a:avLst/>
                  <a:gdLst>
                    <a:gd name="connsiteX0" fmla="*/ 7144 w 238125"/>
                    <a:gd name="connsiteY0" fmla="*/ 0 h 833437"/>
                    <a:gd name="connsiteX1" fmla="*/ 238125 w 238125"/>
                    <a:gd name="connsiteY1" fmla="*/ 833437 h 833437"/>
                    <a:gd name="connsiteX2" fmla="*/ 109537 w 238125"/>
                    <a:gd name="connsiteY2" fmla="*/ 833437 h 833437"/>
                    <a:gd name="connsiteX3" fmla="*/ 0 w 238125"/>
                    <a:gd name="connsiteY3" fmla="*/ 361950 h 833437"/>
                    <a:gd name="connsiteX4" fmla="*/ 7144 w 238125"/>
                    <a:gd name="connsiteY4" fmla="*/ 0 h 833437"/>
                    <a:gd name="connsiteX0" fmla="*/ 7144 w 238125"/>
                    <a:gd name="connsiteY0" fmla="*/ 0 h 833437"/>
                    <a:gd name="connsiteX1" fmla="*/ 238125 w 238125"/>
                    <a:gd name="connsiteY1" fmla="*/ 833437 h 833437"/>
                    <a:gd name="connsiteX2" fmla="*/ 109537 w 238125"/>
                    <a:gd name="connsiteY2" fmla="*/ 833437 h 833437"/>
                    <a:gd name="connsiteX3" fmla="*/ 0 w 238125"/>
                    <a:gd name="connsiteY3" fmla="*/ 361950 h 833437"/>
                    <a:gd name="connsiteX4" fmla="*/ 7144 w 238125"/>
                    <a:gd name="connsiteY4" fmla="*/ 0 h 833437"/>
                    <a:gd name="connsiteX0" fmla="*/ 7144 w 238125"/>
                    <a:gd name="connsiteY0" fmla="*/ 0 h 833437"/>
                    <a:gd name="connsiteX1" fmla="*/ 238125 w 238125"/>
                    <a:gd name="connsiteY1" fmla="*/ 833437 h 833437"/>
                    <a:gd name="connsiteX2" fmla="*/ 109537 w 238125"/>
                    <a:gd name="connsiteY2" fmla="*/ 833437 h 833437"/>
                    <a:gd name="connsiteX3" fmla="*/ 0 w 238125"/>
                    <a:gd name="connsiteY3" fmla="*/ 361950 h 833437"/>
                    <a:gd name="connsiteX4" fmla="*/ 7144 w 238125"/>
                    <a:gd name="connsiteY4" fmla="*/ 0 h 833437"/>
                    <a:gd name="connsiteX0" fmla="*/ 7144 w 238125"/>
                    <a:gd name="connsiteY0" fmla="*/ 0 h 833437"/>
                    <a:gd name="connsiteX1" fmla="*/ 238125 w 238125"/>
                    <a:gd name="connsiteY1" fmla="*/ 833437 h 833437"/>
                    <a:gd name="connsiteX2" fmla="*/ 109537 w 238125"/>
                    <a:gd name="connsiteY2" fmla="*/ 833437 h 833437"/>
                    <a:gd name="connsiteX3" fmla="*/ 0 w 238125"/>
                    <a:gd name="connsiteY3" fmla="*/ 361950 h 833437"/>
                    <a:gd name="connsiteX4" fmla="*/ 7144 w 238125"/>
                    <a:gd name="connsiteY4" fmla="*/ 0 h 833437"/>
                    <a:gd name="connsiteX0" fmla="*/ 7144 w 238125"/>
                    <a:gd name="connsiteY0" fmla="*/ 0 h 833437"/>
                    <a:gd name="connsiteX1" fmla="*/ 238125 w 238125"/>
                    <a:gd name="connsiteY1" fmla="*/ 833437 h 833437"/>
                    <a:gd name="connsiteX2" fmla="*/ 109537 w 238125"/>
                    <a:gd name="connsiteY2" fmla="*/ 833437 h 833437"/>
                    <a:gd name="connsiteX3" fmla="*/ 0 w 238125"/>
                    <a:gd name="connsiteY3" fmla="*/ 361950 h 833437"/>
                    <a:gd name="connsiteX4" fmla="*/ 7144 w 238125"/>
                    <a:gd name="connsiteY4" fmla="*/ 0 h 833437"/>
                    <a:gd name="connsiteX0" fmla="*/ 7144 w 238125"/>
                    <a:gd name="connsiteY0" fmla="*/ 0 h 833437"/>
                    <a:gd name="connsiteX1" fmla="*/ 238125 w 238125"/>
                    <a:gd name="connsiteY1" fmla="*/ 833437 h 833437"/>
                    <a:gd name="connsiteX2" fmla="*/ 109537 w 238125"/>
                    <a:gd name="connsiteY2" fmla="*/ 833437 h 833437"/>
                    <a:gd name="connsiteX3" fmla="*/ 0 w 238125"/>
                    <a:gd name="connsiteY3" fmla="*/ 361950 h 833437"/>
                    <a:gd name="connsiteX4" fmla="*/ 7144 w 238125"/>
                    <a:gd name="connsiteY4" fmla="*/ 0 h 833437"/>
                    <a:gd name="connsiteX0" fmla="*/ 33338 w 238125"/>
                    <a:gd name="connsiteY0" fmla="*/ 0 h 895350"/>
                    <a:gd name="connsiteX1" fmla="*/ 238125 w 238125"/>
                    <a:gd name="connsiteY1" fmla="*/ 895350 h 895350"/>
                    <a:gd name="connsiteX2" fmla="*/ 109537 w 238125"/>
                    <a:gd name="connsiteY2" fmla="*/ 895350 h 895350"/>
                    <a:gd name="connsiteX3" fmla="*/ 0 w 238125"/>
                    <a:gd name="connsiteY3" fmla="*/ 423863 h 895350"/>
                    <a:gd name="connsiteX4" fmla="*/ 33338 w 238125"/>
                    <a:gd name="connsiteY4" fmla="*/ 0 h 895350"/>
                    <a:gd name="connsiteX0" fmla="*/ 9525 w 214312"/>
                    <a:gd name="connsiteY0" fmla="*/ 0 h 895350"/>
                    <a:gd name="connsiteX1" fmla="*/ 214312 w 214312"/>
                    <a:gd name="connsiteY1" fmla="*/ 895350 h 895350"/>
                    <a:gd name="connsiteX2" fmla="*/ 85724 w 214312"/>
                    <a:gd name="connsiteY2" fmla="*/ 895350 h 895350"/>
                    <a:gd name="connsiteX3" fmla="*/ 0 w 214312"/>
                    <a:gd name="connsiteY3" fmla="*/ 350045 h 895350"/>
                    <a:gd name="connsiteX4" fmla="*/ 9525 w 214312"/>
                    <a:gd name="connsiteY4" fmla="*/ 0 h 895350"/>
                    <a:gd name="connsiteX0" fmla="*/ 33337 w 238124"/>
                    <a:gd name="connsiteY0" fmla="*/ 0 h 895350"/>
                    <a:gd name="connsiteX1" fmla="*/ 238124 w 238124"/>
                    <a:gd name="connsiteY1" fmla="*/ 895350 h 895350"/>
                    <a:gd name="connsiteX2" fmla="*/ 109536 w 238124"/>
                    <a:gd name="connsiteY2" fmla="*/ 895350 h 895350"/>
                    <a:gd name="connsiteX3" fmla="*/ 0 w 238124"/>
                    <a:gd name="connsiteY3" fmla="*/ 350045 h 895350"/>
                    <a:gd name="connsiteX4" fmla="*/ 33337 w 238124"/>
                    <a:gd name="connsiteY4" fmla="*/ 0 h 8953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8124" h="895350">
                      <a:moveTo>
                        <a:pt x="33337" y="0"/>
                      </a:moveTo>
                      <a:cubicBezTo>
                        <a:pt x="129381" y="253999"/>
                        <a:pt x="215899" y="558007"/>
                        <a:pt x="238124" y="895350"/>
                      </a:cubicBezTo>
                      <a:lnTo>
                        <a:pt x="109536" y="895350"/>
                      </a:lnTo>
                      <a:cubicBezTo>
                        <a:pt x="94456" y="776289"/>
                        <a:pt x="74612" y="504826"/>
                        <a:pt x="0" y="350045"/>
                      </a:cubicBezTo>
                      <a:lnTo>
                        <a:pt x="33337" y="0"/>
                      </a:lnTo>
                      <a:close/>
                    </a:path>
                  </a:pathLst>
                </a:custGeom>
                <a:solidFill>
                  <a:srgbClr val="FFFFFF">
                    <a:lumMod val="65000"/>
                  </a:srgbClr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472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126" name="Rectangle 109"/>
              <p:cNvSpPr/>
              <p:nvPr/>
            </p:nvSpPr>
            <p:spPr bwMode="auto">
              <a:xfrm>
                <a:off x="11428839" y="1443421"/>
                <a:ext cx="391947" cy="328612"/>
              </a:xfrm>
              <a:custGeom>
                <a:avLst/>
                <a:gdLst>
                  <a:gd name="connsiteX0" fmla="*/ 0 w 390296"/>
                  <a:gd name="connsiteY0" fmla="*/ 0 h 571500"/>
                  <a:gd name="connsiteX1" fmla="*/ 390296 w 390296"/>
                  <a:gd name="connsiteY1" fmla="*/ 0 h 571500"/>
                  <a:gd name="connsiteX2" fmla="*/ 390296 w 390296"/>
                  <a:gd name="connsiteY2" fmla="*/ 571500 h 571500"/>
                  <a:gd name="connsiteX3" fmla="*/ 0 w 390296"/>
                  <a:gd name="connsiteY3" fmla="*/ 571500 h 571500"/>
                  <a:gd name="connsiteX4" fmla="*/ 0 w 390296"/>
                  <a:gd name="connsiteY4" fmla="*/ 0 h 571500"/>
                  <a:gd name="connsiteX0" fmla="*/ 0 w 390296"/>
                  <a:gd name="connsiteY0" fmla="*/ 2833 h 574333"/>
                  <a:gd name="connsiteX1" fmla="*/ 193612 w 390296"/>
                  <a:gd name="connsiteY1" fmla="*/ 0 h 574333"/>
                  <a:gd name="connsiteX2" fmla="*/ 390296 w 390296"/>
                  <a:gd name="connsiteY2" fmla="*/ 2833 h 574333"/>
                  <a:gd name="connsiteX3" fmla="*/ 390296 w 390296"/>
                  <a:gd name="connsiteY3" fmla="*/ 574333 h 574333"/>
                  <a:gd name="connsiteX4" fmla="*/ 0 w 390296"/>
                  <a:gd name="connsiteY4" fmla="*/ 574333 h 574333"/>
                  <a:gd name="connsiteX5" fmla="*/ 0 w 390296"/>
                  <a:gd name="connsiteY5" fmla="*/ 2833 h 574333"/>
                  <a:gd name="connsiteX0" fmla="*/ 0 w 390296"/>
                  <a:gd name="connsiteY0" fmla="*/ 57601 h 629101"/>
                  <a:gd name="connsiteX1" fmla="*/ 188850 w 390296"/>
                  <a:gd name="connsiteY1" fmla="*/ 0 h 629101"/>
                  <a:gd name="connsiteX2" fmla="*/ 390296 w 390296"/>
                  <a:gd name="connsiteY2" fmla="*/ 57601 h 629101"/>
                  <a:gd name="connsiteX3" fmla="*/ 390296 w 390296"/>
                  <a:gd name="connsiteY3" fmla="*/ 629101 h 629101"/>
                  <a:gd name="connsiteX4" fmla="*/ 0 w 390296"/>
                  <a:gd name="connsiteY4" fmla="*/ 629101 h 629101"/>
                  <a:gd name="connsiteX5" fmla="*/ 0 w 390296"/>
                  <a:gd name="connsiteY5" fmla="*/ 57601 h 629101"/>
                  <a:gd name="connsiteX0" fmla="*/ 0 w 390296"/>
                  <a:gd name="connsiteY0" fmla="*/ 57601 h 629101"/>
                  <a:gd name="connsiteX1" fmla="*/ 188850 w 390296"/>
                  <a:gd name="connsiteY1" fmla="*/ 0 h 629101"/>
                  <a:gd name="connsiteX2" fmla="*/ 390296 w 390296"/>
                  <a:gd name="connsiteY2" fmla="*/ 57601 h 629101"/>
                  <a:gd name="connsiteX3" fmla="*/ 388874 w 390296"/>
                  <a:gd name="connsiteY3" fmla="*/ 328612 h 629101"/>
                  <a:gd name="connsiteX4" fmla="*/ 390296 w 390296"/>
                  <a:gd name="connsiteY4" fmla="*/ 629101 h 629101"/>
                  <a:gd name="connsiteX5" fmla="*/ 0 w 390296"/>
                  <a:gd name="connsiteY5" fmla="*/ 629101 h 629101"/>
                  <a:gd name="connsiteX6" fmla="*/ 0 w 390296"/>
                  <a:gd name="connsiteY6" fmla="*/ 57601 h 629101"/>
                  <a:gd name="connsiteX0" fmla="*/ 1651 w 391947"/>
                  <a:gd name="connsiteY0" fmla="*/ 57601 h 629101"/>
                  <a:gd name="connsiteX1" fmla="*/ 190501 w 391947"/>
                  <a:gd name="connsiteY1" fmla="*/ 0 h 629101"/>
                  <a:gd name="connsiteX2" fmla="*/ 391947 w 391947"/>
                  <a:gd name="connsiteY2" fmla="*/ 57601 h 629101"/>
                  <a:gd name="connsiteX3" fmla="*/ 390525 w 391947"/>
                  <a:gd name="connsiteY3" fmla="*/ 328612 h 629101"/>
                  <a:gd name="connsiteX4" fmla="*/ 391947 w 391947"/>
                  <a:gd name="connsiteY4" fmla="*/ 629101 h 629101"/>
                  <a:gd name="connsiteX5" fmla="*/ 1651 w 391947"/>
                  <a:gd name="connsiteY5" fmla="*/ 629101 h 629101"/>
                  <a:gd name="connsiteX6" fmla="*/ 0 w 391947"/>
                  <a:gd name="connsiteY6" fmla="*/ 311944 h 629101"/>
                  <a:gd name="connsiteX7" fmla="*/ 1651 w 391947"/>
                  <a:gd name="connsiteY7" fmla="*/ 57601 h 629101"/>
                  <a:gd name="connsiteX0" fmla="*/ 1651 w 391947"/>
                  <a:gd name="connsiteY0" fmla="*/ 57601 h 629101"/>
                  <a:gd name="connsiteX1" fmla="*/ 190501 w 391947"/>
                  <a:gd name="connsiteY1" fmla="*/ 0 h 629101"/>
                  <a:gd name="connsiteX2" fmla="*/ 391947 w 391947"/>
                  <a:gd name="connsiteY2" fmla="*/ 57601 h 629101"/>
                  <a:gd name="connsiteX3" fmla="*/ 390525 w 391947"/>
                  <a:gd name="connsiteY3" fmla="*/ 328612 h 629101"/>
                  <a:gd name="connsiteX4" fmla="*/ 391947 w 391947"/>
                  <a:gd name="connsiteY4" fmla="*/ 629101 h 629101"/>
                  <a:gd name="connsiteX5" fmla="*/ 0 w 391947"/>
                  <a:gd name="connsiteY5" fmla="*/ 311944 h 629101"/>
                  <a:gd name="connsiteX6" fmla="*/ 1651 w 391947"/>
                  <a:gd name="connsiteY6" fmla="*/ 57601 h 629101"/>
                  <a:gd name="connsiteX0" fmla="*/ 1651 w 391947"/>
                  <a:gd name="connsiteY0" fmla="*/ 57601 h 328612"/>
                  <a:gd name="connsiteX1" fmla="*/ 190501 w 391947"/>
                  <a:gd name="connsiteY1" fmla="*/ 0 h 328612"/>
                  <a:gd name="connsiteX2" fmla="*/ 391947 w 391947"/>
                  <a:gd name="connsiteY2" fmla="*/ 57601 h 328612"/>
                  <a:gd name="connsiteX3" fmla="*/ 390525 w 391947"/>
                  <a:gd name="connsiteY3" fmla="*/ 328612 h 328612"/>
                  <a:gd name="connsiteX4" fmla="*/ 0 w 391947"/>
                  <a:gd name="connsiteY4" fmla="*/ 311944 h 328612"/>
                  <a:gd name="connsiteX5" fmla="*/ 1651 w 391947"/>
                  <a:gd name="connsiteY5" fmla="*/ 57601 h 3286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91947" h="328612">
                    <a:moveTo>
                      <a:pt x="1651" y="57601"/>
                    </a:moveTo>
                    <a:lnTo>
                      <a:pt x="190501" y="0"/>
                    </a:lnTo>
                    <a:lnTo>
                      <a:pt x="391947" y="57601"/>
                    </a:lnTo>
                    <a:lnTo>
                      <a:pt x="390525" y="328612"/>
                    </a:lnTo>
                    <a:lnTo>
                      <a:pt x="0" y="311944"/>
                    </a:lnTo>
                    <a:cubicBezTo>
                      <a:pt x="550" y="227163"/>
                      <a:pt x="1101" y="142382"/>
                      <a:pt x="1651" y="57601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27" name="Freeform 126"/>
              <p:cNvSpPr/>
              <p:nvPr/>
            </p:nvSpPr>
            <p:spPr bwMode="auto">
              <a:xfrm>
                <a:off x="11364266" y="1474182"/>
                <a:ext cx="525457" cy="907255"/>
              </a:xfrm>
              <a:custGeom>
                <a:avLst/>
                <a:gdLst>
                  <a:gd name="connsiteX0" fmla="*/ 0 w 608801"/>
                  <a:gd name="connsiteY0" fmla="*/ 0 h 1019175"/>
                  <a:gd name="connsiteX1" fmla="*/ 225692 w 608801"/>
                  <a:gd name="connsiteY1" fmla="*/ 0 h 1019175"/>
                  <a:gd name="connsiteX2" fmla="*/ 225420 w 608801"/>
                  <a:gd name="connsiteY2" fmla="*/ 2381 h 1019175"/>
                  <a:gd name="connsiteX3" fmla="*/ 306382 w 608801"/>
                  <a:gd name="connsiteY3" fmla="*/ 569119 h 1019175"/>
                  <a:gd name="connsiteX4" fmla="*/ 347756 w 608801"/>
                  <a:gd name="connsiteY4" fmla="*/ 283964 h 1019175"/>
                  <a:gd name="connsiteX5" fmla="*/ 379666 w 608801"/>
                  <a:gd name="connsiteY5" fmla="*/ 0 h 1019175"/>
                  <a:gd name="connsiteX6" fmla="*/ 608801 w 608801"/>
                  <a:gd name="connsiteY6" fmla="*/ 0 h 1019175"/>
                  <a:gd name="connsiteX7" fmla="*/ 608801 w 608801"/>
                  <a:gd name="connsiteY7" fmla="*/ 1019175 h 1019175"/>
                  <a:gd name="connsiteX8" fmla="*/ 0 w 608801"/>
                  <a:gd name="connsiteY8" fmla="*/ 1019175 h 1019175"/>
                  <a:gd name="connsiteX0" fmla="*/ 0 w 608801"/>
                  <a:gd name="connsiteY0" fmla="*/ 0 h 1019175"/>
                  <a:gd name="connsiteX1" fmla="*/ 225692 w 608801"/>
                  <a:gd name="connsiteY1" fmla="*/ 0 h 1019175"/>
                  <a:gd name="connsiteX2" fmla="*/ 225420 w 608801"/>
                  <a:gd name="connsiteY2" fmla="*/ 2381 h 1019175"/>
                  <a:gd name="connsiteX3" fmla="*/ 306382 w 608801"/>
                  <a:gd name="connsiteY3" fmla="*/ 569119 h 1019175"/>
                  <a:gd name="connsiteX4" fmla="*/ 347756 w 608801"/>
                  <a:gd name="connsiteY4" fmla="*/ 283964 h 1019175"/>
                  <a:gd name="connsiteX5" fmla="*/ 379666 w 608801"/>
                  <a:gd name="connsiteY5" fmla="*/ 0 h 1019175"/>
                  <a:gd name="connsiteX6" fmla="*/ 608801 w 608801"/>
                  <a:gd name="connsiteY6" fmla="*/ 0 h 1019175"/>
                  <a:gd name="connsiteX7" fmla="*/ 608801 w 608801"/>
                  <a:gd name="connsiteY7" fmla="*/ 1019175 h 1019175"/>
                  <a:gd name="connsiteX8" fmla="*/ 0 w 608801"/>
                  <a:gd name="connsiteY8" fmla="*/ 1019175 h 1019175"/>
                  <a:gd name="connsiteX9" fmla="*/ 0 w 608801"/>
                  <a:gd name="connsiteY9" fmla="*/ 0 h 1019175"/>
                  <a:gd name="connsiteX0" fmla="*/ 0 w 608801"/>
                  <a:gd name="connsiteY0" fmla="*/ 28575 h 1047750"/>
                  <a:gd name="connsiteX1" fmla="*/ 225692 w 608801"/>
                  <a:gd name="connsiteY1" fmla="*/ 28575 h 1047750"/>
                  <a:gd name="connsiteX2" fmla="*/ 225420 w 608801"/>
                  <a:gd name="connsiteY2" fmla="*/ 30956 h 1047750"/>
                  <a:gd name="connsiteX3" fmla="*/ 306382 w 608801"/>
                  <a:gd name="connsiteY3" fmla="*/ 597694 h 1047750"/>
                  <a:gd name="connsiteX4" fmla="*/ 347756 w 608801"/>
                  <a:gd name="connsiteY4" fmla="*/ 312539 h 1047750"/>
                  <a:gd name="connsiteX5" fmla="*/ 432054 w 608801"/>
                  <a:gd name="connsiteY5" fmla="*/ 0 h 1047750"/>
                  <a:gd name="connsiteX6" fmla="*/ 608801 w 608801"/>
                  <a:gd name="connsiteY6" fmla="*/ 28575 h 1047750"/>
                  <a:gd name="connsiteX7" fmla="*/ 608801 w 608801"/>
                  <a:gd name="connsiteY7" fmla="*/ 1047750 h 1047750"/>
                  <a:gd name="connsiteX8" fmla="*/ 0 w 608801"/>
                  <a:gd name="connsiteY8" fmla="*/ 1047750 h 1047750"/>
                  <a:gd name="connsiteX9" fmla="*/ 0 w 608801"/>
                  <a:gd name="connsiteY9" fmla="*/ 28575 h 1047750"/>
                  <a:gd name="connsiteX0" fmla="*/ 0 w 608801"/>
                  <a:gd name="connsiteY0" fmla="*/ 28575 h 1047750"/>
                  <a:gd name="connsiteX1" fmla="*/ 225692 w 608801"/>
                  <a:gd name="connsiteY1" fmla="*/ 28575 h 1047750"/>
                  <a:gd name="connsiteX2" fmla="*/ 306382 w 608801"/>
                  <a:gd name="connsiteY2" fmla="*/ 597694 h 1047750"/>
                  <a:gd name="connsiteX3" fmla="*/ 347756 w 608801"/>
                  <a:gd name="connsiteY3" fmla="*/ 312539 h 1047750"/>
                  <a:gd name="connsiteX4" fmla="*/ 432054 w 608801"/>
                  <a:gd name="connsiteY4" fmla="*/ 0 h 1047750"/>
                  <a:gd name="connsiteX5" fmla="*/ 608801 w 608801"/>
                  <a:gd name="connsiteY5" fmla="*/ 28575 h 1047750"/>
                  <a:gd name="connsiteX6" fmla="*/ 608801 w 608801"/>
                  <a:gd name="connsiteY6" fmla="*/ 1047750 h 1047750"/>
                  <a:gd name="connsiteX7" fmla="*/ 0 w 608801"/>
                  <a:gd name="connsiteY7" fmla="*/ 1047750 h 1047750"/>
                  <a:gd name="connsiteX8" fmla="*/ 0 w 608801"/>
                  <a:gd name="connsiteY8" fmla="*/ 28575 h 1047750"/>
                  <a:gd name="connsiteX0" fmla="*/ 0 w 608801"/>
                  <a:gd name="connsiteY0" fmla="*/ 30956 h 1050131"/>
                  <a:gd name="connsiteX1" fmla="*/ 213786 w 608801"/>
                  <a:gd name="connsiteY1" fmla="*/ 0 h 1050131"/>
                  <a:gd name="connsiteX2" fmla="*/ 306382 w 608801"/>
                  <a:gd name="connsiteY2" fmla="*/ 600075 h 1050131"/>
                  <a:gd name="connsiteX3" fmla="*/ 347756 w 608801"/>
                  <a:gd name="connsiteY3" fmla="*/ 314920 h 1050131"/>
                  <a:gd name="connsiteX4" fmla="*/ 432054 w 608801"/>
                  <a:gd name="connsiteY4" fmla="*/ 2381 h 1050131"/>
                  <a:gd name="connsiteX5" fmla="*/ 608801 w 608801"/>
                  <a:gd name="connsiteY5" fmla="*/ 30956 h 1050131"/>
                  <a:gd name="connsiteX6" fmla="*/ 608801 w 608801"/>
                  <a:gd name="connsiteY6" fmla="*/ 1050131 h 1050131"/>
                  <a:gd name="connsiteX7" fmla="*/ 0 w 608801"/>
                  <a:gd name="connsiteY7" fmla="*/ 1050131 h 1050131"/>
                  <a:gd name="connsiteX8" fmla="*/ 0 w 608801"/>
                  <a:gd name="connsiteY8" fmla="*/ 30956 h 1050131"/>
                  <a:gd name="connsiteX0" fmla="*/ 0 w 608801"/>
                  <a:gd name="connsiteY0" fmla="*/ 30956 h 1050131"/>
                  <a:gd name="connsiteX1" fmla="*/ 213786 w 608801"/>
                  <a:gd name="connsiteY1" fmla="*/ 0 h 1050131"/>
                  <a:gd name="connsiteX2" fmla="*/ 306382 w 608801"/>
                  <a:gd name="connsiteY2" fmla="*/ 600075 h 1050131"/>
                  <a:gd name="connsiteX3" fmla="*/ 347756 w 608801"/>
                  <a:gd name="connsiteY3" fmla="*/ 314920 h 1050131"/>
                  <a:gd name="connsiteX4" fmla="*/ 432054 w 608801"/>
                  <a:gd name="connsiteY4" fmla="*/ 2381 h 1050131"/>
                  <a:gd name="connsiteX5" fmla="*/ 589751 w 608801"/>
                  <a:gd name="connsiteY5" fmla="*/ 26194 h 1050131"/>
                  <a:gd name="connsiteX6" fmla="*/ 608801 w 608801"/>
                  <a:gd name="connsiteY6" fmla="*/ 1050131 h 1050131"/>
                  <a:gd name="connsiteX7" fmla="*/ 0 w 608801"/>
                  <a:gd name="connsiteY7" fmla="*/ 1050131 h 1050131"/>
                  <a:gd name="connsiteX8" fmla="*/ 0 w 608801"/>
                  <a:gd name="connsiteY8" fmla="*/ 30956 h 1050131"/>
                  <a:gd name="connsiteX0" fmla="*/ 64294 w 608801"/>
                  <a:gd name="connsiteY0" fmla="*/ 26193 h 1050131"/>
                  <a:gd name="connsiteX1" fmla="*/ 213786 w 608801"/>
                  <a:gd name="connsiteY1" fmla="*/ 0 h 1050131"/>
                  <a:gd name="connsiteX2" fmla="*/ 306382 w 608801"/>
                  <a:gd name="connsiteY2" fmla="*/ 600075 h 1050131"/>
                  <a:gd name="connsiteX3" fmla="*/ 347756 w 608801"/>
                  <a:gd name="connsiteY3" fmla="*/ 314920 h 1050131"/>
                  <a:gd name="connsiteX4" fmla="*/ 432054 w 608801"/>
                  <a:gd name="connsiteY4" fmla="*/ 2381 h 1050131"/>
                  <a:gd name="connsiteX5" fmla="*/ 589751 w 608801"/>
                  <a:gd name="connsiteY5" fmla="*/ 26194 h 1050131"/>
                  <a:gd name="connsiteX6" fmla="*/ 608801 w 608801"/>
                  <a:gd name="connsiteY6" fmla="*/ 1050131 h 1050131"/>
                  <a:gd name="connsiteX7" fmla="*/ 0 w 608801"/>
                  <a:gd name="connsiteY7" fmla="*/ 1050131 h 1050131"/>
                  <a:gd name="connsiteX8" fmla="*/ 64294 w 608801"/>
                  <a:gd name="connsiteY8" fmla="*/ 26193 h 1050131"/>
                  <a:gd name="connsiteX0" fmla="*/ 0 w 544507"/>
                  <a:gd name="connsiteY0" fmla="*/ 26193 h 1050131"/>
                  <a:gd name="connsiteX1" fmla="*/ 149492 w 544507"/>
                  <a:gd name="connsiteY1" fmla="*/ 0 h 1050131"/>
                  <a:gd name="connsiteX2" fmla="*/ 242088 w 544507"/>
                  <a:gd name="connsiteY2" fmla="*/ 600075 h 1050131"/>
                  <a:gd name="connsiteX3" fmla="*/ 283462 w 544507"/>
                  <a:gd name="connsiteY3" fmla="*/ 314920 h 1050131"/>
                  <a:gd name="connsiteX4" fmla="*/ 367760 w 544507"/>
                  <a:gd name="connsiteY4" fmla="*/ 2381 h 1050131"/>
                  <a:gd name="connsiteX5" fmla="*/ 525457 w 544507"/>
                  <a:gd name="connsiteY5" fmla="*/ 26194 h 1050131"/>
                  <a:gd name="connsiteX6" fmla="*/ 544507 w 544507"/>
                  <a:gd name="connsiteY6" fmla="*/ 1050131 h 1050131"/>
                  <a:gd name="connsiteX7" fmla="*/ 14287 w 544507"/>
                  <a:gd name="connsiteY7" fmla="*/ 900112 h 1050131"/>
                  <a:gd name="connsiteX8" fmla="*/ 0 w 544507"/>
                  <a:gd name="connsiteY8" fmla="*/ 26193 h 1050131"/>
                  <a:gd name="connsiteX0" fmla="*/ 0 w 525457"/>
                  <a:gd name="connsiteY0" fmla="*/ 26193 h 902493"/>
                  <a:gd name="connsiteX1" fmla="*/ 149492 w 525457"/>
                  <a:gd name="connsiteY1" fmla="*/ 0 h 902493"/>
                  <a:gd name="connsiteX2" fmla="*/ 242088 w 525457"/>
                  <a:gd name="connsiteY2" fmla="*/ 600075 h 902493"/>
                  <a:gd name="connsiteX3" fmla="*/ 283462 w 525457"/>
                  <a:gd name="connsiteY3" fmla="*/ 314920 h 902493"/>
                  <a:gd name="connsiteX4" fmla="*/ 367760 w 525457"/>
                  <a:gd name="connsiteY4" fmla="*/ 2381 h 902493"/>
                  <a:gd name="connsiteX5" fmla="*/ 525457 w 525457"/>
                  <a:gd name="connsiteY5" fmla="*/ 26194 h 902493"/>
                  <a:gd name="connsiteX6" fmla="*/ 511169 w 525457"/>
                  <a:gd name="connsiteY6" fmla="*/ 902493 h 902493"/>
                  <a:gd name="connsiteX7" fmla="*/ 14287 w 525457"/>
                  <a:gd name="connsiteY7" fmla="*/ 900112 h 902493"/>
                  <a:gd name="connsiteX8" fmla="*/ 0 w 525457"/>
                  <a:gd name="connsiteY8" fmla="*/ 26193 h 902493"/>
                  <a:gd name="connsiteX0" fmla="*/ 0 w 525457"/>
                  <a:gd name="connsiteY0" fmla="*/ 26193 h 902493"/>
                  <a:gd name="connsiteX1" fmla="*/ 149492 w 525457"/>
                  <a:gd name="connsiteY1" fmla="*/ 0 h 902493"/>
                  <a:gd name="connsiteX2" fmla="*/ 283462 w 525457"/>
                  <a:gd name="connsiteY2" fmla="*/ 314920 h 902493"/>
                  <a:gd name="connsiteX3" fmla="*/ 367760 w 525457"/>
                  <a:gd name="connsiteY3" fmla="*/ 2381 h 902493"/>
                  <a:gd name="connsiteX4" fmla="*/ 525457 w 525457"/>
                  <a:gd name="connsiteY4" fmla="*/ 26194 h 902493"/>
                  <a:gd name="connsiteX5" fmla="*/ 511169 w 525457"/>
                  <a:gd name="connsiteY5" fmla="*/ 902493 h 902493"/>
                  <a:gd name="connsiteX6" fmla="*/ 14287 w 525457"/>
                  <a:gd name="connsiteY6" fmla="*/ 900112 h 902493"/>
                  <a:gd name="connsiteX7" fmla="*/ 0 w 525457"/>
                  <a:gd name="connsiteY7" fmla="*/ 26193 h 902493"/>
                  <a:gd name="connsiteX0" fmla="*/ 0 w 525457"/>
                  <a:gd name="connsiteY0" fmla="*/ 26193 h 902493"/>
                  <a:gd name="connsiteX1" fmla="*/ 149492 w 525457"/>
                  <a:gd name="connsiteY1" fmla="*/ 0 h 902493"/>
                  <a:gd name="connsiteX2" fmla="*/ 264412 w 525457"/>
                  <a:gd name="connsiteY2" fmla="*/ 172045 h 902493"/>
                  <a:gd name="connsiteX3" fmla="*/ 367760 w 525457"/>
                  <a:gd name="connsiteY3" fmla="*/ 2381 h 902493"/>
                  <a:gd name="connsiteX4" fmla="*/ 525457 w 525457"/>
                  <a:gd name="connsiteY4" fmla="*/ 26194 h 902493"/>
                  <a:gd name="connsiteX5" fmla="*/ 511169 w 525457"/>
                  <a:gd name="connsiteY5" fmla="*/ 902493 h 902493"/>
                  <a:gd name="connsiteX6" fmla="*/ 14287 w 525457"/>
                  <a:gd name="connsiteY6" fmla="*/ 900112 h 902493"/>
                  <a:gd name="connsiteX7" fmla="*/ 0 w 525457"/>
                  <a:gd name="connsiteY7" fmla="*/ 26193 h 902493"/>
                  <a:gd name="connsiteX0" fmla="*/ 0 w 525457"/>
                  <a:gd name="connsiteY0" fmla="*/ 26193 h 902493"/>
                  <a:gd name="connsiteX1" fmla="*/ 149492 w 525457"/>
                  <a:gd name="connsiteY1" fmla="*/ 0 h 902493"/>
                  <a:gd name="connsiteX2" fmla="*/ 264412 w 525457"/>
                  <a:gd name="connsiteY2" fmla="*/ 172045 h 902493"/>
                  <a:gd name="connsiteX3" fmla="*/ 367760 w 525457"/>
                  <a:gd name="connsiteY3" fmla="*/ 2381 h 902493"/>
                  <a:gd name="connsiteX4" fmla="*/ 525457 w 525457"/>
                  <a:gd name="connsiteY4" fmla="*/ 26194 h 902493"/>
                  <a:gd name="connsiteX5" fmla="*/ 511169 w 525457"/>
                  <a:gd name="connsiteY5" fmla="*/ 902493 h 902493"/>
                  <a:gd name="connsiteX6" fmla="*/ 14287 w 525457"/>
                  <a:gd name="connsiteY6" fmla="*/ 900112 h 902493"/>
                  <a:gd name="connsiteX7" fmla="*/ 0 w 525457"/>
                  <a:gd name="connsiteY7" fmla="*/ 26193 h 902493"/>
                  <a:gd name="connsiteX0" fmla="*/ 0 w 525457"/>
                  <a:gd name="connsiteY0" fmla="*/ 26193 h 902493"/>
                  <a:gd name="connsiteX1" fmla="*/ 149492 w 525457"/>
                  <a:gd name="connsiteY1" fmla="*/ 0 h 902493"/>
                  <a:gd name="connsiteX2" fmla="*/ 257268 w 525457"/>
                  <a:gd name="connsiteY2" fmla="*/ 174427 h 902493"/>
                  <a:gd name="connsiteX3" fmla="*/ 367760 w 525457"/>
                  <a:gd name="connsiteY3" fmla="*/ 2381 h 902493"/>
                  <a:gd name="connsiteX4" fmla="*/ 525457 w 525457"/>
                  <a:gd name="connsiteY4" fmla="*/ 26194 h 902493"/>
                  <a:gd name="connsiteX5" fmla="*/ 511169 w 525457"/>
                  <a:gd name="connsiteY5" fmla="*/ 902493 h 902493"/>
                  <a:gd name="connsiteX6" fmla="*/ 14287 w 525457"/>
                  <a:gd name="connsiteY6" fmla="*/ 900112 h 902493"/>
                  <a:gd name="connsiteX7" fmla="*/ 0 w 525457"/>
                  <a:gd name="connsiteY7" fmla="*/ 26193 h 902493"/>
                  <a:gd name="connsiteX0" fmla="*/ 0 w 525457"/>
                  <a:gd name="connsiteY0" fmla="*/ 26193 h 902493"/>
                  <a:gd name="connsiteX1" fmla="*/ 149492 w 525457"/>
                  <a:gd name="connsiteY1" fmla="*/ 0 h 902493"/>
                  <a:gd name="connsiteX2" fmla="*/ 257268 w 525457"/>
                  <a:gd name="connsiteY2" fmla="*/ 174427 h 902493"/>
                  <a:gd name="connsiteX3" fmla="*/ 367760 w 525457"/>
                  <a:gd name="connsiteY3" fmla="*/ 2381 h 902493"/>
                  <a:gd name="connsiteX4" fmla="*/ 525457 w 525457"/>
                  <a:gd name="connsiteY4" fmla="*/ 26194 h 902493"/>
                  <a:gd name="connsiteX5" fmla="*/ 511169 w 525457"/>
                  <a:gd name="connsiteY5" fmla="*/ 902493 h 902493"/>
                  <a:gd name="connsiteX6" fmla="*/ 14287 w 525457"/>
                  <a:gd name="connsiteY6" fmla="*/ 900112 h 902493"/>
                  <a:gd name="connsiteX7" fmla="*/ 0 w 525457"/>
                  <a:gd name="connsiteY7" fmla="*/ 26193 h 902493"/>
                  <a:gd name="connsiteX0" fmla="*/ 0 w 525457"/>
                  <a:gd name="connsiteY0" fmla="*/ 30955 h 907255"/>
                  <a:gd name="connsiteX1" fmla="*/ 149492 w 525457"/>
                  <a:gd name="connsiteY1" fmla="*/ 0 h 907255"/>
                  <a:gd name="connsiteX2" fmla="*/ 257268 w 525457"/>
                  <a:gd name="connsiteY2" fmla="*/ 179189 h 907255"/>
                  <a:gd name="connsiteX3" fmla="*/ 367760 w 525457"/>
                  <a:gd name="connsiteY3" fmla="*/ 7143 h 907255"/>
                  <a:gd name="connsiteX4" fmla="*/ 525457 w 525457"/>
                  <a:gd name="connsiteY4" fmla="*/ 30956 h 907255"/>
                  <a:gd name="connsiteX5" fmla="*/ 511169 w 525457"/>
                  <a:gd name="connsiteY5" fmla="*/ 907255 h 907255"/>
                  <a:gd name="connsiteX6" fmla="*/ 14287 w 525457"/>
                  <a:gd name="connsiteY6" fmla="*/ 904874 h 907255"/>
                  <a:gd name="connsiteX7" fmla="*/ 0 w 525457"/>
                  <a:gd name="connsiteY7" fmla="*/ 30955 h 907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25457" h="907255">
                    <a:moveTo>
                      <a:pt x="0" y="30955"/>
                    </a:moveTo>
                    <a:lnTo>
                      <a:pt x="149492" y="0"/>
                    </a:lnTo>
                    <a:cubicBezTo>
                      <a:pt x="196736" y="48121"/>
                      <a:pt x="199808" y="93166"/>
                      <a:pt x="257268" y="179189"/>
                    </a:cubicBezTo>
                    <a:lnTo>
                      <a:pt x="367760" y="7143"/>
                    </a:lnTo>
                    <a:lnTo>
                      <a:pt x="525457" y="30956"/>
                    </a:lnTo>
                    <a:lnTo>
                      <a:pt x="511169" y="907255"/>
                    </a:lnTo>
                    <a:lnTo>
                      <a:pt x="14287" y="904874"/>
                    </a:lnTo>
                    <a:lnTo>
                      <a:pt x="0" y="30955"/>
                    </a:lnTo>
                    <a:close/>
                  </a:path>
                </a:pathLst>
              </a:custGeom>
              <a:solidFill>
                <a:srgbClr val="FFFFFF">
                  <a:lumMod val="65000"/>
                </a:srgb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28" name="Freeform 127"/>
              <p:cNvSpPr/>
              <p:nvPr/>
            </p:nvSpPr>
            <p:spPr bwMode="auto">
              <a:xfrm rot="5400000">
                <a:off x="11428551" y="1116145"/>
                <a:ext cx="392904" cy="309562"/>
              </a:xfrm>
              <a:custGeom>
                <a:avLst/>
                <a:gdLst>
                  <a:gd name="connsiteX0" fmla="*/ 0 w 392904"/>
                  <a:gd name="connsiteY0" fmla="*/ 184191 h 309562"/>
                  <a:gd name="connsiteX1" fmla="*/ 0 w 392904"/>
                  <a:gd name="connsiteY1" fmla="*/ 125371 h 309562"/>
                  <a:gd name="connsiteX2" fmla="*/ 95323 w 392904"/>
                  <a:gd name="connsiteY2" fmla="*/ 30048 h 309562"/>
                  <a:gd name="connsiteX3" fmla="*/ 107911 w 392904"/>
                  <a:gd name="connsiteY3" fmla="*/ 30048 h 309562"/>
                  <a:gd name="connsiteX4" fmla="*/ 116458 w 392904"/>
                  <a:gd name="connsiteY4" fmla="*/ 9416 h 309562"/>
                  <a:gd name="connsiteX5" fmla="*/ 139189 w 392904"/>
                  <a:gd name="connsiteY5" fmla="*/ 0 h 309562"/>
                  <a:gd name="connsiteX6" fmla="*/ 182279 w 392904"/>
                  <a:gd name="connsiteY6" fmla="*/ 0 h 309562"/>
                  <a:gd name="connsiteX7" fmla="*/ 205010 w 392904"/>
                  <a:gd name="connsiteY7" fmla="*/ 9416 h 309562"/>
                  <a:gd name="connsiteX8" fmla="*/ 213557 w 392904"/>
                  <a:gd name="connsiteY8" fmla="*/ 30048 h 309562"/>
                  <a:gd name="connsiteX9" fmla="*/ 252339 w 392904"/>
                  <a:gd name="connsiteY9" fmla="*/ 30048 h 309562"/>
                  <a:gd name="connsiteX10" fmla="*/ 319742 w 392904"/>
                  <a:gd name="connsiteY10" fmla="*/ 57968 h 309562"/>
                  <a:gd name="connsiteX11" fmla="*/ 336441 w 392904"/>
                  <a:gd name="connsiteY11" fmla="*/ 82735 h 309562"/>
                  <a:gd name="connsiteX12" fmla="*/ 357186 w 392904"/>
                  <a:gd name="connsiteY12" fmla="*/ 80848 h 309562"/>
                  <a:gd name="connsiteX13" fmla="*/ 392904 w 392904"/>
                  <a:gd name="connsiteY13" fmla="*/ 152286 h 309562"/>
                  <a:gd name="connsiteX14" fmla="*/ 357186 w 392904"/>
                  <a:gd name="connsiteY14" fmla="*/ 235629 h 309562"/>
                  <a:gd name="connsiteX15" fmla="*/ 330992 w 392904"/>
                  <a:gd name="connsiteY15" fmla="*/ 235629 h 309562"/>
                  <a:gd name="connsiteX16" fmla="*/ 330992 w 392904"/>
                  <a:gd name="connsiteY16" fmla="*/ 234909 h 309562"/>
                  <a:gd name="connsiteX17" fmla="*/ 319742 w 392904"/>
                  <a:gd name="connsiteY17" fmla="*/ 251594 h 309562"/>
                  <a:gd name="connsiteX18" fmla="*/ 252339 w 392904"/>
                  <a:gd name="connsiteY18" fmla="*/ 279514 h 309562"/>
                  <a:gd name="connsiteX19" fmla="*/ 213557 w 392904"/>
                  <a:gd name="connsiteY19" fmla="*/ 279514 h 309562"/>
                  <a:gd name="connsiteX20" fmla="*/ 205010 w 392904"/>
                  <a:gd name="connsiteY20" fmla="*/ 300146 h 309562"/>
                  <a:gd name="connsiteX21" fmla="*/ 182279 w 392904"/>
                  <a:gd name="connsiteY21" fmla="*/ 309562 h 309562"/>
                  <a:gd name="connsiteX22" fmla="*/ 139189 w 392904"/>
                  <a:gd name="connsiteY22" fmla="*/ 309562 h 309562"/>
                  <a:gd name="connsiteX23" fmla="*/ 116458 w 392904"/>
                  <a:gd name="connsiteY23" fmla="*/ 300146 h 309562"/>
                  <a:gd name="connsiteX24" fmla="*/ 107911 w 392904"/>
                  <a:gd name="connsiteY24" fmla="*/ 279514 h 309562"/>
                  <a:gd name="connsiteX25" fmla="*/ 95323 w 392904"/>
                  <a:gd name="connsiteY25" fmla="*/ 279514 h 309562"/>
                  <a:gd name="connsiteX26" fmla="*/ 0 w 392904"/>
                  <a:gd name="connsiteY26" fmla="*/ 184191 h 309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392904" h="309562">
                    <a:moveTo>
                      <a:pt x="0" y="184191"/>
                    </a:moveTo>
                    <a:lnTo>
                      <a:pt x="0" y="125371"/>
                    </a:lnTo>
                    <a:cubicBezTo>
                      <a:pt x="0" y="72726"/>
                      <a:pt x="42678" y="30048"/>
                      <a:pt x="95323" y="30048"/>
                    </a:cubicBezTo>
                    <a:lnTo>
                      <a:pt x="107911" y="30048"/>
                    </a:lnTo>
                    <a:lnTo>
                      <a:pt x="116458" y="9416"/>
                    </a:lnTo>
                    <a:cubicBezTo>
                      <a:pt x="122275" y="3598"/>
                      <a:pt x="130312" y="0"/>
                      <a:pt x="139189" y="0"/>
                    </a:cubicBezTo>
                    <a:lnTo>
                      <a:pt x="182279" y="0"/>
                    </a:lnTo>
                    <a:cubicBezTo>
                      <a:pt x="191156" y="0"/>
                      <a:pt x="199193" y="3598"/>
                      <a:pt x="205010" y="9416"/>
                    </a:cubicBezTo>
                    <a:lnTo>
                      <a:pt x="213557" y="30048"/>
                    </a:lnTo>
                    <a:lnTo>
                      <a:pt x="252339" y="30048"/>
                    </a:lnTo>
                    <a:cubicBezTo>
                      <a:pt x="278662" y="30048"/>
                      <a:pt x="302492" y="40718"/>
                      <a:pt x="319742" y="57968"/>
                    </a:cubicBezTo>
                    <a:lnTo>
                      <a:pt x="336441" y="82735"/>
                    </a:lnTo>
                    <a:lnTo>
                      <a:pt x="357186" y="80848"/>
                    </a:lnTo>
                    <a:lnTo>
                      <a:pt x="392904" y="152286"/>
                    </a:lnTo>
                    <a:lnTo>
                      <a:pt x="357186" y="235629"/>
                    </a:lnTo>
                    <a:lnTo>
                      <a:pt x="330992" y="235629"/>
                    </a:lnTo>
                    <a:lnTo>
                      <a:pt x="330992" y="234909"/>
                    </a:lnTo>
                    <a:lnTo>
                      <a:pt x="319742" y="251594"/>
                    </a:lnTo>
                    <a:cubicBezTo>
                      <a:pt x="302492" y="268845"/>
                      <a:pt x="278662" y="279514"/>
                      <a:pt x="252339" y="279514"/>
                    </a:cubicBezTo>
                    <a:lnTo>
                      <a:pt x="213557" y="279514"/>
                    </a:lnTo>
                    <a:lnTo>
                      <a:pt x="205010" y="300146"/>
                    </a:lnTo>
                    <a:cubicBezTo>
                      <a:pt x="199193" y="305964"/>
                      <a:pt x="191156" y="309562"/>
                      <a:pt x="182279" y="309562"/>
                    </a:cubicBezTo>
                    <a:lnTo>
                      <a:pt x="139189" y="309562"/>
                    </a:lnTo>
                    <a:cubicBezTo>
                      <a:pt x="130312" y="309562"/>
                      <a:pt x="122275" y="305964"/>
                      <a:pt x="116458" y="300146"/>
                    </a:cubicBezTo>
                    <a:lnTo>
                      <a:pt x="107911" y="279514"/>
                    </a:lnTo>
                    <a:lnTo>
                      <a:pt x="95323" y="279514"/>
                    </a:lnTo>
                    <a:cubicBezTo>
                      <a:pt x="42678" y="279514"/>
                      <a:pt x="0" y="236836"/>
                      <a:pt x="0" y="184191"/>
                    </a:cubicBezTo>
                    <a:close/>
                  </a:path>
                </a:pathLst>
              </a:custGeom>
              <a:solidFill>
                <a:srgbClr val="FFC000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29" name="Freeform 128"/>
              <p:cNvSpPr/>
              <p:nvPr/>
            </p:nvSpPr>
            <p:spPr bwMode="auto">
              <a:xfrm>
                <a:off x="11472272" y="1019300"/>
                <a:ext cx="301906" cy="195665"/>
              </a:xfrm>
              <a:custGeom>
                <a:avLst/>
                <a:gdLst>
                  <a:gd name="connsiteX0" fmla="*/ 300038 w 300038"/>
                  <a:gd name="connsiteY0" fmla="*/ 190500 h 190500"/>
                  <a:gd name="connsiteX1" fmla="*/ 271463 w 300038"/>
                  <a:gd name="connsiteY1" fmla="*/ 116681 h 190500"/>
                  <a:gd name="connsiteX2" fmla="*/ 195263 w 300038"/>
                  <a:gd name="connsiteY2" fmla="*/ 107156 h 190500"/>
                  <a:gd name="connsiteX3" fmla="*/ 52388 w 300038"/>
                  <a:gd name="connsiteY3" fmla="*/ 100012 h 190500"/>
                  <a:gd name="connsiteX4" fmla="*/ 21431 w 300038"/>
                  <a:gd name="connsiteY4" fmla="*/ 119062 h 190500"/>
                  <a:gd name="connsiteX5" fmla="*/ 23813 w 300038"/>
                  <a:gd name="connsiteY5" fmla="*/ 164306 h 190500"/>
                  <a:gd name="connsiteX6" fmla="*/ 0 w 300038"/>
                  <a:gd name="connsiteY6" fmla="*/ 171450 h 190500"/>
                  <a:gd name="connsiteX7" fmla="*/ 97631 w 300038"/>
                  <a:gd name="connsiteY7" fmla="*/ 0 h 190500"/>
                  <a:gd name="connsiteX8" fmla="*/ 214313 w 300038"/>
                  <a:gd name="connsiteY8" fmla="*/ 40481 h 190500"/>
                  <a:gd name="connsiteX9" fmla="*/ 300038 w 300038"/>
                  <a:gd name="connsiteY9" fmla="*/ 190500 h 190500"/>
                  <a:gd name="connsiteX0" fmla="*/ 300038 w 300038"/>
                  <a:gd name="connsiteY0" fmla="*/ 190500 h 190500"/>
                  <a:gd name="connsiteX1" fmla="*/ 271463 w 300038"/>
                  <a:gd name="connsiteY1" fmla="*/ 116681 h 190500"/>
                  <a:gd name="connsiteX2" fmla="*/ 195263 w 300038"/>
                  <a:gd name="connsiteY2" fmla="*/ 107156 h 190500"/>
                  <a:gd name="connsiteX3" fmla="*/ 52388 w 300038"/>
                  <a:gd name="connsiteY3" fmla="*/ 100012 h 190500"/>
                  <a:gd name="connsiteX4" fmla="*/ 21431 w 300038"/>
                  <a:gd name="connsiteY4" fmla="*/ 119062 h 190500"/>
                  <a:gd name="connsiteX5" fmla="*/ 23813 w 300038"/>
                  <a:gd name="connsiteY5" fmla="*/ 164306 h 190500"/>
                  <a:gd name="connsiteX6" fmla="*/ 0 w 300038"/>
                  <a:gd name="connsiteY6" fmla="*/ 171450 h 190500"/>
                  <a:gd name="connsiteX7" fmla="*/ 97631 w 300038"/>
                  <a:gd name="connsiteY7" fmla="*/ 0 h 190500"/>
                  <a:gd name="connsiteX8" fmla="*/ 214313 w 300038"/>
                  <a:gd name="connsiteY8" fmla="*/ 40481 h 190500"/>
                  <a:gd name="connsiteX9" fmla="*/ 300038 w 300038"/>
                  <a:gd name="connsiteY9" fmla="*/ 190500 h 190500"/>
                  <a:gd name="connsiteX0" fmla="*/ 300038 w 300038"/>
                  <a:gd name="connsiteY0" fmla="*/ 190500 h 190500"/>
                  <a:gd name="connsiteX1" fmla="*/ 271463 w 300038"/>
                  <a:gd name="connsiteY1" fmla="*/ 116681 h 190500"/>
                  <a:gd name="connsiteX2" fmla="*/ 195263 w 300038"/>
                  <a:gd name="connsiteY2" fmla="*/ 107156 h 190500"/>
                  <a:gd name="connsiteX3" fmla="*/ 52388 w 300038"/>
                  <a:gd name="connsiteY3" fmla="*/ 100012 h 190500"/>
                  <a:gd name="connsiteX4" fmla="*/ 21431 w 300038"/>
                  <a:gd name="connsiteY4" fmla="*/ 119062 h 190500"/>
                  <a:gd name="connsiteX5" fmla="*/ 23813 w 300038"/>
                  <a:gd name="connsiteY5" fmla="*/ 164306 h 190500"/>
                  <a:gd name="connsiteX6" fmla="*/ 0 w 300038"/>
                  <a:gd name="connsiteY6" fmla="*/ 171450 h 190500"/>
                  <a:gd name="connsiteX7" fmla="*/ 97631 w 300038"/>
                  <a:gd name="connsiteY7" fmla="*/ 0 h 190500"/>
                  <a:gd name="connsiteX8" fmla="*/ 214313 w 300038"/>
                  <a:gd name="connsiteY8" fmla="*/ 40481 h 190500"/>
                  <a:gd name="connsiteX9" fmla="*/ 300038 w 300038"/>
                  <a:gd name="connsiteY9" fmla="*/ 190500 h 190500"/>
                  <a:gd name="connsiteX0" fmla="*/ 300038 w 301649"/>
                  <a:gd name="connsiteY0" fmla="*/ 190500 h 190500"/>
                  <a:gd name="connsiteX1" fmla="*/ 271463 w 301649"/>
                  <a:gd name="connsiteY1" fmla="*/ 116681 h 190500"/>
                  <a:gd name="connsiteX2" fmla="*/ 195263 w 301649"/>
                  <a:gd name="connsiteY2" fmla="*/ 107156 h 190500"/>
                  <a:gd name="connsiteX3" fmla="*/ 52388 w 301649"/>
                  <a:gd name="connsiteY3" fmla="*/ 100012 h 190500"/>
                  <a:gd name="connsiteX4" fmla="*/ 21431 w 301649"/>
                  <a:gd name="connsiteY4" fmla="*/ 119062 h 190500"/>
                  <a:gd name="connsiteX5" fmla="*/ 23813 w 301649"/>
                  <a:gd name="connsiteY5" fmla="*/ 164306 h 190500"/>
                  <a:gd name="connsiteX6" fmla="*/ 0 w 301649"/>
                  <a:gd name="connsiteY6" fmla="*/ 171450 h 190500"/>
                  <a:gd name="connsiteX7" fmla="*/ 97631 w 301649"/>
                  <a:gd name="connsiteY7" fmla="*/ 0 h 190500"/>
                  <a:gd name="connsiteX8" fmla="*/ 214313 w 301649"/>
                  <a:gd name="connsiteY8" fmla="*/ 40481 h 190500"/>
                  <a:gd name="connsiteX9" fmla="*/ 300038 w 301649"/>
                  <a:gd name="connsiteY9" fmla="*/ 190500 h 190500"/>
                  <a:gd name="connsiteX0" fmla="*/ 300038 w 301649"/>
                  <a:gd name="connsiteY0" fmla="*/ 194507 h 194507"/>
                  <a:gd name="connsiteX1" fmla="*/ 271463 w 301649"/>
                  <a:gd name="connsiteY1" fmla="*/ 120688 h 194507"/>
                  <a:gd name="connsiteX2" fmla="*/ 195263 w 301649"/>
                  <a:gd name="connsiteY2" fmla="*/ 111163 h 194507"/>
                  <a:gd name="connsiteX3" fmla="*/ 52388 w 301649"/>
                  <a:gd name="connsiteY3" fmla="*/ 104019 h 194507"/>
                  <a:gd name="connsiteX4" fmla="*/ 21431 w 301649"/>
                  <a:gd name="connsiteY4" fmla="*/ 123069 h 194507"/>
                  <a:gd name="connsiteX5" fmla="*/ 23813 w 301649"/>
                  <a:gd name="connsiteY5" fmla="*/ 168313 h 194507"/>
                  <a:gd name="connsiteX6" fmla="*/ 0 w 301649"/>
                  <a:gd name="connsiteY6" fmla="*/ 175457 h 194507"/>
                  <a:gd name="connsiteX7" fmla="*/ 97631 w 301649"/>
                  <a:gd name="connsiteY7" fmla="*/ 4007 h 194507"/>
                  <a:gd name="connsiteX8" fmla="*/ 214313 w 301649"/>
                  <a:gd name="connsiteY8" fmla="*/ 44488 h 194507"/>
                  <a:gd name="connsiteX9" fmla="*/ 300038 w 301649"/>
                  <a:gd name="connsiteY9" fmla="*/ 194507 h 194507"/>
                  <a:gd name="connsiteX0" fmla="*/ 300038 w 301649"/>
                  <a:gd name="connsiteY0" fmla="*/ 195665 h 195665"/>
                  <a:gd name="connsiteX1" fmla="*/ 271463 w 301649"/>
                  <a:gd name="connsiteY1" fmla="*/ 121846 h 195665"/>
                  <a:gd name="connsiteX2" fmla="*/ 195263 w 301649"/>
                  <a:gd name="connsiteY2" fmla="*/ 112321 h 195665"/>
                  <a:gd name="connsiteX3" fmla="*/ 52388 w 301649"/>
                  <a:gd name="connsiteY3" fmla="*/ 105177 h 195665"/>
                  <a:gd name="connsiteX4" fmla="*/ 21431 w 301649"/>
                  <a:gd name="connsiteY4" fmla="*/ 124227 h 195665"/>
                  <a:gd name="connsiteX5" fmla="*/ 23813 w 301649"/>
                  <a:gd name="connsiteY5" fmla="*/ 169471 h 195665"/>
                  <a:gd name="connsiteX6" fmla="*/ 0 w 301649"/>
                  <a:gd name="connsiteY6" fmla="*/ 176615 h 195665"/>
                  <a:gd name="connsiteX7" fmla="*/ 97631 w 301649"/>
                  <a:gd name="connsiteY7" fmla="*/ 5165 h 195665"/>
                  <a:gd name="connsiteX8" fmla="*/ 214313 w 301649"/>
                  <a:gd name="connsiteY8" fmla="*/ 45646 h 195665"/>
                  <a:gd name="connsiteX9" fmla="*/ 300038 w 301649"/>
                  <a:gd name="connsiteY9" fmla="*/ 195665 h 195665"/>
                  <a:gd name="connsiteX0" fmla="*/ 300038 w 301649"/>
                  <a:gd name="connsiteY0" fmla="*/ 195665 h 195665"/>
                  <a:gd name="connsiteX1" fmla="*/ 271463 w 301649"/>
                  <a:gd name="connsiteY1" fmla="*/ 121846 h 195665"/>
                  <a:gd name="connsiteX2" fmla="*/ 195263 w 301649"/>
                  <a:gd name="connsiteY2" fmla="*/ 112321 h 195665"/>
                  <a:gd name="connsiteX3" fmla="*/ 52388 w 301649"/>
                  <a:gd name="connsiteY3" fmla="*/ 105177 h 195665"/>
                  <a:gd name="connsiteX4" fmla="*/ 45243 w 301649"/>
                  <a:gd name="connsiteY4" fmla="*/ 150420 h 195665"/>
                  <a:gd name="connsiteX5" fmla="*/ 23813 w 301649"/>
                  <a:gd name="connsiteY5" fmla="*/ 169471 h 195665"/>
                  <a:gd name="connsiteX6" fmla="*/ 0 w 301649"/>
                  <a:gd name="connsiteY6" fmla="*/ 176615 h 195665"/>
                  <a:gd name="connsiteX7" fmla="*/ 97631 w 301649"/>
                  <a:gd name="connsiteY7" fmla="*/ 5165 h 195665"/>
                  <a:gd name="connsiteX8" fmla="*/ 214313 w 301649"/>
                  <a:gd name="connsiteY8" fmla="*/ 45646 h 195665"/>
                  <a:gd name="connsiteX9" fmla="*/ 300038 w 301649"/>
                  <a:gd name="connsiteY9" fmla="*/ 195665 h 195665"/>
                  <a:gd name="connsiteX0" fmla="*/ 300483 w 302094"/>
                  <a:gd name="connsiteY0" fmla="*/ 195665 h 195665"/>
                  <a:gd name="connsiteX1" fmla="*/ 271908 w 302094"/>
                  <a:gd name="connsiteY1" fmla="*/ 121846 h 195665"/>
                  <a:gd name="connsiteX2" fmla="*/ 195708 w 302094"/>
                  <a:gd name="connsiteY2" fmla="*/ 112321 h 195665"/>
                  <a:gd name="connsiteX3" fmla="*/ 52833 w 302094"/>
                  <a:gd name="connsiteY3" fmla="*/ 105177 h 195665"/>
                  <a:gd name="connsiteX4" fmla="*/ 45688 w 302094"/>
                  <a:gd name="connsiteY4" fmla="*/ 150420 h 195665"/>
                  <a:gd name="connsiteX5" fmla="*/ 24258 w 302094"/>
                  <a:gd name="connsiteY5" fmla="*/ 169471 h 195665"/>
                  <a:gd name="connsiteX6" fmla="*/ 445 w 302094"/>
                  <a:gd name="connsiteY6" fmla="*/ 176615 h 195665"/>
                  <a:gd name="connsiteX7" fmla="*/ 98076 w 302094"/>
                  <a:gd name="connsiteY7" fmla="*/ 5165 h 195665"/>
                  <a:gd name="connsiteX8" fmla="*/ 214758 w 302094"/>
                  <a:gd name="connsiteY8" fmla="*/ 45646 h 195665"/>
                  <a:gd name="connsiteX9" fmla="*/ 300483 w 302094"/>
                  <a:gd name="connsiteY9" fmla="*/ 195665 h 195665"/>
                  <a:gd name="connsiteX0" fmla="*/ 300483 w 302094"/>
                  <a:gd name="connsiteY0" fmla="*/ 195665 h 195665"/>
                  <a:gd name="connsiteX1" fmla="*/ 271908 w 302094"/>
                  <a:gd name="connsiteY1" fmla="*/ 121846 h 195665"/>
                  <a:gd name="connsiteX2" fmla="*/ 195708 w 302094"/>
                  <a:gd name="connsiteY2" fmla="*/ 112321 h 195665"/>
                  <a:gd name="connsiteX3" fmla="*/ 52833 w 302094"/>
                  <a:gd name="connsiteY3" fmla="*/ 105177 h 195665"/>
                  <a:gd name="connsiteX4" fmla="*/ 45688 w 302094"/>
                  <a:gd name="connsiteY4" fmla="*/ 150420 h 195665"/>
                  <a:gd name="connsiteX5" fmla="*/ 21877 w 302094"/>
                  <a:gd name="connsiteY5" fmla="*/ 131371 h 195665"/>
                  <a:gd name="connsiteX6" fmla="*/ 445 w 302094"/>
                  <a:gd name="connsiteY6" fmla="*/ 176615 h 195665"/>
                  <a:gd name="connsiteX7" fmla="*/ 98076 w 302094"/>
                  <a:gd name="connsiteY7" fmla="*/ 5165 h 195665"/>
                  <a:gd name="connsiteX8" fmla="*/ 214758 w 302094"/>
                  <a:gd name="connsiteY8" fmla="*/ 45646 h 195665"/>
                  <a:gd name="connsiteX9" fmla="*/ 300483 w 302094"/>
                  <a:gd name="connsiteY9" fmla="*/ 195665 h 195665"/>
                  <a:gd name="connsiteX0" fmla="*/ 300483 w 302094"/>
                  <a:gd name="connsiteY0" fmla="*/ 195665 h 195665"/>
                  <a:gd name="connsiteX1" fmla="*/ 271908 w 302094"/>
                  <a:gd name="connsiteY1" fmla="*/ 121846 h 195665"/>
                  <a:gd name="connsiteX2" fmla="*/ 195708 w 302094"/>
                  <a:gd name="connsiteY2" fmla="*/ 112321 h 195665"/>
                  <a:gd name="connsiteX3" fmla="*/ 52833 w 302094"/>
                  <a:gd name="connsiteY3" fmla="*/ 105177 h 195665"/>
                  <a:gd name="connsiteX4" fmla="*/ 43307 w 302094"/>
                  <a:gd name="connsiteY4" fmla="*/ 126608 h 195665"/>
                  <a:gd name="connsiteX5" fmla="*/ 21877 w 302094"/>
                  <a:gd name="connsiteY5" fmla="*/ 131371 h 195665"/>
                  <a:gd name="connsiteX6" fmla="*/ 445 w 302094"/>
                  <a:gd name="connsiteY6" fmla="*/ 176615 h 195665"/>
                  <a:gd name="connsiteX7" fmla="*/ 98076 w 302094"/>
                  <a:gd name="connsiteY7" fmla="*/ 5165 h 195665"/>
                  <a:gd name="connsiteX8" fmla="*/ 214758 w 302094"/>
                  <a:gd name="connsiteY8" fmla="*/ 45646 h 195665"/>
                  <a:gd name="connsiteX9" fmla="*/ 300483 w 302094"/>
                  <a:gd name="connsiteY9" fmla="*/ 195665 h 195665"/>
                  <a:gd name="connsiteX0" fmla="*/ 300483 w 302094"/>
                  <a:gd name="connsiteY0" fmla="*/ 195665 h 195665"/>
                  <a:gd name="connsiteX1" fmla="*/ 271908 w 302094"/>
                  <a:gd name="connsiteY1" fmla="*/ 121846 h 195665"/>
                  <a:gd name="connsiteX2" fmla="*/ 195708 w 302094"/>
                  <a:gd name="connsiteY2" fmla="*/ 112321 h 195665"/>
                  <a:gd name="connsiteX3" fmla="*/ 52833 w 302094"/>
                  <a:gd name="connsiteY3" fmla="*/ 105177 h 195665"/>
                  <a:gd name="connsiteX4" fmla="*/ 43307 w 302094"/>
                  <a:gd name="connsiteY4" fmla="*/ 126608 h 195665"/>
                  <a:gd name="connsiteX5" fmla="*/ 12352 w 302094"/>
                  <a:gd name="connsiteY5" fmla="*/ 171852 h 195665"/>
                  <a:gd name="connsiteX6" fmla="*/ 445 w 302094"/>
                  <a:gd name="connsiteY6" fmla="*/ 176615 h 195665"/>
                  <a:gd name="connsiteX7" fmla="*/ 98076 w 302094"/>
                  <a:gd name="connsiteY7" fmla="*/ 5165 h 195665"/>
                  <a:gd name="connsiteX8" fmla="*/ 214758 w 302094"/>
                  <a:gd name="connsiteY8" fmla="*/ 45646 h 195665"/>
                  <a:gd name="connsiteX9" fmla="*/ 300483 w 302094"/>
                  <a:gd name="connsiteY9" fmla="*/ 195665 h 195665"/>
                  <a:gd name="connsiteX0" fmla="*/ 300483 w 302094"/>
                  <a:gd name="connsiteY0" fmla="*/ 195665 h 195665"/>
                  <a:gd name="connsiteX1" fmla="*/ 271908 w 302094"/>
                  <a:gd name="connsiteY1" fmla="*/ 121846 h 195665"/>
                  <a:gd name="connsiteX2" fmla="*/ 195708 w 302094"/>
                  <a:gd name="connsiteY2" fmla="*/ 112321 h 195665"/>
                  <a:gd name="connsiteX3" fmla="*/ 52833 w 302094"/>
                  <a:gd name="connsiteY3" fmla="*/ 105177 h 195665"/>
                  <a:gd name="connsiteX4" fmla="*/ 43307 w 302094"/>
                  <a:gd name="connsiteY4" fmla="*/ 126608 h 195665"/>
                  <a:gd name="connsiteX5" fmla="*/ 12352 w 302094"/>
                  <a:gd name="connsiteY5" fmla="*/ 171852 h 195665"/>
                  <a:gd name="connsiteX6" fmla="*/ 445 w 302094"/>
                  <a:gd name="connsiteY6" fmla="*/ 176615 h 195665"/>
                  <a:gd name="connsiteX7" fmla="*/ 98076 w 302094"/>
                  <a:gd name="connsiteY7" fmla="*/ 5165 h 195665"/>
                  <a:gd name="connsiteX8" fmla="*/ 214758 w 302094"/>
                  <a:gd name="connsiteY8" fmla="*/ 45646 h 195665"/>
                  <a:gd name="connsiteX9" fmla="*/ 300483 w 302094"/>
                  <a:gd name="connsiteY9" fmla="*/ 195665 h 195665"/>
                  <a:gd name="connsiteX0" fmla="*/ 300483 w 302094"/>
                  <a:gd name="connsiteY0" fmla="*/ 195665 h 195665"/>
                  <a:gd name="connsiteX1" fmla="*/ 271908 w 302094"/>
                  <a:gd name="connsiteY1" fmla="*/ 121846 h 195665"/>
                  <a:gd name="connsiteX2" fmla="*/ 195708 w 302094"/>
                  <a:gd name="connsiteY2" fmla="*/ 112321 h 195665"/>
                  <a:gd name="connsiteX3" fmla="*/ 52833 w 302094"/>
                  <a:gd name="connsiteY3" fmla="*/ 105177 h 195665"/>
                  <a:gd name="connsiteX4" fmla="*/ 43307 w 302094"/>
                  <a:gd name="connsiteY4" fmla="*/ 126608 h 195665"/>
                  <a:gd name="connsiteX5" fmla="*/ 12352 w 302094"/>
                  <a:gd name="connsiteY5" fmla="*/ 171852 h 195665"/>
                  <a:gd name="connsiteX6" fmla="*/ 445 w 302094"/>
                  <a:gd name="connsiteY6" fmla="*/ 176615 h 195665"/>
                  <a:gd name="connsiteX7" fmla="*/ 98076 w 302094"/>
                  <a:gd name="connsiteY7" fmla="*/ 5165 h 195665"/>
                  <a:gd name="connsiteX8" fmla="*/ 214758 w 302094"/>
                  <a:gd name="connsiteY8" fmla="*/ 45646 h 195665"/>
                  <a:gd name="connsiteX9" fmla="*/ 300483 w 302094"/>
                  <a:gd name="connsiteY9" fmla="*/ 195665 h 195665"/>
                  <a:gd name="connsiteX0" fmla="*/ 300483 w 302094"/>
                  <a:gd name="connsiteY0" fmla="*/ 195665 h 195665"/>
                  <a:gd name="connsiteX1" fmla="*/ 271908 w 302094"/>
                  <a:gd name="connsiteY1" fmla="*/ 121846 h 195665"/>
                  <a:gd name="connsiteX2" fmla="*/ 195708 w 302094"/>
                  <a:gd name="connsiteY2" fmla="*/ 112321 h 195665"/>
                  <a:gd name="connsiteX3" fmla="*/ 52833 w 302094"/>
                  <a:gd name="connsiteY3" fmla="*/ 105177 h 195665"/>
                  <a:gd name="connsiteX4" fmla="*/ 43307 w 302094"/>
                  <a:gd name="connsiteY4" fmla="*/ 126608 h 195665"/>
                  <a:gd name="connsiteX5" fmla="*/ 12352 w 302094"/>
                  <a:gd name="connsiteY5" fmla="*/ 171852 h 195665"/>
                  <a:gd name="connsiteX6" fmla="*/ 445 w 302094"/>
                  <a:gd name="connsiteY6" fmla="*/ 176615 h 195665"/>
                  <a:gd name="connsiteX7" fmla="*/ 98076 w 302094"/>
                  <a:gd name="connsiteY7" fmla="*/ 5165 h 195665"/>
                  <a:gd name="connsiteX8" fmla="*/ 214758 w 302094"/>
                  <a:gd name="connsiteY8" fmla="*/ 45646 h 195665"/>
                  <a:gd name="connsiteX9" fmla="*/ 300483 w 302094"/>
                  <a:gd name="connsiteY9" fmla="*/ 195665 h 195665"/>
                  <a:gd name="connsiteX0" fmla="*/ 300483 w 302094"/>
                  <a:gd name="connsiteY0" fmla="*/ 195665 h 195665"/>
                  <a:gd name="connsiteX1" fmla="*/ 271908 w 302094"/>
                  <a:gd name="connsiteY1" fmla="*/ 121846 h 195665"/>
                  <a:gd name="connsiteX2" fmla="*/ 195708 w 302094"/>
                  <a:gd name="connsiteY2" fmla="*/ 112321 h 195665"/>
                  <a:gd name="connsiteX3" fmla="*/ 52833 w 302094"/>
                  <a:gd name="connsiteY3" fmla="*/ 105177 h 195665"/>
                  <a:gd name="connsiteX4" fmla="*/ 43307 w 302094"/>
                  <a:gd name="connsiteY4" fmla="*/ 126608 h 195665"/>
                  <a:gd name="connsiteX5" fmla="*/ 12352 w 302094"/>
                  <a:gd name="connsiteY5" fmla="*/ 171852 h 195665"/>
                  <a:gd name="connsiteX6" fmla="*/ 445 w 302094"/>
                  <a:gd name="connsiteY6" fmla="*/ 176615 h 195665"/>
                  <a:gd name="connsiteX7" fmla="*/ 98076 w 302094"/>
                  <a:gd name="connsiteY7" fmla="*/ 5165 h 195665"/>
                  <a:gd name="connsiteX8" fmla="*/ 214758 w 302094"/>
                  <a:gd name="connsiteY8" fmla="*/ 45646 h 195665"/>
                  <a:gd name="connsiteX9" fmla="*/ 300483 w 302094"/>
                  <a:gd name="connsiteY9" fmla="*/ 195665 h 195665"/>
                  <a:gd name="connsiteX0" fmla="*/ 300483 w 301906"/>
                  <a:gd name="connsiteY0" fmla="*/ 195665 h 195665"/>
                  <a:gd name="connsiteX1" fmla="*/ 271908 w 301906"/>
                  <a:gd name="connsiteY1" fmla="*/ 121846 h 195665"/>
                  <a:gd name="connsiteX2" fmla="*/ 195708 w 301906"/>
                  <a:gd name="connsiteY2" fmla="*/ 112321 h 195665"/>
                  <a:gd name="connsiteX3" fmla="*/ 52833 w 301906"/>
                  <a:gd name="connsiteY3" fmla="*/ 105177 h 195665"/>
                  <a:gd name="connsiteX4" fmla="*/ 43307 w 301906"/>
                  <a:gd name="connsiteY4" fmla="*/ 126608 h 195665"/>
                  <a:gd name="connsiteX5" fmla="*/ 12352 w 301906"/>
                  <a:gd name="connsiteY5" fmla="*/ 171852 h 195665"/>
                  <a:gd name="connsiteX6" fmla="*/ 445 w 301906"/>
                  <a:gd name="connsiteY6" fmla="*/ 176615 h 195665"/>
                  <a:gd name="connsiteX7" fmla="*/ 98076 w 301906"/>
                  <a:gd name="connsiteY7" fmla="*/ 5165 h 195665"/>
                  <a:gd name="connsiteX8" fmla="*/ 214758 w 301906"/>
                  <a:gd name="connsiteY8" fmla="*/ 45646 h 195665"/>
                  <a:gd name="connsiteX9" fmla="*/ 300483 w 301906"/>
                  <a:gd name="connsiteY9" fmla="*/ 195665 h 195665"/>
                  <a:gd name="connsiteX0" fmla="*/ 300483 w 301906"/>
                  <a:gd name="connsiteY0" fmla="*/ 195665 h 195665"/>
                  <a:gd name="connsiteX1" fmla="*/ 271908 w 301906"/>
                  <a:gd name="connsiteY1" fmla="*/ 121846 h 195665"/>
                  <a:gd name="connsiteX2" fmla="*/ 195708 w 301906"/>
                  <a:gd name="connsiteY2" fmla="*/ 112321 h 195665"/>
                  <a:gd name="connsiteX3" fmla="*/ 52833 w 301906"/>
                  <a:gd name="connsiteY3" fmla="*/ 105177 h 195665"/>
                  <a:gd name="connsiteX4" fmla="*/ 43307 w 301906"/>
                  <a:gd name="connsiteY4" fmla="*/ 126608 h 195665"/>
                  <a:gd name="connsiteX5" fmla="*/ 12352 w 301906"/>
                  <a:gd name="connsiteY5" fmla="*/ 171852 h 195665"/>
                  <a:gd name="connsiteX6" fmla="*/ 445 w 301906"/>
                  <a:gd name="connsiteY6" fmla="*/ 176615 h 195665"/>
                  <a:gd name="connsiteX7" fmla="*/ 98076 w 301906"/>
                  <a:gd name="connsiteY7" fmla="*/ 5165 h 195665"/>
                  <a:gd name="connsiteX8" fmla="*/ 214758 w 301906"/>
                  <a:gd name="connsiteY8" fmla="*/ 45646 h 195665"/>
                  <a:gd name="connsiteX9" fmla="*/ 300483 w 301906"/>
                  <a:gd name="connsiteY9" fmla="*/ 195665 h 1956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01906" h="195665">
                    <a:moveTo>
                      <a:pt x="300483" y="195665"/>
                    </a:moveTo>
                    <a:cubicBezTo>
                      <a:pt x="231426" y="159153"/>
                      <a:pt x="281433" y="146452"/>
                      <a:pt x="271908" y="121846"/>
                    </a:cubicBezTo>
                    <a:cubicBezTo>
                      <a:pt x="246508" y="130578"/>
                      <a:pt x="221108" y="115496"/>
                      <a:pt x="195708" y="112321"/>
                    </a:cubicBezTo>
                    <a:cubicBezTo>
                      <a:pt x="117127" y="138515"/>
                      <a:pt x="86170" y="124227"/>
                      <a:pt x="52833" y="105177"/>
                    </a:cubicBezTo>
                    <a:lnTo>
                      <a:pt x="43307" y="126608"/>
                    </a:lnTo>
                    <a:cubicBezTo>
                      <a:pt x="32989" y="141689"/>
                      <a:pt x="32195" y="178203"/>
                      <a:pt x="12352" y="171852"/>
                    </a:cubicBezTo>
                    <a:lnTo>
                      <a:pt x="445" y="176615"/>
                    </a:lnTo>
                    <a:cubicBezTo>
                      <a:pt x="-2730" y="105177"/>
                      <a:pt x="9176" y="22627"/>
                      <a:pt x="98076" y="5165"/>
                    </a:cubicBezTo>
                    <a:cubicBezTo>
                      <a:pt x="186976" y="-12297"/>
                      <a:pt x="204439" y="17864"/>
                      <a:pt x="214758" y="45646"/>
                    </a:cubicBezTo>
                    <a:cubicBezTo>
                      <a:pt x="302864" y="31358"/>
                      <a:pt x="305246" y="133753"/>
                      <a:pt x="300483" y="195665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9" name="Group 8"/>
            <p:cNvGrpSpPr/>
            <p:nvPr/>
          </p:nvGrpSpPr>
          <p:grpSpPr>
            <a:xfrm>
              <a:off x="10261789" y="1365521"/>
              <a:ext cx="1452774" cy="1010025"/>
              <a:chOff x="4684178" y="3699471"/>
              <a:chExt cx="1230015" cy="855152"/>
            </a:xfrm>
          </p:grpSpPr>
          <p:sp>
            <p:nvSpPr>
              <p:cNvPr id="119" name="Rounded Rectangle 118"/>
              <p:cNvSpPr/>
              <p:nvPr/>
            </p:nvSpPr>
            <p:spPr bwMode="auto">
              <a:xfrm>
                <a:off x="4798066" y="3708236"/>
                <a:ext cx="990599" cy="811898"/>
              </a:xfrm>
              <a:prstGeom prst="roundRect">
                <a:avLst>
                  <a:gd name="adj" fmla="val 8466"/>
                </a:avLst>
              </a:prstGeom>
              <a:solidFill>
                <a:srgbClr val="FFFFFF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20" name="Freeform 20"/>
              <p:cNvSpPr>
                <a:spLocks noEditPoints="1"/>
              </p:cNvSpPr>
              <p:nvPr/>
            </p:nvSpPr>
            <p:spPr bwMode="black">
              <a:xfrm>
                <a:off x="4684178" y="3699471"/>
                <a:ext cx="1230015" cy="855152"/>
              </a:xfrm>
              <a:custGeom>
                <a:avLst/>
                <a:gdLst/>
                <a:ahLst/>
                <a:cxnLst>
                  <a:cxn ang="0">
                    <a:pos x="774" y="456"/>
                  </a:cxn>
                  <a:cxn ang="0">
                    <a:pos x="774" y="36"/>
                  </a:cxn>
                  <a:cxn ang="0">
                    <a:pos x="737" y="0"/>
                  </a:cxn>
                  <a:cxn ang="0">
                    <a:pos x="107" y="0"/>
                  </a:cxn>
                  <a:cxn ang="0">
                    <a:pos x="71" y="36"/>
                  </a:cxn>
                  <a:cxn ang="0">
                    <a:pos x="71" y="456"/>
                  </a:cxn>
                  <a:cxn ang="0">
                    <a:pos x="0" y="544"/>
                  </a:cxn>
                  <a:cxn ang="0">
                    <a:pos x="44" y="588"/>
                  </a:cxn>
                  <a:cxn ang="0">
                    <a:pos x="800" y="588"/>
                  </a:cxn>
                  <a:cxn ang="0">
                    <a:pos x="844" y="544"/>
                  </a:cxn>
                  <a:cxn ang="0">
                    <a:pos x="774" y="456"/>
                  </a:cxn>
                  <a:cxn ang="0">
                    <a:pos x="481" y="554"/>
                  </a:cxn>
                  <a:cxn ang="0">
                    <a:pos x="350" y="554"/>
                  </a:cxn>
                  <a:cxn ang="0">
                    <a:pos x="337" y="547"/>
                  </a:cxn>
                  <a:cxn ang="0">
                    <a:pos x="352" y="519"/>
                  </a:cxn>
                  <a:cxn ang="0">
                    <a:pos x="363" y="514"/>
                  </a:cxn>
                  <a:cxn ang="0">
                    <a:pos x="468" y="514"/>
                  </a:cxn>
                  <a:cxn ang="0">
                    <a:pos x="478" y="519"/>
                  </a:cxn>
                  <a:cxn ang="0">
                    <a:pos x="494" y="547"/>
                  </a:cxn>
                  <a:cxn ang="0">
                    <a:pos x="481" y="554"/>
                  </a:cxn>
                  <a:cxn ang="0">
                    <a:pos x="748" y="456"/>
                  </a:cxn>
                  <a:cxn ang="0">
                    <a:pos x="99" y="456"/>
                  </a:cxn>
                  <a:cxn ang="0">
                    <a:pos x="99" y="42"/>
                  </a:cxn>
                  <a:cxn ang="0">
                    <a:pos x="117" y="24"/>
                  </a:cxn>
                  <a:cxn ang="0">
                    <a:pos x="730" y="24"/>
                  </a:cxn>
                  <a:cxn ang="0">
                    <a:pos x="748" y="42"/>
                  </a:cxn>
                  <a:cxn ang="0">
                    <a:pos x="748" y="456"/>
                  </a:cxn>
                </a:cxnLst>
                <a:rect l="0" t="0" r="r" b="b"/>
                <a:pathLst>
                  <a:path w="844" h="588">
                    <a:moveTo>
                      <a:pt x="774" y="456"/>
                    </a:moveTo>
                    <a:cubicBezTo>
                      <a:pt x="774" y="36"/>
                      <a:pt x="774" y="36"/>
                      <a:pt x="774" y="36"/>
                    </a:cubicBezTo>
                    <a:cubicBezTo>
                      <a:pt x="774" y="16"/>
                      <a:pt x="757" y="0"/>
                      <a:pt x="737" y="0"/>
                    </a:cubicBezTo>
                    <a:cubicBezTo>
                      <a:pt x="107" y="0"/>
                      <a:pt x="107" y="0"/>
                      <a:pt x="107" y="0"/>
                    </a:cubicBezTo>
                    <a:cubicBezTo>
                      <a:pt x="87" y="0"/>
                      <a:pt x="71" y="16"/>
                      <a:pt x="71" y="36"/>
                    </a:cubicBezTo>
                    <a:cubicBezTo>
                      <a:pt x="71" y="456"/>
                      <a:pt x="71" y="456"/>
                      <a:pt x="71" y="456"/>
                    </a:cubicBezTo>
                    <a:cubicBezTo>
                      <a:pt x="0" y="544"/>
                      <a:pt x="0" y="544"/>
                      <a:pt x="0" y="544"/>
                    </a:cubicBezTo>
                    <a:cubicBezTo>
                      <a:pt x="0" y="568"/>
                      <a:pt x="20" y="588"/>
                      <a:pt x="44" y="588"/>
                    </a:cubicBezTo>
                    <a:cubicBezTo>
                      <a:pt x="800" y="588"/>
                      <a:pt x="800" y="588"/>
                      <a:pt x="800" y="588"/>
                    </a:cubicBezTo>
                    <a:cubicBezTo>
                      <a:pt x="824" y="588"/>
                      <a:pt x="844" y="568"/>
                      <a:pt x="844" y="544"/>
                    </a:cubicBezTo>
                    <a:lnTo>
                      <a:pt x="774" y="456"/>
                    </a:lnTo>
                    <a:close/>
                    <a:moveTo>
                      <a:pt x="481" y="554"/>
                    </a:moveTo>
                    <a:cubicBezTo>
                      <a:pt x="350" y="554"/>
                      <a:pt x="350" y="554"/>
                      <a:pt x="350" y="554"/>
                    </a:cubicBezTo>
                    <a:cubicBezTo>
                      <a:pt x="343" y="554"/>
                      <a:pt x="337" y="551"/>
                      <a:pt x="337" y="547"/>
                    </a:cubicBezTo>
                    <a:cubicBezTo>
                      <a:pt x="352" y="519"/>
                      <a:pt x="352" y="519"/>
                      <a:pt x="352" y="519"/>
                    </a:cubicBezTo>
                    <a:cubicBezTo>
                      <a:pt x="352" y="516"/>
                      <a:pt x="357" y="514"/>
                      <a:pt x="363" y="514"/>
                    </a:cubicBezTo>
                    <a:cubicBezTo>
                      <a:pt x="468" y="514"/>
                      <a:pt x="468" y="514"/>
                      <a:pt x="468" y="514"/>
                    </a:cubicBezTo>
                    <a:cubicBezTo>
                      <a:pt x="473" y="514"/>
                      <a:pt x="478" y="516"/>
                      <a:pt x="478" y="519"/>
                    </a:cubicBezTo>
                    <a:cubicBezTo>
                      <a:pt x="494" y="547"/>
                      <a:pt x="494" y="547"/>
                      <a:pt x="494" y="547"/>
                    </a:cubicBezTo>
                    <a:cubicBezTo>
                      <a:pt x="494" y="551"/>
                      <a:pt x="488" y="554"/>
                      <a:pt x="481" y="554"/>
                    </a:cubicBezTo>
                    <a:close/>
                    <a:moveTo>
                      <a:pt x="748" y="456"/>
                    </a:moveTo>
                    <a:cubicBezTo>
                      <a:pt x="99" y="456"/>
                      <a:pt x="99" y="456"/>
                      <a:pt x="99" y="456"/>
                    </a:cubicBezTo>
                    <a:cubicBezTo>
                      <a:pt x="99" y="42"/>
                      <a:pt x="99" y="42"/>
                      <a:pt x="99" y="42"/>
                    </a:cubicBezTo>
                    <a:cubicBezTo>
                      <a:pt x="99" y="32"/>
                      <a:pt x="107" y="24"/>
                      <a:pt x="117" y="24"/>
                    </a:cubicBezTo>
                    <a:cubicBezTo>
                      <a:pt x="730" y="24"/>
                      <a:pt x="730" y="24"/>
                      <a:pt x="730" y="24"/>
                    </a:cubicBezTo>
                    <a:cubicBezTo>
                      <a:pt x="740" y="24"/>
                      <a:pt x="748" y="32"/>
                      <a:pt x="748" y="42"/>
                    </a:cubicBezTo>
                    <a:lnTo>
                      <a:pt x="748" y="456"/>
                    </a:lnTo>
                    <a:close/>
                  </a:path>
                </a:pathLst>
              </a:custGeom>
              <a:solidFill>
                <a:srgbClr val="4B0045"/>
              </a:solidFill>
              <a:extLst/>
            </p:spPr>
            <p:txBody>
              <a:bodyPr vert="horz" wrap="square" lIns="82305" tIns="41153" rIns="82305" bIns="4115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215" name="Group 214"/>
            <p:cNvGrpSpPr/>
            <p:nvPr/>
          </p:nvGrpSpPr>
          <p:grpSpPr>
            <a:xfrm>
              <a:off x="10571930" y="1461899"/>
              <a:ext cx="842963" cy="631824"/>
              <a:chOff x="2858823" y="4164014"/>
              <a:chExt cx="842963" cy="631824"/>
            </a:xfrm>
          </p:grpSpPr>
          <p:sp>
            <p:nvSpPr>
              <p:cNvPr id="198" name="Rectangle 11"/>
              <p:cNvSpPr>
                <a:spLocks noChangeArrowheads="1"/>
              </p:cNvSpPr>
              <p:nvPr/>
            </p:nvSpPr>
            <p:spPr bwMode="auto">
              <a:xfrm>
                <a:off x="3006462" y="4560888"/>
                <a:ext cx="177800" cy="26988"/>
              </a:xfrm>
              <a:prstGeom prst="rect">
                <a:avLst/>
              </a:prstGeom>
              <a:solidFill>
                <a:srgbClr val="0072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9" name="Rectangle 12"/>
              <p:cNvSpPr>
                <a:spLocks noChangeArrowheads="1"/>
              </p:cNvSpPr>
              <p:nvPr/>
            </p:nvSpPr>
            <p:spPr bwMode="auto">
              <a:xfrm>
                <a:off x="2962012" y="4560888"/>
                <a:ext cx="28575" cy="26988"/>
              </a:xfrm>
              <a:prstGeom prst="rect">
                <a:avLst/>
              </a:prstGeom>
              <a:solidFill>
                <a:srgbClr val="0072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0" name="Rectangle 13"/>
              <p:cNvSpPr>
                <a:spLocks noChangeArrowheads="1"/>
              </p:cNvSpPr>
              <p:nvPr/>
            </p:nvSpPr>
            <p:spPr bwMode="auto">
              <a:xfrm>
                <a:off x="3006462" y="4618038"/>
                <a:ext cx="192087" cy="26988"/>
              </a:xfrm>
              <a:prstGeom prst="rect">
                <a:avLst/>
              </a:prstGeom>
              <a:solidFill>
                <a:srgbClr val="0072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1" name="Rectangle 14"/>
              <p:cNvSpPr>
                <a:spLocks noChangeArrowheads="1"/>
              </p:cNvSpPr>
              <p:nvPr/>
            </p:nvSpPr>
            <p:spPr bwMode="auto">
              <a:xfrm>
                <a:off x="2962012" y="4618038"/>
                <a:ext cx="28575" cy="26988"/>
              </a:xfrm>
              <a:prstGeom prst="rect">
                <a:avLst/>
              </a:prstGeom>
              <a:solidFill>
                <a:srgbClr val="0072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2" name="Rectangle 15"/>
              <p:cNvSpPr>
                <a:spLocks noChangeArrowheads="1"/>
              </p:cNvSpPr>
              <p:nvPr/>
            </p:nvSpPr>
            <p:spPr bwMode="auto">
              <a:xfrm>
                <a:off x="3006462" y="4673601"/>
                <a:ext cx="141287" cy="26988"/>
              </a:xfrm>
              <a:prstGeom prst="rect">
                <a:avLst/>
              </a:prstGeom>
              <a:solidFill>
                <a:srgbClr val="0072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3" name="Rectangle 16"/>
              <p:cNvSpPr>
                <a:spLocks noChangeArrowheads="1"/>
              </p:cNvSpPr>
              <p:nvPr/>
            </p:nvSpPr>
            <p:spPr bwMode="auto">
              <a:xfrm>
                <a:off x="2962012" y="4673601"/>
                <a:ext cx="28575" cy="26988"/>
              </a:xfrm>
              <a:prstGeom prst="rect">
                <a:avLst/>
              </a:prstGeom>
              <a:solidFill>
                <a:srgbClr val="0072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4" name="Rectangle 17"/>
              <p:cNvSpPr>
                <a:spLocks noChangeArrowheads="1"/>
              </p:cNvSpPr>
              <p:nvPr/>
            </p:nvSpPr>
            <p:spPr bwMode="auto">
              <a:xfrm>
                <a:off x="3158862" y="4349751"/>
                <a:ext cx="36512" cy="150813"/>
              </a:xfrm>
              <a:prstGeom prst="rect">
                <a:avLst/>
              </a:prstGeom>
              <a:solidFill>
                <a:srgbClr val="3410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5" name="Rectangle 18"/>
              <p:cNvSpPr>
                <a:spLocks noChangeArrowheads="1"/>
              </p:cNvSpPr>
              <p:nvPr/>
            </p:nvSpPr>
            <p:spPr bwMode="auto">
              <a:xfrm>
                <a:off x="3109649" y="4460876"/>
                <a:ext cx="36512" cy="39688"/>
              </a:xfrm>
              <a:prstGeom prst="rect">
                <a:avLst/>
              </a:prstGeom>
              <a:solidFill>
                <a:srgbClr val="4E195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6" name="Rectangle 19"/>
              <p:cNvSpPr>
                <a:spLocks noChangeArrowheads="1"/>
              </p:cNvSpPr>
              <p:nvPr/>
            </p:nvSpPr>
            <p:spPr bwMode="auto">
              <a:xfrm>
                <a:off x="3062024" y="4395788"/>
                <a:ext cx="34925" cy="104775"/>
              </a:xfrm>
              <a:prstGeom prst="rect">
                <a:avLst/>
              </a:prstGeom>
              <a:solidFill>
                <a:srgbClr val="B957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7" name="Rectangle 20"/>
              <p:cNvSpPr>
                <a:spLocks noChangeArrowheads="1"/>
              </p:cNvSpPr>
              <p:nvPr/>
            </p:nvSpPr>
            <p:spPr bwMode="auto">
              <a:xfrm>
                <a:off x="3009637" y="4370388"/>
                <a:ext cx="33337" cy="130175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8" name="Rectangle 21"/>
              <p:cNvSpPr>
                <a:spLocks noChangeArrowheads="1"/>
              </p:cNvSpPr>
              <p:nvPr/>
            </p:nvSpPr>
            <p:spPr bwMode="auto">
              <a:xfrm>
                <a:off x="2958837" y="4418013"/>
                <a:ext cx="36512" cy="82550"/>
              </a:xfrm>
              <a:prstGeom prst="rect">
                <a:avLst/>
              </a:prstGeom>
              <a:solidFill>
                <a:srgbClr val="D08F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9" name="Freeform 22"/>
              <p:cNvSpPr>
                <a:spLocks/>
              </p:cNvSpPr>
              <p:nvPr/>
            </p:nvSpPr>
            <p:spPr bwMode="auto">
              <a:xfrm>
                <a:off x="3279512" y="4410076"/>
                <a:ext cx="282575" cy="280988"/>
              </a:xfrm>
              <a:custGeom>
                <a:avLst/>
                <a:gdLst>
                  <a:gd name="T0" fmla="*/ 88 w 178"/>
                  <a:gd name="T1" fmla="*/ 0 h 177"/>
                  <a:gd name="T2" fmla="*/ 88 w 178"/>
                  <a:gd name="T3" fmla="*/ 0 h 177"/>
                  <a:gd name="T4" fmla="*/ 80 w 178"/>
                  <a:gd name="T5" fmla="*/ 0 h 177"/>
                  <a:gd name="T6" fmla="*/ 70 w 178"/>
                  <a:gd name="T7" fmla="*/ 1 h 177"/>
                  <a:gd name="T8" fmla="*/ 63 w 178"/>
                  <a:gd name="T9" fmla="*/ 4 h 177"/>
                  <a:gd name="T10" fmla="*/ 55 w 178"/>
                  <a:gd name="T11" fmla="*/ 7 h 177"/>
                  <a:gd name="T12" fmla="*/ 46 w 178"/>
                  <a:gd name="T13" fmla="*/ 11 h 177"/>
                  <a:gd name="T14" fmla="*/ 39 w 178"/>
                  <a:gd name="T15" fmla="*/ 14 h 177"/>
                  <a:gd name="T16" fmla="*/ 32 w 178"/>
                  <a:gd name="T17" fmla="*/ 21 h 177"/>
                  <a:gd name="T18" fmla="*/ 27 w 178"/>
                  <a:gd name="T19" fmla="*/ 25 h 177"/>
                  <a:gd name="T20" fmla="*/ 20 w 178"/>
                  <a:gd name="T21" fmla="*/ 32 h 177"/>
                  <a:gd name="T22" fmla="*/ 15 w 178"/>
                  <a:gd name="T23" fmla="*/ 39 h 177"/>
                  <a:gd name="T24" fmla="*/ 10 w 178"/>
                  <a:gd name="T25" fmla="*/ 47 h 177"/>
                  <a:gd name="T26" fmla="*/ 7 w 178"/>
                  <a:gd name="T27" fmla="*/ 54 h 177"/>
                  <a:gd name="T28" fmla="*/ 4 w 178"/>
                  <a:gd name="T29" fmla="*/ 61 h 177"/>
                  <a:gd name="T30" fmla="*/ 1 w 178"/>
                  <a:gd name="T31" fmla="*/ 71 h 177"/>
                  <a:gd name="T32" fmla="*/ 0 w 178"/>
                  <a:gd name="T33" fmla="*/ 80 h 177"/>
                  <a:gd name="T34" fmla="*/ 0 w 178"/>
                  <a:gd name="T35" fmla="*/ 89 h 177"/>
                  <a:gd name="T36" fmla="*/ 0 w 178"/>
                  <a:gd name="T37" fmla="*/ 98 h 177"/>
                  <a:gd name="T38" fmla="*/ 1 w 178"/>
                  <a:gd name="T39" fmla="*/ 106 h 177"/>
                  <a:gd name="T40" fmla="*/ 4 w 178"/>
                  <a:gd name="T41" fmla="*/ 116 h 177"/>
                  <a:gd name="T42" fmla="*/ 7 w 178"/>
                  <a:gd name="T43" fmla="*/ 123 h 177"/>
                  <a:gd name="T44" fmla="*/ 10 w 178"/>
                  <a:gd name="T45" fmla="*/ 131 h 177"/>
                  <a:gd name="T46" fmla="*/ 15 w 178"/>
                  <a:gd name="T47" fmla="*/ 138 h 177"/>
                  <a:gd name="T48" fmla="*/ 20 w 178"/>
                  <a:gd name="T49" fmla="*/ 145 h 177"/>
                  <a:gd name="T50" fmla="*/ 27 w 178"/>
                  <a:gd name="T51" fmla="*/ 152 h 177"/>
                  <a:gd name="T52" fmla="*/ 32 w 178"/>
                  <a:gd name="T53" fmla="*/ 158 h 177"/>
                  <a:gd name="T54" fmla="*/ 39 w 178"/>
                  <a:gd name="T55" fmla="*/ 163 h 177"/>
                  <a:gd name="T56" fmla="*/ 46 w 178"/>
                  <a:gd name="T57" fmla="*/ 166 h 177"/>
                  <a:gd name="T58" fmla="*/ 55 w 178"/>
                  <a:gd name="T59" fmla="*/ 170 h 177"/>
                  <a:gd name="T60" fmla="*/ 63 w 178"/>
                  <a:gd name="T61" fmla="*/ 173 h 177"/>
                  <a:gd name="T62" fmla="*/ 70 w 178"/>
                  <a:gd name="T63" fmla="*/ 176 h 177"/>
                  <a:gd name="T64" fmla="*/ 80 w 178"/>
                  <a:gd name="T65" fmla="*/ 177 h 177"/>
                  <a:gd name="T66" fmla="*/ 88 w 178"/>
                  <a:gd name="T67" fmla="*/ 177 h 177"/>
                  <a:gd name="T68" fmla="*/ 98 w 178"/>
                  <a:gd name="T69" fmla="*/ 177 h 177"/>
                  <a:gd name="T70" fmla="*/ 106 w 178"/>
                  <a:gd name="T71" fmla="*/ 176 h 177"/>
                  <a:gd name="T72" fmla="*/ 115 w 178"/>
                  <a:gd name="T73" fmla="*/ 173 h 177"/>
                  <a:gd name="T74" fmla="*/ 123 w 178"/>
                  <a:gd name="T75" fmla="*/ 170 h 177"/>
                  <a:gd name="T76" fmla="*/ 130 w 178"/>
                  <a:gd name="T77" fmla="*/ 166 h 177"/>
                  <a:gd name="T78" fmla="*/ 139 w 178"/>
                  <a:gd name="T79" fmla="*/ 163 h 177"/>
                  <a:gd name="T80" fmla="*/ 144 w 178"/>
                  <a:gd name="T81" fmla="*/ 158 h 177"/>
                  <a:gd name="T82" fmla="*/ 151 w 178"/>
                  <a:gd name="T83" fmla="*/ 152 h 177"/>
                  <a:gd name="T84" fmla="*/ 157 w 178"/>
                  <a:gd name="T85" fmla="*/ 147 h 177"/>
                  <a:gd name="T86" fmla="*/ 161 w 178"/>
                  <a:gd name="T87" fmla="*/ 140 h 177"/>
                  <a:gd name="T88" fmla="*/ 167 w 178"/>
                  <a:gd name="T89" fmla="*/ 133 h 177"/>
                  <a:gd name="T90" fmla="*/ 169 w 178"/>
                  <a:gd name="T91" fmla="*/ 124 h 177"/>
                  <a:gd name="T92" fmla="*/ 174 w 178"/>
                  <a:gd name="T93" fmla="*/ 116 h 177"/>
                  <a:gd name="T94" fmla="*/ 175 w 178"/>
                  <a:gd name="T95" fmla="*/ 109 h 177"/>
                  <a:gd name="T96" fmla="*/ 176 w 178"/>
                  <a:gd name="T97" fmla="*/ 100 h 177"/>
                  <a:gd name="T98" fmla="*/ 178 w 178"/>
                  <a:gd name="T99" fmla="*/ 91 h 177"/>
                  <a:gd name="T100" fmla="*/ 88 w 178"/>
                  <a:gd name="T101" fmla="*/ 91 h 177"/>
                  <a:gd name="T102" fmla="*/ 88 w 178"/>
                  <a:gd name="T103" fmla="*/ 0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78" h="177">
                    <a:moveTo>
                      <a:pt x="88" y="0"/>
                    </a:moveTo>
                    <a:lnTo>
                      <a:pt x="88" y="0"/>
                    </a:lnTo>
                    <a:lnTo>
                      <a:pt x="80" y="0"/>
                    </a:lnTo>
                    <a:lnTo>
                      <a:pt x="70" y="1"/>
                    </a:lnTo>
                    <a:lnTo>
                      <a:pt x="63" y="4"/>
                    </a:lnTo>
                    <a:lnTo>
                      <a:pt x="55" y="7"/>
                    </a:lnTo>
                    <a:lnTo>
                      <a:pt x="46" y="11"/>
                    </a:lnTo>
                    <a:lnTo>
                      <a:pt x="39" y="14"/>
                    </a:lnTo>
                    <a:lnTo>
                      <a:pt x="32" y="21"/>
                    </a:lnTo>
                    <a:lnTo>
                      <a:pt x="27" y="25"/>
                    </a:lnTo>
                    <a:lnTo>
                      <a:pt x="20" y="32"/>
                    </a:lnTo>
                    <a:lnTo>
                      <a:pt x="15" y="39"/>
                    </a:lnTo>
                    <a:lnTo>
                      <a:pt x="10" y="47"/>
                    </a:lnTo>
                    <a:lnTo>
                      <a:pt x="7" y="54"/>
                    </a:lnTo>
                    <a:lnTo>
                      <a:pt x="4" y="61"/>
                    </a:lnTo>
                    <a:lnTo>
                      <a:pt x="1" y="71"/>
                    </a:lnTo>
                    <a:lnTo>
                      <a:pt x="0" y="80"/>
                    </a:lnTo>
                    <a:lnTo>
                      <a:pt x="0" y="89"/>
                    </a:lnTo>
                    <a:lnTo>
                      <a:pt x="0" y="98"/>
                    </a:lnTo>
                    <a:lnTo>
                      <a:pt x="1" y="106"/>
                    </a:lnTo>
                    <a:lnTo>
                      <a:pt x="4" y="116"/>
                    </a:lnTo>
                    <a:lnTo>
                      <a:pt x="7" y="123"/>
                    </a:lnTo>
                    <a:lnTo>
                      <a:pt x="10" y="131"/>
                    </a:lnTo>
                    <a:lnTo>
                      <a:pt x="15" y="138"/>
                    </a:lnTo>
                    <a:lnTo>
                      <a:pt x="20" y="145"/>
                    </a:lnTo>
                    <a:lnTo>
                      <a:pt x="27" y="152"/>
                    </a:lnTo>
                    <a:lnTo>
                      <a:pt x="32" y="158"/>
                    </a:lnTo>
                    <a:lnTo>
                      <a:pt x="39" y="163"/>
                    </a:lnTo>
                    <a:lnTo>
                      <a:pt x="46" y="166"/>
                    </a:lnTo>
                    <a:lnTo>
                      <a:pt x="55" y="170"/>
                    </a:lnTo>
                    <a:lnTo>
                      <a:pt x="63" y="173"/>
                    </a:lnTo>
                    <a:lnTo>
                      <a:pt x="70" y="176"/>
                    </a:lnTo>
                    <a:lnTo>
                      <a:pt x="80" y="177"/>
                    </a:lnTo>
                    <a:lnTo>
                      <a:pt x="88" y="177"/>
                    </a:lnTo>
                    <a:lnTo>
                      <a:pt x="98" y="177"/>
                    </a:lnTo>
                    <a:lnTo>
                      <a:pt x="106" y="176"/>
                    </a:lnTo>
                    <a:lnTo>
                      <a:pt x="115" y="173"/>
                    </a:lnTo>
                    <a:lnTo>
                      <a:pt x="123" y="170"/>
                    </a:lnTo>
                    <a:lnTo>
                      <a:pt x="130" y="166"/>
                    </a:lnTo>
                    <a:lnTo>
                      <a:pt x="139" y="163"/>
                    </a:lnTo>
                    <a:lnTo>
                      <a:pt x="144" y="158"/>
                    </a:lnTo>
                    <a:lnTo>
                      <a:pt x="151" y="152"/>
                    </a:lnTo>
                    <a:lnTo>
                      <a:pt x="157" y="147"/>
                    </a:lnTo>
                    <a:lnTo>
                      <a:pt x="161" y="140"/>
                    </a:lnTo>
                    <a:lnTo>
                      <a:pt x="167" y="133"/>
                    </a:lnTo>
                    <a:lnTo>
                      <a:pt x="169" y="124"/>
                    </a:lnTo>
                    <a:lnTo>
                      <a:pt x="174" y="116"/>
                    </a:lnTo>
                    <a:lnTo>
                      <a:pt x="175" y="109"/>
                    </a:lnTo>
                    <a:lnTo>
                      <a:pt x="176" y="100"/>
                    </a:lnTo>
                    <a:lnTo>
                      <a:pt x="178" y="91"/>
                    </a:lnTo>
                    <a:lnTo>
                      <a:pt x="88" y="91"/>
                    </a:lnTo>
                    <a:lnTo>
                      <a:pt x="88" y="0"/>
                    </a:lnTo>
                    <a:close/>
                  </a:path>
                </a:pathLst>
              </a:custGeom>
              <a:solidFill>
                <a:srgbClr val="DC3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0" name="Rectangle 23"/>
              <p:cNvSpPr>
                <a:spLocks noChangeArrowheads="1"/>
              </p:cNvSpPr>
              <p:nvPr/>
            </p:nvSpPr>
            <p:spPr bwMode="auto">
              <a:xfrm>
                <a:off x="3584312" y="4192588"/>
                <a:ext cx="26987" cy="25400"/>
              </a:xfrm>
              <a:prstGeom prst="rect">
                <a:avLst/>
              </a:prstGeom>
              <a:solidFill>
                <a:srgbClr val="00827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1" name="Freeform 24"/>
              <p:cNvSpPr>
                <a:spLocks noEditPoints="1"/>
              </p:cNvSpPr>
              <p:nvPr/>
            </p:nvSpPr>
            <p:spPr bwMode="auto">
              <a:xfrm>
                <a:off x="2858823" y="4164014"/>
                <a:ext cx="834077" cy="76200"/>
              </a:xfrm>
              <a:custGeom>
                <a:avLst/>
                <a:gdLst>
                  <a:gd name="T0" fmla="*/ 0 w 532"/>
                  <a:gd name="T1" fmla="*/ 0 h 53"/>
                  <a:gd name="T2" fmla="*/ 0 w 532"/>
                  <a:gd name="T3" fmla="*/ 53 h 53"/>
                  <a:gd name="T4" fmla="*/ 532 w 532"/>
                  <a:gd name="T5" fmla="*/ 53 h 53"/>
                  <a:gd name="T6" fmla="*/ 532 w 532"/>
                  <a:gd name="T7" fmla="*/ 0 h 53"/>
                  <a:gd name="T8" fmla="*/ 0 w 532"/>
                  <a:gd name="T9" fmla="*/ 0 h 53"/>
                  <a:gd name="T10" fmla="*/ 434 w 532"/>
                  <a:gd name="T11" fmla="*/ 45 h 53"/>
                  <a:gd name="T12" fmla="*/ 402 w 532"/>
                  <a:gd name="T13" fmla="*/ 45 h 53"/>
                  <a:gd name="T14" fmla="*/ 402 w 532"/>
                  <a:gd name="T15" fmla="*/ 37 h 53"/>
                  <a:gd name="T16" fmla="*/ 434 w 532"/>
                  <a:gd name="T17" fmla="*/ 37 h 53"/>
                  <a:gd name="T18" fmla="*/ 434 w 532"/>
                  <a:gd name="T19" fmla="*/ 45 h 53"/>
                  <a:gd name="T20" fmla="*/ 477 w 532"/>
                  <a:gd name="T21" fmla="*/ 45 h 53"/>
                  <a:gd name="T22" fmla="*/ 449 w 532"/>
                  <a:gd name="T23" fmla="*/ 45 h 53"/>
                  <a:gd name="T24" fmla="*/ 449 w 532"/>
                  <a:gd name="T25" fmla="*/ 16 h 53"/>
                  <a:gd name="T26" fmla="*/ 477 w 532"/>
                  <a:gd name="T27" fmla="*/ 16 h 53"/>
                  <a:gd name="T28" fmla="*/ 477 w 532"/>
                  <a:gd name="T29" fmla="*/ 45 h 53"/>
                  <a:gd name="T30" fmla="*/ 521 w 532"/>
                  <a:gd name="T31" fmla="*/ 39 h 53"/>
                  <a:gd name="T32" fmla="*/ 515 w 532"/>
                  <a:gd name="T33" fmla="*/ 45 h 53"/>
                  <a:gd name="T34" fmla="*/ 507 w 532"/>
                  <a:gd name="T35" fmla="*/ 38 h 53"/>
                  <a:gd name="T36" fmla="*/ 498 w 532"/>
                  <a:gd name="T37" fmla="*/ 45 h 53"/>
                  <a:gd name="T38" fmla="*/ 493 w 532"/>
                  <a:gd name="T39" fmla="*/ 39 h 53"/>
                  <a:gd name="T40" fmla="*/ 500 w 532"/>
                  <a:gd name="T41" fmla="*/ 31 h 53"/>
                  <a:gd name="T42" fmla="*/ 493 w 532"/>
                  <a:gd name="T43" fmla="*/ 23 h 53"/>
                  <a:gd name="T44" fmla="*/ 498 w 532"/>
                  <a:gd name="T45" fmla="*/ 16 h 53"/>
                  <a:gd name="T46" fmla="*/ 507 w 532"/>
                  <a:gd name="T47" fmla="*/ 24 h 53"/>
                  <a:gd name="T48" fmla="*/ 515 w 532"/>
                  <a:gd name="T49" fmla="*/ 16 h 53"/>
                  <a:gd name="T50" fmla="*/ 521 w 532"/>
                  <a:gd name="T51" fmla="*/ 23 h 53"/>
                  <a:gd name="T52" fmla="*/ 512 w 532"/>
                  <a:gd name="T53" fmla="*/ 31 h 53"/>
                  <a:gd name="T54" fmla="*/ 521 w 532"/>
                  <a:gd name="T55" fmla="*/ 39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532" h="53">
                    <a:moveTo>
                      <a:pt x="0" y="0"/>
                    </a:moveTo>
                    <a:lnTo>
                      <a:pt x="0" y="53"/>
                    </a:lnTo>
                    <a:lnTo>
                      <a:pt x="532" y="53"/>
                    </a:lnTo>
                    <a:lnTo>
                      <a:pt x="532" y="0"/>
                    </a:lnTo>
                    <a:lnTo>
                      <a:pt x="0" y="0"/>
                    </a:lnTo>
                    <a:close/>
                    <a:moveTo>
                      <a:pt x="434" y="45"/>
                    </a:moveTo>
                    <a:lnTo>
                      <a:pt x="402" y="45"/>
                    </a:lnTo>
                    <a:lnTo>
                      <a:pt x="402" y="37"/>
                    </a:lnTo>
                    <a:lnTo>
                      <a:pt x="434" y="37"/>
                    </a:lnTo>
                    <a:lnTo>
                      <a:pt x="434" y="45"/>
                    </a:lnTo>
                    <a:close/>
                    <a:moveTo>
                      <a:pt x="477" y="45"/>
                    </a:moveTo>
                    <a:lnTo>
                      <a:pt x="449" y="45"/>
                    </a:lnTo>
                    <a:lnTo>
                      <a:pt x="449" y="16"/>
                    </a:lnTo>
                    <a:lnTo>
                      <a:pt x="477" y="16"/>
                    </a:lnTo>
                    <a:lnTo>
                      <a:pt x="477" y="45"/>
                    </a:lnTo>
                    <a:close/>
                    <a:moveTo>
                      <a:pt x="521" y="39"/>
                    </a:moveTo>
                    <a:lnTo>
                      <a:pt x="515" y="45"/>
                    </a:lnTo>
                    <a:lnTo>
                      <a:pt x="507" y="38"/>
                    </a:lnTo>
                    <a:lnTo>
                      <a:pt x="498" y="45"/>
                    </a:lnTo>
                    <a:lnTo>
                      <a:pt x="493" y="39"/>
                    </a:lnTo>
                    <a:lnTo>
                      <a:pt x="500" y="31"/>
                    </a:lnTo>
                    <a:lnTo>
                      <a:pt x="493" y="23"/>
                    </a:lnTo>
                    <a:lnTo>
                      <a:pt x="498" y="16"/>
                    </a:lnTo>
                    <a:lnTo>
                      <a:pt x="507" y="24"/>
                    </a:lnTo>
                    <a:lnTo>
                      <a:pt x="515" y="16"/>
                    </a:lnTo>
                    <a:lnTo>
                      <a:pt x="521" y="23"/>
                    </a:lnTo>
                    <a:lnTo>
                      <a:pt x="512" y="31"/>
                    </a:lnTo>
                    <a:lnTo>
                      <a:pt x="521" y="39"/>
                    </a:lnTo>
                    <a:close/>
                  </a:path>
                </a:pathLst>
              </a:custGeom>
              <a:solidFill>
                <a:srgbClr val="00827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2" name="Freeform 25"/>
              <p:cNvSpPr>
                <a:spLocks noEditPoints="1"/>
              </p:cNvSpPr>
              <p:nvPr/>
            </p:nvSpPr>
            <p:spPr bwMode="auto">
              <a:xfrm>
                <a:off x="2858824" y="4259263"/>
                <a:ext cx="842962" cy="536575"/>
              </a:xfrm>
              <a:custGeom>
                <a:avLst/>
                <a:gdLst>
                  <a:gd name="T0" fmla="*/ 0 w 531"/>
                  <a:gd name="T1" fmla="*/ 0 h 338"/>
                  <a:gd name="T2" fmla="*/ 0 w 531"/>
                  <a:gd name="T3" fmla="*/ 338 h 338"/>
                  <a:gd name="T4" fmla="*/ 531 w 531"/>
                  <a:gd name="T5" fmla="*/ 338 h 338"/>
                  <a:gd name="T6" fmla="*/ 531 w 531"/>
                  <a:gd name="T7" fmla="*/ 0 h 338"/>
                  <a:gd name="T8" fmla="*/ 0 w 531"/>
                  <a:gd name="T9" fmla="*/ 0 h 338"/>
                  <a:gd name="T10" fmla="*/ 506 w 531"/>
                  <a:gd name="T11" fmla="*/ 313 h 338"/>
                  <a:gd name="T12" fmla="*/ 27 w 531"/>
                  <a:gd name="T13" fmla="*/ 313 h 338"/>
                  <a:gd name="T14" fmla="*/ 27 w 531"/>
                  <a:gd name="T15" fmla="*/ 26 h 338"/>
                  <a:gd name="T16" fmla="*/ 506 w 531"/>
                  <a:gd name="T17" fmla="*/ 26 h 338"/>
                  <a:gd name="T18" fmla="*/ 506 w 531"/>
                  <a:gd name="T19" fmla="*/ 313 h 3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31" h="338">
                    <a:moveTo>
                      <a:pt x="0" y="0"/>
                    </a:moveTo>
                    <a:lnTo>
                      <a:pt x="0" y="338"/>
                    </a:lnTo>
                    <a:lnTo>
                      <a:pt x="531" y="338"/>
                    </a:lnTo>
                    <a:lnTo>
                      <a:pt x="531" y="0"/>
                    </a:lnTo>
                    <a:lnTo>
                      <a:pt x="0" y="0"/>
                    </a:lnTo>
                    <a:close/>
                    <a:moveTo>
                      <a:pt x="506" y="313"/>
                    </a:moveTo>
                    <a:lnTo>
                      <a:pt x="27" y="313"/>
                    </a:lnTo>
                    <a:lnTo>
                      <a:pt x="27" y="26"/>
                    </a:lnTo>
                    <a:lnTo>
                      <a:pt x="506" y="26"/>
                    </a:lnTo>
                    <a:lnTo>
                      <a:pt x="506" y="313"/>
                    </a:lnTo>
                    <a:close/>
                  </a:path>
                </a:pathLst>
              </a:custGeom>
              <a:solidFill>
                <a:srgbClr val="00827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3" name="Freeform 64"/>
              <p:cNvSpPr>
                <a:spLocks/>
              </p:cNvSpPr>
              <p:nvPr/>
            </p:nvSpPr>
            <p:spPr bwMode="auto">
              <a:xfrm>
                <a:off x="3446199" y="4383088"/>
                <a:ext cx="142875" cy="144463"/>
              </a:xfrm>
              <a:custGeom>
                <a:avLst/>
                <a:gdLst>
                  <a:gd name="T0" fmla="*/ 0 w 90"/>
                  <a:gd name="T1" fmla="*/ 0 h 91"/>
                  <a:gd name="T2" fmla="*/ 0 w 90"/>
                  <a:gd name="T3" fmla="*/ 91 h 91"/>
                  <a:gd name="T4" fmla="*/ 90 w 90"/>
                  <a:gd name="T5" fmla="*/ 91 h 91"/>
                  <a:gd name="T6" fmla="*/ 90 w 90"/>
                  <a:gd name="T7" fmla="*/ 90 h 91"/>
                  <a:gd name="T8" fmla="*/ 88 w 90"/>
                  <a:gd name="T9" fmla="*/ 80 h 91"/>
                  <a:gd name="T10" fmla="*/ 87 w 90"/>
                  <a:gd name="T11" fmla="*/ 71 h 91"/>
                  <a:gd name="T12" fmla="*/ 85 w 90"/>
                  <a:gd name="T13" fmla="*/ 63 h 91"/>
                  <a:gd name="T14" fmla="*/ 83 w 90"/>
                  <a:gd name="T15" fmla="*/ 55 h 91"/>
                  <a:gd name="T16" fmla="*/ 78 w 90"/>
                  <a:gd name="T17" fmla="*/ 46 h 91"/>
                  <a:gd name="T18" fmla="*/ 74 w 90"/>
                  <a:gd name="T19" fmla="*/ 39 h 91"/>
                  <a:gd name="T20" fmla="*/ 70 w 90"/>
                  <a:gd name="T21" fmla="*/ 32 h 91"/>
                  <a:gd name="T22" fmla="*/ 63 w 90"/>
                  <a:gd name="T23" fmla="*/ 25 h 91"/>
                  <a:gd name="T24" fmla="*/ 57 w 90"/>
                  <a:gd name="T25" fmla="*/ 21 h 91"/>
                  <a:gd name="T26" fmla="*/ 50 w 90"/>
                  <a:gd name="T27" fmla="*/ 15 h 91"/>
                  <a:gd name="T28" fmla="*/ 43 w 90"/>
                  <a:gd name="T29" fmla="*/ 10 h 91"/>
                  <a:gd name="T30" fmla="*/ 35 w 90"/>
                  <a:gd name="T31" fmla="*/ 7 h 91"/>
                  <a:gd name="T32" fmla="*/ 27 w 90"/>
                  <a:gd name="T33" fmla="*/ 4 h 91"/>
                  <a:gd name="T34" fmla="*/ 18 w 90"/>
                  <a:gd name="T35" fmla="*/ 1 h 91"/>
                  <a:gd name="T36" fmla="*/ 10 w 90"/>
                  <a:gd name="T37" fmla="*/ 0 h 91"/>
                  <a:gd name="T38" fmla="*/ 0 w 90"/>
                  <a:gd name="T39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90" h="91">
                    <a:moveTo>
                      <a:pt x="0" y="0"/>
                    </a:moveTo>
                    <a:lnTo>
                      <a:pt x="0" y="91"/>
                    </a:lnTo>
                    <a:lnTo>
                      <a:pt x="90" y="91"/>
                    </a:lnTo>
                    <a:lnTo>
                      <a:pt x="90" y="90"/>
                    </a:lnTo>
                    <a:lnTo>
                      <a:pt x="88" y="80"/>
                    </a:lnTo>
                    <a:lnTo>
                      <a:pt x="87" y="71"/>
                    </a:lnTo>
                    <a:lnTo>
                      <a:pt x="85" y="63"/>
                    </a:lnTo>
                    <a:lnTo>
                      <a:pt x="83" y="55"/>
                    </a:lnTo>
                    <a:lnTo>
                      <a:pt x="78" y="46"/>
                    </a:lnTo>
                    <a:lnTo>
                      <a:pt x="74" y="39"/>
                    </a:lnTo>
                    <a:lnTo>
                      <a:pt x="70" y="32"/>
                    </a:lnTo>
                    <a:lnTo>
                      <a:pt x="63" y="25"/>
                    </a:lnTo>
                    <a:lnTo>
                      <a:pt x="57" y="21"/>
                    </a:lnTo>
                    <a:lnTo>
                      <a:pt x="50" y="15"/>
                    </a:lnTo>
                    <a:lnTo>
                      <a:pt x="43" y="10"/>
                    </a:lnTo>
                    <a:lnTo>
                      <a:pt x="35" y="7"/>
                    </a:lnTo>
                    <a:lnTo>
                      <a:pt x="27" y="4"/>
                    </a:lnTo>
                    <a:lnTo>
                      <a:pt x="18" y="1"/>
                    </a:lnTo>
                    <a:lnTo>
                      <a:pt x="1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4" name="Freeform 65"/>
              <p:cNvSpPr>
                <a:spLocks/>
              </p:cNvSpPr>
              <p:nvPr/>
            </p:nvSpPr>
            <p:spPr bwMode="auto">
              <a:xfrm>
                <a:off x="3446199" y="4383088"/>
                <a:ext cx="142875" cy="144463"/>
              </a:xfrm>
              <a:custGeom>
                <a:avLst/>
                <a:gdLst>
                  <a:gd name="T0" fmla="*/ 0 w 90"/>
                  <a:gd name="T1" fmla="*/ 0 h 91"/>
                  <a:gd name="T2" fmla="*/ 0 w 90"/>
                  <a:gd name="T3" fmla="*/ 91 h 91"/>
                  <a:gd name="T4" fmla="*/ 90 w 90"/>
                  <a:gd name="T5" fmla="*/ 91 h 91"/>
                  <a:gd name="T6" fmla="*/ 90 w 90"/>
                  <a:gd name="T7" fmla="*/ 90 h 91"/>
                  <a:gd name="T8" fmla="*/ 88 w 90"/>
                  <a:gd name="T9" fmla="*/ 80 h 91"/>
                  <a:gd name="T10" fmla="*/ 87 w 90"/>
                  <a:gd name="T11" fmla="*/ 71 h 91"/>
                  <a:gd name="T12" fmla="*/ 85 w 90"/>
                  <a:gd name="T13" fmla="*/ 63 h 91"/>
                  <a:gd name="T14" fmla="*/ 83 w 90"/>
                  <a:gd name="T15" fmla="*/ 55 h 91"/>
                  <a:gd name="T16" fmla="*/ 78 w 90"/>
                  <a:gd name="T17" fmla="*/ 46 h 91"/>
                  <a:gd name="T18" fmla="*/ 74 w 90"/>
                  <a:gd name="T19" fmla="*/ 39 h 91"/>
                  <a:gd name="T20" fmla="*/ 70 w 90"/>
                  <a:gd name="T21" fmla="*/ 32 h 91"/>
                  <a:gd name="T22" fmla="*/ 63 w 90"/>
                  <a:gd name="T23" fmla="*/ 25 h 91"/>
                  <a:gd name="T24" fmla="*/ 57 w 90"/>
                  <a:gd name="T25" fmla="*/ 21 h 91"/>
                  <a:gd name="T26" fmla="*/ 50 w 90"/>
                  <a:gd name="T27" fmla="*/ 15 h 91"/>
                  <a:gd name="T28" fmla="*/ 43 w 90"/>
                  <a:gd name="T29" fmla="*/ 10 h 91"/>
                  <a:gd name="T30" fmla="*/ 35 w 90"/>
                  <a:gd name="T31" fmla="*/ 7 h 91"/>
                  <a:gd name="T32" fmla="*/ 27 w 90"/>
                  <a:gd name="T33" fmla="*/ 4 h 91"/>
                  <a:gd name="T34" fmla="*/ 18 w 90"/>
                  <a:gd name="T35" fmla="*/ 1 h 91"/>
                  <a:gd name="T36" fmla="*/ 10 w 90"/>
                  <a:gd name="T37" fmla="*/ 0 h 91"/>
                  <a:gd name="T38" fmla="*/ 0 w 90"/>
                  <a:gd name="T39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90" h="91">
                    <a:moveTo>
                      <a:pt x="0" y="0"/>
                    </a:moveTo>
                    <a:lnTo>
                      <a:pt x="0" y="91"/>
                    </a:lnTo>
                    <a:lnTo>
                      <a:pt x="90" y="91"/>
                    </a:lnTo>
                    <a:lnTo>
                      <a:pt x="90" y="90"/>
                    </a:lnTo>
                    <a:lnTo>
                      <a:pt x="88" y="80"/>
                    </a:lnTo>
                    <a:lnTo>
                      <a:pt x="87" y="71"/>
                    </a:lnTo>
                    <a:lnTo>
                      <a:pt x="85" y="63"/>
                    </a:lnTo>
                    <a:lnTo>
                      <a:pt x="83" y="55"/>
                    </a:lnTo>
                    <a:lnTo>
                      <a:pt x="78" y="46"/>
                    </a:lnTo>
                    <a:lnTo>
                      <a:pt x="74" y="39"/>
                    </a:lnTo>
                    <a:lnTo>
                      <a:pt x="70" y="32"/>
                    </a:lnTo>
                    <a:lnTo>
                      <a:pt x="63" y="25"/>
                    </a:lnTo>
                    <a:lnTo>
                      <a:pt x="57" y="21"/>
                    </a:lnTo>
                    <a:lnTo>
                      <a:pt x="50" y="15"/>
                    </a:lnTo>
                    <a:lnTo>
                      <a:pt x="43" y="10"/>
                    </a:lnTo>
                    <a:lnTo>
                      <a:pt x="35" y="7"/>
                    </a:lnTo>
                    <a:lnTo>
                      <a:pt x="27" y="4"/>
                    </a:lnTo>
                    <a:lnTo>
                      <a:pt x="18" y="1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39" name="AutoShape 32"/>
          <p:cNvSpPr>
            <a:spLocks noChangeAspect="1" noChangeArrowheads="1" noTextEdit="1"/>
          </p:cNvSpPr>
          <p:nvPr/>
        </p:nvSpPr>
        <p:spPr bwMode="auto">
          <a:xfrm>
            <a:off x="7437438" y="769938"/>
            <a:ext cx="2782887" cy="2022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" name="Freeform 34"/>
          <p:cNvSpPr>
            <a:spLocks/>
          </p:cNvSpPr>
          <p:nvPr/>
        </p:nvSpPr>
        <p:spPr bwMode="auto">
          <a:xfrm>
            <a:off x="8778875" y="1109663"/>
            <a:ext cx="157162" cy="166688"/>
          </a:xfrm>
          <a:custGeom>
            <a:avLst/>
            <a:gdLst>
              <a:gd name="T0" fmla="*/ 0 w 99"/>
              <a:gd name="T1" fmla="*/ 9 h 105"/>
              <a:gd name="T2" fmla="*/ 10 w 99"/>
              <a:gd name="T3" fmla="*/ 0 h 105"/>
              <a:gd name="T4" fmla="*/ 90 w 99"/>
              <a:gd name="T5" fmla="*/ 0 h 105"/>
              <a:gd name="T6" fmla="*/ 99 w 99"/>
              <a:gd name="T7" fmla="*/ 9 h 105"/>
              <a:gd name="T8" fmla="*/ 74 w 99"/>
              <a:gd name="T9" fmla="*/ 98 h 105"/>
              <a:gd name="T10" fmla="*/ 36 w 99"/>
              <a:gd name="T11" fmla="*/ 105 h 105"/>
              <a:gd name="T12" fmla="*/ 6 w 99"/>
              <a:gd name="T13" fmla="*/ 63 h 105"/>
              <a:gd name="T14" fmla="*/ 0 w 99"/>
              <a:gd name="T15" fmla="*/ 9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9" h="105">
                <a:moveTo>
                  <a:pt x="0" y="9"/>
                </a:moveTo>
                <a:lnTo>
                  <a:pt x="10" y="0"/>
                </a:lnTo>
                <a:lnTo>
                  <a:pt x="90" y="0"/>
                </a:lnTo>
                <a:lnTo>
                  <a:pt x="99" y="9"/>
                </a:lnTo>
                <a:lnTo>
                  <a:pt x="74" y="98"/>
                </a:lnTo>
                <a:lnTo>
                  <a:pt x="36" y="105"/>
                </a:lnTo>
                <a:lnTo>
                  <a:pt x="6" y="63"/>
                </a:lnTo>
                <a:lnTo>
                  <a:pt x="0" y="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" name="Freeform 35"/>
          <p:cNvSpPr>
            <a:spLocks/>
          </p:cNvSpPr>
          <p:nvPr/>
        </p:nvSpPr>
        <p:spPr bwMode="auto">
          <a:xfrm>
            <a:off x="7439025" y="1095376"/>
            <a:ext cx="750887" cy="1693863"/>
          </a:xfrm>
          <a:custGeom>
            <a:avLst/>
            <a:gdLst>
              <a:gd name="T0" fmla="*/ 306 w 390"/>
              <a:gd name="T1" fmla="*/ 159 h 879"/>
              <a:gd name="T2" fmla="*/ 306 w 390"/>
              <a:gd name="T3" fmla="*/ 159 h 879"/>
              <a:gd name="T4" fmla="*/ 306 w 390"/>
              <a:gd name="T5" fmla="*/ 159 h 879"/>
              <a:gd name="T6" fmla="*/ 222 w 390"/>
              <a:gd name="T7" fmla="*/ 152 h 879"/>
              <a:gd name="T8" fmla="*/ 222 w 390"/>
              <a:gd name="T9" fmla="*/ 139 h 879"/>
              <a:gd name="T10" fmla="*/ 240 w 390"/>
              <a:gd name="T11" fmla="*/ 117 h 879"/>
              <a:gd name="T12" fmla="*/ 240 w 390"/>
              <a:gd name="T13" fmla="*/ 98 h 879"/>
              <a:gd name="T14" fmla="*/ 248 w 390"/>
              <a:gd name="T15" fmla="*/ 90 h 879"/>
              <a:gd name="T16" fmla="*/ 248 w 390"/>
              <a:gd name="T17" fmla="*/ 73 h 879"/>
              <a:gd name="T18" fmla="*/ 243 w 390"/>
              <a:gd name="T19" fmla="*/ 66 h 879"/>
              <a:gd name="T20" fmla="*/ 253 w 390"/>
              <a:gd name="T21" fmla="*/ 43 h 879"/>
              <a:gd name="T22" fmla="*/ 221 w 390"/>
              <a:gd name="T23" fmla="*/ 12 h 879"/>
              <a:gd name="T24" fmla="*/ 220 w 390"/>
              <a:gd name="T25" fmla="*/ 12 h 879"/>
              <a:gd name="T26" fmla="*/ 185 w 390"/>
              <a:gd name="T27" fmla="*/ 0 h 879"/>
              <a:gd name="T28" fmla="*/ 136 w 390"/>
              <a:gd name="T29" fmla="*/ 41 h 879"/>
              <a:gd name="T30" fmla="*/ 146 w 390"/>
              <a:gd name="T31" fmla="*/ 66 h 879"/>
              <a:gd name="T32" fmla="*/ 139 w 390"/>
              <a:gd name="T33" fmla="*/ 73 h 879"/>
              <a:gd name="T34" fmla="*/ 139 w 390"/>
              <a:gd name="T35" fmla="*/ 90 h 879"/>
              <a:gd name="T36" fmla="*/ 147 w 390"/>
              <a:gd name="T37" fmla="*/ 98 h 879"/>
              <a:gd name="T38" fmla="*/ 147 w 390"/>
              <a:gd name="T39" fmla="*/ 117 h 879"/>
              <a:gd name="T40" fmla="*/ 167 w 390"/>
              <a:gd name="T41" fmla="*/ 139 h 879"/>
              <a:gd name="T42" fmla="*/ 167 w 390"/>
              <a:gd name="T43" fmla="*/ 152 h 879"/>
              <a:gd name="T44" fmla="*/ 83 w 390"/>
              <a:gd name="T45" fmla="*/ 159 h 879"/>
              <a:gd name="T46" fmla="*/ 83 w 390"/>
              <a:gd name="T47" fmla="*/ 162 h 879"/>
              <a:gd name="T48" fmla="*/ 0 w 390"/>
              <a:gd name="T49" fmla="*/ 461 h 879"/>
              <a:gd name="T50" fmla="*/ 7 w 390"/>
              <a:gd name="T51" fmla="*/ 461 h 879"/>
              <a:gd name="T52" fmla="*/ 7 w 390"/>
              <a:gd name="T53" fmla="*/ 483 h 879"/>
              <a:gd name="T54" fmla="*/ 24 w 390"/>
              <a:gd name="T55" fmla="*/ 500 h 879"/>
              <a:gd name="T56" fmla="*/ 42 w 390"/>
              <a:gd name="T57" fmla="*/ 483 h 879"/>
              <a:gd name="T58" fmla="*/ 42 w 390"/>
              <a:gd name="T59" fmla="*/ 461 h 879"/>
              <a:gd name="T60" fmla="*/ 48 w 390"/>
              <a:gd name="T61" fmla="*/ 461 h 879"/>
              <a:gd name="T62" fmla="*/ 83 w 390"/>
              <a:gd name="T63" fmla="*/ 294 h 879"/>
              <a:gd name="T64" fmla="*/ 83 w 390"/>
              <a:gd name="T65" fmla="*/ 532 h 879"/>
              <a:gd name="T66" fmla="*/ 112 w 390"/>
              <a:gd name="T67" fmla="*/ 532 h 879"/>
              <a:gd name="T68" fmla="*/ 123 w 390"/>
              <a:gd name="T69" fmla="*/ 851 h 879"/>
              <a:gd name="T70" fmla="*/ 133 w 390"/>
              <a:gd name="T71" fmla="*/ 851 h 879"/>
              <a:gd name="T72" fmla="*/ 118 w 390"/>
              <a:gd name="T73" fmla="*/ 879 h 879"/>
              <a:gd name="T74" fmla="*/ 187 w 390"/>
              <a:gd name="T75" fmla="*/ 879 h 879"/>
              <a:gd name="T76" fmla="*/ 172 w 390"/>
              <a:gd name="T77" fmla="*/ 851 h 879"/>
              <a:gd name="T78" fmla="*/ 182 w 390"/>
              <a:gd name="T79" fmla="*/ 851 h 879"/>
              <a:gd name="T80" fmla="*/ 192 w 390"/>
              <a:gd name="T81" fmla="*/ 532 h 879"/>
              <a:gd name="T82" fmla="*/ 196 w 390"/>
              <a:gd name="T83" fmla="*/ 532 h 879"/>
              <a:gd name="T84" fmla="*/ 207 w 390"/>
              <a:gd name="T85" fmla="*/ 851 h 879"/>
              <a:gd name="T86" fmla="*/ 217 w 390"/>
              <a:gd name="T87" fmla="*/ 851 h 879"/>
              <a:gd name="T88" fmla="*/ 202 w 390"/>
              <a:gd name="T89" fmla="*/ 879 h 879"/>
              <a:gd name="T90" fmla="*/ 271 w 390"/>
              <a:gd name="T91" fmla="*/ 879 h 879"/>
              <a:gd name="T92" fmla="*/ 256 w 390"/>
              <a:gd name="T93" fmla="*/ 851 h 879"/>
              <a:gd name="T94" fmla="*/ 266 w 390"/>
              <a:gd name="T95" fmla="*/ 851 h 879"/>
              <a:gd name="T96" fmla="*/ 276 w 390"/>
              <a:gd name="T97" fmla="*/ 532 h 879"/>
              <a:gd name="T98" fmla="*/ 306 w 390"/>
              <a:gd name="T99" fmla="*/ 532 h 879"/>
              <a:gd name="T100" fmla="*/ 306 w 390"/>
              <a:gd name="T101" fmla="*/ 289 h 879"/>
              <a:gd name="T102" fmla="*/ 342 w 390"/>
              <a:gd name="T103" fmla="*/ 461 h 879"/>
              <a:gd name="T104" fmla="*/ 348 w 390"/>
              <a:gd name="T105" fmla="*/ 461 h 879"/>
              <a:gd name="T106" fmla="*/ 348 w 390"/>
              <a:gd name="T107" fmla="*/ 483 h 879"/>
              <a:gd name="T108" fmla="*/ 366 w 390"/>
              <a:gd name="T109" fmla="*/ 500 h 879"/>
              <a:gd name="T110" fmla="*/ 383 w 390"/>
              <a:gd name="T111" fmla="*/ 483 h 879"/>
              <a:gd name="T112" fmla="*/ 383 w 390"/>
              <a:gd name="T113" fmla="*/ 461 h 879"/>
              <a:gd name="T114" fmla="*/ 390 w 390"/>
              <a:gd name="T115" fmla="*/ 461 h 879"/>
              <a:gd name="T116" fmla="*/ 306 w 390"/>
              <a:gd name="T117" fmla="*/ 159 h 8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90" h="879">
                <a:moveTo>
                  <a:pt x="306" y="159"/>
                </a:moveTo>
                <a:cubicBezTo>
                  <a:pt x="306" y="159"/>
                  <a:pt x="306" y="159"/>
                  <a:pt x="306" y="159"/>
                </a:cubicBezTo>
                <a:cubicBezTo>
                  <a:pt x="306" y="159"/>
                  <a:pt x="306" y="159"/>
                  <a:pt x="306" y="159"/>
                </a:cubicBezTo>
                <a:cubicBezTo>
                  <a:pt x="222" y="152"/>
                  <a:pt x="222" y="152"/>
                  <a:pt x="222" y="152"/>
                </a:cubicBezTo>
                <a:cubicBezTo>
                  <a:pt x="222" y="139"/>
                  <a:pt x="222" y="139"/>
                  <a:pt x="222" y="139"/>
                </a:cubicBezTo>
                <a:cubicBezTo>
                  <a:pt x="232" y="137"/>
                  <a:pt x="240" y="128"/>
                  <a:pt x="240" y="117"/>
                </a:cubicBezTo>
                <a:cubicBezTo>
                  <a:pt x="240" y="98"/>
                  <a:pt x="240" y="98"/>
                  <a:pt x="240" y="98"/>
                </a:cubicBezTo>
                <a:cubicBezTo>
                  <a:pt x="244" y="98"/>
                  <a:pt x="248" y="95"/>
                  <a:pt x="248" y="90"/>
                </a:cubicBezTo>
                <a:cubicBezTo>
                  <a:pt x="248" y="73"/>
                  <a:pt x="248" y="73"/>
                  <a:pt x="248" y="73"/>
                </a:cubicBezTo>
                <a:cubicBezTo>
                  <a:pt x="248" y="70"/>
                  <a:pt x="246" y="67"/>
                  <a:pt x="243" y="66"/>
                </a:cubicBezTo>
                <a:cubicBezTo>
                  <a:pt x="249" y="60"/>
                  <a:pt x="253" y="52"/>
                  <a:pt x="253" y="43"/>
                </a:cubicBezTo>
                <a:cubicBezTo>
                  <a:pt x="253" y="26"/>
                  <a:pt x="238" y="12"/>
                  <a:pt x="221" y="12"/>
                </a:cubicBezTo>
                <a:cubicBezTo>
                  <a:pt x="221" y="12"/>
                  <a:pt x="220" y="12"/>
                  <a:pt x="220" y="12"/>
                </a:cubicBezTo>
                <a:cubicBezTo>
                  <a:pt x="211" y="4"/>
                  <a:pt x="199" y="0"/>
                  <a:pt x="185" y="0"/>
                </a:cubicBezTo>
                <a:cubicBezTo>
                  <a:pt x="158" y="0"/>
                  <a:pt x="136" y="18"/>
                  <a:pt x="136" y="41"/>
                </a:cubicBezTo>
                <a:cubicBezTo>
                  <a:pt x="136" y="50"/>
                  <a:pt x="140" y="59"/>
                  <a:pt x="146" y="66"/>
                </a:cubicBezTo>
                <a:cubicBezTo>
                  <a:pt x="142" y="66"/>
                  <a:pt x="139" y="69"/>
                  <a:pt x="139" y="73"/>
                </a:cubicBezTo>
                <a:cubicBezTo>
                  <a:pt x="139" y="90"/>
                  <a:pt x="139" y="90"/>
                  <a:pt x="139" y="90"/>
                </a:cubicBezTo>
                <a:cubicBezTo>
                  <a:pt x="139" y="95"/>
                  <a:pt x="143" y="98"/>
                  <a:pt x="147" y="98"/>
                </a:cubicBezTo>
                <a:cubicBezTo>
                  <a:pt x="147" y="117"/>
                  <a:pt x="147" y="117"/>
                  <a:pt x="147" y="117"/>
                </a:cubicBezTo>
                <a:cubicBezTo>
                  <a:pt x="147" y="128"/>
                  <a:pt x="156" y="138"/>
                  <a:pt x="167" y="139"/>
                </a:cubicBezTo>
                <a:cubicBezTo>
                  <a:pt x="167" y="152"/>
                  <a:pt x="167" y="152"/>
                  <a:pt x="167" y="152"/>
                </a:cubicBezTo>
                <a:cubicBezTo>
                  <a:pt x="83" y="159"/>
                  <a:pt x="83" y="159"/>
                  <a:pt x="83" y="159"/>
                </a:cubicBezTo>
                <a:cubicBezTo>
                  <a:pt x="83" y="162"/>
                  <a:pt x="83" y="162"/>
                  <a:pt x="83" y="162"/>
                </a:cubicBezTo>
                <a:cubicBezTo>
                  <a:pt x="38" y="258"/>
                  <a:pt x="11" y="355"/>
                  <a:pt x="0" y="461"/>
                </a:cubicBezTo>
                <a:cubicBezTo>
                  <a:pt x="7" y="461"/>
                  <a:pt x="7" y="461"/>
                  <a:pt x="7" y="461"/>
                </a:cubicBezTo>
                <a:cubicBezTo>
                  <a:pt x="7" y="483"/>
                  <a:pt x="7" y="483"/>
                  <a:pt x="7" y="483"/>
                </a:cubicBezTo>
                <a:cubicBezTo>
                  <a:pt x="7" y="492"/>
                  <a:pt x="15" y="500"/>
                  <a:pt x="24" y="500"/>
                </a:cubicBezTo>
                <a:cubicBezTo>
                  <a:pt x="34" y="500"/>
                  <a:pt x="42" y="492"/>
                  <a:pt x="42" y="483"/>
                </a:cubicBezTo>
                <a:cubicBezTo>
                  <a:pt x="42" y="461"/>
                  <a:pt x="42" y="461"/>
                  <a:pt x="42" y="461"/>
                </a:cubicBezTo>
                <a:cubicBezTo>
                  <a:pt x="48" y="461"/>
                  <a:pt x="48" y="461"/>
                  <a:pt x="48" y="461"/>
                </a:cubicBezTo>
                <a:cubicBezTo>
                  <a:pt x="54" y="403"/>
                  <a:pt x="66" y="348"/>
                  <a:pt x="83" y="294"/>
                </a:cubicBezTo>
                <a:cubicBezTo>
                  <a:pt x="83" y="532"/>
                  <a:pt x="83" y="532"/>
                  <a:pt x="83" y="532"/>
                </a:cubicBezTo>
                <a:cubicBezTo>
                  <a:pt x="112" y="532"/>
                  <a:pt x="112" y="532"/>
                  <a:pt x="112" y="532"/>
                </a:cubicBezTo>
                <a:cubicBezTo>
                  <a:pt x="123" y="851"/>
                  <a:pt x="123" y="851"/>
                  <a:pt x="123" y="851"/>
                </a:cubicBezTo>
                <a:cubicBezTo>
                  <a:pt x="133" y="851"/>
                  <a:pt x="133" y="851"/>
                  <a:pt x="133" y="851"/>
                </a:cubicBezTo>
                <a:cubicBezTo>
                  <a:pt x="124" y="857"/>
                  <a:pt x="118" y="867"/>
                  <a:pt x="118" y="879"/>
                </a:cubicBezTo>
                <a:cubicBezTo>
                  <a:pt x="187" y="879"/>
                  <a:pt x="187" y="879"/>
                  <a:pt x="187" y="879"/>
                </a:cubicBezTo>
                <a:cubicBezTo>
                  <a:pt x="187" y="867"/>
                  <a:pt x="181" y="857"/>
                  <a:pt x="172" y="851"/>
                </a:cubicBezTo>
                <a:cubicBezTo>
                  <a:pt x="182" y="851"/>
                  <a:pt x="182" y="851"/>
                  <a:pt x="182" y="851"/>
                </a:cubicBezTo>
                <a:cubicBezTo>
                  <a:pt x="192" y="532"/>
                  <a:pt x="192" y="532"/>
                  <a:pt x="192" y="532"/>
                </a:cubicBezTo>
                <a:cubicBezTo>
                  <a:pt x="196" y="532"/>
                  <a:pt x="196" y="532"/>
                  <a:pt x="196" y="532"/>
                </a:cubicBezTo>
                <a:cubicBezTo>
                  <a:pt x="207" y="851"/>
                  <a:pt x="207" y="851"/>
                  <a:pt x="207" y="851"/>
                </a:cubicBezTo>
                <a:cubicBezTo>
                  <a:pt x="217" y="851"/>
                  <a:pt x="217" y="851"/>
                  <a:pt x="217" y="851"/>
                </a:cubicBezTo>
                <a:cubicBezTo>
                  <a:pt x="208" y="857"/>
                  <a:pt x="202" y="867"/>
                  <a:pt x="202" y="879"/>
                </a:cubicBezTo>
                <a:cubicBezTo>
                  <a:pt x="271" y="879"/>
                  <a:pt x="271" y="879"/>
                  <a:pt x="271" y="879"/>
                </a:cubicBezTo>
                <a:cubicBezTo>
                  <a:pt x="271" y="867"/>
                  <a:pt x="265" y="857"/>
                  <a:pt x="256" y="851"/>
                </a:cubicBezTo>
                <a:cubicBezTo>
                  <a:pt x="266" y="851"/>
                  <a:pt x="266" y="851"/>
                  <a:pt x="266" y="851"/>
                </a:cubicBezTo>
                <a:cubicBezTo>
                  <a:pt x="276" y="532"/>
                  <a:pt x="276" y="532"/>
                  <a:pt x="276" y="532"/>
                </a:cubicBezTo>
                <a:cubicBezTo>
                  <a:pt x="306" y="532"/>
                  <a:pt x="306" y="532"/>
                  <a:pt x="306" y="532"/>
                </a:cubicBezTo>
                <a:cubicBezTo>
                  <a:pt x="306" y="289"/>
                  <a:pt x="306" y="289"/>
                  <a:pt x="306" y="289"/>
                </a:cubicBezTo>
                <a:cubicBezTo>
                  <a:pt x="323" y="345"/>
                  <a:pt x="336" y="401"/>
                  <a:pt x="342" y="461"/>
                </a:cubicBezTo>
                <a:cubicBezTo>
                  <a:pt x="348" y="461"/>
                  <a:pt x="348" y="461"/>
                  <a:pt x="348" y="461"/>
                </a:cubicBezTo>
                <a:cubicBezTo>
                  <a:pt x="348" y="483"/>
                  <a:pt x="348" y="483"/>
                  <a:pt x="348" y="483"/>
                </a:cubicBezTo>
                <a:cubicBezTo>
                  <a:pt x="348" y="492"/>
                  <a:pt x="356" y="500"/>
                  <a:pt x="366" y="500"/>
                </a:cubicBezTo>
                <a:cubicBezTo>
                  <a:pt x="375" y="500"/>
                  <a:pt x="383" y="492"/>
                  <a:pt x="383" y="483"/>
                </a:cubicBezTo>
                <a:cubicBezTo>
                  <a:pt x="383" y="461"/>
                  <a:pt x="383" y="461"/>
                  <a:pt x="383" y="461"/>
                </a:cubicBezTo>
                <a:cubicBezTo>
                  <a:pt x="390" y="461"/>
                  <a:pt x="390" y="461"/>
                  <a:pt x="390" y="461"/>
                </a:cubicBezTo>
                <a:cubicBezTo>
                  <a:pt x="380" y="354"/>
                  <a:pt x="351" y="256"/>
                  <a:pt x="306" y="159"/>
                </a:cubicBezTo>
                <a:close/>
              </a:path>
            </a:pathLst>
          </a:custGeom>
          <a:solidFill>
            <a:srgbClr val="D2D2D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" name="Freeform 36"/>
          <p:cNvSpPr>
            <a:spLocks/>
          </p:cNvSpPr>
          <p:nvPr/>
        </p:nvSpPr>
        <p:spPr bwMode="auto">
          <a:xfrm>
            <a:off x="8128000" y="1184276"/>
            <a:ext cx="536575" cy="1604963"/>
          </a:xfrm>
          <a:custGeom>
            <a:avLst/>
            <a:gdLst>
              <a:gd name="T0" fmla="*/ 230 w 279"/>
              <a:gd name="T1" fmla="*/ 169 h 833"/>
              <a:gd name="T2" fmla="*/ 166 w 279"/>
              <a:gd name="T3" fmla="*/ 162 h 833"/>
              <a:gd name="T4" fmla="*/ 160 w 279"/>
              <a:gd name="T5" fmla="*/ 156 h 833"/>
              <a:gd name="T6" fmla="*/ 209 w 279"/>
              <a:gd name="T7" fmla="*/ 133 h 833"/>
              <a:gd name="T8" fmla="*/ 189 w 279"/>
              <a:gd name="T9" fmla="*/ 123 h 833"/>
              <a:gd name="T10" fmla="*/ 197 w 279"/>
              <a:gd name="T11" fmla="*/ 97 h 833"/>
              <a:gd name="T12" fmla="*/ 197 w 279"/>
              <a:gd name="T13" fmla="*/ 96 h 833"/>
              <a:gd name="T14" fmla="*/ 172 w 279"/>
              <a:gd name="T15" fmla="*/ 24 h 833"/>
              <a:gd name="T16" fmla="*/ 81 w 279"/>
              <a:gd name="T17" fmla="*/ 64 h 833"/>
              <a:gd name="T18" fmla="*/ 88 w 279"/>
              <a:gd name="T19" fmla="*/ 96 h 833"/>
              <a:gd name="T20" fmla="*/ 84 w 279"/>
              <a:gd name="T21" fmla="*/ 123 h 833"/>
              <a:gd name="T22" fmla="*/ 98 w 279"/>
              <a:gd name="T23" fmla="*/ 153 h 833"/>
              <a:gd name="T24" fmla="*/ 122 w 279"/>
              <a:gd name="T25" fmla="*/ 162 h 833"/>
              <a:gd name="T26" fmla="*/ 52 w 279"/>
              <a:gd name="T27" fmla="*/ 169 h 833"/>
              <a:gd name="T28" fmla="*/ 51 w 279"/>
              <a:gd name="T29" fmla="*/ 169 h 833"/>
              <a:gd name="T30" fmla="*/ 5 w 279"/>
              <a:gd name="T31" fmla="*/ 383 h 833"/>
              <a:gd name="T32" fmla="*/ 18 w 279"/>
              <a:gd name="T33" fmla="*/ 411 h 833"/>
              <a:gd name="T34" fmla="*/ 31 w 279"/>
              <a:gd name="T35" fmla="*/ 383 h 833"/>
              <a:gd name="T36" fmla="*/ 56 w 279"/>
              <a:gd name="T37" fmla="*/ 258 h 833"/>
              <a:gd name="T38" fmla="*/ 65 w 279"/>
              <a:gd name="T39" fmla="*/ 629 h 833"/>
              <a:gd name="T40" fmla="*/ 96 w 279"/>
              <a:gd name="T41" fmla="*/ 820 h 833"/>
              <a:gd name="T42" fmla="*/ 97 w 279"/>
              <a:gd name="T43" fmla="*/ 833 h 833"/>
              <a:gd name="T44" fmla="*/ 138 w 279"/>
              <a:gd name="T45" fmla="*/ 833 h 833"/>
              <a:gd name="T46" fmla="*/ 138 w 279"/>
              <a:gd name="T47" fmla="*/ 629 h 833"/>
              <a:gd name="T48" fmla="*/ 154 w 279"/>
              <a:gd name="T49" fmla="*/ 820 h 833"/>
              <a:gd name="T50" fmla="*/ 154 w 279"/>
              <a:gd name="T51" fmla="*/ 833 h 833"/>
              <a:gd name="T52" fmla="*/ 195 w 279"/>
              <a:gd name="T53" fmla="*/ 833 h 833"/>
              <a:gd name="T54" fmla="*/ 195 w 279"/>
              <a:gd name="T55" fmla="*/ 629 h 833"/>
              <a:gd name="T56" fmla="*/ 216 w 279"/>
              <a:gd name="T57" fmla="*/ 438 h 833"/>
              <a:gd name="T58" fmla="*/ 245 w 279"/>
              <a:gd name="T59" fmla="*/ 383 h 833"/>
              <a:gd name="T60" fmla="*/ 249 w 279"/>
              <a:gd name="T61" fmla="*/ 398 h 833"/>
              <a:gd name="T62" fmla="*/ 274 w 279"/>
              <a:gd name="T63" fmla="*/ 398 h 833"/>
              <a:gd name="T64" fmla="*/ 279 w 279"/>
              <a:gd name="T65" fmla="*/ 383 h 8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79" h="833">
                <a:moveTo>
                  <a:pt x="230" y="169"/>
                </a:moveTo>
                <a:cubicBezTo>
                  <a:pt x="230" y="169"/>
                  <a:pt x="230" y="169"/>
                  <a:pt x="230" y="169"/>
                </a:cubicBezTo>
                <a:cubicBezTo>
                  <a:pt x="166" y="162"/>
                  <a:pt x="166" y="162"/>
                  <a:pt x="166" y="162"/>
                </a:cubicBezTo>
                <a:cubicBezTo>
                  <a:pt x="166" y="162"/>
                  <a:pt x="166" y="162"/>
                  <a:pt x="166" y="162"/>
                </a:cubicBezTo>
                <a:cubicBezTo>
                  <a:pt x="159" y="162"/>
                  <a:pt x="159" y="162"/>
                  <a:pt x="159" y="162"/>
                </a:cubicBezTo>
                <a:cubicBezTo>
                  <a:pt x="160" y="156"/>
                  <a:pt x="160" y="156"/>
                  <a:pt x="160" y="156"/>
                </a:cubicBezTo>
                <a:cubicBezTo>
                  <a:pt x="168" y="156"/>
                  <a:pt x="176" y="155"/>
                  <a:pt x="188" y="153"/>
                </a:cubicBezTo>
                <a:cubicBezTo>
                  <a:pt x="206" y="150"/>
                  <a:pt x="208" y="140"/>
                  <a:pt x="209" y="133"/>
                </a:cubicBezTo>
                <a:cubicBezTo>
                  <a:pt x="210" y="125"/>
                  <a:pt x="205" y="114"/>
                  <a:pt x="202" y="123"/>
                </a:cubicBezTo>
                <a:cubicBezTo>
                  <a:pt x="199" y="132"/>
                  <a:pt x="191" y="129"/>
                  <a:pt x="189" y="123"/>
                </a:cubicBezTo>
                <a:cubicBezTo>
                  <a:pt x="188" y="119"/>
                  <a:pt x="191" y="110"/>
                  <a:pt x="194" y="103"/>
                </a:cubicBezTo>
                <a:cubicBezTo>
                  <a:pt x="195" y="101"/>
                  <a:pt x="196" y="99"/>
                  <a:pt x="197" y="97"/>
                </a:cubicBezTo>
                <a:cubicBezTo>
                  <a:pt x="197" y="96"/>
                  <a:pt x="197" y="96"/>
                  <a:pt x="197" y="96"/>
                </a:cubicBezTo>
                <a:cubicBezTo>
                  <a:pt x="197" y="96"/>
                  <a:pt x="197" y="96"/>
                  <a:pt x="197" y="96"/>
                </a:cubicBezTo>
                <a:cubicBezTo>
                  <a:pt x="200" y="89"/>
                  <a:pt x="201" y="82"/>
                  <a:pt x="201" y="74"/>
                </a:cubicBezTo>
                <a:cubicBezTo>
                  <a:pt x="201" y="50"/>
                  <a:pt x="189" y="30"/>
                  <a:pt x="172" y="24"/>
                </a:cubicBezTo>
                <a:cubicBezTo>
                  <a:pt x="162" y="9"/>
                  <a:pt x="148" y="0"/>
                  <a:pt x="132" y="0"/>
                </a:cubicBezTo>
                <a:cubicBezTo>
                  <a:pt x="104" y="0"/>
                  <a:pt x="81" y="29"/>
                  <a:pt x="81" y="64"/>
                </a:cubicBezTo>
                <a:cubicBezTo>
                  <a:pt x="81" y="76"/>
                  <a:pt x="83" y="87"/>
                  <a:pt x="88" y="96"/>
                </a:cubicBezTo>
                <a:cubicBezTo>
                  <a:pt x="88" y="96"/>
                  <a:pt x="88" y="96"/>
                  <a:pt x="88" y="96"/>
                </a:cubicBezTo>
                <a:cubicBezTo>
                  <a:pt x="88" y="96"/>
                  <a:pt x="99" y="117"/>
                  <a:pt x="96" y="123"/>
                </a:cubicBezTo>
                <a:cubicBezTo>
                  <a:pt x="94" y="129"/>
                  <a:pt x="87" y="132"/>
                  <a:pt x="84" y="123"/>
                </a:cubicBezTo>
                <a:cubicBezTo>
                  <a:pt x="81" y="114"/>
                  <a:pt x="76" y="125"/>
                  <a:pt x="76" y="133"/>
                </a:cubicBezTo>
                <a:cubicBezTo>
                  <a:pt x="77" y="140"/>
                  <a:pt x="79" y="150"/>
                  <a:pt x="98" y="153"/>
                </a:cubicBezTo>
                <a:cubicBezTo>
                  <a:pt x="108" y="155"/>
                  <a:pt x="114" y="156"/>
                  <a:pt x="121" y="156"/>
                </a:cubicBezTo>
                <a:cubicBezTo>
                  <a:pt x="122" y="162"/>
                  <a:pt x="122" y="162"/>
                  <a:pt x="122" y="162"/>
                </a:cubicBezTo>
                <a:cubicBezTo>
                  <a:pt x="115" y="162"/>
                  <a:pt x="115" y="162"/>
                  <a:pt x="115" y="162"/>
                </a:cubicBezTo>
                <a:cubicBezTo>
                  <a:pt x="52" y="169"/>
                  <a:pt x="52" y="169"/>
                  <a:pt x="52" y="169"/>
                </a:cubicBezTo>
                <a:cubicBezTo>
                  <a:pt x="52" y="169"/>
                  <a:pt x="52" y="169"/>
                  <a:pt x="52" y="169"/>
                </a:cubicBezTo>
                <a:cubicBezTo>
                  <a:pt x="51" y="169"/>
                  <a:pt x="51" y="169"/>
                  <a:pt x="51" y="169"/>
                </a:cubicBezTo>
                <a:cubicBezTo>
                  <a:pt x="18" y="238"/>
                  <a:pt x="8" y="307"/>
                  <a:pt x="0" y="383"/>
                </a:cubicBezTo>
                <a:cubicBezTo>
                  <a:pt x="5" y="383"/>
                  <a:pt x="5" y="383"/>
                  <a:pt x="5" y="383"/>
                </a:cubicBezTo>
                <a:cubicBezTo>
                  <a:pt x="5" y="398"/>
                  <a:pt x="5" y="398"/>
                  <a:pt x="5" y="398"/>
                </a:cubicBezTo>
                <a:cubicBezTo>
                  <a:pt x="5" y="405"/>
                  <a:pt x="11" y="411"/>
                  <a:pt x="18" y="411"/>
                </a:cubicBezTo>
                <a:cubicBezTo>
                  <a:pt x="25" y="411"/>
                  <a:pt x="31" y="405"/>
                  <a:pt x="31" y="398"/>
                </a:cubicBezTo>
                <a:cubicBezTo>
                  <a:pt x="31" y="383"/>
                  <a:pt x="31" y="383"/>
                  <a:pt x="31" y="383"/>
                </a:cubicBezTo>
                <a:cubicBezTo>
                  <a:pt x="35" y="383"/>
                  <a:pt x="35" y="383"/>
                  <a:pt x="35" y="383"/>
                </a:cubicBezTo>
                <a:cubicBezTo>
                  <a:pt x="40" y="339"/>
                  <a:pt x="46" y="298"/>
                  <a:pt x="56" y="258"/>
                </a:cubicBezTo>
                <a:cubicBezTo>
                  <a:pt x="65" y="438"/>
                  <a:pt x="65" y="438"/>
                  <a:pt x="65" y="438"/>
                </a:cubicBezTo>
                <a:cubicBezTo>
                  <a:pt x="65" y="629"/>
                  <a:pt x="65" y="629"/>
                  <a:pt x="65" y="629"/>
                </a:cubicBezTo>
                <a:cubicBezTo>
                  <a:pt x="91" y="629"/>
                  <a:pt x="91" y="629"/>
                  <a:pt x="91" y="629"/>
                </a:cubicBezTo>
                <a:cubicBezTo>
                  <a:pt x="96" y="820"/>
                  <a:pt x="96" y="820"/>
                  <a:pt x="96" y="820"/>
                </a:cubicBezTo>
                <a:cubicBezTo>
                  <a:pt x="94" y="823"/>
                  <a:pt x="92" y="828"/>
                  <a:pt x="92" y="833"/>
                </a:cubicBezTo>
                <a:cubicBezTo>
                  <a:pt x="97" y="833"/>
                  <a:pt x="97" y="833"/>
                  <a:pt x="97" y="833"/>
                </a:cubicBezTo>
                <a:cubicBezTo>
                  <a:pt x="133" y="833"/>
                  <a:pt x="133" y="833"/>
                  <a:pt x="133" y="833"/>
                </a:cubicBezTo>
                <a:cubicBezTo>
                  <a:pt x="138" y="833"/>
                  <a:pt x="138" y="833"/>
                  <a:pt x="138" y="833"/>
                </a:cubicBezTo>
                <a:cubicBezTo>
                  <a:pt x="138" y="828"/>
                  <a:pt x="136" y="823"/>
                  <a:pt x="133" y="820"/>
                </a:cubicBezTo>
                <a:cubicBezTo>
                  <a:pt x="138" y="629"/>
                  <a:pt x="138" y="629"/>
                  <a:pt x="138" y="629"/>
                </a:cubicBezTo>
                <a:cubicBezTo>
                  <a:pt x="149" y="629"/>
                  <a:pt x="149" y="629"/>
                  <a:pt x="149" y="629"/>
                </a:cubicBezTo>
                <a:cubicBezTo>
                  <a:pt x="154" y="820"/>
                  <a:pt x="154" y="820"/>
                  <a:pt x="154" y="820"/>
                </a:cubicBezTo>
                <a:cubicBezTo>
                  <a:pt x="151" y="823"/>
                  <a:pt x="149" y="828"/>
                  <a:pt x="149" y="833"/>
                </a:cubicBezTo>
                <a:cubicBezTo>
                  <a:pt x="154" y="833"/>
                  <a:pt x="154" y="833"/>
                  <a:pt x="154" y="833"/>
                </a:cubicBezTo>
                <a:cubicBezTo>
                  <a:pt x="190" y="833"/>
                  <a:pt x="190" y="833"/>
                  <a:pt x="190" y="833"/>
                </a:cubicBezTo>
                <a:cubicBezTo>
                  <a:pt x="195" y="833"/>
                  <a:pt x="195" y="833"/>
                  <a:pt x="195" y="833"/>
                </a:cubicBezTo>
                <a:cubicBezTo>
                  <a:pt x="195" y="828"/>
                  <a:pt x="193" y="823"/>
                  <a:pt x="190" y="820"/>
                </a:cubicBezTo>
                <a:cubicBezTo>
                  <a:pt x="195" y="629"/>
                  <a:pt x="195" y="629"/>
                  <a:pt x="195" y="629"/>
                </a:cubicBezTo>
                <a:cubicBezTo>
                  <a:pt x="216" y="629"/>
                  <a:pt x="216" y="629"/>
                  <a:pt x="216" y="629"/>
                </a:cubicBezTo>
                <a:cubicBezTo>
                  <a:pt x="216" y="438"/>
                  <a:pt x="216" y="438"/>
                  <a:pt x="216" y="438"/>
                </a:cubicBezTo>
                <a:cubicBezTo>
                  <a:pt x="225" y="259"/>
                  <a:pt x="225" y="259"/>
                  <a:pt x="225" y="259"/>
                </a:cubicBezTo>
                <a:cubicBezTo>
                  <a:pt x="235" y="299"/>
                  <a:pt x="240" y="340"/>
                  <a:pt x="245" y="383"/>
                </a:cubicBezTo>
                <a:cubicBezTo>
                  <a:pt x="249" y="383"/>
                  <a:pt x="249" y="383"/>
                  <a:pt x="249" y="383"/>
                </a:cubicBezTo>
                <a:cubicBezTo>
                  <a:pt x="249" y="398"/>
                  <a:pt x="249" y="398"/>
                  <a:pt x="249" y="398"/>
                </a:cubicBezTo>
                <a:cubicBezTo>
                  <a:pt x="249" y="405"/>
                  <a:pt x="255" y="411"/>
                  <a:pt x="262" y="411"/>
                </a:cubicBezTo>
                <a:cubicBezTo>
                  <a:pt x="269" y="411"/>
                  <a:pt x="274" y="405"/>
                  <a:pt x="274" y="398"/>
                </a:cubicBezTo>
                <a:cubicBezTo>
                  <a:pt x="274" y="383"/>
                  <a:pt x="274" y="383"/>
                  <a:pt x="274" y="383"/>
                </a:cubicBezTo>
                <a:cubicBezTo>
                  <a:pt x="279" y="383"/>
                  <a:pt x="279" y="383"/>
                  <a:pt x="279" y="383"/>
                </a:cubicBezTo>
                <a:cubicBezTo>
                  <a:pt x="272" y="307"/>
                  <a:pt x="262" y="238"/>
                  <a:pt x="230" y="169"/>
                </a:cubicBezTo>
                <a:close/>
              </a:path>
            </a:pathLst>
          </a:custGeom>
          <a:solidFill>
            <a:srgbClr val="D2D2D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" name="Freeform 37"/>
          <p:cNvSpPr>
            <a:spLocks/>
          </p:cNvSpPr>
          <p:nvPr/>
        </p:nvSpPr>
        <p:spPr bwMode="auto">
          <a:xfrm>
            <a:off x="9683750" y="1184276"/>
            <a:ext cx="536575" cy="1604963"/>
          </a:xfrm>
          <a:custGeom>
            <a:avLst/>
            <a:gdLst>
              <a:gd name="T0" fmla="*/ 230 w 279"/>
              <a:gd name="T1" fmla="*/ 169 h 833"/>
              <a:gd name="T2" fmla="*/ 166 w 279"/>
              <a:gd name="T3" fmla="*/ 162 h 833"/>
              <a:gd name="T4" fmla="*/ 160 w 279"/>
              <a:gd name="T5" fmla="*/ 156 h 833"/>
              <a:gd name="T6" fmla="*/ 209 w 279"/>
              <a:gd name="T7" fmla="*/ 133 h 833"/>
              <a:gd name="T8" fmla="*/ 189 w 279"/>
              <a:gd name="T9" fmla="*/ 123 h 833"/>
              <a:gd name="T10" fmla="*/ 197 w 279"/>
              <a:gd name="T11" fmla="*/ 97 h 833"/>
              <a:gd name="T12" fmla="*/ 197 w 279"/>
              <a:gd name="T13" fmla="*/ 96 h 833"/>
              <a:gd name="T14" fmla="*/ 172 w 279"/>
              <a:gd name="T15" fmla="*/ 24 h 833"/>
              <a:gd name="T16" fmla="*/ 81 w 279"/>
              <a:gd name="T17" fmla="*/ 64 h 833"/>
              <a:gd name="T18" fmla="*/ 88 w 279"/>
              <a:gd name="T19" fmla="*/ 96 h 833"/>
              <a:gd name="T20" fmla="*/ 84 w 279"/>
              <a:gd name="T21" fmla="*/ 123 h 833"/>
              <a:gd name="T22" fmla="*/ 98 w 279"/>
              <a:gd name="T23" fmla="*/ 153 h 833"/>
              <a:gd name="T24" fmla="*/ 122 w 279"/>
              <a:gd name="T25" fmla="*/ 162 h 833"/>
              <a:gd name="T26" fmla="*/ 51 w 279"/>
              <a:gd name="T27" fmla="*/ 169 h 833"/>
              <a:gd name="T28" fmla="*/ 51 w 279"/>
              <a:gd name="T29" fmla="*/ 169 h 833"/>
              <a:gd name="T30" fmla="*/ 5 w 279"/>
              <a:gd name="T31" fmla="*/ 383 h 833"/>
              <a:gd name="T32" fmla="*/ 18 w 279"/>
              <a:gd name="T33" fmla="*/ 411 h 833"/>
              <a:gd name="T34" fmla="*/ 31 w 279"/>
              <a:gd name="T35" fmla="*/ 383 h 833"/>
              <a:gd name="T36" fmla="*/ 56 w 279"/>
              <a:gd name="T37" fmla="*/ 258 h 833"/>
              <a:gd name="T38" fmla="*/ 65 w 279"/>
              <a:gd name="T39" fmla="*/ 629 h 833"/>
              <a:gd name="T40" fmla="*/ 96 w 279"/>
              <a:gd name="T41" fmla="*/ 820 h 833"/>
              <a:gd name="T42" fmla="*/ 97 w 279"/>
              <a:gd name="T43" fmla="*/ 833 h 833"/>
              <a:gd name="T44" fmla="*/ 138 w 279"/>
              <a:gd name="T45" fmla="*/ 833 h 833"/>
              <a:gd name="T46" fmla="*/ 138 w 279"/>
              <a:gd name="T47" fmla="*/ 629 h 833"/>
              <a:gd name="T48" fmla="*/ 153 w 279"/>
              <a:gd name="T49" fmla="*/ 820 h 833"/>
              <a:gd name="T50" fmla="*/ 154 w 279"/>
              <a:gd name="T51" fmla="*/ 833 h 833"/>
              <a:gd name="T52" fmla="*/ 195 w 279"/>
              <a:gd name="T53" fmla="*/ 833 h 833"/>
              <a:gd name="T54" fmla="*/ 195 w 279"/>
              <a:gd name="T55" fmla="*/ 629 h 833"/>
              <a:gd name="T56" fmla="*/ 216 w 279"/>
              <a:gd name="T57" fmla="*/ 438 h 833"/>
              <a:gd name="T58" fmla="*/ 245 w 279"/>
              <a:gd name="T59" fmla="*/ 383 h 833"/>
              <a:gd name="T60" fmla="*/ 249 w 279"/>
              <a:gd name="T61" fmla="*/ 398 h 833"/>
              <a:gd name="T62" fmla="*/ 274 w 279"/>
              <a:gd name="T63" fmla="*/ 398 h 833"/>
              <a:gd name="T64" fmla="*/ 279 w 279"/>
              <a:gd name="T65" fmla="*/ 383 h 8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79" h="833">
                <a:moveTo>
                  <a:pt x="230" y="169"/>
                </a:moveTo>
                <a:cubicBezTo>
                  <a:pt x="230" y="169"/>
                  <a:pt x="230" y="169"/>
                  <a:pt x="230" y="169"/>
                </a:cubicBezTo>
                <a:cubicBezTo>
                  <a:pt x="166" y="162"/>
                  <a:pt x="166" y="162"/>
                  <a:pt x="166" y="162"/>
                </a:cubicBezTo>
                <a:cubicBezTo>
                  <a:pt x="166" y="162"/>
                  <a:pt x="166" y="162"/>
                  <a:pt x="166" y="162"/>
                </a:cubicBezTo>
                <a:cubicBezTo>
                  <a:pt x="159" y="162"/>
                  <a:pt x="159" y="162"/>
                  <a:pt x="159" y="162"/>
                </a:cubicBezTo>
                <a:cubicBezTo>
                  <a:pt x="160" y="156"/>
                  <a:pt x="160" y="156"/>
                  <a:pt x="160" y="156"/>
                </a:cubicBezTo>
                <a:cubicBezTo>
                  <a:pt x="168" y="156"/>
                  <a:pt x="176" y="155"/>
                  <a:pt x="188" y="153"/>
                </a:cubicBezTo>
                <a:cubicBezTo>
                  <a:pt x="206" y="150"/>
                  <a:pt x="208" y="140"/>
                  <a:pt x="209" y="133"/>
                </a:cubicBezTo>
                <a:cubicBezTo>
                  <a:pt x="210" y="125"/>
                  <a:pt x="205" y="114"/>
                  <a:pt x="202" y="123"/>
                </a:cubicBezTo>
                <a:cubicBezTo>
                  <a:pt x="199" y="132"/>
                  <a:pt x="191" y="129"/>
                  <a:pt x="189" y="123"/>
                </a:cubicBezTo>
                <a:cubicBezTo>
                  <a:pt x="188" y="119"/>
                  <a:pt x="191" y="110"/>
                  <a:pt x="194" y="103"/>
                </a:cubicBezTo>
                <a:cubicBezTo>
                  <a:pt x="195" y="101"/>
                  <a:pt x="196" y="99"/>
                  <a:pt x="197" y="97"/>
                </a:cubicBezTo>
                <a:cubicBezTo>
                  <a:pt x="197" y="96"/>
                  <a:pt x="197" y="96"/>
                  <a:pt x="197" y="96"/>
                </a:cubicBezTo>
                <a:cubicBezTo>
                  <a:pt x="197" y="96"/>
                  <a:pt x="197" y="96"/>
                  <a:pt x="197" y="96"/>
                </a:cubicBezTo>
                <a:cubicBezTo>
                  <a:pt x="200" y="89"/>
                  <a:pt x="201" y="82"/>
                  <a:pt x="201" y="74"/>
                </a:cubicBezTo>
                <a:cubicBezTo>
                  <a:pt x="201" y="50"/>
                  <a:pt x="189" y="30"/>
                  <a:pt x="172" y="24"/>
                </a:cubicBezTo>
                <a:cubicBezTo>
                  <a:pt x="162" y="9"/>
                  <a:pt x="148" y="0"/>
                  <a:pt x="132" y="0"/>
                </a:cubicBezTo>
                <a:cubicBezTo>
                  <a:pt x="104" y="0"/>
                  <a:pt x="81" y="29"/>
                  <a:pt x="81" y="64"/>
                </a:cubicBezTo>
                <a:cubicBezTo>
                  <a:pt x="81" y="76"/>
                  <a:pt x="83" y="87"/>
                  <a:pt x="88" y="96"/>
                </a:cubicBezTo>
                <a:cubicBezTo>
                  <a:pt x="88" y="96"/>
                  <a:pt x="88" y="96"/>
                  <a:pt x="88" y="96"/>
                </a:cubicBezTo>
                <a:cubicBezTo>
                  <a:pt x="88" y="96"/>
                  <a:pt x="99" y="117"/>
                  <a:pt x="96" y="123"/>
                </a:cubicBezTo>
                <a:cubicBezTo>
                  <a:pt x="94" y="129"/>
                  <a:pt x="87" y="132"/>
                  <a:pt x="84" y="123"/>
                </a:cubicBezTo>
                <a:cubicBezTo>
                  <a:pt x="80" y="114"/>
                  <a:pt x="76" y="125"/>
                  <a:pt x="76" y="133"/>
                </a:cubicBezTo>
                <a:cubicBezTo>
                  <a:pt x="77" y="140"/>
                  <a:pt x="79" y="150"/>
                  <a:pt x="98" y="153"/>
                </a:cubicBezTo>
                <a:cubicBezTo>
                  <a:pt x="107" y="155"/>
                  <a:pt x="114" y="156"/>
                  <a:pt x="121" y="156"/>
                </a:cubicBezTo>
                <a:cubicBezTo>
                  <a:pt x="122" y="162"/>
                  <a:pt x="122" y="162"/>
                  <a:pt x="122" y="162"/>
                </a:cubicBezTo>
                <a:cubicBezTo>
                  <a:pt x="115" y="162"/>
                  <a:pt x="115" y="162"/>
                  <a:pt x="115" y="162"/>
                </a:cubicBezTo>
                <a:cubicBezTo>
                  <a:pt x="51" y="169"/>
                  <a:pt x="51" y="169"/>
                  <a:pt x="51" y="169"/>
                </a:cubicBezTo>
                <a:cubicBezTo>
                  <a:pt x="51" y="169"/>
                  <a:pt x="51" y="169"/>
                  <a:pt x="51" y="169"/>
                </a:cubicBezTo>
                <a:cubicBezTo>
                  <a:pt x="51" y="169"/>
                  <a:pt x="51" y="169"/>
                  <a:pt x="51" y="169"/>
                </a:cubicBezTo>
                <a:cubicBezTo>
                  <a:pt x="18" y="238"/>
                  <a:pt x="8" y="307"/>
                  <a:pt x="0" y="383"/>
                </a:cubicBezTo>
                <a:cubicBezTo>
                  <a:pt x="5" y="383"/>
                  <a:pt x="5" y="383"/>
                  <a:pt x="5" y="383"/>
                </a:cubicBezTo>
                <a:cubicBezTo>
                  <a:pt x="5" y="398"/>
                  <a:pt x="5" y="398"/>
                  <a:pt x="5" y="398"/>
                </a:cubicBezTo>
                <a:cubicBezTo>
                  <a:pt x="5" y="405"/>
                  <a:pt x="11" y="411"/>
                  <a:pt x="18" y="411"/>
                </a:cubicBezTo>
                <a:cubicBezTo>
                  <a:pt x="25" y="411"/>
                  <a:pt x="31" y="405"/>
                  <a:pt x="31" y="398"/>
                </a:cubicBezTo>
                <a:cubicBezTo>
                  <a:pt x="31" y="383"/>
                  <a:pt x="31" y="383"/>
                  <a:pt x="31" y="383"/>
                </a:cubicBezTo>
                <a:cubicBezTo>
                  <a:pt x="35" y="383"/>
                  <a:pt x="35" y="383"/>
                  <a:pt x="35" y="383"/>
                </a:cubicBezTo>
                <a:cubicBezTo>
                  <a:pt x="40" y="339"/>
                  <a:pt x="46" y="298"/>
                  <a:pt x="56" y="258"/>
                </a:cubicBezTo>
                <a:cubicBezTo>
                  <a:pt x="65" y="438"/>
                  <a:pt x="65" y="438"/>
                  <a:pt x="65" y="438"/>
                </a:cubicBezTo>
                <a:cubicBezTo>
                  <a:pt x="65" y="629"/>
                  <a:pt x="65" y="629"/>
                  <a:pt x="65" y="629"/>
                </a:cubicBezTo>
                <a:cubicBezTo>
                  <a:pt x="91" y="629"/>
                  <a:pt x="91" y="629"/>
                  <a:pt x="91" y="629"/>
                </a:cubicBezTo>
                <a:cubicBezTo>
                  <a:pt x="96" y="820"/>
                  <a:pt x="96" y="820"/>
                  <a:pt x="96" y="820"/>
                </a:cubicBezTo>
                <a:cubicBezTo>
                  <a:pt x="93" y="823"/>
                  <a:pt x="92" y="828"/>
                  <a:pt x="92" y="833"/>
                </a:cubicBezTo>
                <a:cubicBezTo>
                  <a:pt x="97" y="833"/>
                  <a:pt x="97" y="833"/>
                  <a:pt x="97" y="833"/>
                </a:cubicBezTo>
                <a:cubicBezTo>
                  <a:pt x="133" y="833"/>
                  <a:pt x="133" y="833"/>
                  <a:pt x="133" y="833"/>
                </a:cubicBezTo>
                <a:cubicBezTo>
                  <a:pt x="138" y="833"/>
                  <a:pt x="138" y="833"/>
                  <a:pt x="138" y="833"/>
                </a:cubicBezTo>
                <a:cubicBezTo>
                  <a:pt x="138" y="828"/>
                  <a:pt x="136" y="823"/>
                  <a:pt x="133" y="820"/>
                </a:cubicBezTo>
                <a:cubicBezTo>
                  <a:pt x="138" y="629"/>
                  <a:pt x="138" y="629"/>
                  <a:pt x="138" y="629"/>
                </a:cubicBezTo>
                <a:cubicBezTo>
                  <a:pt x="149" y="629"/>
                  <a:pt x="149" y="629"/>
                  <a:pt x="149" y="629"/>
                </a:cubicBezTo>
                <a:cubicBezTo>
                  <a:pt x="153" y="820"/>
                  <a:pt x="153" y="820"/>
                  <a:pt x="153" y="820"/>
                </a:cubicBezTo>
                <a:cubicBezTo>
                  <a:pt x="151" y="823"/>
                  <a:pt x="149" y="828"/>
                  <a:pt x="149" y="833"/>
                </a:cubicBezTo>
                <a:cubicBezTo>
                  <a:pt x="154" y="833"/>
                  <a:pt x="154" y="833"/>
                  <a:pt x="154" y="833"/>
                </a:cubicBezTo>
                <a:cubicBezTo>
                  <a:pt x="190" y="833"/>
                  <a:pt x="190" y="833"/>
                  <a:pt x="190" y="833"/>
                </a:cubicBezTo>
                <a:cubicBezTo>
                  <a:pt x="195" y="833"/>
                  <a:pt x="195" y="833"/>
                  <a:pt x="195" y="833"/>
                </a:cubicBezTo>
                <a:cubicBezTo>
                  <a:pt x="195" y="828"/>
                  <a:pt x="193" y="823"/>
                  <a:pt x="190" y="820"/>
                </a:cubicBezTo>
                <a:cubicBezTo>
                  <a:pt x="195" y="629"/>
                  <a:pt x="195" y="629"/>
                  <a:pt x="195" y="629"/>
                </a:cubicBezTo>
                <a:cubicBezTo>
                  <a:pt x="216" y="629"/>
                  <a:pt x="216" y="629"/>
                  <a:pt x="216" y="629"/>
                </a:cubicBezTo>
                <a:cubicBezTo>
                  <a:pt x="216" y="438"/>
                  <a:pt x="216" y="438"/>
                  <a:pt x="216" y="438"/>
                </a:cubicBezTo>
                <a:cubicBezTo>
                  <a:pt x="225" y="259"/>
                  <a:pt x="225" y="259"/>
                  <a:pt x="225" y="259"/>
                </a:cubicBezTo>
                <a:cubicBezTo>
                  <a:pt x="235" y="299"/>
                  <a:pt x="240" y="340"/>
                  <a:pt x="245" y="383"/>
                </a:cubicBezTo>
                <a:cubicBezTo>
                  <a:pt x="249" y="383"/>
                  <a:pt x="249" y="383"/>
                  <a:pt x="249" y="383"/>
                </a:cubicBezTo>
                <a:cubicBezTo>
                  <a:pt x="249" y="398"/>
                  <a:pt x="249" y="398"/>
                  <a:pt x="249" y="398"/>
                </a:cubicBezTo>
                <a:cubicBezTo>
                  <a:pt x="249" y="405"/>
                  <a:pt x="255" y="411"/>
                  <a:pt x="262" y="411"/>
                </a:cubicBezTo>
                <a:cubicBezTo>
                  <a:pt x="269" y="411"/>
                  <a:pt x="274" y="405"/>
                  <a:pt x="274" y="398"/>
                </a:cubicBezTo>
                <a:cubicBezTo>
                  <a:pt x="274" y="383"/>
                  <a:pt x="274" y="383"/>
                  <a:pt x="274" y="383"/>
                </a:cubicBezTo>
                <a:cubicBezTo>
                  <a:pt x="279" y="383"/>
                  <a:pt x="279" y="383"/>
                  <a:pt x="279" y="383"/>
                </a:cubicBezTo>
                <a:cubicBezTo>
                  <a:pt x="272" y="307"/>
                  <a:pt x="262" y="238"/>
                  <a:pt x="230" y="169"/>
                </a:cubicBezTo>
                <a:close/>
              </a:path>
            </a:pathLst>
          </a:custGeom>
          <a:solidFill>
            <a:srgbClr val="D2D2D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" name="Freeform 38"/>
          <p:cNvSpPr>
            <a:spLocks/>
          </p:cNvSpPr>
          <p:nvPr/>
        </p:nvSpPr>
        <p:spPr bwMode="auto">
          <a:xfrm>
            <a:off x="8813800" y="1158876"/>
            <a:ext cx="750887" cy="1630363"/>
          </a:xfrm>
          <a:custGeom>
            <a:avLst/>
            <a:gdLst>
              <a:gd name="T0" fmla="*/ 306 w 390"/>
              <a:gd name="T1" fmla="*/ 159 h 846"/>
              <a:gd name="T2" fmla="*/ 306 w 390"/>
              <a:gd name="T3" fmla="*/ 159 h 846"/>
              <a:gd name="T4" fmla="*/ 306 w 390"/>
              <a:gd name="T5" fmla="*/ 159 h 846"/>
              <a:gd name="T6" fmla="*/ 222 w 390"/>
              <a:gd name="T7" fmla="*/ 152 h 846"/>
              <a:gd name="T8" fmla="*/ 222 w 390"/>
              <a:gd name="T9" fmla="*/ 153 h 846"/>
              <a:gd name="T10" fmla="*/ 222 w 390"/>
              <a:gd name="T11" fmla="*/ 152 h 846"/>
              <a:gd name="T12" fmla="*/ 222 w 390"/>
              <a:gd name="T13" fmla="*/ 152 h 846"/>
              <a:gd name="T14" fmla="*/ 222 w 390"/>
              <a:gd name="T15" fmla="*/ 139 h 846"/>
              <a:gd name="T16" fmla="*/ 240 w 390"/>
              <a:gd name="T17" fmla="*/ 117 h 846"/>
              <a:gd name="T18" fmla="*/ 240 w 390"/>
              <a:gd name="T19" fmla="*/ 98 h 846"/>
              <a:gd name="T20" fmla="*/ 248 w 390"/>
              <a:gd name="T21" fmla="*/ 90 h 846"/>
              <a:gd name="T22" fmla="*/ 248 w 390"/>
              <a:gd name="T23" fmla="*/ 74 h 846"/>
              <a:gd name="T24" fmla="*/ 242 w 390"/>
              <a:gd name="T25" fmla="*/ 66 h 846"/>
              <a:gd name="T26" fmla="*/ 253 w 390"/>
              <a:gd name="T27" fmla="*/ 43 h 846"/>
              <a:gd name="T28" fmla="*/ 221 w 390"/>
              <a:gd name="T29" fmla="*/ 12 h 846"/>
              <a:gd name="T30" fmla="*/ 220 w 390"/>
              <a:gd name="T31" fmla="*/ 12 h 846"/>
              <a:gd name="T32" fmla="*/ 185 w 390"/>
              <a:gd name="T33" fmla="*/ 0 h 846"/>
              <a:gd name="T34" fmla="*/ 136 w 390"/>
              <a:gd name="T35" fmla="*/ 41 h 846"/>
              <a:gd name="T36" fmla="*/ 146 w 390"/>
              <a:gd name="T37" fmla="*/ 66 h 846"/>
              <a:gd name="T38" fmla="*/ 139 w 390"/>
              <a:gd name="T39" fmla="*/ 74 h 846"/>
              <a:gd name="T40" fmla="*/ 139 w 390"/>
              <a:gd name="T41" fmla="*/ 90 h 846"/>
              <a:gd name="T42" fmla="*/ 147 w 390"/>
              <a:gd name="T43" fmla="*/ 98 h 846"/>
              <a:gd name="T44" fmla="*/ 147 w 390"/>
              <a:gd name="T45" fmla="*/ 117 h 846"/>
              <a:gd name="T46" fmla="*/ 167 w 390"/>
              <a:gd name="T47" fmla="*/ 139 h 846"/>
              <a:gd name="T48" fmla="*/ 167 w 390"/>
              <a:gd name="T49" fmla="*/ 152 h 846"/>
              <a:gd name="T50" fmla="*/ 83 w 390"/>
              <a:gd name="T51" fmla="*/ 159 h 846"/>
              <a:gd name="T52" fmla="*/ 83 w 390"/>
              <a:gd name="T53" fmla="*/ 162 h 846"/>
              <a:gd name="T54" fmla="*/ 0 w 390"/>
              <a:gd name="T55" fmla="*/ 462 h 846"/>
              <a:gd name="T56" fmla="*/ 7 w 390"/>
              <a:gd name="T57" fmla="*/ 462 h 846"/>
              <a:gd name="T58" fmla="*/ 7 w 390"/>
              <a:gd name="T59" fmla="*/ 483 h 846"/>
              <a:gd name="T60" fmla="*/ 24 w 390"/>
              <a:gd name="T61" fmla="*/ 500 h 846"/>
              <a:gd name="T62" fmla="*/ 42 w 390"/>
              <a:gd name="T63" fmla="*/ 483 h 846"/>
              <a:gd name="T64" fmla="*/ 42 w 390"/>
              <a:gd name="T65" fmla="*/ 462 h 846"/>
              <a:gd name="T66" fmla="*/ 48 w 390"/>
              <a:gd name="T67" fmla="*/ 462 h 846"/>
              <a:gd name="T68" fmla="*/ 83 w 390"/>
              <a:gd name="T69" fmla="*/ 294 h 846"/>
              <a:gd name="T70" fmla="*/ 83 w 390"/>
              <a:gd name="T71" fmla="*/ 532 h 846"/>
              <a:gd name="T72" fmla="*/ 112 w 390"/>
              <a:gd name="T73" fmla="*/ 532 h 846"/>
              <a:gd name="T74" fmla="*/ 123 w 390"/>
              <a:gd name="T75" fmla="*/ 818 h 846"/>
              <a:gd name="T76" fmla="*/ 133 w 390"/>
              <a:gd name="T77" fmla="*/ 818 h 846"/>
              <a:gd name="T78" fmla="*/ 118 w 390"/>
              <a:gd name="T79" fmla="*/ 846 h 846"/>
              <a:gd name="T80" fmla="*/ 187 w 390"/>
              <a:gd name="T81" fmla="*/ 846 h 846"/>
              <a:gd name="T82" fmla="*/ 172 w 390"/>
              <a:gd name="T83" fmla="*/ 818 h 846"/>
              <a:gd name="T84" fmla="*/ 182 w 390"/>
              <a:gd name="T85" fmla="*/ 818 h 846"/>
              <a:gd name="T86" fmla="*/ 192 w 390"/>
              <a:gd name="T87" fmla="*/ 532 h 846"/>
              <a:gd name="T88" fmla="*/ 196 w 390"/>
              <a:gd name="T89" fmla="*/ 532 h 846"/>
              <a:gd name="T90" fmla="*/ 207 w 390"/>
              <a:gd name="T91" fmla="*/ 818 h 846"/>
              <a:gd name="T92" fmla="*/ 217 w 390"/>
              <a:gd name="T93" fmla="*/ 818 h 846"/>
              <a:gd name="T94" fmla="*/ 202 w 390"/>
              <a:gd name="T95" fmla="*/ 846 h 846"/>
              <a:gd name="T96" fmla="*/ 271 w 390"/>
              <a:gd name="T97" fmla="*/ 846 h 846"/>
              <a:gd name="T98" fmla="*/ 256 w 390"/>
              <a:gd name="T99" fmla="*/ 818 h 846"/>
              <a:gd name="T100" fmla="*/ 266 w 390"/>
              <a:gd name="T101" fmla="*/ 818 h 846"/>
              <a:gd name="T102" fmla="*/ 276 w 390"/>
              <a:gd name="T103" fmla="*/ 532 h 846"/>
              <a:gd name="T104" fmla="*/ 306 w 390"/>
              <a:gd name="T105" fmla="*/ 532 h 846"/>
              <a:gd name="T106" fmla="*/ 306 w 390"/>
              <a:gd name="T107" fmla="*/ 289 h 846"/>
              <a:gd name="T108" fmla="*/ 342 w 390"/>
              <a:gd name="T109" fmla="*/ 462 h 846"/>
              <a:gd name="T110" fmla="*/ 348 w 390"/>
              <a:gd name="T111" fmla="*/ 462 h 846"/>
              <a:gd name="T112" fmla="*/ 348 w 390"/>
              <a:gd name="T113" fmla="*/ 483 h 846"/>
              <a:gd name="T114" fmla="*/ 366 w 390"/>
              <a:gd name="T115" fmla="*/ 500 h 846"/>
              <a:gd name="T116" fmla="*/ 383 w 390"/>
              <a:gd name="T117" fmla="*/ 483 h 846"/>
              <a:gd name="T118" fmla="*/ 383 w 390"/>
              <a:gd name="T119" fmla="*/ 462 h 846"/>
              <a:gd name="T120" fmla="*/ 390 w 390"/>
              <a:gd name="T121" fmla="*/ 462 h 846"/>
              <a:gd name="T122" fmla="*/ 306 w 390"/>
              <a:gd name="T123" fmla="*/ 159 h 8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90" h="846">
                <a:moveTo>
                  <a:pt x="306" y="159"/>
                </a:moveTo>
                <a:cubicBezTo>
                  <a:pt x="306" y="159"/>
                  <a:pt x="306" y="159"/>
                  <a:pt x="306" y="159"/>
                </a:cubicBezTo>
                <a:cubicBezTo>
                  <a:pt x="306" y="159"/>
                  <a:pt x="306" y="159"/>
                  <a:pt x="306" y="159"/>
                </a:cubicBezTo>
                <a:cubicBezTo>
                  <a:pt x="222" y="152"/>
                  <a:pt x="222" y="152"/>
                  <a:pt x="222" y="152"/>
                </a:cubicBezTo>
                <a:cubicBezTo>
                  <a:pt x="222" y="153"/>
                  <a:pt x="222" y="153"/>
                  <a:pt x="222" y="153"/>
                </a:cubicBezTo>
                <a:cubicBezTo>
                  <a:pt x="222" y="152"/>
                  <a:pt x="222" y="152"/>
                  <a:pt x="222" y="152"/>
                </a:cubicBezTo>
                <a:cubicBezTo>
                  <a:pt x="222" y="152"/>
                  <a:pt x="222" y="152"/>
                  <a:pt x="222" y="152"/>
                </a:cubicBezTo>
                <a:cubicBezTo>
                  <a:pt x="222" y="139"/>
                  <a:pt x="222" y="139"/>
                  <a:pt x="222" y="139"/>
                </a:cubicBezTo>
                <a:cubicBezTo>
                  <a:pt x="232" y="137"/>
                  <a:pt x="240" y="128"/>
                  <a:pt x="240" y="117"/>
                </a:cubicBezTo>
                <a:cubicBezTo>
                  <a:pt x="240" y="98"/>
                  <a:pt x="240" y="98"/>
                  <a:pt x="240" y="98"/>
                </a:cubicBezTo>
                <a:cubicBezTo>
                  <a:pt x="244" y="98"/>
                  <a:pt x="248" y="95"/>
                  <a:pt x="248" y="90"/>
                </a:cubicBezTo>
                <a:cubicBezTo>
                  <a:pt x="248" y="74"/>
                  <a:pt x="248" y="74"/>
                  <a:pt x="248" y="74"/>
                </a:cubicBezTo>
                <a:cubicBezTo>
                  <a:pt x="248" y="70"/>
                  <a:pt x="245" y="67"/>
                  <a:pt x="242" y="66"/>
                </a:cubicBezTo>
                <a:cubicBezTo>
                  <a:pt x="249" y="60"/>
                  <a:pt x="253" y="52"/>
                  <a:pt x="253" y="43"/>
                </a:cubicBezTo>
                <a:cubicBezTo>
                  <a:pt x="253" y="26"/>
                  <a:pt x="238" y="12"/>
                  <a:pt x="221" y="12"/>
                </a:cubicBezTo>
                <a:cubicBezTo>
                  <a:pt x="220" y="12"/>
                  <a:pt x="220" y="12"/>
                  <a:pt x="220" y="12"/>
                </a:cubicBezTo>
                <a:cubicBezTo>
                  <a:pt x="211" y="4"/>
                  <a:pt x="199" y="0"/>
                  <a:pt x="185" y="0"/>
                </a:cubicBezTo>
                <a:cubicBezTo>
                  <a:pt x="158" y="0"/>
                  <a:pt x="136" y="18"/>
                  <a:pt x="136" y="41"/>
                </a:cubicBezTo>
                <a:cubicBezTo>
                  <a:pt x="136" y="50"/>
                  <a:pt x="140" y="59"/>
                  <a:pt x="146" y="66"/>
                </a:cubicBezTo>
                <a:cubicBezTo>
                  <a:pt x="142" y="66"/>
                  <a:pt x="139" y="70"/>
                  <a:pt x="139" y="74"/>
                </a:cubicBezTo>
                <a:cubicBezTo>
                  <a:pt x="139" y="90"/>
                  <a:pt x="139" y="90"/>
                  <a:pt x="139" y="90"/>
                </a:cubicBezTo>
                <a:cubicBezTo>
                  <a:pt x="139" y="95"/>
                  <a:pt x="143" y="98"/>
                  <a:pt x="147" y="98"/>
                </a:cubicBezTo>
                <a:cubicBezTo>
                  <a:pt x="147" y="117"/>
                  <a:pt x="147" y="117"/>
                  <a:pt x="147" y="117"/>
                </a:cubicBezTo>
                <a:cubicBezTo>
                  <a:pt x="147" y="128"/>
                  <a:pt x="156" y="138"/>
                  <a:pt x="167" y="139"/>
                </a:cubicBezTo>
                <a:cubicBezTo>
                  <a:pt x="167" y="152"/>
                  <a:pt x="167" y="152"/>
                  <a:pt x="167" y="152"/>
                </a:cubicBezTo>
                <a:cubicBezTo>
                  <a:pt x="83" y="159"/>
                  <a:pt x="83" y="159"/>
                  <a:pt x="83" y="159"/>
                </a:cubicBezTo>
                <a:cubicBezTo>
                  <a:pt x="83" y="162"/>
                  <a:pt x="83" y="162"/>
                  <a:pt x="83" y="162"/>
                </a:cubicBezTo>
                <a:cubicBezTo>
                  <a:pt x="38" y="259"/>
                  <a:pt x="11" y="356"/>
                  <a:pt x="0" y="462"/>
                </a:cubicBezTo>
                <a:cubicBezTo>
                  <a:pt x="7" y="462"/>
                  <a:pt x="7" y="462"/>
                  <a:pt x="7" y="462"/>
                </a:cubicBezTo>
                <a:cubicBezTo>
                  <a:pt x="7" y="483"/>
                  <a:pt x="7" y="483"/>
                  <a:pt x="7" y="483"/>
                </a:cubicBezTo>
                <a:cubicBezTo>
                  <a:pt x="7" y="492"/>
                  <a:pt x="14" y="500"/>
                  <a:pt x="24" y="500"/>
                </a:cubicBezTo>
                <a:cubicBezTo>
                  <a:pt x="34" y="500"/>
                  <a:pt x="42" y="492"/>
                  <a:pt x="42" y="483"/>
                </a:cubicBezTo>
                <a:cubicBezTo>
                  <a:pt x="42" y="462"/>
                  <a:pt x="42" y="462"/>
                  <a:pt x="42" y="462"/>
                </a:cubicBezTo>
                <a:cubicBezTo>
                  <a:pt x="48" y="462"/>
                  <a:pt x="48" y="462"/>
                  <a:pt x="48" y="462"/>
                </a:cubicBezTo>
                <a:cubicBezTo>
                  <a:pt x="54" y="403"/>
                  <a:pt x="66" y="348"/>
                  <a:pt x="83" y="294"/>
                </a:cubicBezTo>
                <a:cubicBezTo>
                  <a:pt x="83" y="532"/>
                  <a:pt x="83" y="532"/>
                  <a:pt x="83" y="532"/>
                </a:cubicBezTo>
                <a:cubicBezTo>
                  <a:pt x="112" y="532"/>
                  <a:pt x="112" y="532"/>
                  <a:pt x="112" y="532"/>
                </a:cubicBezTo>
                <a:cubicBezTo>
                  <a:pt x="123" y="818"/>
                  <a:pt x="123" y="818"/>
                  <a:pt x="123" y="818"/>
                </a:cubicBezTo>
                <a:cubicBezTo>
                  <a:pt x="133" y="818"/>
                  <a:pt x="133" y="818"/>
                  <a:pt x="133" y="818"/>
                </a:cubicBezTo>
                <a:cubicBezTo>
                  <a:pt x="124" y="824"/>
                  <a:pt x="118" y="834"/>
                  <a:pt x="118" y="846"/>
                </a:cubicBezTo>
                <a:cubicBezTo>
                  <a:pt x="187" y="846"/>
                  <a:pt x="187" y="846"/>
                  <a:pt x="187" y="846"/>
                </a:cubicBezTo>
                <a:cubicBezTo>
                  <a:pt x="187" y="834"/>
                  <a:pt x="181" y="824"/>
                  <a:pt x="172" y="818"/>
                </a:cubicBezTo>
                <a:cubicBezTo>
                  <a:pt x="182" y="818"/>
                  <a:pt x="182" y="818"/>
                  <a:pt x="182" y="818"/>
                </a:cubicBezTo>
                <a:cubicBezTo>
                  <a:pt x="192" y="532"/>
                  <a:pt x="192" y="532"/>
                  <a:pt x="192" y="532"/>
                </a:cubicBezTo>
                <a:cubicBezTo>
                  <a:pt x="196" y="532"/>
                  <a:pt x="196" y="532"/>
                  <a:pt x="196" y="532"/>
                </a:cubicBezTo>
                <a:cubicBezTo>
                  <a:pt x="207" y="818"/>
                  <a:pt x="207" y="818"/>
                  <a:pt x="207" y="818"/>
                </a:cubicBezTo>
                <a:cubicBezTo>
                  <a:pt x="217" y="818"/>
                  <a:pt x="217" y="818"/>
                  <a:pt x="217" y="818"/>
                </a:cubicBezTo>
                <a:cubicBezTo>
                  <a:pt x="208" y="824"/>
                  <a:pt x="202" y="834"/>
                  <a:pt x="202" y="846"/>
                </a:cubicBezTo>
                <a:cubicBezTo>
                  <a:pt x="271" y="846"/>
                  <a:pt x="271" y="846"/>
                  <a:pt x="271" y="846"/>
                </a:cubicBezTo>
                <a:cubicBezTo>
                  <a:pt x="271" y="834"/>
                  <a:pt x="265" y="824"/>
                  <a:pt x="256" y="818"/>
                </a:cubicBezTo>
                <a:cubicBezTo>
                  <a:pt x="266" y="818"/>
                  <a:pt x="266" y="818"/>
                  <a:pt x="266" y="818"/>
                </a:cubicBezTo>
                <a:cubicBezTo>
                  <a:pt x="276" y="532"/>
                  <a:pt x="276" y="532"/>
                  <a:pt x="276" y="532"/>
                </a:cubicBezTo>
                <a:cubicBezTo>
                  <a:pt x="306" y="532"/>
                  <a:pt x="306" y="532"/>
                  <a:pt x="306" y="532"/>
                </a:cubicBezTo>
                <a:cubicBezTo>
                  <a:pt x="306" y="289"/>
                  <a:pt x="306" y="289"/>
                  <a:pt x="306" y="289"/>
                </a:cubicBezTo>
                <a:cubicBezTo>
                  <a:pt x="323" y="345"/>
                  <a:pt x="336" y="402"/>
                  <a:pt x="342" y="462"/>
                </a:cubicBezTo>
                <a:cubicBezTo>
                  <a:pt x="348" y="462"/>
                  <a:pt x="348" y="462"/>
                  <a:pt x="348" y="462"/>
                </a:cubicBezTo>
                <a:cubicBezTo>
                  <a:pt x="348" y="483"/>
                  <a:pt x="348" y="483"/>
                  <a:pt x="348" y="483"/>
                </a:cubicBezTo>
                <a:cubicBezTo>
                  <a:pt x="348" y="492"/>
                  <a:pt x="356" y="500"/>
                  <a:pt x="366" y="500"/>
                </a:cubicBezTo>
                <a:cubicBezTo>
                  <a:pt x="375" y="500"/>
                  <a:pt x="383" y="492"/>
                  <a:pt x="383" y="483"/>
                </a:cubicBezTo>
                <a:cubicBezTo>
                  <a:pt x="383" y="462"/>
                  <a:pt x="383" y="462"/>
                  <a:pt x="383" y="462"/>
                </a:cubicBezTo>
                <a:cubicBezTo>
                  <a:pt x="390" y="462"/>
                  <a:pt x="390" y="462"/>
                  <a:pt x="390" y="462"/>
                </a:cubicBezTo>
                <a:cubicBezTo>
                  <a:pt x="380" y="355"/>
                  <a:pt x="351" y="257"/>
                  <a:pt x="306" y="159"/>
                </a:cubicBezTo>
                <a:close/>
              </a:path>
            </a:pathLst>
          </a:custGeom>
          <a:solidFill>
            <a:srgbClr val="D2D2D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2" name="Freeform 96"/>
          <p:cNvSpPr>
            <a:spLocks/>
          </p:cNvSpPr>
          <p:nvPr/>
        </p:nvSpPr>
        <p:spPr bwMode="auto">
          <a:xfrm>
            <a:off x="8688388" y="2711451"/>
            <a:ext cx="160337" cy="79375"/>
          </a:xfrm>
          <a:custGeom>
            <a:avLst/>
            <a:gdLst>
              <a:gd name="T0" fmla="*/ 41 w 83"/>
              <a:gd name="T1" fmla="*/ 0 h 41"/>
              <a:gd name="T2" fmla="*/ 0 w 83"/>
              <a:gd name="T3" fmla="*/ 41 h 41"/>
              <a:gd name="T4" fmla="*/ 83 w 83"/>
              <a:gd name="T5" fmla="*/ 41 h 41"/>
              <a:gd name="T6" fmla="*/ 41 w 83"/>
              <a:gd name="T7" fmla="*/ 0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3" h="41">
                <a:moveTo>
                  <a:pt x="41" y="0"/>
                </a:moveTo>
                <a:cubicBezTo>
                  <a:pt x="18" y="0"/>
                  <a:pt x="0" y="19"/>
                  <a:pt x="0" y="41"/>
                </a:cubicBezTo>
                <a:cubicBezTo>
                  <a:pt x="83" y="41"/>
                  <a:pt x="83" y="41"/>
                  <a:pt x="83" y="41"/>
                </a:cubicBezTo>
                <a:cubicBezTo>
                  <a:pt x="83" y="19"/>
                  <a:pt x="64" y="0"/>
                  <a:pt x="41" y="0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4" name="Freeform 97"/>
          <p:cNvSpPr>
            <a:spLocks/>
          </p:cNvSpPr>
          <p:nvPr/>
        </p:nvSpPr>
        <p:spPr bwMode="auto">
          <a:xfrm>
            <a:off x="8667750" y="1858963"/>
            <a:ext cx="201612" cy="868363"/>
          </a:xfrm>
          <a:custGeom>
            <a:avLst/>
            <a:gdLst>
              <a:gd name="T0" fmla="*/ 98 w 127"/>
              <a:gd name="T1" fmla="*/ 547 h 547"/>
              <a:gd name="T2" fmla="*/ 23 w 127"/>
              <a:gd name="T3" fmla="*/ 547 h 547"/>
              <a:gd name="T4" fmla="*/ 0 w 127"/>
              <a:gd name="T5" fmla="*/ 0 h 547"/>
              <a:gd name="T6" fmla="*/ 127 w 127"/>
              <a:gd name="T7" fmla="*/ 0 h 547"/>
              <a:gd name="T8" fmla="*/ 98 w 127"/>
              <a:gd name="T9" fmla="*/ 547 h 5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547">
                <a:moveTo>
                  <a:pt x="98" y="547"/>
                </a:moveTo>
                <a:lnTo>
                  <a:pt x="23" y="547"/>
                </a:lnTo>
                <a:lnTo>
                  <a:pt x="0" y="0"/>
                </a:lnTo>
                <a:lnTo>
                  <a:pt x="127" y="0"/>
                </a:lnTo>
                <a:lnTo>
                  <a:pt x="98" y="547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6" name="Freeform 98"/>
          <p:cNvSpPr>
            <a:spLocks/>
          </p:cNvSpPr>
          <p:nvPr/>
        </p:nvSpPr>
        <p:spPr bwMode="auto">
          <a:xfrm>
            <a:off x="8843963" y="1858963"/>
            <a:ext cx="203200" cy="868363"/>
          </a:xfrm>
          <a:custGeom>
            <a:avLst/>
            <a:gdLst>
              <a:gd name="T0" fmla="*/ 103 w 128"/>
              <a:gd name="T1" fmla="*/ 547 h 547"/>
              <a:gd name="T2" fmla="*/ 28 w 128"/>
              <a:gd name="T3" fmla="*/ 547 h 547"/>
              <a:gd name="T4" fmla="*/ 0 w 128"/>
              <a:gd name="T5" fmla="*/ 0 h 547"/>
              <a:gd name="T6" fmla="*/ 128 w 128"/>
              <a:gd name="T7" fmla="*/ 0 h 547"/>
              <a:gd name="T8" fmla="*/ 103 w 128"/>
              <a:gd name="T9" fmla="*/ 547 h 5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8" h="547">
                <a:moveTo>
                  <a:pt x="103" y="547"/>
                </a:moveTo>
                <a:lnTo>
                  <a:pt x="28" y="547"/>
                </a:lnTo>
                <a:lnTo>
                  <a:pt x="0" y="0"/>
                </a:lnTo>
                <a:lnTo>
                  <a:pt x="128" y="0"/>
                </a:lnTo>
                <a:lnTo>
                  <a:pt x="103" y="547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7" name="Freeform 99"/>
          <p:cNvSpPr>
            <a:spLocks/>
          </p:cNvSpPr>
          <p:nvPr/>
        </p:nvSpPr>
        <p:spPr bwMode="auto">
          <a:xfrm>
            <a:off x="8872538" y="2711451"/>
            <a:ext cx="160337" cy="79375"/>
          </a:xfrm>
          <a:custGeom>
            <a:avLst/>
            <a:gdLst>
              <a:gd name="T0" fmla="*/ 41 w 83"/>
              <a:gd name="T1" fmla="*/ 0 h 41"/>
              <a:gd name="T2" fmla="*/ 0 w 83"/>
              <a:gd name="T3" fmla="*/ 41 h 41"/>
              <a:gd name="T4" fmla="*/ 83 w 83"/>
              <a:gd name="T5" fmla="*/ 41 h 41"/>
              <a:gd name="T6" fmla="*/ 41 w 83"/>
              <a:gd name="T7" fmla="*/ 0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3" h="41">
                <a:moveTo>
                  <a:pt x="41" y="0"/>
                </a:moveTo>
                <a:cubicBezTo>
                  <a:pt x="18" y="0"/>
                  <a:pt x="0" y="19"/>
                  <a:pt x="0" y="41"/>
                </a:cubicBezTo>
                <a:cubicBezTo>
                  <a:pt x="83" y="41"/>
                  <a:pt x="83" y="41"/>
                  <a:pt x="83" y="41"/>
                </a:cubicBezTo>
                <a:cubicBezTo>
                  <a:pt x="83" y="19"/>
                  <a:pt x="64" y="0"/>
                  <a:pt x="41" y="0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8" name="Freeform 100"/>
          <p:cNvSpPr>
            <a:spLocks/>
          </p:cNvSpPr>
          <p:nvPr/>
        </p:nvSpPr>
        <p:spPr bwMode="auto">
          <a:xfrm>
            <a:off x="8763000" y="1128713"/>
            <a:ext cx="196850" cy="527050"/>
          </a:xfrm>
          <a:custGeom>
            <a:avLst/>
            <a:gdLst>
              <a:gd name="T0" fmla="*/ 124 w 124"/>
              <a:gd name="T1" fmla="*/ 69 h 332"/>
              <a:gd name="T2" fmla="*/ 62 w 124"/>
              <a:gd name="T3" fmla="*/ 0 h 332"/>
              <a:gd name="T4" fmla="*/ 0 w 124"/>
              <a:gd name="T5" fmla="*/ 64 h 332"/>
              <a:gd name="T6" fmla="*/ 46 w 124"/>
              <a:gd name="T7" fmla="*/ 308 h 332"/>
              <a:gd name="T8" fmla="*/ 60 w 124"/>
              <a:gd name="T9" fmla="*/ 332 h 332"/>
              <a:gd name="T10" fmla="*/ 73 w 124"/>
              <a:gd name="T11" fmla="*/ 308 h 332"/>
              <a:gd name="T12" fmla="*/ 124 w 124"/>
              <a:gd name="T13" fmla="*/ 69 h 3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24" h="332">
                <a:moveTo>
                  <a:pt x="124" y="69"/>
                </a:moveTo>
                <a:lnTo>
                  <a:pt x="62" y="0"/>
                </a:lnTo>
                <a:lnTo>
                  <a:pt x="0" y="64"/>
                </a:lnTo>
                <a:lnTo>
                  <a:pt x="46" y="308"/>
                </a:lnTo>
                <a:lnTo>
                  <a:pt x="60" y="332"/>
                </a:lnTo>
                <a:lnTo>
                  <a:pt x="73" y="308"/>
                </a:lnTo>
                <a:lnTo>
                  <a:pt x="124" y="69"/>
                </a:lnTo>
                <a:close/>
              </a:path>
            </a:pathLst>
          </a:custGeom>
          <a:solidFill>
            <a:srgbClr val="D2D2D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" name="Freeform 101"/>
          <p:cNvSpPr>
            <a:spLocks/>
          </p:cNvSpPr>
          <p:nvPr/>
        </p:nvSpPr>
        <p:spPr bwMode="auto">
          <a:xfrm>
            <a:off x="8743950" y="769938"/>
            <a:ext cx="246062" cy="312738"/>
          </a:xfrm>
          <a:custGeom>
            <a:avLst/>
            <a:gdLst>
              <a:gd name="T0" fmla="*/ 114 w 128"/>
              <a:gd name="T1" fmla="*/ 98 h 162"/>
              <a:gd name="T2" fmla="*/ 46 w 128"/>
              <a:gd name="T3" fmla="*/ 151 h 162"/>
              <a:gd name="T4" fmla="*/ 13 w 128"/>
              <a:gd name="T5" fmla="*/ 65 h 162"/>
              <a:gd name="T6" fmla="*/ 96 w 128"/>
              <a:gd name="T7" fmla="*/ 10 h 162"/>
              <a:gd name="T8" fmla="*/ 114 w 128"/>
              <a:gd name="T9" fmla="*/ 98 h 1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8" h="162">
                <a:moveTo>
                  <a:pt x="114" y="98"/>
                </a:moveTo>
                <a:cubicBezTo>
                  <a:pt x="90" y="162"/>
                  <a:pt x="77" y="161"/>
                  <a:pt x="46" y="151"/>
                </a:cubicBezTo>
                <a:cubicBezTo>
                  <a:pt x="15" y="141"/>
                  <a:pt x="0" y="102"/>
                  <a:pt x="13" y="65"/>
                </a:cubicBezTo>
                <a:cubicBezTo>
                  <a:pt x="25" y="27"/>
                  <a:pt x="65" y="0"/>
                  <a:pt x="96" y="10"/>
                </a:cubicBezTo>
                <a:cubicBezTo>
                  <a:pt x="126" y="20"/>
                  <a:pt x="128" y="61"/>
                  <a:pt x="114" y="98"/>
                </a:cubicBezTo>
                <a:close/>
              </a:path>
            </a:pathLst>
          </a:custGeom>
          <a:solidFill>
            <a:srgbClr val="50505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" name="Freeform 102"/>
          <p:cNvSpPr>
            <a:spLocks/>
          </p:cNvSpPr>
          <p:nvPr/>
        </p:nvSpPr>
        <p:spPr bwMode="auto">
          <a:xfrm>
            <a:off x="8699500" y="758826"/>
            <a:ext cx="276225" cy="338138"/>
          </a:xfrm>
          <a:custGeom>
            <a:avLst/>
            <a:gdLst>
              <a:gd name="T0" fmla="*/ 124 w 143"/>
              <a:gd name="T1" fmla="*/ 35 h 176"/>
              <a:gd name="T2" fmla="*/ 104 w 143"/>
              <a:gd name="T3" fmla="*/ 149 h 176"/>
              <a:gd name="T4" fmla="*/ 41 w 143"/>
              <a:gd name="T5" fmla="*/ 144 h 176"/>
              <a:gd name="T6" fmla="*/ 41 w 143"/>
              <a:gd name="T7" fmla="*/ 12 h 176"/>
              <a:gd name="T8" fmla="*/ 124 w 143"/>
              <a:gd name="T9" fmla="*/ 35 h 1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3" h="176">
                <a:moveTo>
                  <a:pt x="124" y="35"/>
                </a:moveTo>
                <a:cubicBezTo>
                  <a:pt x="143" y="67"/>
                  <a:pt x="129" y="134"/>
                  <a:pt x="104" y="149"/>
                </a:cubicBezTo>
                <a:cubicBezTo>
                  <a:pt x="79" y="163"/>
                  <a:pt x="60" y="176"/>
                  <a:pt x="41" y="144"/>
                </a:cubicBezTo>
                <a:cubicBezTo>
                  <a:pt x="23" y="112"/>
                  <a:pt x="0" y="31"/>
                  <a:pt x="41" y="12"/>
                </a:cubicBezTo>
                <a:cubicBezTo>
                  <a:pt x="67" y="0"/>
                  <a:pt x="105" y="3"/>
                  <a:pt x="124" y="35"/>
                </a:cubicBezTo>
                <a:close/>
              </a:path>
            </a:pathLst>
          </a:custGeom>
          <a:solidFill>
            <a:srgbClr val="50505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" name="Freeform 103"/>
          <p:cNvSpPr>
            <a:spLocks/>
          </p:cNvSpPr>
          <p:nvPr/>
        </p:nvSpPr>
        <p:spPr bwMode="auto">
          <a:xfrm>
            <a:off x="8794750" y="1006476"/>
            <a:ext cx="127000" cy="152400"/>
          </a:xfrm>
          <a:custGeom>
            <a:avLst/>
            <a:gdLst>
              <a:gd name="T0" fmla="*/ 80 w 80"/>
              <a:gd name="T1" fmla="*/ 65 h 96"/>
              <a:gd name="T2" fmla="*/ 40 w 80"/>
              <a:gd name="T3" fmla="*/ 96 h 96"/>
              <a:gd name="T4" fmla="*/ 0 w 80"/>
              <a:gd name="T5" fmla="*/ 65 h 96"/>
              <a:gd name="T6" fmla="*/ 0 w 80"/>
              <a:gd name="T7" fmla="*/ 0 h 96"/>
              <a:gd name="T8" fmla="*/ 80 w 80"/>
              <a:gd name="T9" fmla="*/ 0 h 96"/>
              <a:gd name="T10" fmla="*/ 80 w 80"/>
              <a:gd name="T11" fmla="*/ 65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0" h="96">
                <a:moveTo>
                  <a:pt x="80" y="65"/>
                </a:moveTo>
                <a:lnTo>
                  <a:pt x="40" y="96"/>
                </a:lnTo>
                <a:lnTo>
                  <a:pt x="0" y="65"/>
                </a:lnTo>
                <a:lnTo>
                  <a:pt x="0" y="0"/>
                </a:lnTo>
                <a:lnTo>
                  <a:pt x="80" y="0"/>
                </a:lnTo>
                <a:lnTo>
                  <a:pt x="80" y="65"/>
                </a:lnTo>
                <a:close/>
              </a:path>
            </a:pathLst>
          </a:custGeom>
          <a:solidFill>
            <a:srgbClr val="FFB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" name="Freeform 104"/>
          <p:cNvSpPr>
            <a:spLocks/>
          </p:cNvSpPr>
          <p:nvPr/>
        </p:nvSpPr>
        <p:spPr bwMode="auto">
          <a:xfrm>
            <a:off x="8491538" y="1147763"/>
            <a:ext cx="271462" cy="701675"/>
          </a:xfrm>
          <a:custGeom>
            <a:avLst/>
            <a:gdLst>
              <a:gd name="T0" fmla="*/ 141 w 141"/>
              <a:gd name="T1" fmla="*/ 15 h 364"/>
              <a:gd name="T2" fmla="*/ 85 w 141"/>
              <a:gd name="T3" fmla="*/ 0 h 364"/>
              <a:gd name="T4" fmla="*/ 0 w 141"/>
              <a:gd name="T5" fmla="*/ 364 h 364"/>
              <a:gd name="T6" fmla="*/ 58 w 141"/>
              <a:gd name="T7" fmla="*/ 364 h 364"/>
              <a:gd name="T8" fmla="*/ 141 w 141"/>
              <a:gd name="T9" fmla="*/ 15 h 3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1" h="364">
                <a:moveTo>
                  <a:pt x="141" y="15"/>
                </a:moveTo>
                <a:cubicBezTo>
                  <a:pt x="123" y="10"/>
                  <a:pt x="104" y="5"/>
                  <a:pt x="85" y="0"/>
                </a:cubicBezTo>
                <a:cubicBezTo>
                  <a:pt x="31" y="117"/>
                  <a:pt x="13" y="235"/>
                  <a:pt x="0" y="364"/>
                </a:cubicBezTo>
                <a:cubicBezTo>
                  <a:pt x="58" y="364"/>
                  <a:pt x="58" y="364"/>
                  <a:pt x="58" y="364"/>
                </a:cubicBezTo>
                <a:cubicBezTo>
                  <a:pt x="71" y="241"/>
                  <a:pt x="89" y="128"/>
                  <a:pt x="141" y="15"/>
                </a:cubicBezTo>
                <a:close/>
              </a:path>
            </a:pathLst>
          </a:custGeom>
          <a:solidFill>
            <a:srgbClr val="50505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" name="Freeform 105"/>
          <p:cNvSpPr>
            <a:spLocks/>
          </p:cNvSpPr>
          <p:nvPr/>
        </p:nvSpPr>
        <p:spPr bwMode="auto">
          <a:xfrm>
            <a:off x="8953500" y="1147763"/>
            <a:ext cx="271462" cy="701675"/>
          </a:xfrm>
          <a:custGeom>
            <a:avLst/>
            <a:gdLst>
              <a:gd name="T0" fmla="*/ 0 w 141"/>
              <a:gd name="T1" fmla="*/ 15 h 364"/>
              <a:gd name="T2" fmla="*/ 56 w 141"/>
              <a:gd name="T3" fmla="*/ 0 h 364"/>
              <a:gd name="T4" fmla="*/ 141 w 141"/>
              <a:gd name="T5" fmla="*/ 364 h 364"/>
              <a:gd name="T6" fmla="*/ 84 w 141"/>
              <a:gd name="T7" fmla="*/ 364 h 364"/>
              <a:gd name="T8" fmla="*/ 0 w 141"/>
              <a:gd name="T9" fmla="*/ 15 h 3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1" h="364">
                <a:moveTo>
                  <a:pt x="0" y="15"/>
                </a:moveTo>
                <a:cubicBezTo>
                  <a:pt x="19" y="10"/>
                  <a:pt x="38" y="5"/>
                  <a:pt x="56" y="0"/>
                </a:cubicBezTo>
                <a:cubicBezTo>
                  <a:pt x="111" y="117"/>
                  <a:pt x="129" y="235"/>
                  <a:pt x="141" y="364"/>
                </a:cubicBezTo>
                <a:cubicBezTo>
                  <a:pt x="84" y="364"/>
                  <a:pt x="84" y="364"/>
                  <a:pt x="84" y="364"/>
                </a:cubicBezTo>
                <a:cubicBezTo>
                  <a:pt x="71" y="241"/>
                  <a:pt x="53" y="128"/>
                  <a:pt x="0" y="15"/>
                </a:cubicBezTo>
                <a:close/>
              </a:path>
            </a:pathLst>
          </a:custGeom>
          <a:solidFill>
            <a:srgbClr val="50505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" name="Freeform 106"/>
          <p:cNvSpPr>
            <a:spLocks/>
          </p:cNvSpPr>
          <p:nvPr/>
        </p:nvSpPr>
        <p:spPr bwMode="auto">
          <a:xfrm>
            <a:off x="8507413" y="1849438"/>
            <a:ext cx="80962" cy="90488"/>
          </a:xfrm>
          <a:custGeom>
            <a:avLst/>
            <a:gdLst>
              <a:gd name="T0" fmla="*/ 0 w 42"/>
              <a:gd name="T1" fmla="*/ 0 h 47"/>
              <a:gd name="T2" fmla="*/ 0 w 42"/>
              <a:gd name="T3" fmla="*/ 26 h 47"/>
              <a:gd name="T4" fmla="*/ 21 w 42"/>
              <a:gd name="T5" fmla="*/ 47 h 47"/>
              <a:gd name="T6" fmla="*/ 42 w 42"/>
              <a:gd name="T7" fmla="*/ 26 h 47"/>
              <a:gd name="T8" fmla="*/ 42 w 42"/>
              <a:gd name="T9" fmla="*/ 0 h 47"/>
              <a:gd name="T10" fmla="*/ 0 w 42"/>
              <a:gd name="T11" fmla="*/ 0 h 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2" h="47">
                <a:moveTo>
                  <a:pt x="0" y="0"/>
                </a:moveTo>
                <a:cubicBezTo>
                  <a:pt x="0" y="26"/>
                  <a:pt x="0" y="26"/>
                  <a:pt x="0" y="26"/>
                </a:cubicBezTo>
                <a:cubicBezTo>
                  <a:pt x="0" y="37"/>
                  <a:pt x="9" y="47"/>
                  <a:pt x="21" y="47"/>
                </a:cubicBezTo>
                <a:cubicBezTo>
                  <a:pt x="33" y="47"/>
                  <a:pt x="42" y="37"/>
                  <a:pt x="42" y="26"/>
                </a:cubicBezTo>
                <a:cubicBezTo>
                  <a:pt x="42" y="0"/>
                  <a:pt x="42" y="0"/>
                  <a:pt x="42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FFB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" name="Freeform 107"/>
          <p:cNvSpPr>
            <a:spLocks/>
          </p:cNvSpPr>
          <p:nvPr/>
        </p:nvSpPr>
        <p:spPr bwMode="auto">
          <a:xfrm>
            <a:off x="9129713" y="1849438"/>
            <a:ext cx="80962" cy="90488"/>
          </a:xfrm>
          <a:custGeom>
            <a:avLst/>
            <a:gdLst>
              <a:gd name="T0" fmla="*/ 0 w 42"/>
              <a:gd name="T1" fmla="*/ 0 h 47"/>
              <a:gd name="T2" fmla="*/ 0 w 42"/>
              <a:gd name="T3" fmla="*/ 26 h 47"/>
              <a:gd name="T4" fmla="*/ 21 w 42"/>
              <a:gd name="T5" fmla="*/ 47 h 47"/>
              <a:gd name="T6" fmla="*/ 42 w 42"/>
              <a:gd name="T7" fmla="*/ 26 h 47"/>
              <a:gd name="T8" fmla="*/ 42 w 42"/>
              <a:gd name="T9" fmla="*/ 0 h 47"/>
              <a:gd name="T10" fmla="*/ 0 w 42"/>
              <a:gd name="T11" fmla="*/ 0 h 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2" h="47">
                <a:moveTo>
                  <a:pt x="0" y="0"/>
                </a:moveTo>
                <a:cubicBezTo>
                  <a:pt x="0" y="26"/>
                  <a:pt x="0" y="26"/>
                  <a:pt x="0" y="26"/>
                </a:cubicBezTo>
                <a:cubicBezTo>
                  <a:pt x="0" y="37"/>
                  <a:pt x="10" y="47"/>
                  <a:pt x="21" y="47"/>
                </a:cubicBezTo>
                <a:cubicBezTo>
                  <a:pt x="33" y="47"/>
                  <a:pt x="42" y="37"/>
                  <a:pt x="42" y="26"/>
                </a:cubicBezTo>
                <a:cubicBezTo>
                  <a:pt x="42" y="0"/>
                  <a:pt x="42" y="0"/>
                  <a:pt x="42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FFB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" name="Freeform 108"/>
          <p:cNvSpPr>
            <a:spLocks/>
          </p:cNvSpPr>
          <p:nvPr/>
        </p:nvSpPr>
        <p:spPr bwMode="auto">
          <a:xfrm>
            <a:off x="8653463" y="1123951"/>
            <a:ext cx="407987" cy="711200"/>
          </a:xfrm>
          <a:custGeom>
            <a:avLst/>
            <a:gdLst>
              <a:gd name="T0" fmla="*/ 178 w 257"/>
              <a:gd name="T1" fmla="*/ 0 h 448"/>
              <a:gd name="T2" fmla="*/ 129 w 257"/>
              <a:gd name="T3" fmla="*/ 85 h 448"/>
              <a:gd name="T4" fmla="*/ 79 w 257"/>
              <a:gd name="T5" fmla="*/ 0 h 448"/>
              <a:gd name="T6" fmla="*/ 0 w 257"/>
              <a:gd name="T7" fmla="*/ 15 h 448"/>
              <a:gd name="T8" fmla="*/ 5 w 257"/>
              <a:gd name="T9" fmla="*/ 448 h 448"/>
              <a:gd name="T10" fmla="*/ 252 w 257"/>
              <a:gd name="T11" fmla="*/ 448 h 448"/>
              <a:gd name="T12" fmla="*/ 257 w 257"/>
              <a:gd name="T13" fmla="*/ 15 h 448"/>
              <a:gd name="T14" fmla="*/ 178 w 257"/>
              <a:gd name="T15" fmla="*/ 0 h 4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57" h="448">
                <a:moveTo>
                  <a:pt x="178" y="0"/>
                </a:moveTo>
                <a:lnTo>
                  <a:pt x="129" y="85"/>
                </a:lnTo>
                <a:lnTo>
                  <a:pt x="79" y="0"/>
                </a:lnTo>
                <a:lnTo>
                  <a:pt x="0" y="15"/>
                </a:lnTo>
                <a:lnTo>
                  <a:pt x="5" y="448"/>
                </a:lnTo>
                <a:lnTo>
                  <a:pt x="252" y="448"/>
                </a:lnTo>
                <a:lnTo>
                  <a:pt x="257" y="15"/>
                </a:lnTo>
                <a:lnTo>
                  <a:pt x="178" y="0"/>
                </a:lnTo>
                <a:close/>
              </a:path>
            </a:pathLst>
          </a:custGeom>
          <a:solidFill>
            <a:srgbClr val="50505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" name="Freeform 109"/>
          <p:cNvSpPr>
            <a:spLocks/>
          </p:cNvSpPr>
          <p:nvPr/>
        </p:nvSpPr>
        <p:spPr bwMode="auto">
          <a:xfrm>
            <a:off x="8961438" y="877888"/>
            <a:ext cx="0" cy="1588"/>
          </a:xfrm>
          <a:custGeom>
            <a:avLst/>
            <a:gdLst>
              <a:gd name="T0" fmla="*/ 1 h 1"/>
              <a:gd name="T1" fmla="*/ 0 h 1"/>
              <a:gd name="T2" fmla="*/ 1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1">
                <a:moveTo>
                  <a:pt x="0" y="1"/>
                </a:moveTo>
                <a:cubicBezTo>
                  <a:pt x="0" y="1"/>
                  <a:pt x="0" y="1"/>
                  <a:pt x="0" y="0"/>
                </a:cubicBezTo>
                <a:cubicBezTo>
                  <a:pt x="0" y="1"/>
                  <a:pt x="0" y="1"/>
                  <a:pt x="0" y="1"/>
                </a:cubicBezTo>
                <a:close/>
              </a:path>
            </a:pathLst>
          </a:custGeom>
          <a:solidFill>
            <a:srgbClr val="FFD60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" name="Freeform 110"/>
          <p:cNvSpPr>
            <a:spLocks/>
          </p:cNvSpPr>
          <p:nvPr/>
        </p:nvSpPr>
        <p:spPr bwMode="auto">
          <a:xfrm>
            <a:off x="8959850" y="874713"/>
            <a:ext cx="0" cy="1588"/>
          </a:xfrm>
          <a:custGeom>
            <a:avLst/>
            <a:gdLst>
              <a:gd name="T0" fmla="*/ 1 h 1"/>
              <a:gd name="T1" fmla="*/ 0 h 1"/>
              <a:gd name="T2" fmla="*/ 1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1">
                <a:moveTo>
                  <a:pt x="0" y="1"/>
                </a:moveTo>
                <a:cubicBezTo>
                  <a:pt x="0" y="1"/>
                  <a:pt x="0" y="1"/>
                  <a:pt x="0" y="0"/>
                </a:cubicBezTo>
                <a:cubicBezTo>
                  <a:pt x="0" y="1"/>
                  <a:pt x="0" y="1"/>
                  <a:pt x="0" y="1"/>
                </a:cubicBezTo>
                <a:close/>
              </a:path>
            </a:pathLst>
          </a:custGeom>
          <a:solidFill>
            <a:srgbClr val="FFD60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4" name="Freeform 111"/>
          <p:cNvSpPr>
            <a:spLocks/>
          </p:cNvSpPr>
          <p:nvPr/>
        </p:nvSpPr>
        <p:spPr bwMode="auto">
          <a:xfrm>
            <a:off x="8956675" y="865188"/>
            <a:ext cx="0" cy="1588"/>
          </a:xfrm>
          <a:custGeom>
            <a:avLst/>
            <a:gdLst>
              <a:gd name="T0" fmla="*/ 1 h 1"/>
              <a:gd name="T1" fmla="*/ 0 h 1"/>
              <a:gd name="T2" fmla="*/ 1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1">
                <a:moveTo>
                  <a:pt x="0" y="1"/>
                </a:moveTo>
                <a:cubicBezTo>
                  <a:pt x="0" y="1"/>
                  <a:pt x="0" y="0"/>
                  <a:pt x="0" y="0"/>
                </a:cubicBezTo>
                <a:cubicBezTo>
                  <a:pt x="0" y="0"/>
                  <a:pt x="0" y="1"/>
                  <a:pt x="0" y="1"/>
                </a:cubicBezTo>
                <a:close/>
              </a:path>
            </a:pathLst>
          </a:custGeom>
          <a:solidFill>
            <a:srgbClr val="FFD60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8" name="Freeform 112"/>
          <p:cNvSpPr>
            <a:spLocks/>
          </p:cNvSpPr>
          <p:nvPr/>
        </p:nvSpPr>
        <p:spPr bwMode="auto">
          <a:xfrm>
            <a:off x="8958263" y="868363"/>
            <a:ext cx="0" cy="1588"/>
          </a:xfrm>
          <a:custGeom>
            <a:avLst/>
            <a:gdLst>
              <a:gd name="T0" fmla="*/ 1 h 1"/>
              <a:gd name="T1" fmla="*/ 0 h 1"/>
              <a:gd name="T2" fmla="*/ 1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1">
                <a:moveTo>
                  <a:pt x="0" y="1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1"/>
                </a:cubicBezTo>
                <a:close/>
              </a:path>
            </a:pathLst>
          </a:custGeom>
          <a:solidFill>
            <a:srgbClr val="FFD60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9" name="Freeform 113"/>
          <p:cNvSpPr>
            <a:spLocks/>
          </p:cNvSpPr>
          <p:nvPr/>
        </p:nvSpPr>
        <p:spPr bwMode="auto">
          <a:xfrm>
            <a:off x="8755063" y="866776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FFD60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0" name="Freeform 114"/>
          <p:cNvSpPr>
            <a:spLocks/>
          </p:cNvSpPr>
          <p:nvPr/>
        </p:nvSpPr>
        <p:spPr bwMode="auto">
          <a:xfrm>
            <a:off x="8961438" y="881063"/>
            <a:ext cx="0" cy="4763"/>
          </a:xfrm>
          <a:custGeom>
            <a:avLst/>
            <a:gdLst>
              <a:gd name="T0" fmla="*/ 2 h 2"/>
              <a:gd name="T1" fmla="*/ 0 h 2"/>
              <a:gd name="T2" fmla="*/ 2 h 2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2">
                <a:moveTo>
                  <a:pt x="0" y="2"/>
                </a:moveTo>
                <a:cubicBezTo>
                  <a:pt x="0" y="2"/>
                  <a:pt x="0" y="1"/>
                  <a:pt x="0" y="0"/>
                </a:cubicBezTo>
                <a:cubicBezTo>
                  <a:pt x="0" y="1"/>
                  <a:pt x="0" y="2"/>
                  <a:pt x="0" y="2"/>
                </a:cubicBezTo>
                <a:close/>
              </a:path>
            </a:pathLst>
          </a:custGeom>
          <a:solidFill>
            <a:srgbClr val="FFD60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1" name="Freeform 115"/>
          <p:cNvSpPr>
            <a:spLocks/>
          </p:cNvSpPr>
          <p:nvPr/>
        </p:nvSpPr>
        <p:spPr bwMode="auto">
          <a:xfrm>
            <a:off x="8961438" y="887413"/>
            <a:ext cx="1587" cy="4763"/>
          </a:xfrm>
          <a:custGeom>
            <a:avLst/>
            <a:gdLst>
              <a:gd name="T0" fmla="*/ 1 w 1"/>
              <a:gd name="T1" fmla="*/ 2 h 2"/>
              <a:gd name="T2" fmla="*/ 0 w 1"/>
              <a:gd name="T3" fmla="*/ 0 h 2"/>
              <a:gd name="T4" fmla="*/ 1 w 1"/>
              <a:gd name="T5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" h="2">
                <a:moveTo>
                  <a:pt x="1" y="2"/>
                </a:moveTo>
                <a:cubicBezTo>
                  <a:pt x="1" y="2"/>
                  <a:pt x="0" y="1"/>
                  <a:pt x="0" y="0"/>
                </a:cubicBezTo>
                <a:cubicBezTo>
                  <a:pt x="0" y="1"/>
                  <a:pt x="1" y="2"/>
                  <a:pt x="1" y="2"/>
                </a:cubicBezTo>
                <a:close/>
              </a:path>
            </a:pathLst>
          </a:custGeom>
          <a:solidFill>
            <a:srgbClr val="FFD60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2" name="Freeform 116"/>
          <p:cNvSpPr>
            <a:spLocks/>
          </p:cNvSpPr>
          <p:nvPr/>
        </p:nvSpPr>
        <p:spPr bwMode="auto">
          <a:xfrm>
            <a:off x="8953500" y="862013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FFD60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3" name="Freeform 117"/>
          <p:cNvSpPr>
            <a:spLocks/>
          </p:cNvSpPr>
          <p:nvPr/>
        </p:nvSpPr>
        <p:spPr bwMode="auto">
          <a:xfrm>
            <a:off x="8748713" y="885826"/>
            <a:ext cx="1587" cy="1588"/>
          </a:xfrm>
          <a:custGeom>
            <a:avLst/>
            <a:gdLst>
              <a:gd name="T0" fmla="*/ 1 w 1"/>
              <a:gd name="T1" fmla="*/ 0 h 1"/>
              <a:gd name="T2" fmla="*/ 0 w 1"/>
              <a:gd name="T3" fmla="*/ 1 h 1"/>
              <a:gd name="T4" fmla="*/ 1 w 1"/>
              <a:gd name="T5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" h="1">
                <a:moveTo>
                  <a:pt x="1" y="0"/>
                </a:moveTo>
                <a:cubicBezTo>
                  <a:pt x="0" y="0"/>
                  <a:pt x="0" y="0"/>
                  <a:pt x="0" y="1"/>
                </a:cubicBezTo>
                <a:cubicBezTo>
                  <a:pt x="0" y="0"/>
                  <a:pt x="0" y="0"/>
                  <a:pt x="1" y="0"/>
                </a:cubicBezTo>
                <a:close/>
              </a:path>
            </a:pathLst>
          </a:custGeom>
          <a:solidFill>
            <a:srgbClr val="FFD60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4" name="Freeform 118"/>
          <p:cNvSpPr>
            <a:spLocks/>
          </p:cNvSpPr>
          <p:nvPr/>
        </p:nvSpPr>
        <p:spPr bwMode="auto">
          <a:xfrm>
            <a:off x="8751888" y="876301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FFD60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5" name="Freeform 119"/>
          <p:cNvSpPr>
            <a:spLocks/>
          </p:cNvSpPr>
          <p:nvPr/>
        </p:nvSpPr>
        <p:spPr bwMode="auto">
          <a:xfrm>
            <a:off x="8753475" y="869951"/>
            <a:ext cx="0" cy="1588"/>
          </a:xfrm>
          <a:custGeom>
            <a:avLst/>
            <a:gdLst>
              <a:gd name="T0" fmla="*/ 0 h 1"/>
              <a:gd name="T1" fmla="*/ 1 h 1"/>
              <a:gd name="T2" fmla="*/ 0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1">
                <a:moveTo>
                  <a:pt x="0" y="0"/>
                </a:moveTo>
                <a:cubicBezTo>
                  <a:pt x="0" y="0"/>
                  <a:pt x="0" y="1"/>
                  <a:pt x="0" y="1"/>
                </a:cubicBezTo>
                <a:cubicBezTo>
                  <a:pt x="0" y="1"/>
                  <a:pt x="0" y="0"/>
                  <a:pt x="0" y="0"/>
                </a:cubicBezTo>
                <a:close/>
              </a:path>
            </a:pathLst>
          </a:custGeom>
          <a:solidFill>
            <a:srgbClr val="FFD60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6" name="Freeform 120"/>
          <p:cNvSpPr>
            <a:spLocks/>
          </p:cNvSpPr>
          <p:nvPr/>
        </p:nvSpPr>
        <p:spPr bwMode="auto">
          <a:xfrm>
            <a:off x="8750300" y="879476"/>
            <a:ext cx="0" cy="1588"/>
          </a:xfrm>
          <a:custGeom>
            <a:avLst/>
            <a:gdLst>
              <a:gd name="T0" fmla="*/ 0 h 1"/>
              <a:gd name="T1" fmla="*/ 1 h 1"/>
              <a:gd name="T2" fmla="*/ 0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1">
                <a:moveTo>
                  <a:pt x="0" y="0"/>
                </a:moveTo>
                <a:cubicBezTo>
                  <a:pt x="0" y="0"/>
                  <a:pt x="0" y="1"/>
                  <a:pt x="0" y="1"/>
                </a:cubicBezTo>
                <a:cubicBezTo>
                  <a:pt x="0" y="1"/>
                  <a:pt x="0" y="0"/>
                  <a:pt x="0" y="0"/>
                </a:cubicBezTo>
                <a:close/>
              </a:path>
            </a:pathLst>
          </a:custGeom>
          <a:solidFill>
            <a:srgbClr val="FFD60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7" name="Freeform 121"/>
          <p:cNvSpPr>
            <a:spLocks/>
          </p:cNvSpPr>
          <p:nvPr/>
        </p:nvSpPr>
        <p:spPr bwMode="auto">
          <a:xfrm>
            <a:off x="8731250" y="854076"/>
            <a:ext cx="249237" cy="223838"/>
          </a:xfrm>
          <a:custGeom>
            <a:avLst/>
            <a:gdLst>
              <a:gd name="T0" fmla="*/ 124 w 130"/>
              <a:gd name="T1" fmla="*/ 28 h 116"/>
              <a:gd name="T2" fmla="*/ 121 w 130"/>
              <a:gd name="T3" fmla="*/ 27 h 116"/>
              <a:gd name="T4" fmla="*/ 121 w 130"/>
              <a:gd name="T5" fmla="*/ 19 h 116"/>
              <a:gd name="T6" fmla="*/ 120 w 130"/>
              <a:gd name="T7" fmla="*/ 17 h 116"/>
              <a:gd name="T8" fmla="*/ 120 w 130"/>
              <a:gd name="T9" fmla="*/ 16 h 116"/>
              <a:gd name="T10" fmla="*/ 120 w 130"/>
              <a:gd name="T11" fmla="*/ 14 h 116"/>
              <a:gd name="T12" fmla="*/ 120 w 130"/>
              <a:gd name="T13" fmla="*/ 13 h 116"/>
              <a:gd name="T14" fmla="*/ 120 w 130"/>
              <a:gd name="T15" fmla="*/ 12 h 116"/>
              <a:gd name="T16" fmla="*/ 119 w 130"/>
              <a:gd name="T17" fmla="*/ 11 h 116"/>
              <a:gd name="T18" fmla="*/ 119 w 130"/>
              <a:gd name="T19" fmla="*/ 10 h 116"/>
              <a:gd name="T20" fmla="*/ 118 w 130"/>
              <a:gd name="T21" fmla="*/ 8 h 116"/>
              <a:gd name="T22" fmla="*/ 118 w 130"/>
              <a:gd name="T23" fmla="*/ 7 h 116"/>
              <a:gd name="T24" fmla="*/ 117 w 130"/>
              <a:gd name="T25" fmla="*/ 6 h 116"/>
              <a:gd name="T26" fmla="*/ 117 w 130"/>
              <a:gd name="T27" fmla="*/ 5 h 116"/>
              <a:gd name="T28" fmla="*/ 116 w 130"/>
              <a:gd name="T29" fmla="*/ 4 h 116"/>
              <a:gd name="T30" fmla="*/ 116 w 130"/>
              <a:gd name="T31" fmla="*/ 4 h 116"/>
              <a:gd name="T32" fmla="*/ 105 w 130"/>
              <a:gd name="T33" fmla="*/ 5 h 116"/>
              <a:gd name="T34" fmla="*/ 87 w 130"/>
              <a:gd name="T35" fmla="*/ 0 h 116"/>
              <a:gd name="T36" fmla="*/ 53 w 130"/>
              <a:gd name="T37" fmla="*/ 5 h 116"/>
              <a:gd name="T38" fmla="*/ 18 w 130"/>
              <a:gd name="T39" fmla="*/ 0 h 116"/>
              <a:gd name="T40" fmla="*/ 13 w 130"/>
              <a:gd name="T41" fmla="*/ 6 h 116"/>
              <a:gd name="T42" fmla="*/ 13 w 130"/>
              <a:gd name="T43" fmla="*/ 6 h 116"/>
              <a:gd name="T44" fmla="*/ 12 w 130"/>
              <a:gd name="T45" fmla="*/ 8 h 116"/>
              <a:gd name="T46" fmla="*/ 12 w 130"/>
              <a:gd name="T47" fmla="*/ 9 h 116"/>
              <a:gd name="T48" fmla="*/ 11 w 130"/>
              <a:gd name="T49" fmla="*/ 11 h 116"/>
              <a:gd name="T50" fmla="*/ 11 w 130"/>
              <a:gd name="T51" fmla="*/ 11 h 116"/>
              <a:gd name="T52" fmla="*/ 10 w 130"/>
              <a:gd name="T53" fmla="*/ 13 h 116"/>
              <a:gd name="T54" fmla="*/ 10 w 130"/>
              <a:gd name="T55" fmla="*/ 14 h 116"/>
              <a:gd name="T56" fmla="*/ 10 w 130"/>
              <a:gd name="T57" fmla="*/ 16 h 116"/>
              <a:gd name="T58" fmla="*/ 9 w 130"/>
              <a:gd name="T59" fmla="*/ 17 h 116"/>
              <a:gd name="T60" fmla="*/ 9 w 130"/>
              <a:gd name="T61" fmla="*/ 19 h 116"/>
              <a:gd name="T62" fmla="*/ 9 w 130"/>
              <a:gd name="T63" fmla="*/ 27 h 116"/>
              <a:gd name="T64" fmla="*/ 8 w 130"/>
              <a:gd name="T65" fmla="*/ 27 h 116"/>
              <a:gd name="T66" fmla="*/ 0 w 130"/>
              <a:gd name="T67" fmla="*/ 37 h 116"/>
              <a:gd name="T68" fmla="*/ 0 w 130"/>
              <a:gd name="T69" fmla="*/ 57 h 116"/>
              <a:gd name="T70" fmla="*/ 9 w 130"/>
              <a:gd name="T71" fmla="*/ 67 h 116"/>
              <a:gd name="T72" fmla="*/ 40 w 130"/>
              <a:gd name="T73" fmla="*/ 116 h 116"/>
              <a:gd name="T74" fmla="*/ 90 w 130"/>
              <a:gd name="T75" fmla="*/ 116 h 116"/>
              <a:gd name="T76" fmla="*/ 121 w 130"/>
              <a:gd name="T77" fmla="*/ 67 h 116"/>
              <a:gd name="T78" fmla="*/ 130 w 130"/>
              <a:gd name="T79" fmla="*/ 57 h 116"/>
              <a:gd name="T80" fmla="*/ 130 w 130"/>
              <a:gd name="T81" fmla="*/ 37 h 116"/>
              <a:gd name="T82" fmla="*/ 124 w 130"/>
              <a:gd name="T83" fmla="*/ 28 h 1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30" h="116">
                <a:moveTo>
                  <a:pt x="124" y="28"/>
                </a:moveTo>
                <a:cubicBezTo>
                  <a:pt x="123" y="28"/>
                  <a:pt x="122" y="27"/>
                  <a:pt x="121" y="27"/>
                </a:cubicBezTo>
                <a:cubicBezTo>
                  <a:pt x="121" y="19"/>
                  <a:pt x="121" y="19"/>
                  <a:pt x="121" y="19"/>
                </a:cubicBezTo>
                <a:cubicBezTo>
                  <a:pt x="121" y="19"/>
                  <a:pt x="120" y="18"/>
                  <a:pt x="120" y="17"/>
                </a:cubicBezTo>
                <a:cubicBezTo>
                  <a:pt x="120" y="17"/>
                  <a:pt x="120" y="16"/>
                  <a:pt x="120" y="16"/>
                </a:cubicBezTo>
                <a:cubicBezTo>
                  <a:pt x="120" y="16"/>
                  <a:pt x="120" y="15"/>
                  <a:pt x="120" y="14"/>
                </a:cubicBezTo>
                <a:cubicBezTo>
                  <a:pt x="120" y="14"/>
                  <a:pt x="120" y="14"/>
                  <a:pt x="120" y="13"/>
                </a:cubicBezTo>
                <a:cubicBezTo>
                  <a:pt x="120" y="13"/>
                  <a:pt x="120" y="13"/>
                  <a:pt x="120" y="12"/>
                </a:cubicBezTo>
                <a:cubicBezTo>
                  <a:pt x="119" y="12"/>
                  <a:pt x="119" y="11"/>
                  <a:pt x="119" y="11"/>
                </a:cubicBezTo>
                <a:cubicBezTo>
                  <a:pt x="119" y="11"/>
                  <a:pt x="119" y="11"/>
                  <a:pt x="119" y="10"/>
                </a:cubicBezTo>
                <a:cubicBezTo>
                  <a:pt x="119" y="9"/>
                  <a:pt x="118" y="8"/>
                  <a:pt x="118" y="8"/>
                </a:cubicBezTo>
                <a:cubicBezTo>
                  <a:pt x="118" y="7"/>
                  <a:pt x="118" y="7"/>
                  <a:pt x="118" y="7"/>
                </a:cubicBezTo>
                <a:cubicBezTo>
                  <a:pt x="117" y="7"/>
                  <a:pt x="117" y="6"/>
                  <a:pt x="117" y="6"/>
                </a:cubicBezTo>
                <a:cubicBezTo>
                  <a:pt x="117" y="6"/>
                  <a:pt x="117" y="5"/>
                  <a:pt x="117" y="5"/>
                </a:cubicBezTo>
                <a:cubicBezTo>
                  <a:pt x="116" y="5"/>
                  <a:pt x="116" y="4"/>
                  <a:pt x="116" y="4"/>
                </a:cubicBezTo>
                <a:cubicBezTo>
                  <a:pt x="116" y="4"/>
                  <a:pt x="116" y="4"/>
                  <a:pt x="116" y="4"/>
                </a:cubicBezTo>
                <a:cubicBezTo>
                  <a:pt x="112" y="4"/>
                  <a:pt x="109" y="5"/>
                  <a:pt x="105" y="5"/>
                </a:cubicBezTo>
                <a:cubicBezTo>
                  <a:pt x="98" y="5"/>
                  <a:pt x="91" y="3"/>
                  <a:pt x="87" y="0"/>
                </a:cubicBezTo>
                <a:cubicBezTo>
                  <a:pt x="79" y="3"/>
                  <a:pt x="67" y="5"/>
                  <a:pt x="53" y="5"/>
                </a:cubicBezTo>
                <a:cubicBezTo>
                  <a:pt x="39" y="5"/>
                  <a:pt x="26" y="3"/>
                  <a:pt x="18" y="0"/>
                </a:cubicBezTo>
                <a:cubicBezTo>
                  <a:pt x="16" y="2"/>
                  <a:pt x="14" y="4"/>
                  <a:pt x="13" y="6"/>
                </a:cubicBezTo>
                <a:cubicBezTo>
                  <a:pt x="13" y="6"/>
                  <a:pt x="13" y="6"/>
                  <a:pt x="13" y="6"/>
                </a:cubicBezTo>
                <a:cubicBezTo>
                  <a:pt x="12" y="7"/>
                  <a:pt x="12" y="8"/>
                  <a:pt x="12" y="8"/>
                </a:cubicBezTo>
                <a:cubicBezTo>
                  <a:pt x="12" y="8"/>
                  <a:pt x="12" y="9"/>
                  <a:pt x="12" y="9"/>
                </a:cubicBezTo>
                <a:cubicBezTo>
                  <a:pt x="11" y="9"/>
                  <a:pt x="11" y="10"/>
                  <a:pt x="11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10" y="12"/>
                  <a:pt x="10" y="13"/>
                  <a:pt x="10" y="13"/>
                </a:cubicBezTo>
                <a:cubicBezTo>
                  <a:pt x="10" y="13"/>
                  <a:pt x="10" y="14"/>
                  <a:pt x="10" y="14"/>
                </a:cubicBezTo>
                <a:cubicBezTo>
                  <a:pt x="10" y="15"/>
                  <a:pt x="10" y="15"/>
                  <a:pt x="10" y="16"/>
                </a:cubicBezTo>
                <a:cubicBezTo>
                  <a:pt x="9" y="16"/>
                  <a:pt x="9" y="16"/>
                  <a:pt x="9" y="17"/>
                </a:cubicBezTo>
                <a:cubicBezTo>
                  <a:pt x="9" y="17"/>
                  <a:pt x="9" y="18"/>
                  <a:pt x="9" y="19"/>
                </a:cubicBezTo>
                <a:cubicBezTo>
                  <a:pt x="9" y="27"/>
                  <a:pt x="9" y="27"/>
                  <a:pt x="9" y="27"/>
                </a:cubicBezTo>
                <a:cubicBezTo>
                  <a:pt x="9" y="27"/>
                  <a:pt x="8" y="27"/>
                  <a:pt x="8" y="27"/>
                </a:cubicBezTo>
                <a:cubicBezTo>
                  <a:pt x="3" y="28"/>
                  <a:pt x="0" y="32"/>
                  <a:pt x="0" y="37"/>
                </a:cubicBezTo>
                <a:cubicBezTo>
                  <a:pt x="0" y="57"/>
                  <a:pt x="0" y="57"/>
                  <a:pt x="0" y="57"/>
                </a:cubicBezTo>
                <a:cubicBezTo>
                  <a:pt x="0" y="62"/>
                  <a:pt x="4" y="67"/>
                  <a:pt x="9" y="67"/>
                </a:cubicBezTo>
                <a:cubicBezTo>
                  <a:pt x="9" y="67"/>
                  <a:pt x="25" y="116"/>
                  <a:pt x="40" y="116"/>
                </a:cubicBezTo>
                <a:cubicBezTo>
                  <a:pt x="90" y="116"/>
                  <a:pt x="90" y="116"/>
                  <a:pt x="90" y="116"/>
                </a:cubicBezTo>
                <a:cubicBezTo>
                  <a:pt x="104" y="116"/>
                  <a:pt x="121" y="67"/>
                  <a:pt x="121" y="67"/>
                </a:cubicBezTo>
                <a:cubicBezTo>
                  <a:pt x="126" y="67"/>
                  <a:pt x="130" y="62"/>
                  <a:pt x="130" y="57"/>
                </a:cubicBezTo>
                <a:cubicBezTo>
                  <a:pt x="130" y="37"/>
                  <a:pt x="130" y="37"/>
                  <a:pt x="130" y="37"/>
                </a:cubicBezTo>
                <a:cubicBezTo>
                  <a:pt x="130" y="33"/>
                  <a:pt x="127" y="29"/>
                  <a:pt x="124" y="28"/>
                </a:cubicBezTo>
                <a:close/>
              </a:path>
            </a:pathLst>
          </a:custGeom>
          <a:solidFill>
            <a:srgbClr val="FFB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8" name="Rectangle 122"/>
          <p:cNvSpPr>
            <a:spLocks noChangeArrowheads="1"/>
          </p:cNvSpPr>
          <p:nvPr/>
        </p:nvSpPr>
        <p:spPr bwMode="auto">
          <a:xfrm>
            <a:off x="8661400" y="1835151"/>
            <a:ext cx="392112" cy="269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9" name="Rectangle 123"/>
          <p:cNvSpPr>
            <a:spLocks noChangeArrowheads="1"/>
          </p:cNvSpPr>
          <p:nvPr/>
        </p:nvSpPr>
        <p:spPr bwMode="auto">
          <a:xfrm>
            <a:off x="8821738" y="1835151"/>
            <a:ext cx="73025" cy="26988"/>
          </a:xfrm>
          <a:prstGeom prst="rect">
            <a:avLst/>
          </a:prstGeom>
          <a:solidFill>
            <a:srgbClr val="D2D2D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0" name="Oval 124"/>
          <p:cNvSpPr>
            <a:spLocks noChangeArrowheads="1"/>
          </p:cNvSpPr>
          <p:nvPr/>
        </p:nvSpPr>
        <p:spPr bwMode="auto">
          <a:xfrm>
            <a:off x="8851900" y="1182688"/>
            <a:ext cx="11112" cy="11113"/>
          </a:xfrm>
          <a:prstGeom prst="ellipse">
            <a:avLst/>
          </a:prstGeom>
          <a:solidFill>
            <a:srgbClr val="50505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1" name="Oval 125"/>
          <p:cNvSpPr>
            <a:spLocks noChangeArrowheads="1"/>
          </p:cNvSpPr>
          <p:nvPr/>
        </p:nvSpPr>
        <p:spPr bwMode="auto">
          <a:xfrm>
            <a:off x="8851900" y="1223963"/>
            <a:ext cx="14287" cy="14288"/>
          </a:xfrm>
          <a:prstGeom prst="ellipse">
            <a:avLst/>
          </a:prstGeom>
          <a:solidFill>
            <a:srgbClr val="50505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" name="Freeform 9"/>
          <p:cNvSpPr>
            <a:spLocks/>
          </p:cNvSpPr>
          <p:nvPr/>
        </p:nvSpPr>
        <p:spPr bwMode="auto">
          <a:xfrm>
            <a:off x="9239249" y="4868863"/>
            <a:ext cx="1425575" cy="1069975"/>
          </a:xfrm>
          <a:custGeom>
            <a:avLst/>
            <a:gdLst>
              <a:gd name="T0" fmla="*/ 641 w 641"/>
              <a:gd name="T1" fmla="*/ 13 h 482"/>
              <a:gd name="T2" fmla="*/ 628 w 641"/>
              <a:gd name="T3" fmla="*/ 0 h 482"/>
              <a:gd name="T4" fmla="*/ 13 w 641"/>
              <a:gd name="T5" fmla="*/ 0 h 482"/>
              <a:gd name="T6" fmla="*/ 0 w 641"/>
              <a:gd name="T7" fmla="*/ 13 h 482"/>
              <a:gd name="T8" fmla="*/ 0 w 641"/>
              <a:gd name="T9" fmla="*/ 432 h 482"/>
              <a:gd name="T10" fmla="*/ 13 w 641"/>
              <a:gd name="T11" fmla="*/ 445 h 482"/>
              <a:gd name="T12" fmla="*/ 297 w 641"/>
              <a:gd name="T13" fmla="*/ 445 h 482"/>
              <a:gd name="T14" fmla="*/ 288 w 641"/>
              <a:gd name="T15" fmla="*/ 473 h 482"/>
              <a:gd name="T16" fmla="*/ 231 w 641"/>
              <a:gd name="T17" fmla="*/ 473 h 482"/>
              <a:gd name="T18" fmla="*/ 231 w 641"/>
              <a:gd name="T19" fmla="*/ 482 h 482"/>
              <a:gd name="T20" fmla="*/ 407 w 641"/>
              <a:gd name="T21" fmla="*/ 482 h 482"/>
              <a:gd name="T22" fmla="*/ 407 w 641"/>
              <a:gd name="T23" fmla="*/ 473 h 482"/>
              <a:gd name="T24" fmla="*/ 360 w 641"/>
              <a:gd name="T25" fmla="*/ 473 h 482"/>
              <a:gd name="T26" fmla="*/ 351 w 641"/>
              <a:gd name="T27" fmla="*/ 445 h 482"/>
              <a:gd name="T28" fmla="*/ 628 w 641"/>
              <a:gd name="T29" fmla="*/ 445 h 482"/>
              <a:gd name="T30" fmla="*/ 641 w 641"/>
              <a:gd name="T31" fmla="*/ 432 h 482"/>
              <a:gd name="T32" fmla="*/ 641 w 641"/>
              <a:gd name="T33" fmla="*/ 13 h 4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41" h="482">
                <a:moveTo>
                  <a:pt x="641" y="13"/>
                </a:moveTo>
                <a:cubicBezTo>
                  <a:pt x="641" y="6"/>
                  <a:pt x="635" y="0"/>
                  <a:pt x="628" y="0"/>
                </a:cubicBezTo>
                <a:cubicBezTo>
                  <a:pt x="13" y="0"/>
                  <a:pt x="13" y="0"/>
                  <a:pt x="13" y="0"/>
                </a:cubicBezTo>
                <a:cubicBezTo>
                  <a:pt x="6" y="0"/>
                  <a:pt x="0" y="6"/>
                  <a:pt x="0" y="13"/>
                </a:cubicBezTo>
                <a:cubicBezTo>
                  <a:pt x="0" y="432"/>
                  <a:pt x="0" y="432"/>
                  <a:pt x="0" y="432"/>
                </a:cubicBezTo>
                <a:cubicBezTo>
                  <a:pt x="0" y="439"/>
                  <a:pt x="6" y="445"/>
                  <a:pt x="13" y="445"/>
                </a:cubicBezTo>
                <a:cubicBezTo>
                  <a:pt x="297" y="445"/>
                  <a:pt x="297" y="445"/>
                  <a:pt x="297" y="445"/>
                </a:cubicBezTo>
                <a:cubicBezTo>
                  <a:pt x="288" y="473"/>
                  <a:pt x="288" y="473"/>
                  <a:pt x="288" y="473"/>
                </a:cubicBezTo>
                <a:cubicBezTo>
                  <a:pt x="231" y="473"/>
                  <a:pt x="231" y="473"/>
                  <a:pt x="231" y="473"/>
                </a:cubicBezTo>
                <a:cubicBezTo>
                  <a:pt x="231" y="482"/>
                  <a:pt x="231" y="482"/>
                  <a:pt x="231" y="482"/>
                </a:cubicBezTo>
                <a:cubicBezTo>
                  <a:pt x="407" y="482"/>
                  <a:pt x="407" y="482"/>
                  <a:pt x="407" y="482"/>
                </a:cubicBezTo>
                <a:cubicBezTo>
                  <a:pt x="407" y="473"/>
                  <a:pt x="407" y="473"/>
                  <a:pt x="407" y="473"/>
                </a:cubicBezTo>
                <a:cubicBezTo>
                  <a:pt x="360" y="473"/>
                  <a:pt x="360" y="473"/>
                  <a:pt x="360" y="473"/>
                </a:cubicBezTo>
                <a:cubicBezTo>
                  <a:pt x="351" y="445"/>
                  <a:pt x="351" y="445"/>
                  <a:pt x="351" y="445"/>
                </a:cubicBezTo>
                <a:cubicBezTo>
                  <a:pt x="628" y="445"/>
                  <a:pt x="628" y="445"/>
                  <a:pt x="628" y="445"/>
                </a:cubicBezTo>
                <a:cubicBezTo>
                  <a:pt x="635" y="445"/>
                  <a:pt x="641" y="439"/>
                  <a:pt x="641" y="432"/>
                </a:cubicBezTo>
                <a:lnTo>
                  <a:pt x="641" y="13"/>
                </a:lnTo>
                <a:close/>
              </a:path>
            </a:pathLst>
          </a:custGeom>
          <a:solidFill>
            <a:srgbClr val="00396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36" name="Group 35"/>
          <p:cNvGrpSpPr/>
          <p:nvPr/>
        </p:nvGrpSpPr>
        <p:grpSpPr>
          <a:xfrm>
            <a:off x="9561908" y="3929062"/>
            <a:ext cx="1067990" cy="727327"/>
            <a:chOff x="1881188" y="3570288"/>
            <a:chExt cx="2373312" cy="1606551"/>
          </a:xfrm>
        </p:grpSpPr>
        <p:sp>
          <p:nvSpPr>
            <p:cNvPr id="10" name="Freeform 5"/>
            <p:cNvSpPr>
              <a:spLocks/>
            </p:cNvSpPr>
            <p:nvPr/>
          </p:nvSpPr>
          <p:spPr bwMode="auto">
            <a:xfrm>
              <a:off x="1881188" y="4192588"/>
              <a:ext cx="2343150" cy="814388"/>
            </a:xfrm>
            <a:custGeom>
              <a:avLst/>
              <a:gdLst>
                <a:gd name="T0" fmla="*/ 8 w 1476"/>
                <a:gd name="T1" fmla="*/ 513 h 513"/>
                <a:gd name="T2" fmla="*/ 0 w 1476"/>
                <a:gd name="T3" fmla="*/ 479 h 513"/>
                <a:gd name="T4" fmla="*/ 429 w 1476"/>
                <a:gd name="T5" fmla="*/ 374 h 513"/>
                <a:gd name="T6" fmla="*/ 780 w 1476"/>
                <a:gd name="T7" fmla="*/ 155 h 513"/>
                <a:gd name="T8" fmla="*/ 1213 w 1476"/>
                <a:gd name="T9" fmla="*/ 138 h 513"/>
                <a:gd name="T10" fmla="*/ 1476 w 1476"/>
                <a:gd name="T11" fmla="*/ 0 h 513"/>
                <a:gd name="T12" fmla="*/ 1476 w 1476"/>
                <a:gd name="T13" fmla="*/ 0 h 513"/>
                <a:gd name="T14" fmla="*/ 1476 w 1476"/>
                <a:gd name="T15" fmla="*/ 36 h 513"/>
                <a:gd name="T16" fmla="*/ 1476 w 1476"/>
                <a:gd name="T17" fmla="*/ 39 h 513"/>
                <a:gd name="T18" fmla="*/ 1222 w 1476"/>
                <a:gd name="T19" fmla="*/ 175 h 513"/>
                <a:gd name="T20" fmla="*/ 792 w 1476"/>
                <a:gd name="T21" fmla="*/ 190 h 513"/>
                <a:gd name="T22" fmla="*/ 443 w 1476"/>
                <a:gd name="T23" fmla="*/ 407 h 513"/>
                <a:gd name="T24" fmla="*/ 8 w 1476"/>
                <a:gd name="T25" fmla="*/ 513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76" h="513">
                  <a:moveTo>
                    <a:pt x="8" y="513"/>
                  </a:moveTo>
                  <a:lnTo>
                    <a:pt x="0" y="479"/>
                  </a:lnTo>
                  <a:lnTo>
                    <a:pt x="429" y="374"/>
                  </a:lnTo>
                  <a:lnTo>
                    <a:pt x="780" y="155"/>
                  </a:lnTo>
                  <a:lnTo>
                    <a:pt x="1213" y="138"/>
                  </a:lnTo>
                  <a:lnTo>
                    <a:pt x="1476" y="0"/>
                  </a:lnTo>
                  <a:lnTo>
                    <a:pt x="1476" y="0"/>
                  </a:lnTo>
                  <a:lnTo>
                    <a:pt x="1476" y="36"/>
                  </a:lnTo>
                  <a:lnTo>
                    <a:pt x="1476" y="39"/>
                  </a:lnTo>
                  <a:lnTo>
                    <a:pt x="1222" y="175"/>
                  </a:lnTo>
                  <a:lnTo>
                    <a:pt x="792" y="190"/>
                  </a:lnTo>
                  <a:lnTo>
                    <a:pt x="443" y="407"/>
                  </a:lnTo>
                  <a:lnTo>
                    <a:pt x="8" y="513"/>
                  </a:lnTo>
                  <a:close/>
                </a:path>
              </a:pathLst>
            </a:cu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6"/>
            <p:cNvSpPr>
              <a:spLocks/>
            </p:cNvSpPr>
            <p:nvPr/>
          </p:nvSpPr>
          <p:spPr bwMode="auto">
            <a:xfrm>
              <a:off x="1887538" y="3570288"/>
              <a:ext cx="2366962" cy="1341438"/>
            </a:xfrm>
            <a:custGeom>
              <a:avLst/>
              <a:gdLst>
                <a:gd name="T0" fmla="*/ 14 w 1491"/>
                <a:gd name="T1" fmla="*/ 845 h 845"/>
                <a:gd name="T2" fmla="*/ 0 w 1491"/>
                <a:gd name="T3" fmla="*/ 813 h 845"/>
                <a:gd name="T4" fmla="*/ 348 w 1491"/>
                <a:gd name="T5" fmla="*/ 652 h 845"/>
                <a:gd name="T6" fmla="*/ 562 w 1491"/>
                <a:gd name="T7" fmla="*/ 402 h 845"/>
                <a:gd name="T8" fmla="*/ 915 w 1491"/>
                <a:gd name="T9" fmla="*/ 328 h 845"/>
                <a:gd name="T10" fmla="*/ 1128 w 1491"/>
                <a:gd name="T11" fmla="*/ 77 h 845"/>
                <a:gd name="T12" fmla="*/ 1491 w 1491"/>
                <a:gd name="T13" fmla="*/ 0 h 845"/>
                <a:gd name="T14" fmla="*/ 1491 w 1491"/>
                <a:gd name="T15" fmla="*/ 37 h 845"/>
                <a:gd name="T16" fmla="*/ 1147 w 1491"/>
                <a:gd name="T17" fmla="*/ 111 h 845"/>
                <a:gd name="T18" fmla="*/ 934 w 1491"/>
                <a:gd name="T19" fmla="*/ 360 h 845"/>
                <a:gd name="T20" fmla="*/ 582 w 1491"/>
                <a:gd name="T21" fmla="*/ 434 h 845"/>
                <a:gd name="T22" fmla="*/ 371 w 1491"/>
                <a:gd name="T23" fmla="*/ 682 h 845"/>
                <a:gd name="T24" fmla="*/ 14 w 1491"/>
                <a:gd name="T25" fmla="*/ 845 h 8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91" h="845">
                  <a:moveTo>
                    <a:pt x="14" y="845"/>
                  </a:moveTo>
                  <a:lnTo>
                    <a:pt x="0" y="813"/>
                  </a:lnTo>
                  <a:lnTo>
                    <a:pt x="348" y="652"/>
                  </a:lnTo>
                  <a:lnTo>
                    <a:pt x="562" y="402"/>
                  </a:lnTo>
                  <a:lnTo>
                    <a:pt x="915" y="328"/>
                  </a:lnTo>
                  <a:lnTo>
                    <a:pt x="1128" y="77"/>
                  </a:lnTo>
                  <a:lnTo>
                    <a:pt x="1491" y="0"/>
                  </a:lnTo>
                  <a:lnTo>
                    <a:pt x="1491" y="37"/>
                  </a:lnTo>
                  <a:lnTo>
                    <a:pt x="1147" y="111"/>
                  </a:lnTo>
                  <a:lnTo>
                    <a:pt x="934" y="360"/>
                  </a:lnTo>
                  <a:lnTo>
                    <a:pt x="582" y="434"/>
                  </a:lnTo>
                  <a:lnTo>
                    <a:pt x="371" y="682"/>
                  </a:lnTo>
                  <a:lnTo>
                    <a:pt x="14" y="845"/>
                  </a:lnTo>
                  <a:close/>
                </a:path>
              </a:pathLst>
            </a:custGeom>
            <a:solidFill>
              <a:srgbClr val="6821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7"/>
            <p:cNvSpPr>
              <a:spLocks/>
            </p:cNvSpPr>
            <p:nvPr/>
          </p:nvSpPr>
          <p:spPr bwMode="auto">
            <a:xfrm>
              <a:off x="1892300" y="4543426"/>
              <a:ext cx="2332037" cy="633413"/>
            </a:xfrm>
            <a:custGeom>
              <a:avLst/>
              <a:gdLst>
                <a:gd name="T0" fmla="*/ 6 w 1469"/>
                <a:gd name="T1" fmla="*/ 399 h 399"/>
                <a:gd name="T2" fmla="*/ 0 w 1469"/>
                <a:gd name="T3" fmla="*/ 362 h 399"/>
                <a:gd name="T4" fmla="*/ 340 w 1469"/>
                <a:gd name="T5" fmla="*/ 309 h 399"/>
                <a:gd name="T6" fmla="*/ 624 w 1469"/>
                <a:gd name="T7" fmla="*/ 137 h 399"/>
                <a:gd name="T8" fmla="*/ 968 w 1469"/>
                <a:gd name="T9" fmla="*/ 171 h 399"/>
                <a:gd name="T10" fmla="*/ 1249 w 1469"/>
                <a:gd name="T11" fmla="*/ 0 h 399"/>
                <a:gd name="T12" fmla="*/ 1469 w 1469"/>
                <a:gd name="T13" fmla="*/ 25 h 399"/>
                <a:gd name="T14" fmla="*/ 1469 w 1469"/>
                <a:gd name="T15" fmla="*/ 62 h 399"/>
                <a:gd name="T16" fmla="*/ 1257 w 1469"/>
                <a:gd name="T17" fmla="*/ 36 h 399"/>
                <a:gd name="T18" fmla="*/ 976 w 1469"/>
                <a:gd name="T19" fmla="*/ 209 h 399"/>
                <a:gd name="T20" fmla="*/ 632 w 1469"/>
                <a:gd name="T21" fmla="*/ 174 h 399"/>
                <a:gd name="T22" fmla="*/ 352 w 1469"/>
                <a:gd name="T23" fmla="*/ 344 h 399"/>
                <a:gd name="T24" fmla="*/ 6 w 1469"/>
                <a:gd name="T25" fmla="*/ 399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69" h="399">
                  <a:moveTo>
                    <a:pt x="6" y="399"/>
                  </a:moveTo>
                  <a:lnTo>
                    <a:pt x="0" y="362"/>
                  </a:lnTo>
                  <a:lnTo>
                    <a:pt x="340" y="309"/>
                  </a:lnTo>
                  <a:lnTo>
                    <a:pt x="624" y="137"/>
                  </a:lnTo>
                  <a:lnTo>
                    <a:pt x="968" y="171"/>
                  </a:lnTo>
                  <a:lnTo>
                    <a:pt x="1249" y="0"/>
                  </a:lnTo>
                  <a:lnTo>
                    <a:pt x="1469" y="25"/>
                  </a:lnTo>
                  <a:lnTo>
                    <a:pt x="1469" y="62"/>
                  </a:lnTo>
                  <a:lnTo>
                    <a:pt x="1257" y="36"/>
                  </a:lnTo>
                  <a:lnTo>
                    <a:pt x="976" y="209"/>
                  </a:lnTo>
                  <a:lnTo>
                    <a:pt x="632" y="174"/>
                  </a:lnTo>
                  <a:lnTo>
                    <a:pt x="352" y="344"/>
                  </a:lnTo>
                  <a:lnTo>
                    <a:pt x="6" y="399"/>
                  </a:lnTo>
                  <a:close/>
                </a:path>
              </a:pathLst>
            </a:custGeom>
            <a:solidFill>
              <a:srgbClr val="0072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36" name="Freeform 5"/>
          <p:cNvSpPr>
            <a:spLocks/>
          </p:cNvSpPr>
          <p:nvPr/>
        </p:nvSpPr>
        <p:spPr bwMode="auto">
          <a:xfrm>
            <a:off x="10077449" y="4619626"/>
            <a:ext cx="419100" cy="419100"/>
          </a:xfrm>
          <a:custGeom>
            <a:avLst/>
            <a:gdLst>
              <a:gd name="T0" fmla="*/ 132 w 264"/>
              <a:gd name="T1" fmla="*/ 0 h 264"/>
              <a:gd name="T2" fmla="*/ 118 w 264"/>
              <a:gd name="T3" fmla="*/ 1 h 264"/>
              <a:gd name="T4" fmla="*/ 105 w 264"/>
              <a:gd name="T5" fmla="*/ 3 h 264"/>
              <a:gd name="T6" fmla="*/ 93 w 264"/>
              <a:gd name="T7" fmla="*/ 6 h 264"/>
              <a:gd name="T8" fmla="*/ 82 w 264"/>
              <a:gd name="T9" fmla="*/ 10 h 264"/>
              <a:gd name="T10" fmla="*/ 69 w 264"/>
              <a:gd name="T11" fmla="*/ 17 h 264"/>
              <a:gd name="T12" fmla="*/ 59 w 264"/>
              <a:gd name="T13" fmla="*/ 22 h 264"/>
              <a:gd name="T14" fmla="*/ 48 w 264"/>
              <a:gd name="T15" fmla="*/ 31 h 264"/>
              <a:gd name="T16" fmla="*/ 40 w 264"/>
              <a:gd name="T17" fmla="*/ 39 h 264"/>
              <a:gd name="T18" fmla="*/ 30 w 264"/>
              <a:gd name="T19" fmla="*/ 48 h 264"/>
              <a:gd name="T20" fmla="*/ 23 w 264"/>
              <a:gd name="T21" fmla="*/ 59 h 264"/>
              <a:gd name="T22" fmla="*/ 16 w 264"/>
              <a:gd name="T23" fmla="*/ 70 h 264"/>
              <a:gd name="T24" fmla="*/ 10 w 264"/>
              <a:gd name="T25" fmla="*/ 81 h 264"/>
              <a:gd name="T26" fmla="*/ 6 w 264"/>
              <a:gd name="T27" fmla="*/ 92 h 264"/>
              <a:gd name="T28" fmla="*/ 2 w 264"/>
              <a:gd name="T29" fmla="*/ 106 h 264"/>
              <a:gd name="T30" fmla="*/ 0 w 264"/>
              <a:gd name="T31" fmla="*/ 119 h 264"/>
              <a:gd name="T32" fmla="*/ 0 w 264"/>
              <a:gd name="T33" fmla="*/ 133 h 264"/>
              <a:gd name="T34" fmla="*/ 0 w 264"/>
              <a:gd name="T35" fmla="*/ 147 h 264"/>
              <a:gd name="T36" fmla="*/ 2 w 264"/>
              <a:gd name="T37" fmla="*/ 158 h 264"/>
              <a:gd name="T38" fmla="*/ 6 w 264"/>
              <a:gd name="T39" fmla="*/ 172 h 264"/>
              <a:gd name="T40" fmla="*/ 10 w 264"/>
              <a:gd name="T41" fmla="*/ 183 h 264"/>
              <a:gd name="T42" fmla="*/ 16 w 264"/>
              <a:gd name="T43" fmla="*/ 196 h 264"/>
              <a:gd name="T44" fmla="*/ 23 w 264"/>
              <a:gd name="T45" fmla="*/ 206 h 264"/>
              <a:gd name="T46" fmla="*/ 30 w 264"/>
              <a:gd name="T47" fmla="*/ 217 h 264"/>
              <a:gd name="T48" fmla="*/ 40 w 264"/>
              <a:gd name="T49" fmla="*/ 225 h 264"/>
              <a:gd name="T50" fmla="*/ 48 w 264"/>
              <a:gd name="T51" fmla="*/ 235 h 264"/>
              <a:gd name="T52" fmla="*/ 59 w 264"/>
              <a:gd name="T53" fmla="*/ 242 h 264"/>
              <a:gd name="T54" fmla="*/ 69 w 264"/>
              <a:gd name="T55" fmla="*/ 248 h 264"/>
              <a:gd name="T56" fmla="*/ 82 w 264"/>
              <a:gd name="T57" fmla="*/ 253 h 264"/>
              <a:gd name="T58" fmla="*/ 93 w 264"/>
              <a:gd name="T59" fmla="*/ 259 h 264"/>
              <a:gd name="T60" fmla="*/ 105 w 264"/>
              <a:gd name="T61" fmla="*/ 262 h 264"/>
              <a:gd name="T62" fmla="*/ 118 w 264"/>
              <a:gd name="T63" fmla="*/ 263 h 264"/>
              <a:gd name="T64" fmla="*/ 132 w 264"/>
              <a:gd name="T65" fmla="*/ 264 h 264"/>
              <a:gd name="T66" fmla="*/ 146 w 264"/>
              <a:gd name="T67" fmla="*/ 263 h 264"/>
              <a:gd name="T68" fmla="*/ 157 w 264"/>
              <a:gd name="T69" fmla="*/ 262 h 264"/>
              <a:gd name="T70" fmla="*/ 171 w 264"/>
              <a:gd name="T71" fmla="*/ 259 h 264"/>
              <a:gd name="T72" fmla="*/ 182 w 264"/>
              <a:gd name="T73" fmla="*/ 253 h 264"/>
              <a:gd name="T74" fmla="*/ 194 w 264"/>
              <a:gd name="T75" fmla="*/ 248 h 264"/>
              <a:gd name="T76" fmla="*/ 205 w 264"/>
              <a:gd name="T77" fmla="*/ 242 h 264"/>
              <a:gd name="T78" fmla="*/ 215 w 264"/>
              <a:gd name="T79" fmla="*/ 235 h 264"/>
              <a:gd name="T80" fmla="*/ 224 w 264"/>
              <a:gd name="T81" fmla="*/ 227 h 264"/>
              <a:gd name="T82" fmla="*/ 231 w 264"/>
              <a:gd name="T83" fmla="*/ 218 h 264"/>
              <a:gd name="T84" fmla="*/ 240 w 264"/>
              <a:gd name="T85" fmla="*/ 207 h 264"/>
              <a:gd name="T86" fmla="*/ 247 w 264"/>
              <a:gd name="T87" fmla="*/ 197 h 264"/>
              <a:gd name="T88" fmla="*/ 251 w 264"/>
              <a:gd name="T89" fmla="*/ 185 h 264"/>
              <a:gd name="T90" fmla="*/ 258 w 264"/>
              <a:gd name="T91" fmla="*/ 173 h 264"/>
              <a:gd name="T92" fmla="*/ 261 w 264"/>
              <a:gd name="T93" fmla="*/ 161 h 264"/>
              <a:gd name="T94" fmla="*/ 262 w 264"/>
              <a:gd name="T95" fmla="*/ 150 h 264"/>
              <a:gd name="T96" fmla="*/ 264 w 264"/>
              <a:gd name="T97" fmla="*/ 136 h 264"/>
              <a:gd name="T98" fmla="*/ 132 w 264"/>
              <a:gd name="T99" fmla="*/ 136 h 264"/>
              <a:gd name="T100" fmla="*/ 132 w 264"/>
              <a:gd name="T101" fmla="*/ 0 h 2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64" h="264">
                <a:moveTo>
                  <a:pt x="132" y="0"/>
                </a:moveTo>
                <a:lnTo>
                  <a:pt x="118" y="1"/>
                </a:lnTo>
                <a:lnTo>
                  <a:pt x="105" y="3"/>
                </a:lnTo>
                <a:lnTo>
                  <a:pt x="93" y="6"/>
                </a:lnTo>
                <a:lnTo>
                  <a:pt x="82" y="10"/>
                </a:lnTo>
                <a:lnTo>
                  <a:pt x="69" y="17"/>
                </a:lnTo>
                <a:lnTo>
                  <a:pt x="59" y="22"/>
                </a:lnTo>
                <a:lnTo>
                  <a:pt x="48" y="31"/>
                </a:lnTo>
                <a:lnTo>
                  <a:pt x="40" y="39"/>
                </a:lnTo>
                <a:lnTo>
                  <a:pt x="30" y="48"/>
                </a:lnTo>
                <a:lnTo>
                  <a:pt x="23" y="59"/>
                </a:lnTo>
                <a:lnTo>
                  <a:pt x="16" y="70"/>
                </a:lnTo>
                <a:lnTo>
                  <a:pt x="10" y="81"/>
                </a:lnTo>
                <a:lnTo>
                  <a:pt x="6" y="92"/>
                </a:lnTo>
                <a:lnTo>
                  <a:pt x="2" y="106"/>
                </a:lnTo>
                <a:lnTo>
                  <a:pt x="0" y="119"/>
                </a:lnTo>
                <a:lnTo>
                  <a:pt x="0" y="133"/>
                </a:lnTo>
                <a:lnTo>
                  <a:pt x="0" y="147"/>
                </a:lnTo>
                <a:lnTo>
                  <a:pt x="2" y="158"/>
                </a:lnTo>
                <a:lnTo>
                  <a:pt x="6" y="172"/>
                </a:lnTo>
                <a:lnTo>
                  <a:pt x="10" y="183"/>
                </a:lnTo>
                <a:lnTo>
                  <a:pt x="16" y="196"/>
                </a:lnTo>
                <a:lnTo>
                  <a:pt x="23" y="206"/>
                </a:lnTo>
                <a:lnTo>
                  <a:pt x="30" y="217"/>
                </a:lnTo>
                <a:lnTo>
                  <a:pt x="40" y="225"/>
                </a:lnTo>
                <a:lnTo>
                  <a:pt x="48" y="235"/>
                </a:lnTo>
                <a:lnTo>
                  <a:pt x="59" y="242"/>
                </a:lnTo>
                <a:lnTo>
                  <a:pt x="69" y="248"/>
                </a:lnTo>
                <a:lnTo>
                  <a:pt x="82" y="253"/>
                </a:lnTo>
                <a:lnTo>
                  <a:pt x="93" y="259"/>
                </a:lnTo>
                <a:lnTo>
                  <a:pt x="105" y="262"/>
                </a:lnTo>
                <a:lnTo>
                  <a:pt x="118" y="263"/>
                </a:lnTo>
                <a:lnTo>
                  <a:pt x="132" y="264"/>
                </a:lnTo>
                <a:lnTo>
                  <a:pt x="146" y="263"/>
                </a:lnTo>
                <a:lnTo>
                  <a:pt x="157" y="262"/>
                </a:lnTo>
                <a:lnTo>
                  <a:pt x="171" y="259"/>
                </a:lnTo>
                <a:lnTo>
                  <a:pt x="182" y="253"/>
                </a:lnTo>
                <a:lnTo>
                  <a:pt x="194" y="248"/>
                </a:lnTo>
                <a:lnTo>
                  <a:pt x="205" y="242"/>
                </a:lnTo>
                <a:lnTo>
                  <a:pt x="215" y="235"/>
                </a:lnTo>
                <a:lnTo>
                  <a:pt x="224" y="227"/>
                </a:lnTo>
                <a:lnTo>
                  <a:pt x="231" y="218"/>
                </a:lnTo>
                <a:lnTo>
                  <a:pt x="240" y="207"/>
                </a:lnTo>
                <a:lnTo>
                  <a:pt x="247" y="197"/>
                </a:lnTo>
                <a:lnTo>
                  <a:pt x="251" y="185"/>
                </a:lnTo>
                <a:lnTo>
                  <a:pt x="258" y="173"/>
                </a:lnTo>
                <a:lnTo>
                  <a:pt x="261" y="161"/>
                </a:lnTo>
                <a:lnTo>
                  <a:pt x="262" y="150"/>
                </a:lnTo>
                <a:lnTo>
                  <a:pt x="264" y="136"/>
                </a:lnTo>
                <a:lnTo>
                  <a:pt x="132" y="136"/>
                </a:lnTo>
                <a:lnTo>
                  <a:pt x="132" y="0"/>
                </a:lnTo>
                <a:close/>
              </a:path>
            </a:pathLst>
          </a:custGeom>
          <a:solidFill>
            <a:srgbClr val="DC3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7" name="Freeform 6"/>
          <p:cNvSpPr>
            <a:spLocks/>
          </p:cNvSpPr>
          <p:nvPr/>
        </p:nvSpPr>
        <p:spPr bwMode="auto">
          <a:xfrm>
            <a:off x="10077449" y="4619626"/>
            <a:ext cx="419100" cy="419100"/>
          </a:xfrm>
          <a:custGeom>
            <a:avLst/>
            <a:gdLst>
              <a:gd name="T0" fmla="*/ 132 w 264"/>
              <a:gd name="T1" fmla="*/ 0 h 264"/>
              <a:gd name="T2" fmla="*/ 118 w 264"/>
              <a:gd name="T3" fmla="*/ 1 h 264"/>
              <a:gd name="T4" fmla="*/ 105 w 264"/>
              <a:gd name="T5" fmla="*/ 3 h 264"/>
              <a:gd name="T6" fmla="*/ 93 w 264"/>
              <a:gd name="T7" fmla="*/ 6 h 264"/>
              <a:gd name="T8" fmla="*/ 82 w 264"/>
              <a:gd name="T9" fmla="*/ 10 h 264"/>
              <a:gd name="T10" fmla="*/ 69 w 264"/>
              <a:gd name="T11" fmla="*/ 17 h 264"/>
              <a:gd name="T12" fmla="*/ 59 w 264"/>
              <a:gd name="T13" fmla="*/ 22 h 264"/>
              <a:gd name="T14" fmla="*/ 48 w 264"/>
              <a:gd name="T15" fmla="*/ 31 h 264"/>
              <a:gd name="T16" fmla="*/ 40 w 264"/>
              <a:gd name="T17" fmla="*/ 39 h 264"/>
              <a:gd name="T18" fmla="*/ 30 w 264"/>
              <a:gd name="T19" fmla="*/ 48 h 264"/>
              <a:gd name="T20" fmla="*/ 23 w 264"/>
              <a:gd name="T21" fmla="*/ 59 h 264"/>
              <a:gd name="T22" fmla="*/ 16 w 264"/>
              <a:gd name="T23" fmla="*/ 70 h 264"/>
              <a:gd name="T24" fmla="*/ 10 w 264"/>
              <a:gd name="T25" fmla="*/ 81 h 264"/>
              <a:gd name="T26" fmla="*/ 6 w 264"/>
              <a:gd name="T27" fmla="*/ 92 h 264"/>
              <a:gd name="T28" fmla="*/ 2 w 264"/>
              <a:gd name="T29" fmla="*/ 106 h 264"/>
              <a:gd name="T30" fmla="*/ 0 w 264"/>
              <a:gd name="T31" fmla="*/ 119 h 264"/>
              <a:gd name="T32" fmla="*/ 0 w 264"/>
              <a:gd name="T33" fmla="*/ 133 h 264"/>
              <a:gd name="T34" fmla="*/ 0 w 264"/>
              <a:gd name="T35" fmla="*/ 147 h 264"/>
              <a:gd name="T36" fmla="*/ 2 w 264"/>
              <a:gd name="T37" fmla="*/ 158 h 264"/>
              <a:gd name="T38" fmla="*/ 6 w 264"/>
              <a:gd name="T39" fmla="*/ 172 h 264"/>
              <a:gd name="T40" fmla="*/ 10 w 264"/>
              <a:gd name="T41" fmla="*/ 183 h 264"/>
              <a:gd name="T42" fmla="*/ 16 w 264"/>
              <a:gd name="T43" fmla="*/ 196 h 264"/>
              <a:gd name="T44" fmla="*/ 23 w 264"/>
              <a:gd name="T45" fmla="*/ 206 h 264"/>
              <a:gd name="T46" fmla="*/ 30 w 264"/>
              <a:gd name="T47" fmla="*/ 217 h 264"/>
              <a:gd name="T48" fmla="*/ 40 w 264"/>
              <a:gd name="T49" fmla="*/ 225 h 264"/>
              <a:gd name="T50" fmla="*/ 48 w 264"/>
              <a:gd name="T51" fmla="*/ 235 h 264"/>
              <a:gd name="T52" fmla="*/ 59 w 264"/>
              <a:gd name="T53" fmla="*/ 242 h 264"/>
              <a:gd name="T54" fmla="*/ 69 w 264"/>
              <a:gd name="T55" fmla="*/ 248 h 264"/>
              <a:gd name="T56" fmla="*/ 82 w 264"/>
              <a:gd name="T57" fmla="*/ 253 h 264"/>
              <a:gd name="T58" fmla="*/ 93 w 264"/>
              <a:gd name="T59" fmla="*/ 259 h 264"/>
              <a:gd name="T60" fmla="*/ 105 w 264"/>
              <a:gd name="T61" fmla="*/ 262 h 264"/>
              <a:gd name="T62" fmla="*/ 118 w 264"/>
              <a:gd name="T63" fmla="*/ 263 h 264"/>
              <a:gd name="T64" fmla="*/ 132 w 264"/>
              <a:gd name="T65" fmla="*/ 264 h 264"/>
              <a:gd name="T66" fmla="*/ 146 w 264"/>
              <a:gd name="T67" fmla="*/ 263 h 264"/>
              <a:gd name="T68" fmla="*/ 157 w 264"/>
              <a:gd name="T69" fmla="*/ 262 h 264"/>
              <a:gd name="T70" fmla="*/ 171 w 264"/>
              <a:gd name="T71" fmla="*/ 259 h 264"/>
              <a:gd name="T72" fmla="*/ 182 w 264"/>
              <a:gd name="T73" fmla="*/ 253 h 264"/>
              <a:gd name="T74" fmla="*/ 194 w 264"/>
              <a:gd name="T75" fmla="*/ 248 h 264"/>
              <a:gd name="T76" fmla="*/ 205 w 264"/>
              <a:gd name="T77" fmla="*/ 242 h 264"/>
              <a:gd name="T78" fmla="*/ 215 w 264"/>
              <a:gd name="T79" fmla="*/ 235 h 264"/>
              <a:gd name="T80" fmla="*/ 224 w 264"/>
              <a:gd name="T81" fmla="*/ 227 h 264"/>
              <a:gd name="T82" fmla="*/ 231 w 264"/>
              <a:gd name="T83" fmla="*/ 218 h 264"/>
              <a:gd name="T84" fmla="*/ 240 w 264"/>
              <a:gd name="T85" fmla="*/ 207 h 264"/>
              <a:gd name="T86" fmla="*/ 247 w 264"/>
              <a:gd name="T87" fmla="*/ 197 h 264"/>
              <a:gd name="T88" fmla="*/ 251 w 264"/>
              <a:gd name="T89" fmla="*/ 185 h 264"/>
              <a:gd name="T90" fmla="*/ 258 w 264"/>
              <a:gd name="T91" fmla="*/ 173 h 264"/>
              <a:gd name="T92" fmla="*/ 261 w 264"/>
              <a:gd name="T93" fmla="*/ 161 h 264"/>
              <a:gd name="T94" fmla="*/ 262 w 264"/>
              <a:gd name="T95" fmla="*/ 150 h 264"/>
              <a:gd name="T96" fmla="*/ 264 w 264"/>
              <a:gd name="T97" fmla="*/ 136 h 264"/>
              <a:gd name="T98" fmla="*/ 132 w 264"/>
              <a:gd name="T99" fmla="*/ 136 h 264"/>
              <a:gd name="T100" fmla="*/ 132 w 264"/>
              <a:gd name="T101" fmla="*/ 0 h 2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64" h="264">
                <a:moveTo>
                  <a:pt x="132" y="0"/>
                </a:moveTo>
                <a:lnTo>
                  <a:pt x="118" y="1"/>
                </a:lnTo>
                <a:lnTo>
                  <a:pt x="105" y="3"/>
                </a:lnTo>
                <a:lnTo>
                  <a:pt x="93" y="6"/>
                </a:lnTo>
                <a:lnTo>
                  <a:pt x="82" y="10"/>
                </a:lnTo>
                <a:lnTo>
                  <a:pt x="69" y="17"/>
                </a:lnTo>
                <a:lnTo>
                  <a:pt x="59" y="22"/>
                </a:lnTo>
                <a:lnTo>
                  <a:pt x="48" y="31"/>
                </a:lnTo>
                <a:lnTo>
                  <a:pt x="40" y="39"/>
                </a:lnTo>
                <a:lnTo>
                  <a:pt x="30" y="48"/>
                </a:lnTo>
                <a:lnTo>
                  <a:pt x="23" y="59"/>
                </a:lnTo>
                <a:lnTo>
                  <a:pt x="16" y="70"/>
                </a:lnTo>
                <a:lnTo>
                  <a:pt x="10" y="81"/>
                </a:lnTo>
                <a:lnTo>
                  <a:pt x="6" y="92"/>
                </a:lnTo>
                <a:lnTo>
                  <a:pt x="2" y="106"/>
                </a:lnTo>
                <a:lnTo>
                  <a:pt x="0" y="119"/>
                </a:lnTo>
                <a:lnTo>
                  <a:pt x="0" y="133"/>
                </a:lnTo>
                <a:lnTo>
                  <a:pt x="0" y="147"/>
                </a:lnTo>
                <a:lnTo>
                  <a:pt x="2" y="158"/>
                </a:lnTo>
                <a:lnTo>
                  <a:pt x="6" y="172"/>
                </a:lnTo>
                <a:lnTo>
                  <a:pt x="10" y="183"/>
                </a:lnTo>
                <a:lnTo>
                  <a:pt x="16" y="196"/>
                </a:lnTo>
                <a:lnTo>
                  <a:pt x="23" y="206"/>
                </a:lnTo>
                <a:lnTo>
                  <a:pt x="30" y="217"/>
                </a:lnTo>
                <a:lnTo>
                  <a:pt x="40" y="225"/>
                </a:lnTo>
                <a:lnTo>
                  <a:pt x="48" y="235"/>
                </a:lnTo>
                <a:lnTo>
                  <a:pt x="59" y="242"/>
                </a:lnTo>
                <a:lnTo>
                  <a:pt x="69" y="248"/>
                </a:lnTo>
                <a:lnTo>
                  <a:pt x="82" y="253"/>
                </a:lnTo>
                <a:lnTo>
                  <a:pt x="93" y="259"/>
                </a:lnTo>
                <a:lnTo>
                  <a:pt x="105" y="262"/>
                </a:lnTo>
                <a:lnTo>
                  <a:pt x="118" y="263"/>
                </a:lnTo>
                <a:lnTo>
                  <a:pt x="132" y="264"/>
                </a:lnTo>
                <a:lnTo>
                  <a:pt x="146" y="263"/>
                </a:lnTo>
                <a:lnTo>
                  <a:pt x="157" y="262"/>
                </a:lnTo>
                <a:lnTo>
                  <a:pt x="171" y="259"/>
                </a:lnTo>
                <a:lnTo>
                  <a:pt x="182" y="253"/>
                </a:lnTo>
                <a:lnTo>
                  <a:pt x="194" y="248"/>
                </a:lnTo>
                <a:lnTo>
                  <a:pt x="205" y="242"/>
                </a:lnTo>
                <a:lnTo>
                  <a:pt x="215" y="235"/>
                </a:lnTo>
                <a:lnTo>
                  <a:pt x="224" y="227"/>
                </a:lnTo>
                <a:lnTo>
                  <a:pt x="231" y="218"/>
                </a:lnTo>
                <a:lnTo>
                  <a:pt x="240" y="207"/>
                </a:lnTo>
                <a:lnTo>
                  <a:pt x="247" y="197"/>
                </a:lnTo>
                <a:lnTo>
                  <a:pt x="251" y="185"/>
                </a:lnTo>
                <a:lnTo>
                  <a:pt x="258" y="173"/>
                </a:lnTo>
                <a:lnTo>
                  <a:pt x="261" y="161"/>
                </a:lnTo>
                <a:lnTo>
                  <a:pt x="262" y="150"/>
                </a:lnTo>
                <a:lnTo>
                  <a:pt x="264" y="136"/>
                </a:lnTo>
                <a:lnTo>
                  <a:pt x="132" y="136"/>
                </a:lnTo>
                <a:lnTo>
                  <a:pt x="13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8" name="Freeform 7"/>
          <p:cNvSpPr>
            <a:spLocks/>
          </p:cNvSpPr>
          <p:nvPr/>
        </p:nvSpPr>
        <p:spPr bwMode="auto">
          <a:xfrm>
            <a:off x="10326686" y="4581526"/>
            <a:ext cx="209550" cy="212725"/>
          </a:xfrm>
          <a:custGeom>
            <a:avLst/>
            <a:gdLst>
              <a:gd name="T0" fmla="*/ 0 w 132"/>
              <a:gd name="T1" fmla="*/ 0 h 134"/>
              <a:gd name="T2" fmla="*/ 0 w 132"/>
              <a:gd name="T3" fmla="*/ 134 h 134"/>
              <a:gd name="T4" fmla="*/ 132 w 132"/>
              <a:gd name="T5" fmla="*/ 134 h 134"/>
              <a:gd name="T6" fmla="*/ 132 w 132"/>
              <a:gd name="T7" fmla="*/ 132 h 134"/>
              <a:gd name="T8" fmla="*/ 130 w 132"/>
              <a:gd name="T9" fmla="*/ 118 h 134"/>
              <a:gd name="T10" fmla="*/ 129 w 132"/>
              <a:gd name="T11" fmla="*/ 104 h 134"/>
              <a:gd name="T12" fmla="*/ 126 w 132"/>
              <a:gd name="T13" fmla="*/ 92 h 134"/>
              <a:gd name="T14" fmla="*/ 121 w 132"/>
              <a:gd name="T15" fmla="*/ 79 h 134"/>
              <a:gd name="T16" fmla="*/ 115 w 132"/>
              <a:gd name="T17" fmla="*/ 69 h 134"/>
              <a:gd name="T18" fmla="*/ 109 w 132"/>
              <a:gd name="T19" fmla="*/ 56 h 134"/>
              <a:gd name="T20" fmla="*/ 102 w 132"/>
              <a:gd name="T21" fmla="*/ 48 h 134"/>
              <a:gd name="T22" fmla="*/ 93 w 132"/>
              <a:gd name="T23" fmla="*/ 37 h 134"/>
              <a:gd name="T24" fmla="*/ 84 w 132"/>
              <a:gd name="T25" fmla="*/ 30 h 134"/>
              <a:gd name="T26" fmla="*/ 73 w 132"/>
              <a:gd name="T27" fmla="*/ 23 h 134"/>
              <a:gd name="T28" fmla="*/ 63 w 132"/>
              <a:gd name="T29" fmla="*/ 14 h 134"/>
              <a:gd name="T30" fmla="*/ 51 w 132"/>
              <a:gd name="T31" fmla="*/ 10 h 134"/>
              <a:gd name="T32" fmla="*/ 39 w 132"/>
              <a:gd name="T33" fmla="*/ 6 h 134"/>
              <a:gd name="T34" fmla="*/ 25 w 132"/>
              <a:gd name="T35" fmla="*/ 2 h 134"/>
              <a:gd name="T36" fmla="*/ 14 w 132"/>
              <a:gd name="T37" fmla="*/ 0 h 134"/>
              <a:gd name="T38" fmla="*/ 0 w 132"/>
              <a:gd name="T39" fmla="*/ 0 h 1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32" h="134">
                <a:moveTo>
                  <a:pt x="0" y="0"/>
                </a:moveTo>
                <a:lnTo>
                  <a:pt x="0" y="134"/>
                </a:lnTo>
                <a:lnTo>
                  <a:pt x="132" y="134"/>
                </a:lnTo>
                <a:lnTo>
                  <a:pt x="132" y="132"/>
                </a:lnTo>
                <a:lnTo>
                  <a:pt x="130" y="118"/>
                </a:lnTo>
                <a:lnTo>
                  <a:pt x="129" y="104"/>
                </a:lnTo>
                <a:lnTo>
                  <a:pt x="126" y="92"/>
                </a:lnTo>
                <a:lnTo>
                  <a:pt x="121" y="79"/>
                </a:lnTo>
                <a:lnTo>
                  <a:pt x="115" y="69"/>
                </a:lnTo>
                <a:lnTo>
                  <a:pt x="109" y="56"/>
                </a:lnTo>
                <a:lnTo>
                  <a:pt x="102" y="48"/>
                </a:lnTo>
                <a:lnTo>
                  <a:pt x="93" y="37"/>
                </a:lnTo>
                <a:lnTo>
                  <a:pt x="84" y="30"/>
                </a:lnTo>
                <a:lnTo>
                  <a:pt x="73" y="23"/>
                </a:lnTo>
                <a:lnTo>
                  <a:pt x="63" y="14"/>
                </a:lnTo>
                <a:lnTo>
                  <a:pt x="51" y="10"/>
                </a:lnTo>
                <a:lnTo>
                  <a:pt x="39" y="6"/>
                </a:lnTo>
                <a:lnTo>
                  <a:pt x="25" y="2"/>
                </a:lnTo>
                <a:lnTo>
                  <a:pt x="14" y="0"/>
                </a:lnTo>
                <a:lnTo>
                  <a:pt x="0" y="0"/>
                </a:lnTo>
                <a:close/>
              </a:path>
            </a:pathLst>
          </a:custGeom>
          <a:solidFill>
            <a:srgbClr val="FF8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9" name="Freeform 8"/>
          <p:cNvSpPr>
            <a:spLocks/>
          </p:cNvSpPr>
          <p:nvPr/>
        </p:nvSpPr>
        <p:spPr bwMode="auto">
          <a:xfrm>
            <a:off x="10326686" y="4581526"/>
            <a:ext cx="209550" cy="212725"/>
          </a:xfrm>
          <a:custGeom>
            <a:avLst/>
            <a:gdLst>
              <a:gd name="T0" fmla="*/ 0 w 132"/>
              <a:gd name="T1" fmla="*/ 0 h 134"/>
              <a:gd name="T2" fmla="*/ 0 w 132"/>
              <a:gd name="T3" fmla="*/ 134 h 134"/>
              <a:gd name="T4" fmla="*/ 132 w 132"/>
              <a:gd name="T5" fmla="*/ 134 h 134"/>
              <a:gd name="T6" fmla="*/ 132 w 132"/>
              <a:gd name="T7" fmla="*/ 132 h 134"/>
              <a:gd name="T8" fmla="*/ 130 w 132"/>
              <a:gd name="T9" fmla="*/ 118 h 134"/>
              <a:gd name="T10" fmla="*/ 129 w 132"/>
              <a:gd name="T11" fmla="*/ 104 h 134"/>
              <a:gd name="T12" fmla="*/ 126 w 132"/>
              <a:gd name="T13" fmla="*/ 92 h 134"/>
              <a:gd name="T14" fmla="*/ 121 w 132"/>
              <a:gd name="T15" fmla="*/ 79 h 134"/>
              <a:gd name="T16" fmla="*/ 115 w 132"/>
              <a:gd name="T17" fmla="*/ 69 h 134"/>
              <a:gd name="T18" fmla="*/ 109 w 132"/>
              <a:gd name="T19" fmla="*/ 56 h 134"/>
              <a:gd name="T20" fmla="*/ 102 w 132"/>
              <a:gd name="T21" fmla="*/ 48 h 134"/>
              <a:gd name="T22" fmla="*/ 93 w 132"/>
              <a:gd name="T23" fmla="*/ 37 h 134"/>
              <a:gd name="T24" fmla="*/ 84 w 132"/>
              <a:gd name="T25" fmla="*/ 30 h 134"/>
              <a:gd name="T26" fmla="*/ 73 w 132"/>
              <a:gd name="T27" fmla="*/ 23 h 134"/>
              <a:gd name="T28" fmla="*/ 63 w 132"/>
              <a:gd name="T29" fmla="*/ 14 h 134"/>
              <a:gd name="T30" fmla="*/ 51 w 132"/>
              <a:gd name="T31" fmla="*/ 10 h 134"/>
              <a:gd name="T32" fmla="*/ 39 w 132"/>
              <a:gd name="T33" fmla="*/ 6 h 134"/>
              <a:gd name="T34" fmla="*/ 25 w 132"/>
              <a:gd name="T35" fmla="*/ 2 h 134"/>
              <a:gd name="T36" fmla="*/ 14 w 132"/>
              <a:gd name="T37" fmla="*/ 0 h 134"/>
              <a:gd name="T38" fmla="*/ 0 w 132"/>
              <a:gd name="T39" fmla="*/ 0 h 1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32" h="134">
                <a:moveTo>
                  <a:pt x="0" y="0"/>
                </a:moveTo>
                <a:lnTo>
                  <a:pt x="0" y="134"/>
                </a:lnTo>
                <a:lnTo>
                  <a:pt x="132" y="134"/>
                </a:lnTo>
                <a:lnTo>
                  <a:pt x="132" y="132"/>
                </a:lnTo>
                <a:lnTo>
                  <a:pt x="130" y="118"/>
                </a:lnTo>
                <a:lnTo>
                  <a:pt x="129" y="104"/>
                </a:lnTo>
                <a:lnTo>
                  <a:pt x="126" y="92"/>
                </a:lnTo>
                <a:lnTo>
                  <a:pt x="121" y="79"/>
                </a:lnTo>
                <a:lnTo>
                  <a:pt x="115" y="69"/>
                </a:lnTo>
                <a:lnTo>
                  <a:pt x="109" y="56"/>
                </a:lnTo>
                <a:lnTo>
                  <a:pt x="102" y="48"/>
                </a:lnTo>
                <a:lnTo>
                  <a:pt x="93" y="37"/>
                </a:lnTo>
                <a:lnTo>
                  <a:pt x="84" y="30"/>
                </a:lnTo>
                <a:lnTo>
                  <a:pt x="73" y="23"/>
                </a:lnTo>
                <a:lnTo>
                  <a:pt x="63" y="14"/>
                </a:lnTo>
                <a:lnTo>
                  <a:pt x="51" y="10"/>
                </a:lnTo>
                <a:lnTo>
                  <a:pt x="39" y="6"/>
                </a:lnTo>
                <a:lnTo>
                  <a:pt x="25" y="2"/>
                </a:lnTo>
                <a:lnTo>
                  <a:pt x="14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" name="Rectangle 10"/>
          <p:cNvSpPr>
            <a:spLocks noChangeArrowheads="1"/>
          </p:cNvSpPr>
          <p:nvPr/>
        </p:nvSpPr>
        <p:spPr bwMode="auto">
          <a:xfrm>
            <a:off x="9275761" y="4903788"/>
            <a:ext cx="1354137" cy="76200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" name="Rectangle 11"/>
          <p:cNvSpPr>
            <a:spLocks noChangeArrowheads="1"/>
          </p:cNvSpPr>
          <p:nvPr/>
        </p:nvSpPr>
        <p:spPr bwMode="auto">
          <a:xfrm>
            <a:off x="9680574" y="5370513"/>
            <a:ext cx="177800" cy="26988"/>
          </a:xfrm>
          <a:prstGeom prst="rect">
            <a:avLst/>
          </a:prstGeom>
          <a:solidFill>
            <a:srgbClr val="0072C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" name="Rectangle 12"/>
          <p:cNvSpPr>
            <a:spLocks noChangeArrowheads="1"/>
          </p:cNvSpPr>
          <p:nvPr/>
        </p:nvSpPr>
        <p:spPr bwMode="auto">
          <a:xfrm>
            <a:off x="9636124" y="5370513"/>
            <a:ext cx="28575" cy="26988"/>
          </a:xfrm>
          <a:prstGeom prst="rect">
            <a:avLst/>
          </a:prstGeom>
          <a:solidFill>
            <a:srgbClr val="0072C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4" name="Rectangle 13"/>
          <p:cNvSpPr>
            <a:spLocks noChangeArrowheads="1"/>
          </p:cNvSpPr>
          <p:nvPr/>
        </p:nvSpPr>
        <p:spPr bwMode="auto">
          <a:xfrm>
            <a:off x="9680574" y="5427663"/>
            <a:ext cx="192087" cy="26988"/>
          </a:xfrm>
          <a:prstGeom prst="rect">
            <a:avLst/>
          </a:prstGeom>
          <a:solidFill>
            <a:srgbClr val="0072C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5" name="Rectangle 14"/>
          <p:cNvSpPr>
            <a:spLocks noChangeArrowheads="1"/>
          </p:cNvSpPr>
          <p:nvPr/>
        </p:nvSpPr>
        <p:spPr bwMode="auto">
          <a:xfrm>
            <a:off x="9636124" y="5427663"/>
            <a:ext cx="28575" cy="26988"/>
          </a:xfrm>
          <a:prstGeom prst="rect">
            <a:avLst/>
          </a:prstGeom>
          <a:solidFill>
            <a:srgbClr val="0072C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6" name="Rectangle 15"/>
          <p:cNvSpPr>
            <a:spLocks noChangeArrowheads="1"/>
          </p:cNvSpPr>
          <p:nvPr/>
        </p:nvSpPr>
        <p:spPr bwMode="auto">
          <a:xfrm>
            <a:off x="9680574" y="5483226"/>
            <a:ext cx="141287" cy="26988"/>
          </a:xfrm>
          <a:prstGeom prst="rect">
            <a:avLst/>
          </a:prstGeom>
          <a:solidFill>
            <a:srgbClr val="0072C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7" name="Rectangle 16"/>
          <p:cNvSpPr>
            <a:spLocks noChangeArrowheads="1"/>
          </p:cNvSpPr>
          <p:nvPr/>
        </p:nvSpPr>
        <p:spPr bwMode="auto">
          <a:xfrm>
            <a:off x="9636124" y="5483226"/>
            <a:ext cx="28575" cy="26988"/>
          </a:xfrm>
          <a:prstGeom prst="rect">
            <a:avLst/>
          </a:prstGeom>
          <a:solidFill>
            <a:srgbClr val="0072C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8" name="Rectangle 17"/>
          <p:cNvSpPr>
            <a:spLocks noChangeArrowheads="1"/>
          </p:cNvSpPr>
          <p:nvPr/>
        </p:nvSpPr>
        <p:spPr bwMode="auto">
          <a:xfrm>
            <a:off x="9832974" y="5159376"/>
            <a:ext cx="36512" cy="150813"/>
          </a:xfrm>
          <a:prstGeom prst="rect">
            <a:avLst/>
          </a:prstGeom>
          <a:solidFill>
            <a:srgbClr val="34103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9" name="Rectangle 18"/>
          <p:cNvSpPr>
            <a:spLocks noChangeArrowheads="1"/>
          </p:cNvSpPr>
          <p:nvPr/>
        </p:nvSpPr>
        <p:spPr bwMode="auto">
          <a:xfrm>
            <a:off x="9783761" y="5270501"/>
            <a:ext cx="36512" cy="39688"/>
          </a:xfrm>
          <a:prstGeom prst="rect">
            <a:avLst/>
          </a:prstGeom>
          <a:solidFill>
            <a:srgbClr val="4E1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0" name="Rectangle 19"/>
          <p:cNvSpPr>
            <a:spLocks noChangeArrowheads="1"/>
          </p:cNvSpPr>
          <p:nvPr/>
        </p:nvSpPr>
        <p:spPr bwMode="auto">
          <a:xfrm>
            <a:off x="9736136" y="5205413"/>
            <a:ext cx="34925" cy="104775"/>
          </a:xfrm>
          <a:prstGeom prst="rect">
            <a:avLst/>
          </a:prstGeom>
          <a:solidFill>
            <a:srgbClr val="B957D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1" name="Rectangle 20"/>
          <p:cNvSpPr>
            <a:spLocks noChangeArrowheads="1"/>
          </p:cNvSpPr>
          <p:nvPr/>
        </p:nvSpPr>
        <p:spPr bwMode="auto">
          <a:xfrm>
            <a:off x="9683749" y="5180013"/>
            <a:ext cx="33337" cy="130175"/>
          </a:xfrm>
          <a:prstGeom prst="rect">
            <a:avLst/>
          </a:prstGeom>
          <a:solidFill>
            <a:srgbClr val="68217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2" name="Rectangle 21"/>
          <p:cNvSpPr>
            <a:spLocks noChangeArrowheads="1"/>
          </p:cNvSpPr>
          <p:nvPr/>
        </p:nvSpPr>
        <p:spPr bwMode="auto">
          <a:xfrm>
            <a:off x="9632949" y="5227638"/>
            <a:ext cx="36512" cy="82550"/>
          </a:xfrm>
          <a:prstGeom prst="rect">
            <a:avLst/>
          </a:prstGeom>
          <a:solidFill>
            <a:srgbClr val="D08FE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3" name="Freeform 22"/>
          <p:cNvSpPr>
            <a:spLocks/>
          </p:cNvSpPr>
          <p:nvPr/>
        </p:nvSpPr>
        <p:spPr bwMode="auto">
          <a:xfrm>
            <a:off x="9953624" y="5219701"/>
            <a:ext cx="282575" cy="280988"/>
          </a:xfrm>
          <a:custGeom>
            <a:avLst/>
            <a:gdLst>
              <a:gd name="T0" fmla="*/ 88 w 178"/>
              <a:gd name="T1" fmla="*/ 0 h 177"/>
              <a:gd name="T2" fmla="*/ 88 w 178"/>
              <a:gd name="T3" fmla="*/ 0 h 177"/>
              <a:gd name="T4" fmla="*/ 80 w 178"/>
              <a:gd name="T5" fmla="*/ 0 h 177"/>
              <a:gd name="T6" fmla="*/ 70 w 178"/>
              <a:gd name="T7" fmla="*/ 1 h 177"/>
              <a:gd name="T8" fmla="*/ 63 w 178"/>
              <a:gd name="T9" fmla="*/ 4 h 177"/>
              <a:gd name="T10" fmla="*/ 55 w 178"/>
              <a:gd name="T11" fmla="*/ 7 h 177"/>
              <a:gd name="T12" fmla="*/ 46 w 178"/>
              <a:gd name="T13" fmla="*/ 11 h 177"/>
              <a:gd name="T14" fmla="*/ 39 w 178"/>
              <a:gd name="T15" fmla="*/ 14 h 177"/>
              <a:gd name="T16" fmla="*/ 32 w 178"/>
              <a:gd name="T17" fmla="*/ 21 h 177"/>
              <a:gd name="T18" fmla="*/ 27 w 178"/>
              <a:gd name="T19" fmla="*/ 25 h 177"/>
              <a:gd name="T20" fmla="*/ 20 w 178"/>
              <a:gd name="T21" fmla="*/ 32 h 177"/>
              <a:gd name="T22" fmla="*/ 15 w 178"/>
              <a:gd name="T23" fmla="*/ 39 h 177"/>
              <a:gd name="T24" fmla="*/ 10 w 178"/>
              <a:gd name="T25" fmla="*/ 47 h 177"/>
              <a:gd name="T26" fmla="*/ 7 w 178"/>
              <a:gd name="T27" fmla="*/ 54 h 177"/>
              <a:gd name="T28" fmla="*/ 4 w 178"/>
              <a:gd name="T29" fmla="*/ 61 h 177"/>
              <a:gd name="T30" fmla="*/ 1 w 178"/>
              <a:gd name="T31" fmla="*/ 71 h 177"/>
              <a:gd name="T32" fmla="*/ 0 w 178"/>
              <a:gd name="T33" fmla="*/ 80 h 177"/>
              <a:gd name="T34" fmla="*/ 0 w 178"/>
              <a:gd name="T35" fmla="*/ 89 h 177"/>
              <a:gd name="T36" fmla="*/ 0 w 178"/>
              <a:gd name="T37" fmla="*/ 98 h 177"/>
              <a:gd name="T38" fmla="*/ 1 w 178"/>
              <a:gd name="T39" fmla="*/ 106 h 177"/>
              <a:gd name="T40" fmla="*/ 4 w 178"/>
              <a:gd name="T41" fmla="*/ 116 h 177"/>
              <a:gd name="T42" fmla="*/ 7 w 178"/>
              <a:gd name="T43" fmla="*/ 123 h 177"/>
              <a:gd name="T44" fmla="*/ 10 w 178"/>
              <a:gd name="T45" fmla="*/ 131 h 177"/>
              <a:gd name="T46" fmla="*/ 15 w 178"/>
              <a:gd name="T47" fmla="*/ 138 h 177"/>
              <a:gd name="T48" fmla="*/ 20 w 178"/>
              <a:gd name="T49" fmla="*/ 145 h 177"/>
              <a:gd name="T50" fmla="*/ 27 w 178"/>
              <a:gd name="T51" fmla="*/ 152 h 177"/>
              <a:gd name="T52" fmla="*/ 32 w 178"/>
              <a:gd name="T53" fmla="*/ 158 h 177"/>
              <a:gd name="T54" fmla="*/ 39 w 178"/>
              <a:gd name="T55" fmla="*/ 163 h 177"/>
              <a:gd name="T56" fmla="*/ 46 w 178"/>
              <a:gd name="T57" fmla="*/ 166 h 177"/>
              <a:gd name="T58" fmla="*/ 55 w 178"/>
              <a:gd name="T59" fmla="*/ 170 h 177"/>
              <a:gd name="T60" fmla="*/ 63 w 178"/>
              <a:gd name="T61" fmla="*/ 173 h 177"/>
              <a:gd name="T62" fmla="*/ 70 w 178"/>
              <a:gd name="T63" fmla="*/ 176 h 177"/>
              <a:gd name="T64" fmla="*/ 80 w 178"/>
              <a:gd name="T65" fmla="*/ 177 h 177"/>
              <a:gd name="T66" fmla="*/ 88 w 178"/>
              <a:gd name="T67" fmla="*/ 177 h 177"/>
              <a:gd name="T68" fmla="*/ 98 w 178"/>
              <a:gd name="T69" fmla="*/ 177 h 177"/>
              <a:gd name="T70" fmla="*/ 106 w 178"/>
              <a:gd name="T71" fmla="*/ 176 h 177"/>
              <a:gd name="T72" fmla="*/ 115 w 178"/>
              <a:gd name="T73" fmla="*/ 173 h 177"/>
              <a:gd name="T74" fmla="*/ 123 w 178"/>
              <a:gd name="T75" fmla="*/ 170 h 177"/>
              <a:gd name="T76" fmla="*/ 130 w 178"/>
              <a:gd name="T77" fmla="*/ 166 h 177"/>
              <a:gd name="T78" fmla="*/ 139 w 178"/>
              <a:gd name="T79" fmla="*/ 163 h 177"/>
              <a:gd name="T80" fmla="*/ 144 w 178"/>
              <a:gd name="T81" fmla="*/ 158 h 177"/>
              <a:gd name="T82" fmla="*/ 151 w 178"/>
              <a:gd name="T83" fmla="*/ 152 h 177"/>
              <a:gd name="T84" fmla="*/ 157 w 178"/>
              <a:gd name="T85" fmla="*/ 147 h 177"/>
              <a:gd name="T86" fmla="*/ 161 w 178"/>
              <a:gd name="T87" fmla="*/ 140 h 177"/>
              <a:gd name="T88" fmla="*/ 167 w 178"/>
              <a:gd name="T89" fmla="*/ 133 h 177"/>
              <a:gd name="T90" fmla="*/ 169 w 178"/>
              <a:gd name="T91" fmla="*/ 124 h 177"/>
              <a:gd name="T92" fmla="*/ 174 w 178"/>
              <a:gd name="T93" fmla="*/ 116 h 177"/>
              <a:gd name="T94" fmla="*/ 175 w 178"/>
              <a:gd name="T95" fmla="*/ 109 h 177"/>
              <a:gd name="T96" fmla="*/ 176 w 178"/>
              <a:gd name="T97" fmla="*/ 100 h 177"/>
              <a:gd name="T98" fmla="*/ 178 w 178"/>
              <a:gd name="T99" fmla="*/ 91 h 177"/>
              <a:gd name="T100" fmla="*/ 88 w 178"/>
              <a:gd name="T101" fmla="*/ 91 h 177"/>
              <a:gd name="T102" fmla="*/ 88 w 178"/>
              <a:gd name="T103" fmla="*/ 0 h 1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78" h="177">
                <a:moveTo>
                  <a:pt x="88" y="0"/>
                </a:moveTo>
                <a:lnTo>
                  <a:pt x="88" y="0"/>
                </a:lnTo>
                <a:lnTo>
                  <a:pt x="80" y="0"/>
                </a:lnTo>
                <a:lnTo>
                  <a:pt x="70" y="1"/>
                </a:lnTo>
                <a:lnTo>
                  <a:pt x="63" y="4"/>
                </a:lnTo>
                <a:lnTo>
                  <a:pt x="55" y="7"/>
                </a:lnTo>
                <a:lnTo>
                  <a:pt x="46" y="11"/>
                </a:lnTo>
                <a:lnTo>
                  <a:pt x="39" y="14"/>
                </a:lnTo>
                <a:lnTo>
                  <a:pt x="32" y="21"/>
                </a:lnTo>
                <a:lnTo>
                  <a:pt x="27" y="25"/>
                </a:lnTo>
                <a:lnTo>
                  <a:pt x="20" y="32"/>
                </a:lnTo>
                <a:lnTo>
                  <a:pt x="15" y="39"/>
                </a:lnTo>
                <a:lnTo>
                  <a:pt x="10" y="47"/>
                </a:lnTo>
                <a:lnTo>
                  <a:pt x="7" y="54"/>
                </a:lnTo>
                <a:lnTo>
                  <a:pt x="4" y="61"/>
                </a:lnTo>
                <a:lnTo>
                  <a:pt x="1" y="71"/>
                </a:lnTo>
                <a:lnTo>
                  <a:pt x="0" y="80"/>
                </a:lnTo>
                <a:lnTo>
                  <a:pt x="0" y="89"/>
                </a:lnTo>
                <a:lnTo>
                  <a:pt x="0" y="98"/>
                </a:lnTo>
                <a:lnTo>
                  <a:pt x="1" y="106"/>
                </a:lnTo>
                <a:lnTo>
                  <a:pt x="4" y="116"/>
                </a:lnTo>
                <a:lnTo>
                  <a:pt x="7" y="123"/>
                </a:lnTo>
                <a:lnTo>
                  <a:pt x="10" y="131"/>
                </a:lnTo>
                <a:lnTo>
                  <a:pt x="15" y="138"/>
                </a:lnTo>
                <a:lnTo>
                  <a:pt x="20" y="145"/>
                </a:lnTo>
                <a:lnTo>
                  <a:pt x="27" y="152"/>
                </a:lnTo>
                <a:lnTo>
                  <a:pt x="32" y="158"/>
                </a:lnTo>
                <a:lnTo>
                  <a:pt x="39" y="163"/>
                </a:lnTo>
                <a:lnTo>
                  <a:pt x="46" y="166"/>
                </a:lnTo>
                <a:lnTo>
                  <a:pt x="55" y="170"/>
                </a:lnTo>
                <a:lnTo>
                  <a:pt x="63" y="173"/>
                </a:lnTo>
                <a:lnTo>
                  <a:pt x="70" y="176"/>
                </a:lnTo>
                <a:lnTo>
                  <a:pt x="80" y="177"/>
                </a:lnTo>
                <a:lnTo>
                  <a:pt x="88" y="177"/>
                </a:lnTo>
                <a:lnTo>
                  <a:pt x="98" y="177"/>
                </a:lnTo>
                <a:lnTo>
                  <a:pt x="106" y="176"/>
                </a:lnTo>
                <a:lnTo>
                  <a:pt x="115" y="173"/>
                </a:lnTo>
                <a:lnTo>
                  <a:pt x="123" y="170"/>
                </a:lnTo>
                <a:lnTo>
                  <a:pt x="130" y="166"/>
                </a:lnTo>
                <a:lnTo>
                  <a:pt x="139" y="163"/>
                </a:lnTo>
                <a:lnTo>
                  <a:pt x="144" y="158"/>
                </a:lnTo>
                <a:lnTo>
                  <a:pt x="151" y="152"/>
                </a:lnTo>
                <a:lnTo>
                  <a:pt x="157" y="147"/>
                </a:lnTo>
                <a:lnTo>
                  <a:pt x="161" y="140"/>
                </a:lnTo>
                <a:lnTo>
                  <a:pt x="167" y="133"/>
                </a:lnTo>
                <a:lnTo>
                  <a:pt x="169" y="124"/>
                </a:lnTo>
                <a:lnTo>
                  <a:pt x="174" y="116"/>
                </a:lnTo>
                <a:lnTo>
                  <a:pt x="175" y="109"/>
                </a:lnTo>
                <a:lnTo>
                  <a:pt x="176" y="100"/>
                </a:lnTo>
                <a:lnTo>
                  <a:pt x="178" y="91"/>
                </a:lnTo>
                <a:lnTo>
                  <a:pt x="88" y="91"/>
                </a:lnTo>
                <a:lnTo>
                  <a:pt x="88" y="0"/>
                </a:lnTo>
                <a:close/>
              </a:path>
            </a:pathLst>
          </a:custGeom>
          <a:solidFill>
            <a:srgbClr val="DC3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4" name="Rectangle 23"/>
          <p:cNvSpPr>
            <a:spLocks noChangeArrowheads="1"/>
          </p:cNvSpPr>
          <p:nvPr/>
        </p:nvSpPr>
        <p:spPr bwMode="auto">
          <a:xfrm>
            <a:off x="10258424" y="5002213"/>
            <a:ext cx="26987" cy="25400"/>
          </a:xfrm>
          <a:prstGeom prst="rect">
            <a:avLst/>
          </a:prstGeom>
          <a:solidFill>
            <a:srgbClr val="00827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5" name="Freeform 24"/>
          <p:cNvSpPr>
            <a:spLocks noEditPoints="1"/>
          </p:cNvSpPr>
          <p:nvPr/>
        </p:nvSpPr>
        <p:spPr bwMode="auto">
          <a:xfrm>
            <a:off x="9536111" y="4965701"/>
            <a:ext cx="844550" cy="84138"/>
          </a:xfrm>
          <a:custGeom>
            <a:avLst/>
            <a:gdLst>
              <a:gd name="T0" fmla="*/ 0 w 532"/>
              <a:gd name="T1" fmla="*/ 0 h 53"/>
              <a:gd name="T2" fmla="*/ 0 w 532"/>
              <a:gd name="T3" fmla="*/ 53 h 53"/>
              <a:gd name="T4" fmla="*/ 532 w 532"/>
              <a:gd name="T5" fmla="*/ 53 h 53"/>
              <a:gd name="T6" fmla="*/ 532 w 532"/>
              <a:gd name="T7" fmla="*/ 0 h 53"/>
              <a:gd name="T8" fmla="*/ 0 w 532"/>
              <a:gd name="T9" fmla="*/ 0 h 53"/>
              <a:gd name="T10" fmla="*/ 434 w 532"/>
              <a:gd name="T11" fmla="*/ 45 h 53"/>
              <a:gd name="T12" fmla="*/ 402 w 532"/>
              <a:gd name="T13" fmla="*/ 45 h 53"/>
              <a:gd name="T14" fmla="*/ 402 w 532"/>
              <a:gd name="T15" fmla="*/ 37 h 53"/>
              <a:gd name="T16" fmla="*/ 434 w 532"/>
              <a:gd name="T17" fmla="*/ 37 h 53"/>
              <a:gd name="T18" fmla="*/ 434 w 532"/>
              <a:gd name="T19" fmla="*/ 45 h 53"/>
              <a:gd name="T20" fmla="*/ 477 w 532"/>
              <a:gd name="T21" fmla="*/ 45 h 53"/>
              <a:gd name="T22" fmla="*/ 449 w 532"/>
              <a:gd name="T23" fmla="*/ 45 h 53"/>
              <a:gd name="T24" fmla="*/ 449 w 532"/>
              <a:gd name="T25" fmla="*/ 16 h 53"/>
              <a:gd name="T26" fmla="*/ 477 w 532"/>
              <a:gd name="T27" fmla="*/ 16 h 53"/>
              <a:gd name="T28" fmla="*/ 477 w 532"/>
              <a:gd name="T29" fmla="*/ 45 h 53"/>
              <a:gd name="T30" fmla="*/ 521 w 532"/>
              <a:gd name="T31" fmla="*/ 39 h 53"/>
              <a:gd name="T32" fmla="*/ 515 w 532"/>
              <a:gd name="T33" fmla="*/ 45 h 53"/>
              <a:gd name="T34" fmla="*/ 507 w 532"/>
              <a:gd name="T35" fmla="*/ 38 h 53"/>
              <a:gd name="T36" fmla="*/ 498 w 532"/>
              <a:gd name="T37" fmla="*/ 45 h 53"/>
              <a:gd name="T38" fmla="*/ 493 w 532"/>
              <a:gd name="T39" fmla="*/ 39 h 53"/>
              <a:gd name="T40" fmla="*/ 500 w 532"/>
              <a:gd name="T41" fmla="*/ 31 h 53"/>
              <a:gd name="T42" fmla="*/ 493 w 532"/>
              <a:gd name="T43" fmla="*/ 23 h 53"/>
              <a:gd name="T44" fmla="*/ 498 w 532"/>
              <a:gd name="T45" fmla="*/ 16 h 53"/>
              <a:gd name="T46" fmla="*/ 507 w 532"/>
              <a:gd name="T47" fmla="*/ 24 h 53"/>
              <a:gd name="T48" fmla="*/ 515 w 532"/>
              <a:gd name="T49" fmla="*/ 16 h 53"/>
              <a:gd name="T50" fmla="*/ 521 w 532"/>
              <a:gd name="T51" fmla="*/ 23 h 53"/>
              <a:gd name="T52" fmla="*/ 512 w 532"/>
              <a:gd name="T53" fmla="*/ 31 h 53"/>
              <a:gd name="T54" fmla="*/ 521 w 532"/>
              <a:gd name="T55" fmla="*/ 39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532" h="53">
                <a:moveTo>
                  <a:pt x="0" y="0"/>
                </a:moveTo>
                <a:lnTo>
                  <a:pt x="0" y="53"/>
                </a:lnTo>
                <a:lnTo>
                  <a:pt x="532" y="53"/>
                </a:lnTo>
                <a:lnTo>
                  <a:pt x="532" y="0"/>
                </a:lnTo>
                <a:lnTo>
                  <a:pt x="0" y="0"/>
                </a:lnTo>
                <a:close/>
                <a:moveTo>
                  <a:pt x="434" y="45"/>
                </a:moveTo>
                <a:lnTo>
                  <a:pt x="402" y="45"/>
                </a:lnTo>
                <a:lnTo>
                  <a:pt x="402" y="37"/>
                </a:lnTo>
                <a:lnTo>
                  <a:pt x="434" y="37"/>
                </a:lnTo>
                <a:lnTo>
                  <a:pt x="434" y="45"/>
                </a:lnTo>
                <a:close/>
                <a:moveTo>
                  <a:pt x="477" y="45"/>
                </a:moveTo>
                <a:lnTo>
                  <a:pt x="449" y="45"/>
                </a:lnTo>
                <a:lnTo>
                  <a:pt x="449" y="16"/>
                </a:lnTo>
                <a:lnTo>
                  <a:pt x="477" y="16"/>
                </a:lnTo>
                <a:lnTo>
                  <a:pt x="477" y="45"/>
                </a:lnTo>
                <a:close/>
                <a:moveTo>
                  <a:pt x="521" y="39"/>
                </a:moveTo>
                <a:lnTo>
                  <a:pt x="515" y="45"/>
                </a:lnTo>
                <a:lnTo>
                  <a:pt x="507" y="38"/>
                </a:lnTo>
                <a:lnTo>
                  <a:pt x="498" y="45"/>
                </a:lnTo>
                <a:lnTo>
                  <a:pt x="493" y="39"/>
                </a:lnTo>
                <a:lnTo>
                  <a:pt x="500" y="31"/>
                </a:lnTo>
                <a:lnTo>
                  <a:pt x="493" y="23"/>
                </a:lnTo>
                <a:lnTo>
                  <a:pt x="498" y="16"/>
                </a:lnTo>
                <a:lnTo>
                  <a:pt x="507" y="24"/>
                </a:lnTo>
                <a:lnTo>
                  <a:pt x="515" y="16"/>
                </a:lnTo>
                <a:lnTo>
                  <a:pt x="521" y="23"/>
                </a:lnTo>
                <a:lnTo>
                  <a:pt x="512" y="31"/>
                </a:lnTo>
                <a:lnTo>
                  <a:pt x="521" y="39"/>
                </a:lnTo>
                <a:close/>
              </a:path>
            </a:pathLst>
          </a:custGeom>
          <a:solidFill>
            <a:srgbClr val="00827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6" name="Freeform 25"/>
          <p:cNvSpPr>
            <a:spLocks noEditPoints="1"/>
          </p:cNvSpPr>
          <p:nvPr/>
        </p:nvSpPr>
        <p:spPr bwMode="auto">
          <a:xfrm>
            <a:off x="9532936" y="5068888"/>
            <a:ext cx="842962" cy="536575"/>
          </a:xfrm>
          <a:custGeom>
            <a:avLst/>
            <a:gdLst>
              <a:gd name="T0" fmla="*/ 0 w 531"/>
              <a:gd name="T1" fmla="*/ 0 h 338"/>
              <a:gd name="T2" fmla="*/ 0 w 531"/>
              <a:gd name="T3" fmla="*/ 338 h 338"/>
              <a:gd name="T4" fmla="*/ 531 w 531"/>
              <a:gd name="T5" fmla="*/ 338 h 338"/>
              <a:gd name="T6" fmla="*/ 531 w 531"/>
              <a:gd name="T7" fmla="*/ 0 h 338"/>
              <a:gd name="T8" fmla="*/ 0 w 531"/>
              <a:gd name="T9" fmla="*/ 0 h 338"/>
              <a:gd name="T10" fmla="*/ 506 w 531"/>
              <a:gd name="T11" fmla="*/ 313 h 338"/>
              <a:gd name="T12" fmla="*/ 27 w 531"/>
              <a:gd name="T13" fmla="*/ 313 h 338"/>
              <a:gd name="T14" fmla="*/ 27 w 531"/>
              <a:gd name="T15" fmla="*/ 26 h 338"/>
              <a:gd name="T16" fmla="*/ 506 w 531"/>
              <a:gd name="T17" fmla="*/ 26 h 338"/>
              <a:gd name="T18" fmla="*/ 506 w 531"/>
              <a:gd name="T19" fmla="*/ 313 h 3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31" h="338">
                <a:moveTo>
                  <a:pt x="0" y="0"/>
                </a:moveTo>
                <a:lnTo>
                  <a:pt x="0" y="338"/>
                </a:lnTo>
                <a:lnTo>
                  <a:pt x="531" y="338"/>
                </a:lnTo>
                <a:lnTo>
                  <a:pt x="531" y="0"/>
                </a:lnTo>
                <a:lnTo>
                  <a:pt x="0" y="0"/>
                </a:lnTo>
                <a:close/>
                <a:moveTo>
                  <a:pt x="506" y="313"/>
                </a:moveTo>
                <a:lnTo>
                  <a:pt x="27" y="313"/>
                </a:lnTo>
                <a:lnTo>
                  <a:pt x="27" y="26"/>
                </a:lnTo>
                <a:lnTo>
                  <a:pt x="506" y="26"/>
                </a:lnTo>
                <a:lnTo>
                  <a:pt x="506" y="313"/>
                </a:lnTo>
                <a:close/>
              </a:path>
            </a:pathLst>
          </a:custGeom>
          <a:solidFill>
            <a:srgbClr val="00827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7" name="Rectangle 26"/>
          <p:cNvSpPr>
            <a:spLocks noChangeArrowheads="1"/>
          </p:cNvSpPr>
          <p:nvPr/>
        </p:nvSpPr>
        <p:spPr bwMode="auto">
          <a:xfrm>
            <a:off x="9769474" y="4092576"/>
            <a:ext cx="79375" cy="776288"/>
          </a:xfrm>
          <a:prstGeom prst="rect">
            <a:avLst/>
          </a:prstGeom>
          <a:solidFill>
            <a:srgbClr val="34103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8" name="Rectangle 27"/>
          <p:cNvSpPr>
            <a:spLocks noChangeArrowheads="1"/>
          </p:cNvSpPr>
          <p:nvPr/>
        </p:nvSpPr>
        <p:spPr bwMode="auto">
          <a:xfrm>
            <a:off x="9769474" y="4092576"/>
            <a:ext cx="79375" cy="776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9" name="Rectangle 28"/>
          <p:cNvSpPr>
            <a:spLocks noChangeArrowheads="1"/>
          </p:cNvSpPr>
          <p:nvPr/>
        </p:nvSpPr>
        <p:spPr bwMode="auto">
          <a:xfrm>
            <a:off x="9655174" y="4670426"/>
            <a:ext cx="80962" cy="198438"/>
          </a:xfrm>
          <a:prstGeom prst="rect">
            <a:avLst/>
          </a:prstGeom>
          <a:solidFill>
            <a:srgbClr val="4E1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0" name="Rectangle 29"/>
          <p:cNvSpPr>
            <a:spLocks noChangeArrowheads="1"/>
          </p:cNvSpPr>
          <p:nvPr/>
        </p:nvSpPr>
        <p:spPr bwMode="auto">
          <a:xfrm>
            <a:off x="9655174" y="4670426"/>
            <a:ext cx="80962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1" name="Rectangle 30"/>
          <p:cNvSpPr>
            <a:spLocks noChangeArrowheads="1"/>
          </p:cNvSpPr>
          <p:nvPr/>
        </p:nvSpPr>
        <p:spPr bwMode="auto">
          <a:xfrm>
            <a:off x="9539286" y="4332288"/>
            <a:ext cx="80962" cy="536575"/>
          </a:xfrm>
          <a:prstGeom prst="rect">
            <a:avLst/>
          </a:prstGeom>
          <a:solidFill>
            <a:srgbClr val="B957D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2" name="Rectangle 31"/>
          <p:cNvSpPr>
            <a:spLocks noChangeArrowheads="1"/>
          </p:cNvSpPr>
          <p:nvPr/>
        </p:nvSpPr>
        <p:spPr bwMode="auto">
          <a:xfrm>
            <a:off x="9539286" y="4332288"/>
            <a:ext cx="80962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3" name="Rectangle 32"/>
          <p:cNvSpPr>
            <a:spLocks noChangeArrowheads="1"/>
          </p:cNvSpPr>
          <p:nvPr/>
        </p:nvSpPr>
        <p:spPr bwMode="auto">
          <a:xfrm>
            <a:off x="9421811" y="4192588"/>
            <a:ext cx="82550" cy="676275"/>
          </a:xfrm>
          <a:prstGeom prst="rect">
            <a:avLst/>
          </a:prstGeom>
          <a:solidFill>
            <a:srgbClr val="68217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4" name="Rectangle 33"/>
          <p:cNvSpPr>
            <a:spLocks noChangeArrowheads="1"/>
          </p:cNvSpPr>
          <p:nvPr/>
        </p:nvSpPr>
        <p:spPr bwMode="auto">
          <a:xfrm>
            <a:off x="9421811" y="4192588"/>
            <a:ext cx="82550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5" name="Rectangle 34"/>
          <p:cNvSpPr>
            <a:spLocks noChangeArrowheads="1"/>
          </p:cNvSpPr>
          <p:nvPr/>
        </p:nvSpPr>
        <p:spPr bwMode="auto">
          <a:xfrm>
            <a:off x="9309099" y="4448176"/>
            <a:ext cx="79375" cy="420688"/>
          </a:xfrm>
          <a:prstGeom prst="rect">
            <a:avLst/>
          </a:prstGeom>
          <a:solidFill>
            <a:srgbClr val="D08FE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3" name="Freeform 62"/>
          <p:cNvSpPr>
            <a:spLocks/>
          </p:cNvSpPr>
          <p:nvPr/>
        </p:nvSpPr>
        <p:spPr bwMode="auto">
          <a:xfrm>
            <a:off x="9382124" y="4398963"/>
            <a:ext cx="38100" cy="36513"/>
          </a:xfrm>
          <a:custGeom>
            <a:avLst/>
            <a:gdLst>
              <a:gd name="T0" fmla="*/ 17 w 17"/>
              <a:gd name="T1" fmla="*/ 8 h 16"/>
              <a:gd name="T2" fmla="*/ 9 w 17"/>
              <a:gd name="T3" fmla="*/ 16 h 16"/>
              <a:gd name="T4" fmla="*/ 1 w 17"/>
              <a:gd name="T5" fmla="*/ 9 h 16"/>
              <a:gd name="T6" fmla="*/ 9 w 17"/>
              <a:gd name="T7" fmla="*/ 0 h 16"/>
              <a:gd name="T8" fmla="*/ 17 w 17"/>
              <a:gd name="T9" fmla="*/ 8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" h="16">
                <a:moveTo>
                  <a:pt x="17" y="8"/>
                </a:moveTo>
                <a:cubicBezTo>
                  <a:pt x="17" y="13"/>
                  <a:pt x="14" y="16"/>
                  <a:pt x="9" y="16"/>
                </a:cubicBezTo>
                <a:cubicBezTo>
                  <a:pt x="5" y="16"/>
                  <a:pt x="1" y="13"/>
                  <a:pt x="1" y="9"/>
                </a:cubicBezTo>
                <a:cubicBezTo>
                  <a:pt x="0" y="4"/>
                  <a:pt x="4" y="1"/>
                  <a:pt x="9" y="0"/>
                </a:cubicBezTo>
                <a:cubicBezTo>
                  <a:pt x="13" y="0"/>
                  <a:pt x="17" y="4"/>
                  <a:pt x="17" y="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5" name="Freeform 64"/>
          <p:cNvSpPr>
            <a:spLocks/>
          </p:cNvSpPr>
          <p:nvPr/>
        </p:nvSpPr>
        <p:spPr bwMode="auto">
          <a:xfrm>
            <a:off x="10120311" y="5192713"/>
            <a:ext cx="142875" cy="144463"/>
          </a:xfrm>
          <a:custGeom>
            <a:avLst/>
            <a:gdLst>
              <a:gd name="T0" fmla="*/ 0 w 90"/>
              <a:gd name="T1" fmla="*/ 0 h 91"/>
              <a:gd name="T2" fmla="*/ 0 w 90"/>
              <a:gd name="T3" fmla="*/ 91 h 91"/>
              <a:gd name="T4" fmla="*/ 90 w 90"/>
              <a:gd name="T5" fmla="*/ 91 h 91"/>
              <a:gd name="T6" fmla="*/ 90 w 90"/>
              <a:gd name="T7" fmla="*/ 90 h 91"/>
              <a:gd name="T8" fmla="*/ 88 w 90"/>
              <a:gd name="T9" fmla="*/ 80 h 91"/>
              <a:gd name="T10" fmla="*/ 87 w 90"/>
              <a:gd name="T11" fmla="*/ 71 h 91"/>
              <a:gd name="T12" fmla="*/ 85 w 90"/>
              <a:gd name="T13" fmla="*/ 63 h 91"/>
              <a:gd name="T14" fmla="*/ 83 w 90"/>
              <a:gd name="T15" fmla="*/ 55 h 91"/>
              <a:gd name="T16" fmla="*/ 78 w 90"/>
              <a:gd name="T17" fmla="*/ 46 h 91"/>
              <a:gd name="T18" fmla="*/ 74 w 90"/>
              <a:gd name="T19" fmla="*/ 39 h 91"/>
              <a:gd name="T20" fmla="*/ 70 w 90"/>
              <a:gd name="T21" fmla="*/ 32 h 91"/>
              <a:gd name="T22" fmla="*/ 63 w 90"/>
              <a:gd name="T23" fmla="*/ 25 h 91"/>
              <a:gd name="T24" fmla="*/ 57 w 90"/>
              <a:gd name="T25" fmla="*/ 21 h 91"/>
              <a:gd name="T26" fmla="*/ 50 w 90"/>
              <a:gd name="T27" fmla="*/ 15 h 91"/>
              <a:gd name="T28" fmla="*/ 43 w 90"/>
              <a:gd name="T29" fmla="*/ 10 h 91"/>
              <a:gd name="T30" fmla="*/ 35 w 90"/>
              <a:gd name="T31" fmla="*/ 7 h 91"/>
              <a:gd name="T32" fmla="*/ 27 w 90"/>
              <a:gd name="T33" fmla="*/ 4 h 91"/>
              <a:gd name="T34" fmla="*/ 18 w 90"/>
              <a:gd name="T35" fmla="*/ 1 h 91"/>
              <a:gd name="T36" fmla="*/ 10 w 90"/>
              <a:gd name="T37" fmla="*/ 0 h 91"/>
              <a:gd name="T38" fmla="*/ 0 w 90"/>
              <a:gd name="T39" fmla="*/ 0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90" h="91">
                <a:moveTo>
                  <a:pt x="0" y="0"/>
                </a:moveTo>
                <a:lnTo>
                  <a:pt x="0" y="91"/>
                </a:lnTo>
                <a:lnTo>
                  <a:pt x="90" y="91"/>
                </a:lnTo>
                <a:lnTo>
                  <a:pt x="90" y="90"/>
                </a:lnTo>
                <a:lnTo>
                  <a:pt x="88" y="80"/>
                </a:lnTo>
                <a:lnTo>
                  <a:pt x="87" y="71"/>
                </a:lnTo>
                <a:lnTo>
                  <a:pt x="85" y="63"/>
                </a:lnTo>
                <a:lnTo>
                  <a:pt x="83" y="55"/>
                </a:lnTo>
                <a:lnTo>
                  <a:pt x="78" y="46"/>
                </a:lnTo>
                <a:lnTo>
                  <a:pt x="74" y="39"/>
                </a:lnTo>
                <a:lnTo>
                  <a:pt x="70" y="32"/>
                </a:lnTo>
                <a:lnTo>
                  <a:pt x="63" y="25"/>
                </a:lnTo>
                <a:lnTo>
                  <a:pt x="57" y="21"/>
                </a:lnTo>
                <a:lnTo>
                  <a:pt x="50" y="15"/>
                </a:lnTo>
                <a:lnTo>
                  <a:pt x="43" y="10"/>
                </a:lnTo>
                <a:lnTo>
                  <a:pt x="35" y="7"/>
                </a:lnTo>
                <a:lnTo>
                  <a:pt x="27" y="4"/>
                </a:lnTo>
                <a:lnTo>
                  <a:pt x="18" y="1"/>
                </a:lnTo>
                <a:lnTo>
                  <a:pt x="1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8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6" name="Freeform 65"/>
          <p:cNvSpPr>
            <a:spLocks/>
          </p:cNvSpPr>
          <p:nvPr/>
        </p:nvSpPr>
        <p:spPr bwMode="auto">
          <a:xfrm>
            <a:off x="10120311" y="5192713"/>
            <a:ext cx="142875" cy="144463"/>
          </a:xfrm>
          <a:custGeom>
            <a:avLst/>
            <a:gdLst>
              <a:gd name="T0" fmla="*/ 0 w 90"/>
              <a:gd name="T1" fmla="*/ 0 h 91"/>
              <a:gd name="T2" fmla="*/ 0 w 90"/>
              <a:gd name="T3" fmla="*/ 91 h 91"/>
              <a:gd name="T4" fmla="*/ 90 w 90"/>
              <a:gd name="T5" fmla="*/ 91 h 91"/>
              <a:gd name="T6" fmla="*/ 90 w 90"/>
              <a:gd name="T7" fmla="*/ 90 h 91"/>
              <a:gd name="T8" fmla="*/ 88 w 90"/>
              <a:gd name="T9" fmla="*/ 80 h 91"/>
              <a:gd name="T10" fmla="*/ 87 w 90"/>
              <a:gd name="T11" fmla="*/ 71 h 91"/>
              <a:gd name="T12" fmla="*/ 85 w 90"/>
              <a:gd name="T13" fmla="*/ 63 h 91"/>
              <a:gd name="T14" fmla="*/ 83 w 90"/>
              <a:gd name="T15" fmla="*/ 55 h 91"/>
              <a:gd name="T16" fmla="*/ 78 w 90"/>
              <a:gd name="T17" fmla="*/ 46 h 91"/>
              <a:gd name="T18" fmla="*/ 74 w 90"/>
              <a:gd name="T19" fmla="*/ 39 h 91"/>
              <a:gd name="T20" fmla="*/ 70 w 90"/>
              <a:gd name="T21" fmla="*/ 32 h 91"/>
              <a:gd name="T22" fmla="*/ 63 w 90"/>
              <a:gd name="T23" fmla="*/ 25 h 91"/>
              <a:gd name="T24" fmla="*/ 57 w 90"/>
              <a:gd name="T25" fmla="*/ 21 h 91"/>
              <a:gd name="T26" fmla="*/ 50 w 90"/>
              <a:gd name="T27" fmla="*/ 15 h 91"/>
              <a:gd name="T28" fmla="*/ 43 w 90"/>
              <a:gd name="T29" fmla="*/ 10 h 91"/>
              <a:gd name="T30" fmla="*/ 35 w 90"/>
              <a:gd name="T31" fmla="*/ 7 h 91"/>
              <a:gd name="T32" fmla="*/ 27 w 90"/>
              <a:gd name="T33" fmla="*/ 4 h 91"/>
              <a:gd name="T34" fmla="*/ 18 w 90"/>
              <a:gd name="T35" fmla="*/ 1 h 91"/>
              <a:gd name="T36" fmla="*/ 10 w 90"/>
              <a:gd name="T37" fmla="*/ 0 h 91"/>
              <a:gd name="T38" fmla="*/ 0 w 90"/>
              <a:gd name="T39" fmla="*/ 0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90" h="91">
                <a:moveTo>
                  <a:pt x="0" y="0"/>
                </a:moveTo>
                <a:lnTo>
                  <a:pt x="0" y="91"/>
                </a:lnTo>
                <a:lnTo>
                  <a:pt x="90" y="91"/>
                </a:lnTo>
                <a:lnTo>
                  <a:pt x="90" y="90"/>
                </a:lnTo>
                <a:lnTo>
                  <a:pt x="88" y="80"/>
                </a:lnTo>
                <a:lnTo>
                  <a:pt x="87" y="71"/>
                </a:lnTo>
                <a:lnTo>
                  <a:pt x="85" y="63"/>
                </a:lnTo>
                <a:lnTo>
                  <a:pt x="83" y="55"/>
                </a:lnTo>
                <a:lnTo>
                  <a:pt x="78" y="46"/>
                </a:lnTo>
                <a:lnTo>
                  <a:pt x="74" y="39"/>
                </a:lnTo>
                <a:lnTo>
                  <a:pt x="70" y="32"/>
                </a:lnTo>
                <a:lnTo>
                  <a:pt x="63" y="25"/>
                </a:lnTo>
                <a:lnTo>
                  <a:pt x="57" y="21"/>
                </a:lnTo>
                <a:lnTo>
                  <a:pt x="50" y="15"/>
                </a:lnTo>
                <a:lnTo>
                  <a:pt x="43" y="10"/>
                </a:lnTo>
                <a:lnTo>
                  <a:pt x="35" y="7"/>
                </a:lnTo>
                <a:lnTo>
                  <a:pt x="27" y="4"/>
                </a:lnTo>
                <a:lnTo>
                  <a:pt x="18" y="1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1" name="Rectangle 130"/>
          <p:cNvSpPr>
            <a:spLocks noChangeArrowheads="1"/>
          </p:cNvSpPr>
          <p:nvPr/>
        </p:nvSpPr>
        <p:spPr bwMode="auto">
          <a:xfrm>
            <a:off x="9739316" y="3687763"/>
            <a:ext cx="1828800" cy="236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388" name="Group 387"/>
          <p:cNvGrpSpPr/>
          <p:nvPr/>
        </p:nvGrpSpPr>
        <p:grpSpPr>
          <a:xfrm>
            <a:off x="7883526" y="2777173"/>
            <a:ext cx="1563688" cy="765175"/>
            <a:chOff x="5074591" y="3997326"/>
            <a:chExt cx="1563688" cy="765175"/>
          </a:xfrm>
        </p:grpSpPr>
        <p:sp>
          <p:nvSpPr>
            <p:cNvPr id="344" name="Freeform 133"/>
            <p:cNvSpPr>
              <a:spLocks/>
            </p:cNvSpPr>
            <p:nvPr/>
          </p:nvSpPr>
          <p:spPr bwMode="auto">
            <a:xfrm>
              <a:off x="5817541" y="4365626"/>
              <a:ext cx="138113" cy="131763"/>
            </a:xfrm>
            <a:custGeom>
              <a:avLst/>
              <a:gdLst>
                <a:gd name="T0" fmla="*/ 64 w 87"/>
                <a:gd name="T1" fmla="*/ 83 h 83"/>
                <a:gd name="T2" fmla="*/ 0 w 87"/>
                <a:gd name="T3" fmla="*/ 25 h 83"/>
                <a:gd name="T4" fmla="*/ 23 w 87"/>
                <a:gd name="T5" fmla="*/ 0 h 83"/>
                <a:gd name="T6" fmla="*/ 87 w 87"/>
                <a:gd name="T7" fmla="*/ 58 h 83"/>
                <a:gd name="T8" fmla="*/ 64 w 87"/>
                <a:gd name="T9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83">
                  <a:moveTo>
                    <a:pt x="64" y="83"/>
                  </a:moveTo>
                  <a:lnTo>
                    <a:pt x="0" y="25"/>
                  </a:lnTo>
                  <a:lnTo>
                    <a:pt x="23" y="0"/>
                  </a:lnTo>
                  <a:lnTo>
                    <a:pt x="87" y="58"/>
                  </a:lnTo>
                  <a:lnTo>
                    <a:pt x="64" y="83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5" name="Freeform 134"/>
            <p:cNvSpPr>
              <a:spLocks/>
            </p:cNvSpPr>
            <p:nvPr/>
          </p:nvSpPr>
          <p:spPr bwMode="auto">
            <a:xfrm>
              <a:off x="5919141" y="4456113"/>
              <a:ext cx="69850" cy="69850"/>
            </a:xfrm>
            <a:custGeom>
              <a:avLst/>
              <a:gdLst>
                <a:gd name="T0" fmla="*/ 28 w 94"/>
                <a:gd name="T1" fmla="*/ 79 h 93"/>
                <a:gd name="T2" fmla="*/ 29 w 94"/>
                <a:gd name="T3" fmla="*/ 80 h 93"/>
                <a:gd name="T4" fmla="*/ 80 w 94"/>
                <a:gd name="T5" fmla="*/ 78 h 93"/>
                <a:gd name="T6" fmla="*/ 78 w 94"/>
                <a:gd name="T7" fmla="*/ 27 h 93"/>
                <a:gd name="T8" fmla="*/ 77 w 94"/>
                <a:gd name="T9" fmla="*/ 26 h 93"/>
                <a:gd name="T10" fmla="*/ 77 w 94"/>
                <a:gd name="T11" fmla="*/ 26 h 93"/>
                <a:gd name="T12" fmla="*/ 49 w 94"/>
                <a:gd name="T13" fmla="*/ 0 h 93"/>
                <a:gd name="T14" fmla="*/ 0 w 94"/>
                <a:gd name="T15" fmla="*/ 54 h 93"/>
                <a:gd name="T16" fmla="*/ 28 w 94"/>
                <a:gd name="T17" fmla="*/ 7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4" h="93">
                  <a:moveTo>
                    <a:pt x="28" y="79"/>
                  </a:moveTo>
                  <a:cubicBezTo>
                    <a:pt x="29" y="79"/>
                    <a:pt x="29" y="80"/>
                    <a:pt x="29" y="80"/>
                  </a:cubicBezTo>
                  <a:cubicBezTo>
                    <a:pt x="44" y="93"/>
                    <a:pt x="67" y="92"/>
                    <a:pt x="80" y="78"/>
                  </a:cubicBezTo>
                  <a:cubicBezTo>
                    <a:pt x="94" y="63"/>
                    <a:pt x="93" y="40"/>
                    <a:pt x="78" y="27"/>
                  </a:cubicBezTo>
                  <a:cubicBezTo>
                    <a:pt x="77" y="26"/>
                    <a:pt x="77" y="26"/>
                    <a:pt x="77" y="26"/>
                  </a:cubicBezTo>
                  <a:cubicBezTo>
                    <a:pt x="77" y="26"/>
                    <a:pt x="77" y="26"/>
                    <a:pt x="77" y="26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8" y="79"/>
                    <a:pt x="28" y="79"/>
                    <a:pt x="28" y="79"/>
                  </a:cubicBezTo>
                  <a:close/>
                </a:path>
              </a:pathLst>
            </a:custGeom>
            <a:solidFill>
              <a:srgbClr val="6DC2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6" name="Freeform 135"/>
            <p:cNvSpPr>
              <a:spLocks/>
            </p:cNvSpPr>
            <p:nvPr/>
          </p:nvSpPr>
          <p:spPr bwMode="auto">
            <a:xfrm>
              <a:off x="5969941" y="4365626"/>
              <a:ext cx="138113" cy="131763"/>
            </a:xfrm>
            <a:custGeom>
              <a:avLst/>
              <a:gdLst>
                <a:gd name="T0" fmla="*/ 23 w 87"/>
                <a:gd name="T1" fmla="*/ 83 h 83"/>
                <a:gd name="T2" fmla="*/ 87 w 87"/>
                <a:gd name="T3" fmla="*/ 25 h 83"/>
                <a:gd name="T4" fmla="*/ 64 w 87"/>
                <a:gd name="T5" fmla="*/ 0 h 83"/>
                <a:gd name="T6" fmla="*/ 0 w 87"/>
                <a:gd name="T7" fmla="*/ 58 h 83"/>
                <a:gd name="T8" fmla="*/ 23 w 87"/>
                <a:gd name="T9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83">
                  <a:moveTo>
                    <a:pt x="23" y="83"/>
                  </a:moveTo>
                  <a:lnTo>
                    <a:pt x="87" y="25"/>
                  </a:lnTo>
                  <a:lnTo>
                    <a:pt x="64" y="0"/>
                  </a:lnTo>
                  <a:lnTo>
                    <a:pt x="0" y="58"/>
                  </a:lnTo>
                  <a:lnTo>
                    <a:pt x="23" y="83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7" name="Freeform 136"/>
            <p:cNvSpPr>
              <a:spLocks/>
            </p:cNvSpPr>
            <p:nvPr/>
          </p:nvSpPr>
          <p:spPr bwMode="auto">
            <a:xfrm>
              <a:off x="5969941" y="4365626"/>
              <a:ext cx="138113" cy="131763"/>
            </a:xfrm>
            <a:custGeom>
              <a:avLst/>
              <a:gdLst>
                <a:gd name="T0" fmla="*/ 23 w 87"/>
                <a:gd name="T1" fmla="*/ 83 h 83"/>
                <a:gd name="T2" fmla="*/ 87 w 87"/>
                <a:gd name="T3" fmla="*/ 25 h 83"/>
                <a:gd name="T4" fmla="*/ 64 w 87"/>
                <a:gd name="T5" fmla="*/ 0 h 83"/>
                <a:gd name="T6" fmla="*/ 0 w 87"/>
                <a:gd name="T7" fmla="*/ 58 h 83"/>
                <a:gd name="T8" fmla="*/ 23 w 87"/>
                <a:gd name="T9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83">
                  <a:moveTo>
                    <a:pt x="23" y="83"/>
                  </a:moveTo>
                  <a:lnTo>
                    <a:pt x="87" y="25"/>
                  </a:lnTo>
                  <a:lnTo>
                    <a:pt x="64" y="0"/>
                  </a:lnTo>
                  <a:lnTo>
                    <a:pt x="0" y="58"/>
                  </a:lnTo>
                  <a:lnTo>
                    <a:pt x="23" y="8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8" name="Freeform 137"/>
            <p:cNvSpPr>
              <a:spLocks/>
            </p:cNvSpPr>
            <p:nvPr/>
          </p:nvSpPr>
          <p:spPr bwMode="auto">
            <a:xfrm>
              <a:off x="5936603" y="4456113"/>
              <a:ext cx="69850" cy="69850"/>
            </a:xfrm>
            <a:custGeom>
              <a:avLst/>
              <a:gdLst>
                <a:gd name="T0" fmla="*/ 65 w 93"/>
                <a:gd name="T1" fmla="*/ 79 h 93"/>
                <a:gd name="T2" fmla="*/ 64 w 93"/>
                <a:gd name="T3" fmla="*/ 80 h 93"/>
                <a:gd name="T4" fmla="*/ 13 w 93"/>
                <a:gd name="T5" fmla="*/ 78 h 93"/>
                <a:gd name="T6" fmla="*/ 16 w 93"/>
                <a:gd name="T7" fmla="*/ 27 h 93"/>
                <a:gd name="T8" fmla="*/ 17 w 93"/>
                <a:gd name="T9" fmla="*/ 26 h 93"/>
                <a:gd name="T10" fmla="*/ 17 w 93"/>
                <a:gd name="T11" fmla="*/ 26 h 93"/>
                <a:gd name="T12" fmla="*/ 45 w 93"/>
                <a:gd name="T13" fmla="*/ 0 h 93"/>
                <a:gd name="T14" fmla="*/ 93 w 93"/>
                <a:gd name="T15" fmla="*/ 54 h 93"/>
                <a:gd name="T16" fmla="*/ 65 w 93"/>
                <a:gd name="T17" fmla="*/ 7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" h="93">
                  <a:moveTo>
                    <a:pt x="65" y="79"/>
                  </a:moveTo>
                  <a:cubicBezTo>
                    <a:pt x="65" y="79"/>
                    <a:pt x="65" y="80"/>
                    <a:pt x="64" y="80"/>
                  </a:cubicBezTo>
                  <a:cubicBezTo>
                    <a:pt x="49" y="93"/>
                    <a:pt x="26" y="92"/>
                    <a:pt x="13" y="78"/>
                  </a:cubicBezTo>
                  <a:cubicBezTo>
                    <a:pt x="0" y="63"/>
                    <a:pt x="1" y="40"/>
                    <a:pt x="16" y="27"/>
                  </a:cubicBezTo>
                  <a:cubicBezTo>
                    <a:pt x="16" y="26"/>
                    <a:pt x="17" y="26"/>
                    <a:pt x="17" y="26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93" y="54"/>
                    <a:pt x="93" y="54"/>
                    <a:pt x="93" y="54"/>
                  </a:cubicBezTo>
                  <a:cubicBezTo>
                    <a:pt x="65" y="79"/>
                    <a:pt x="65" y="79"/>
                    <a:pt x="65" y="79"/>
                  </a:cubicBezTo>
                  <a:close/>
                </a:path>
              </a:pathLst>
            </a:custGeom>
            <a:solidFill>
              <a:srgbClr val="6DC2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9" name="Freeform 138"/>
            <p:cNvSpPr>
              <a:spLocks/>
            </p:cNvSpPr>
            <p:nvPr/>
          </p:nvSpPr>
          <p:spPr bwMode="auto">
            <a:xfrm>
              <a:off x="5546078" y="4700588"/>
              <a:ext cx="109538" cy="61913"/>
            </a:xfrm>
            <a:custGeom>
              <a:avLst/>
              <a:gdLst>
                <a:gd name="T0" fmla="*/ 69 w 69"/>
                <a:gd name="T1" fmla="*/ 29 h 39"/>
                <a:gd name="T2" fmla="*/ 39 w 69"/>
                <a:gd name="T3" fmla="*/ 0 h 39"/>
                <a:gd name="T4" fmla="*/ 0 w 69"/>
                <a:gd name="T5" fmla="*/ 0 h 39"/>
                <a:gd name="T6" fmla="*/ 0 w 69"/>
                <a:gd name="T7" fmla="*/ 39 h 39"/>
                <a:gd name="T8" fmla="*/ 69 w 69"/>
                <a:gd name="T9" fmla="*/ 39 h 39"/>
                <a:gd name="T10" fmla="*/ 69 w 69"/>
                <a:gd name="T11" fmla="*/ 2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" h="39">
                  <a:moveTo>
                    <a:pt x="69" y="29"/>
                  </a:moveTo>
                  <a:lnTo>
                    <a:pt x="39" y="0"/>
                  </a:lnTo>
                  <a:lnTo>
                    <a:pt x="0" y="0"/>
                  </a:lnTo>
                  <a:lnTo>
                    <a:pt x="0" y="39"/>
                  </a:lnTo>
                  <a:lnTo>
                    <a:pt x="69" y="39"/>
                  </a:lnTo>
                  <a:lnTo>
                    <a:pt x="69" y="29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0" name="Rectangle 139"/>
            <p:cNvSpPr>
              <a:spLocks noChangeArrowheads="1"/>
            </p:cNvSpPr>
            <p:nvPr/>
          </p:nvSpPr>
          <p:spPr bwMode="auto">
            <a:xfrm>
              <a:off x="5546078" y="4298951"/>
              <a:ext cx="61913" cy="40481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1" name="Rectangle 140"/>
            <p:cNvSpPr>
              <a:spLocks noChangeArrowheads="1"/>
            </p:cNvSpPr>
            <p:nvPr/>
          </p:nvSpPr>
          <p:spPr bwMode="auto">
            <a:xfrm>
              <a:off x="5546078" y="4298951"/>
              <a:ext cx="61913" cy="4048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2" name="Rectangle 141"/>
            <p:cNvSpPr>
              <a:spLocks noChangeArrowheads="1"/>
            </p:cNvSpPr>
            <p:nvPr/>
          </p:nvSpPr>
          <p:spPr bwMode="auto">
            <a:xfrm>
              <a:off x="5411141" y="4298951"/>
              <a:ext cx="63500" cy="40481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3" name="Rectangle 142"/>
            <p:cNvSpPr>
              <a:spLocks noChangeArrowheads="1"/>
            </p:cNvSpPr>
            <p:nvPr/>
          </p:nvSpPr>
          <p:spPr bwMode="auto">
            <a:xfrm>
              <a:off x="5411141" y="4298951"/>
              <a:ext cx="63500" cy="4048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4" name="Freeform 143"/>
            <p:cNvSpPr>
              <a:spLocks/>
            </p:cNvSpPr>
            <p:nvPr/>
          </p:nvSpPr>
          <p:spPr bwMode="auto">
            <a:xfrm>
              <a:off x="5411141" y="4700588"/>
              <a:ext cx="111125" cy="61913"/>
            </a:xfrm>
            <a:custGeom>
              <a:avLst/>
              <a:gdLst>
                <a:gd name="T0" fmla="*/ 70 w 70"/>
                <a:gd name="T1" fmla="*/ 29 h 39"/>
                <a:gd name="T2" fmla="*/ 40 w 70"/>
                <a:gd name="T3" fmla="*/ 0 h 39"/>
                <a:gd name="T4" fmla="*/ 0 w 70"/>
                <a:gd name="T5" fmla="*/ 0 h 39"/>
                <a:gd name="T6" fmla="*/ 0 w 70"/>
                <a:gd name="T7" fmla="*/ 39 h 39"/>
                <a:gd name="T8" fmla="*/ 70 w 70"/>
                <a:gd name="T9" fmla="*/ 39 h 39"/>
                <a:gd name="T10" fmla="*/ 70 w 70"/>
                <a:gd name="T11" fmla="*/ 2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39">
                  <a:moveTo>
                    <a:pt x="70" y="29"/>
                  </a:moveTo>
                  <a:lnTo>
                    <a:pt x="40" y="0"/>
                  </a:lnTo>
                  <a:lnTo>
                    <a:pt x="0" y="0"/>
                  </a:lnTo>
                  <a:lnTo>
                    <a:pt x="0" y="39"/>
                  </a:lnTo>
                  <a:lnTo>
                    <a:pt x="70" y="39"/>
                  </a:lnTo>
                  <a:lnTo>
                    <a:pt x="70" y="29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5" name="Freeform 144"/>
            <p:cNvSpPr>
              <a:spLocks/>
            </p:cNvSpPr>
            <p:nvPr/>
          </p:nvSpPr>
          <p:spPr bwMode="auto">
            <a:xfrm>
              <a:off x="6201716" y="4700588"/>
              <a:ext cx="111125" cy="61913"/>
            </a:xfrm>
            <a:custGeom>
              <a:avLst/>
              <a:gdLst>
                <a:gd name="T0" fmla="*/ 0 w 70"/>
                <a:gd name="T1" fmla="*/ 29 h 39"/>
                <a:gd name="T2" fmla="*/ 30 w 70"/>
                <a:gd name="T3" fmla="*/ 0 h 39"/>
                <a:gd name="T4" fmla="*/ 70 w 70"/>
                <a:gd name="T5" fmla="*/ 0 h 39"/>
                <a:gd name="T6" fmla="*/ 70 w 70"/>
                <a:gd name="T7" fmla="*/ 39 h 39"/>
                <a:gd name="T8" fmla="*/ 0 w 70"/>
                <a:gd name="T9" fmla="*/ 39 h 39"/>
                <a:gd name="T10" fmla="*/ 0 w 70"/>
                <a:gd name="T11" fmla="*/ 2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39">
                  <a:moveTo>
                    <a:pt x="0" y="29"/>
                  </a:moveTo>
                  <a:lnTo>
                    <a:pt x="30" y="0"/>
                  </a:lnTo>
                  <a:lnTo>
                    <a:pt x="70" y="0"/>
                  </a:lnTo>
                  <a:lnTo>
                    <a:pt x="70" y="39"/>
                  </a:lnTo>
                  <a:lnTo>
                    <a:pt x="0" y="39"/>
                  </a:lnTo>
                  <a:lnTo>
                    <a:pt x="0" y="29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6" name="Rectangle 145"/>
            <p:cNvSpPr>
              <a:spLocks noChangeArrowheads="1"/>
            </p:cNvSpPr>
            <p:nvPr/>
          </p:nvSpPr>
          <p:spPr bwMode="auto">
            <a:xfrm>
              <a:off x="6249341" y="4298951"/>
              <a:ext cx="63500" cy="40481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7" name="Rectangle 146"/>
            <p:cNvSpPr>
              <a:spLocks noChangeArrowheads="1"/>
            </p:cNvSpPr>
            <p:nvPr/>
          </p:nvSpPr>
          <p:spPr bwMode="auto">
            <a:xfrm>
              <a:off x="6249341" y="4298951"/>
              <a:ext cx="63500" cy="4048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" name="Rectangle 147"/>
            <p:cNvSpPr>
              <a:spLocks noChangeArrowheads="1"/>
            </p:cNvSpPr>
            <p:nvPr/>
          </p:nvSpPr>
          <p:spPr bwMode="auto">
            <a:xfrm>
              <a:off x="6384278" y="4298951"/>
              <a:ext cx="61913" cy="40481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" name="Rectangle 148"/>
            <p:cNvSpPr>
              <a:spLocks noChangeArrowheads="1"/>
            </p:cNvSpPr>
            <p:nvPr/>
          </p:nvSpPr>
          <p:spPr bwMode="auto">
            <a:xfrm>
              <a:off x="6384278" y="4298951"/>
              <a:ext cx="61913" cy="4048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0" name="Freeform 149"/>
            <p:cNvSpPr>
              <a:spLocks/>
            </p:cNvSpPr>
            <p:nvPr/>
          </p:nvSpPr>
          <p:spPr bwMode="auto">
            <a:xfrm>
              <a:off x="6336653" y="4700588"/>
              <a:ext cx="109538" cy="61913"/>
            </a:xfrm>
            <a:custGeom>
              <a:avLst/>
              <a:gdLst>
                <a:gd name="T0" fmla="*/ 0 w 69"/>
                <a:gd name="T1" fmla="*/ 29 h 39"/>
                <a:gd name="T2" fmla="*/ 30 w 69"/>
                <a:gd name="T3" fmla="*/ 0 h 39"/>
                <a:gd name="T4" fmla="*/ 69 w 69"/>
                <a:gd name="T5" fmla="*/ 0 h 39"/>
                <a:gd name="T6" fmla="*/ 69 w 69"/>
                <a:gd name="T7" fmla="*/ 39 h 39"/>
                <a:gd name="T8" fmla="*/ 0 w 69"/>
                <a:gd name="T9" fmla="*/ 39 h 39"/>
                <a:gd name="T10" fmla="*/ 0 w 69"/>
                <a:gd name="T11" fmla="*/ 2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" h="39">
                  <a:moveTo>
                    <a:pt x="0" y="29"/>
                  </a:moveTo>
                  <a:lnTo>
                    <a:pt x="30" y="0"/>
                  </a:lnTo>
                  <a:lnTo>
                    <a:pt x="69" y="0"/>
                  </a:lnTo>
                  <a:lnTo>
                    <a:pt x="69" y="39"/>
                  </a:lnTo>
                  <a:lnTo>
                    <a:pt x="0" y="39"/>
                  </a:lnTo>
                  <a:lnTo>
                    <a:pt x="0" y="29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1" name="Freeform 150"/>
            <p:cNvSpPr>
              <a:spLocks/>
            </p:cNvSpPr>
            <p:nvPr/>
          </p:nvSpPr>
          <p:spPr bwMode="auto">
            <a:xfrm>
              <a:off x="6109641" y="4057651"/>
              <a:ext cx="528638" cy="430213"/>
            </a:xfrm>
            <a:custGeom>
              <a:avLst/>
              <a:gdLst>
                <a:gd name="T0" fmla="*/ 0 w 707"/>
                <a:gd name="T1" fmla="*/ 36 h 576"/>
                <a:gd name="T2" fmla="*/ 0 w 707"/>
                <a:gd name="T3" fmla="*/ 540 h 576"/>
                <a:gd name="T4" fmla="*/ 36 w 707"/>
                <a:gd name="T5" fmla="*/ 576 h 576"/>
                <a:gd name="T6" fmla="*/ 671 w 707"/>
                <a:gd name="T7" fmla="*/ 576 h 576"/>
                <a:gd name="T8" fmla="*/ 707 w 707"/>
                <a:gd name="T9" fmla="*/ 540 h 576"/>
                <a:gd name="T10" fmla="*/ 707 w 707"/>
                <a:gd name="T11" fmla="*/ 36 h 576"/>
                <a:gd name="T12" fmla="*/ 671 w 707"/>
                <a:gd name="T13" fmla="*/ 0 h 576"/>
                <a:gd name="T14" fmla="*/ 36 w 707"/>
                <a:gd name="T15" fmla="*/ 0 h 576"/>
                <a:gd name="T16" fmla="*/ 0 w 707"/>
                <a:gd name="T17" fmla="*/ 3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7" h="576">
                  <a:moveTo>
                    <a:pt x="0" y="36"/>
                  </a:moveTo>
                  <a:cubicBezTo>
                    <a:pt x="0" y="540"/>
                    <a:pt x="0" y="540"/>
                    <a:pt x="0" y="540"/>
                  </a:cubicBezTo>
                  <a:cubicBezTo>
                    <a:pt x="0" y="540"/>
                    <a:pt x="0" y="576"/>
                    <a:pt x="36" y="576"/>
                  </a:cubicBezTo>
                  <a:cubicBezTo>
                    <a:pt x="671" y="576"/>
                    <a:pt x="671" y="576"/>
                    <a:pt x="671" y="576"/>
                  </a:cubicBezTo>
                  <a:cubicBezTo>
                    <a:pt x="671" y="576"/>
                    <a:pt x="707" y="576"/>
                    <a:pt x="707" y="540"/>
                  </a:cubicBezTo>
                  <a:cubicBezTo>
                    <a:pt x="707" y="36"/>
                    <a:pt x="707" y="36"/>
                    <a:pt x="707" y="36"/>
                  </a:cubicBezTo>
                  <a:cubicBezTo>
                    <a:pt x="707" y="36"/>
                    <a:pt x="707" y="0"/>
                    <a:pt x="67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6" y="0"/>
                    <a:pt x="0" y="0"/>
                    <a:pt x="0" y="36"/>
                  </a:cubicBezTo>
                </a:path>
              </a:pathLst>
            </a:custGeom>
            <a:solidFill>
              <a:srgbClr val="0072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2" name="Freeform 151"/>
            <p:cNvSpPr>
              <a:spLocks/>
            </p:cNvSpPr>
            <p:nvPr/>
          </p:nvSpPr>
          <p:spPr bwMode="auto">
            <a:xfrm>
              <a:off x="5074591" y="3997326"/>
              <a:ext cx="801688" cy="469900"/>
            </a:xfrm>
            <a:custGeom>
              <a:avLst/>
              <a:gdLst>
                <a:gd name="T0" fmla="*/ 941 w 1073"/>
                <a:gd name="T1" fmla="*/ 337 h 628"/>
                <a:gd name="T2" fmla="*/ 948 w 1073"/>
                <a:gd name="T3" fmla="*/ 292 h 628"/>
                <a:gd name="T4" fmla="*/ 802 w 1073"/>
                <a:gd name="T5" fmla="*/ 146 h 628"/>
                <a:gd name="T6" fmla="*/ 761 w 1073"/>
                <a:gd name="T7" fmla="*/ 152 h 628"/>
                <a:gd name="T8" fmla="*/ 545 w 1073"/>
                <a:gd name="T9" fmla="*/ 0 h 628"/>
                <a:gd name="T10" fmla="*/ 317 w 1073"/>
                <a:gd name="T11" fmla="*/ 200 h 628"/>
                <a:gd name="T12" fmla="*/ 256 w 1073"/>
                <a:gd name="T13" fmla="*/ 188 h 628"/>
                <a:gd name="T14" fmla="*/ 95 w 1073"/>
                <a:gd name="T15" fmla="*/ 349 h 628"/>
                <a:gd name="T16" fmla="*/ 102 w 1073"/>
                <a:gd name="T17" fmla="*/ 392 h 628"/>
                <a:gd name="T18" fmla="*/ 0 w 1073"/>
                <a:gd name="T19" fmla="*/ 509 h 628"/>
                <a:gd name="T20" fmla="*/ 112 w 1073"/>
                <a:gd name="T21" fmla="*/ 628 h 628"/>
                <a:gd name="T22" fmla="*/ 112 w 1073"/>
                <a:gd name="T23" fmla="*/ 628 h 628"/>
                <a:gd name="T24" fmla="*/ 926 w 1073"/>
                <a:gd name="T25" fmla="*/ 628 h 628"/>
                <a:gd name="T26" fmla="*/ 1073 w 1073"/>
                <a:gd name="T27" fmla="*/ 482 h 628"/>
                <a:gd name="T28" fmla="*/ 941 w 1073"/>
                <a:gd name="T29" fmla="*/ 337 h 6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73" h="628">
                  <a:moveTo>
                    <a:pt x="941" y="337"/>
                  </a:moveTo>
                  <a:cubicBezTo>
                    <a:pt x="945" y="322"/>
                    <a:pt x="948" y="308"/>
                    <a:pt x="948" y="292"/>
                  </a:cubicBezTo>
                  <a:cubicBezTo>
                    <a:pt x="948" y="211"/>
                    <a:pt x="883" y="146"/>
                    <a:pt x="802" y="146"/>
                  </a:cubicBezTo>
                  <a:cubicBezTo>
                    <a:pt x="788" y="146"/>
                    <a:pt x="774" y="148"/>
                    <a:pt x="761" y="152"/>
                  </a:cubicBezTo>
                  <a:cubicBezTo>
                    <a:pt x="729" y="63"/>
                    <a:pt x="645" y="0"/>
                    <a:pt x="545" y="0"/>
                  </a:cubicBezTo>
                  <a:cubicBezTo>
                    <a:pt x="428" y="0"/>
                    <a:pt x="332" y="87"/>
                    <a:pt x="317" y="200"/>
                  </a:cubicBezTo>
                  <a:cubicBezTo>
                    <a:pt x="298" y="193"/>
                    <a:pt x="278" y="188"/>
                    <a:pt x="256" y="188"/>
                  </a:cubicBezTo>
                  <a:cubicBezTo>
                    <a:pt x="167" y="188"/>
                    <a:pt x="95" y="260"/>
                    <a:pt x="95" y="349"/>
                  </a:cubicBezTo>
                  <a:cubicBezTo>
                    <a:pt x="95" y="364"/>
                    <a:pt x="98" y="378"/>
                    <a:pt x="102" y="392"/>
                  </a:cubicBezTo>
                  <a:cubicBezTo>
                    <a:pt x="44" y="400"/>
                    <a:pt x="0" y="449"/>
                    <a:pt x="0" y="509"/>
                  </a:cubicBezTo>
                  <a:cubicBezTo>
                    <a:pt x="0" y="573"/>
                    <a:pt x="49" y="624"/>
                    <a:pt x="112" y="628"/>
                  </a:cubicBezTo>
                  <a:cubicBezTo>
                    <a:pt x="112" y="628"/>
                    <a:pt x="112" y="628"/>
                    <a:pt x="112" y="628"/>
                  </a:cubicBezTo>
                  <a:cubicBezTo>
                    <a:pt x="926" y="628"/>
                    <a:pt x="926" y="628"/>
                    <a:pt x="926" y="628"/>
                  </a:cubicBezTo>
                  <a:cubicBezTo>
                    <a:pt x="1007" y="628"/>
                    <a:pt x="1073" y="563"/>
                    <a:pt x="1073" y="482"/>
                  </a:cubicBezTo>
                  <a:cubicBezTo>
                    <a:pt x="1073" y="406"/>
                    <a:pt x="1015" y="344"/>
                    <a:pt x="941" y="337"/>
                  </a:cubicBezTo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" name="Freeform 152"/>
            <p:cNvSpPr>
              <a:spLocks/>
            </p:cNvSpPr>
            <p:nvPr/>
          </p:nvSpPr>
          <p:spPr bwMode="auto">
            <a:xfrm>
              <a:off x="5074591" y="4138613"/>
              <a:ext cx="555625" cy="328613"/>
            </a:xfrm>
            <a:custGeom>
              <a:avLst/>
              <a:gdLst>
                <a:gd name="T0" fmla="*/ 256 w 743"/>
                <a:gd name="T1" fmla="*/ 0 h 440"/>
                <a:gd name="T2" fmla="*/ 95 w 743"/>
                <a:gd name="T3" fmla="*/ 161 h 440"/>
                <a:gd name="T4" fmla="*/ 102 w 743"/>
                <a:gd name="T5" fmla="*/ 204 h 440"/>
                <a:gd name="T6" fmla="*/ 102 w 743"/>
                <a:gd name="T7" fmla="*/ 204 h 440"/>
                <a:gd name="T8" fmla="*/ 102 w 743"/>
                <a:gd name="T9" fmla="*/ 204 h 440"/>
                <a:gd name="T10" fmla="*/ 0 w 743"/>
                <a:gd name="T11" fmla="*/ 321 h 440"/>
                <a:gd name="T12" fmla="*/ 112 w 743"/>
                <a:gd name="T13" fmla="*/ 440 h 440"/>
                <a:gd name="T14" fmla="*/ 112 w 743"/>
                <a:gd name="T15" fmla="*/ 440 h 440"/>
                <a:gd name="T16" fmla="*/ 743 w 743"/>
                <a:gd name="T17" fmla="*/ 440 h 440"/>
                <a:gd name="T18" fmla="*/ 314 w 743"/>
                <a:gd name="T19" fmla="*/ 12 h 440"/>
                <a:gd name="T20" fmla="*/ 256 w 743"/>
                <a:gd name="T21" fmla="*/ 0 h 440"/>
                <a:gd name="T22" fmla="*/ 256 w 743"/>
                <a:gd name="T23" fmla="*/ 0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3" h="440">
                  <a:moveTo>
                    <a:pt x="256" y="0"/>
                  </a:moveTo>
                  <a:cubicBezTo>
                    <a:pt x="167" y="0"/>
                    <a:pt x="95" y="72"/>
                    <a:pt x="95" y="161"/>
                  </a:cubicBezTo>
                  <a:cubicBezTo>
                    <a:pt x="95" y="176"/>
                    <a:pt x="98" y="190"/>
                    <a:pt x="102" y="204"/>
                  </a:cubicBezTo>
                  <a:cubicBezTo>
                    <a:pt x="102" y="204"/>
                    <a:pt x="102" y="204"/>
                    <a:pt x="102" y="204"/>
                  </a:cubicBezTo>
                  <a:cubicBezTo>
                    <a:pt x="102" y="204"/>
                    <a:pt x="102" y="204"/>
                    <a:pt x="102" y="204"/>
                  </a:cubicBezTo>
                  <a:cubicBezTo>
                    <a:pt x="44" y="212"/>
                    <a:pt x="0" y="261"/>
                    <a:pt x="0" y="321"/>
                  </a:cubicBezTo>
                  <a:cubicBezTo>
                    <a:pt x="0" y="385"/>
                    <a:pt x="49" y="436"/>
                    <a:pt x="112" y="440"/>
                  </a:cubicBezTo>
                  <a:cubicBezTo>
                    <a:pt x="112" y="440"/>
                    <a:pt x="112" y="440"/>
                    <a:pt x="112" y="440"/>
                  </a:cubicBezTo>
                  <a:cubicBezTo>
                    <a:pt x="743" y="440"/>
                    <a:pt x="743" y="440"/>
                    <a:pt x="743" y="440"/>
                  </a:cubicBezTo>
                  <a:cubicBezTo>
                    <a:pt x="314" y="12"/>
                    <a:pt x="314" y="12"/>
                    <a:pt x="314" y="12"/>
                  </a:cubicBezTo>
                  <a:cubicBezTo>
                    <a:pt x="296" y="5"/>
                    <a:pt x="277" y="0"/>
                    <a:pt x="256" y="0"/>
                  </a:cubicBezTo>
                  <a:cubicBezTo>
                    <a:pt x="256" y="0"/>
                    <a:pt x="256" y="0"/>
                    <a:pt x="256" y="0"/>
                  </a:cubicBezTo>
                </a:path>
              </a:pathLst>
            </a:cu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4" name="Freeform 153"/>
            <p:cNvSpPr>
              <a:spLocks/>
            </p:cNvSpPr>
            <p:nvPr/>
          </p:nvSpPr>
          <p:spPr bwMode="auto">
            <a:xfrm>
              <a:off x="6073128" y="4057651"/>
              <a:ext cx="538163" cy="430213"/>
            </a:xfrm>
            <a:custGeom>
              <a:avLst/>
              <a:gdLst>
                <a:gd name="T0" fmla="*/ 0 w 720"/>
                <a:gd name="T1" fmla="*/ 36 h 576"/>
                <a:gd name="T2" fmla="*/ 0 w 720"/>
                <a:gd name="T3" fmla="*/ 540 h 576"/>
                <a:gd name="T4" fmla="*/ 36 w 720"/>
                <a:gd name="T5" fmla="*/ 576 h 576"/>
                <a:gd name="T6" fmla="*/ 684 w 720"/>
                <a:gd name="T7" fmla="*/ 576 h 576"/>
                <a:gd name="T8" fmla="*/ 720 w 720"/>
                <a:gd name="T9" fmla="*/ 540 h 576"/>
                <a:gd name="T10" fmla="*/ 720 w 720"/>
                <a:gd name="T11" fmla="*/ 36 h 576"/>
                <a:gd name="T12" fmla="*/ 684 w 720"/>
                <a:gd name="T13" fmla="*/ 0 h 576"/>
                <a:gd name="T14" fmla="*/ 36 w 720"/>
                <a:gd name="T15" fmla="*/ 0 h 576"/>
                <a:gd name="T16" fmla="*/ 0 w 720"/>
                <a:gd name="T17" fmla="*/ 3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0" h="576">
                  <a:moveTo>
                    <a:pt x="0" y="36"/>
                  </a:moveTo>
                  <a:cubicBezTo>
                    <a:pt x="0" y="540"/>
                    <a:pt x="0" y="540"/>
                    <a:pt x="0" y="540"/>
                  </a:cubicBezTo>
                  <a:cubicBezTo>
                    <a:pt x="0" y="540"/>
                    <a:pt x="0" y="576"/>
                    <a:pt x="36" y="576"/>
                  </a:cubicBezTo>
                  <a:cubicBezTo>
                    <a:pt x="684" y="576"/>
                    <a:pt x="684" y="576"/>
                    <a:pt x="684" y="576"/>
                  </a:cubicBezTo>
                  <a:cubicBezTo>
                    <a:pt x="684" y="576"/>
                    <a:pt x="720" y="576"/>
                    <a:pt x="720" y="540"/>
                  </a:cubicBezTo>
                  <a:cubicBezTo>
                    <a:pt x="720" y="36"/>
                    <a:pt x="720" y="36"/>
                    <a:pt x="720" y="36"/>
                  </a:cubicBezTo>
                  <a:cubicBezTo>
                    <a:pt x="720" y="36"/>
                    <a:pt x="720" y="0"/>
                    <a:pt x="684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6" y="0"/>
                    <a:pt x="0" y="0"/>
                    <a:pt x="0" y="36"/>
                  </a:cubicBezTo>
                </a:path>
              </a:pathLst>
            </a:custGeom>
            <a:solidFill>
              <a:srgbClr val="6DC2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5" name="Rectangle 154"/>
            <p:cNvSpPr>
              <a:spLocks noChangeArrowheads="1"/>
            </p:cNvSpPr>
            <p:nvPr/>
          </p:nvSpPr>
          <p:spPr bwMode="auto">
            <a:xfrm>
              <a:off x="6100116" y="4084638"/>
              <a:ext cx="484188" cy="322263"/>
            </a:xfrm>
            <a:prstGeom prst="rect">
              <a:avLst/>
            </a:prstGeom>
            <a:solidFill>
              <a:srgbClr val="0072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6" name="Rectangle 155"/>
            <p:cNvSpPr>
              <a:spLocks noChangeArrowheads="1"/>
            </p:cNvSpPr>
            <p:nvPr/>
          </p:nvSpPr>
          <p:spPr bwMode="auto">
            <a:xfrm>
              <a:off x="6100116" y="4084638"/>
              <a:ext cx="484188" cy="322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7" name="Freeform 156"/>
            <p:cNvSpPr>
              <a:spLocks/>
            </p:cNvSpPr>
            <p:nvPr/>
          </p:nvSpPr>
          <p:spPr bwMode="auto">
            <a:xfrm>
              <a:off x="6584303" y="4433888"/>
              <a:ext cx="26988" cy="53975"/>
            </a:xfrm>
            <a:custGeom>
              <a:avLst/>
              <a:gdLst>
                <a:gd name="T0" fmla="*/ 36 w 36"/>
                <a:gd name="T1" fmla="*/ 0 h 72"/>
                <a:gd name="T2" fmla="*/ 36 w 36"/>
                <a:gd name="T3" fmla="*/ 36 h 72"/>
                <a:gd name="T4" fmla="*/ 0 w 36"/>
                <a:gd name="T5" fmla="*/ 72 h 72"/>
                <a:gd name="T6" fmla="*/ 0 w 36"/>
                <a:gd name="T7" fmla="*/ 72 h 72"/>
                <a:gd name="T8" fmla="*/ 36 w 36"/>
                <a:gd name="T9" fmla="*/ 36 h 72"/>
                <a:gd name="T10" fmla="*/ 36 w 36"/>
                <a:gd name="T11" fmla="*/ 0 h 72"/>
                <a:gd name="T12" fmla="*/ 36 w 36"/>
                <a:gd name="T13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72">
                  <a:moveTo>
                    <a:pt x="36" y="0"/>
                  </a:moveTo>
                  <a:cubicBezTo>
                    <a:pt x="36" y="36"/>
                    <a:pt x="36" y="36"/>
                    <a:pt x="36" y="36"/>
                  </a:cubicBezTo>
                  <a:cubicBezTo>
                    <a:pt x="36" y="72"/>
                    <a:pt x="0" y="72"/>
                    <a:pt x="0" y="72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72"/>
                    <a:pt x="36" y="72"/>
                    <a:pt x="36" y="36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6" y="0"/>
                    <a:pt x="36" y="0"/>
                    <a:pt x="36" y="0"/>
                  </a:cubicBezTo>
                </a:path>
              </a:pathLst>
            </a:custGeom>
            <a:solidFill>
              <a:srgbClr val="0061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8" name="Freeform 157"/>
            <p:cNvSpPr>
              <a:spLocks/>
            </p:cNvSpPr>
            <p:nvPr/>
          </p:nvSpPr>
          <p:spPr bwMode="auto">
            <a:xfrm>
              <a:off x="6073128" y="4111626"/>
              <a:ext cx="538163" cy="376238"/>
            </a:xfrm>
            <a:custGeom>
              <a:avLst/>
              <a:gdLst>
                <a:gd name="T0" fmla="*/ 0 w 720"/>
                <a:gd name="T1" fmla="*/ 0 h 504"/>
                <a:gd name="T2" fmla="*/ 0 w 720"/>
                <a:gd name="T3" fmla="*/ 468 h 504"/>
                <a:gd name="T4" fmla="*/ 36 w 720"/>
                <a:gd name="T5" fmla="*/ 504 h 504"/>
                <a:gd name="T6" fmla="*/ 684 w 720"/>
                <a:gd name="T7" fmla="*/ 504 h 504"/>
                <a:gd name="T8" fmla="*/ 720 w 720"/>
                <a:gd name="T9" fmla="*/ 468 h 504"/>
                <a:gd name="T10" fmla="*/ 720 w 720"/>
                <a:gd name="T11" fmla="*/ 432 h 504"/>
                <a:gd name="T12" fmla="*/ 660 w 720"/>
                <a:gd name="T13" fmla="*/ 396 h 504"/>
                <a:gd name="T14" fmla="*/ 36 w 720"/>
                <a:gd name="T15" fmla="*/ 396 h 504"/>
                <a:gd name="T16" fmla="*/ 36 w 720"/>
                <a:gd name="T17" fmla="*/ 21 h 504"/>
                <a:gd name="T18" fmla="*/ 0 w 720"/>
                <a:gd name="T19" fmla="*/ 0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0" h="504">
                  <a:moveTo>
                    <a:pt x="0" y="0"/>
                  </a:moveTo>
                  <a:cubicBezTo>
                    <a:pt x="0" y="468"/>
                    <a:pt x="0" y="468"/>
                    <a:pt x="0" y="468"/>
                  </a:cubicBezTo>
                  <a:cubicBezTo>
                    <a:pt x="0" y="468"/>
                    <a:pt x="0" y="504"/>
                    <a:pt x="36" y="504"/>
                  </a:cubicBezTo>
                  <a:cubicBezTo>
                    <a:pt x="684" y="504"/>
                    <a:pt x="684" y="504"/>
                    <a:pt x="684" y="504"/>
                  </a:cubicBezTo>
                  <a:cubicBezTo>
                    <a:pt x="684" y="504"/>
                    <a:pt x="720" y="504"/>
                    <a:pt x="720" y="468"/>
                  </a:cubicBezTo>
                  <a:cubicBezTo>
                    <a:pt x="720" y="432"/>
                    <a:pt x="720" y="432"/>
                    <a:pt x="720" y="432"/>
                  </a:cubicBezTo>
                  <a:cubicBezTo>
                    <a:pt x="660" y="396"/>
                    <a:pt x="660" y="396"/>
                    <a:pt x="660" y="396"/>
                  </a:cubicBezTo>
                  <a:cubicBezTo>
                    <a:pt x="36" y="396"/>
                    <a:pt x="36" y="396"/>
                    <a:pt x="36" y="396"/>
                  </a:cubicBezTo>
                  <a:cubicBezTo>
                    <a:pt x="36" y="21"/>
                    <a:pt x="36" y="21"/>
                    <a:pt x="36" y="2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5DA5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" name="Freeform 158"/>
            <p:cNvSpPr>
              <a:spLocks/>
            </p:cNvSpPr>
            <p:nvPr/>
          </p:nvSpPr>
          <p:spPr bwMode="auto">
            <a:xfrm>
              <a:off x="6100116" y="4127501"/>
              <a:ext cx="466725" cy="279400"/>
            </a:xfrm>
            <a:custGeom>
              <a:avLst/>
              <a:gdLst>
                <a:gd name="T0" fmla="*/ 0 w 294"/>
                <a:gd name="T1" fmla="*/ 0 h 176"/>
                <a:gd name="T2" fmla="*/ 0 w 294"/>
                <a:gd name="T3" fmla="*/ 176 h 176"/>
                <a:gd name="T4" fmla="*/ 294 w 294"/>
                <a:gd name="T5" fmla="*/ 176 h 176"/>
                <a:gd name="T6" fmla="*/ 0 w 294"/>
                <a:gd name="T7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4" h="176">
                  <a:moveTo>
                    <a:pt x="0" y="0"/>
                  </a:moveTo>
                  <a:lnTo>
                    <a:pt x="0" y="176"/>
                  </a:lnTo>
                  <a:lnTo>
                    <a:pt x="294" y="1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61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" name="Freeform 159"/>
            <p:cNvSpPr>
              <a:spLocks/>
            </p:cNvSpPr>
            <p:nvPr/>
          </p:nvSpPr>
          <p:spPr bwMode="auto">
            <a:xfrm>
              <a:off x="6100116" y="4127501"/>
              <a:ext cx="466725" cy="279400"/>
            </a:xfrm>
            <a:custGeom>
              <a:avLst/>
              <a:gdLst>
                <a:gd name="T0" fmla="*/ 0 w 294"/>
                <a:gd name="T1" fmla="*/ 0 h 176"/>
                <a:gd name="T2" fmla="*/ 0 w 294"/>
                <a:gd name="T3" fmla="*/ 176 h 176"/>
                <a:gd name="T4" fmla="*/ 294 w 294"/>
                <a:gd name="T5" fmla="*/ 176 h 176"/>
                <a:gd name="T6" fmla="*/ 0 w 294"/>
                <a:gd name="T7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4" h="176">
                  <a:moveTo>
                    <a:pt x="0" y="0"/>
                  </a:moveTo>
                  <a:lnTo>
                    <a:pt x="0" y="176"/>
                  </a:lnTo>
                  <a:lnTo>
                    <a:pt x="294" y="176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13" name="Group 512"/>
          <p:cNvGrpSpPr/>
          <p:nvPr/>
        </p:nvGrpSpPr>
        <p:grpSpPr>
          <a:xfrm>
            <a:off x="5806483" y="3471354"/>
            <a:ext cx="1434767" cy="1987840"/>
            <a:chOff x="5806483" y="3471354"/>
            <a:chExt cx="1434767" cy="1987840"/>
          </a:xfrm>
        </p:grpSpPr>
        <p:grpSp>
          <p:nvGrpSpPr>
            <p:cNvPr id="487" name="Group 486"/>
            <p:cNvGrpSpPr/>
            <p:nvPr/>
          </p:nvGrpSpPr>
          <p:grpSpPr>
            <a:xfrm>
              <a:off x="6184821" y="3471354"/>
              <a:ext cx="1051561" cy="710028"/>
              <a:chOff x="6478588" y="2436813"/>
              <a:chExt cx="4457701" cy="3009900"/>
            </a:xfrm>
          </p:grpSpPr>
          <p:sp>
            <p:nvSpPr>
              <p:cNvPr id="484" name="Freeform 5"/>
              <p:cNvSpPr>
                <a:spLocks/>
              </p:cNvSpPr>
              <p:nvPr/>
            </p:nvSpPr>
            <p:spPr bwMode="auto">
              <a:xfrm>
                <a:off x="6478588" y="3603625"/>
                <a:ext cx="4395788" cy="1527175"/>
              </a:xfrm>
              <a:custGeom>
                <a:avLst/>
                <a:gdLst>
                  <a:gd name="T0" fmla="*/ 17 w 2769"/>
                  <a:gd name="T1" fmla="*/ 962 h 962"/>
                  <a:gd name="T2" fmla="*/ 0 w 2769"/>
                  <a:gd name="T3" fmla="*/ 896 h 962"/>
                  <a:gd name="T4" fmla="*/ 807 w 2769"/>
                  <a:gd name="T5" fmla="*/ 700 h 962"/>
                  <a:gd name="T6" fmla="*/ 1465 w 2769"/>
                  <a:gd name="T7" fmla="*/ 290 h 962"/>
                  <a:gd name="T8" fmla="*/ 2275 w 2769"/>
                  <a:gd name="T9" fmla="*/ 259 h 962"/>
                  <a:gd name="T10" fmla="*/ 2769 w 2769"/>
                  <a:gd name="T11" fmla="*/ 0 h 962"/>
                  <a:gd name="T12" fmla="*/ 2769 w 2769"/>
                  <a:gd name="T13" fmla="*/ 0 h 962"/>
                  <a:gd name="T14" fmla="*/ 2769 w 2769"/>
                  <a:gd name="T15" fmla="*/ 68 h 962"/>
                  <a:gd name="T16" fmla="*/ 2769 w 2769"/>
                  <a:gd name="T17" fmla="*/ 72 h 962"/>
                  <a:gd name="T18" fmla="*/ 2295 w 2769"/>
                  <a:gd name="T19" fmla="*/ 325 h 962"/>
                  <a:gd name="T20" fmla="*/ 1485 w 2769"/>
                  <a:gd name="T21" fmla="*/ 357 h 962"/>
                  <a:gd name="T22" fmla="*/ 833 w 2769"/>
                  <a:gd name="T23" fmla="*/ 763 h 962"/>
                  <a:gd name="T24" fmla="*/ 17 w 2769"/>
                  <a:gd name="T25" fmla="*/ 962 h 9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69" h="962">
                    <a:moveTo>
                      <a:pt x="17" y="962"/>
                    </a:moveTo>
                    <a:lnTo>
                      <a:pt x="0" y="896"/>
                    </a:lnTo>
                    <a:lnTo>
                      <a:pt x="807" y="700"/>
                    </a:lnTo>
                    <a:lnTo>
                      <a:pt x="1465" y="290"/>
                    </a:lnTo>
                    <a:lnTo>
                      <a:pt x="2275" y="259"/>
                    </a:lnTo>
                    <a:lnTo>
                      <a:pt x="2769" y="0"/>
                    </a:lnTo>
                    <a:lnTo>
                      <a:pt x="2769" y="0"/>
                    </a:lnTo>
                    <a:lnTo>
                      <a:pt x="2769" y="68"/>
                    </a:lnTo>
                    <a:lnTo>
                      <a:pt x="2769" y="72"/>
                    </a:lnTo>
                    <a:lnTo>
                      <a:pt x="2295" y="325"/>
                    </a:lnTo>
                    <a:lnTo>
                      <a:pt x="1485" y="357"/>
                    </a:lnTo>
                    <a:lnTo>
                      <a:pt x="833" y="763"/>
                    </a:lnTo>
                    <a:lnTo>
                      <a:pt x="17" y="962"/>
                    </a:lnTo>
                    <a:close/>
                  </a:path>
                </a:pathLst>
              </a:custGeom>
              <a:solidFill>
                <a:srgbClr val="00BC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5" name="Freeform 6"/>
              <p:cNvSpPr>
                <a:spLocks/>
              </p:cNvSpPr>
              <p:nvPr/>
            </p:nvSpPr>
            <p:spPr bwMode="auto">
              <a:xfrm>
                <a:off x="6489701" y="2436813"/>
                <a:ext cx="4446588" cy="2517775"/>
              </a:xfrm>
              <a:custGeom>
                <a:avLst/>
                <a:gdLst>
                  <a:gd name="T0" fmla="*/ 28 w 2801"/>
                  <a:gd name="T1" fmla="*/ 1586 h 1586"/>
                  <a:gd name="T2" fmla="*/ 0 w 2801"/>
                  <a:gd name="T3" fmla="*/ 1524 h 1586"/>
                  <a:gd name="T4" fmla="*/ 654 w 2801"/>
                  <a:gd name="T5" fmla="*/ 1223 h 1586"/>
                  <a:gd name="T6" fmla="*/ 1057 w 2801"/>
                  <a:gd name="T7" fmla="*/ 750 h 1586"/>
                  <a:gd name="T8" fmla="*/ 1718 w 2801"/>
                  <a:gd name="T9" fmla="*/ 613 h 1586"/>
                  <a:gd name="T10" fmla="*/ 2117 w 2801"/>
                  <a:gd name="T11" fmla="*/ 144 h 1586"/>
                  <a:gd name="T12" fmla="*/ 2801 w 2801"/>
                  <a:gd name="T13" fmla="*/ 0 h 1586"/>
                  <a:gd name="T14" fmla="*/ 2801 w 2801"/>
                  <a:gd name="T15" fmla="*/ 66 h 1586"/>
                  <a:gd name="T16" fmla="*/ 2153 w 2801"/>
                  <a:gd name="T17" fmla="*/ 205 h 1586"/>
                  <a:gd name="T18" fmla="*/ 1754 w 2801"/>
                  <a:gd name="T19" fmla="*/ 674 h 1586"/>
                  <a:gd name="T20" fmla="*/ 1093 w 2801"/>
                  <a:gd name="T21" fmla="*/ 812 h 1586"/>
                  <a:gd name="T22" fmla="*/ 696 w 2801"/>
                  <a:gd name="T23" fmla="*/ 1278 h 1586"/>
                  <a:gd name="T24" fmla="*/ 28 w 2801"/>
                  <a:gd name="T25" fmla="*/ 1586 h 15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801" h="1586">
                    <a:moveTo>
                      <a:pt x="28" y="1586"/>
                    </a:moveTo>
                    <a:lnTo>
                      <a:pt x="0" y="1524"/>
                    </a:lnTo>
                    <a:lnTo>
                      <a:pt x="654" y="1223"/>
                    </a:lnTo>
                    <a:lnTo>
                      <a:pt x="1057" y="750"/>
                    </a:lnTo>
                    <a:lnTo>
                      <a:pt x="1718" y="613"/>
                    </a:lnTo>
                    <a:lnTo>
                      <a:pt x="2117" y="144"/>
                    </a:lnTo>
                    <a:lnTo>
                      <a:pt x="2801" y="0"/>
                    </a:lnTo>
                    <a:lnTo>
                      <a:pt x="2801" y="66"/>
                    </a:lnTo>
                    <a:lnTo>
                      <a:pt x="2153" y="205"/>
                    </a:lnTo>
                    <a:lnTo>
                      <a:pt x="1754" y="674"/>
                    </a:lnTo>
                    <a:lnTo>
                      <a:pt x="1093" y="812"/>
                    </a:lnTo>
                    <a:lnTo>
                      <a:pt x="696" y="1278"/>
                    </a:lnTo>
                    <a:lnTo>
                      <a:pt x="28" y="1586"/>
                    </a:lnTo>
                    <a:close/>
                  </a:path>
                </a:pathLst>
              </a:cu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6" name="Freeform 7"/>
              <p:cNvSpPr>
                <a:spLocks/>
              </p:cNvSpPr>
              <p:nvPr/>
            </p:nvSpPr>
            <p:spPr bwMode="auto">
              <a:xfrm>
                <a:off x="6499226" y="4259263"/>
                <a:ext cx="4375150" cy="1187450"/>
              </a:xfrm>
              <a:custGeom>
                <a:avLst/>
                <a:gdLst>
                  <a:gd name="T0" fmla="*/ 11 w 2756"/>
                  <a:gd name="T1" fmla="*/ 748 h 748"/>
                  <a:gd name="T2" fmla="*/ 0 w 2756"/>
                  <a:gd name="T3" fmla="*/ 682 h 748"/>
                  <a:gd name="T4" fmla="*/ 639 w 2756"/>
                  <a:gd name="T5" fmla="*/ 581 h 748"/>
                  <a:gd name="T6" fmla="*/ 1172 w 2756"/>
                  <a:gd name="T7" fmla="*/ 257 h 748"/>
                  <a:gd name="T8" fmla="*/ 1817 w 2756"/>
                  <a:gd name="T9" fmla="*/ 322 h 748"/>
                  <a:gd name="T10" fmla="*/ 2346 w 2756"/>
                  <a:gd name="T11" fmla="*/ 0 h 748"/>
                  <a:gd name="T12" fmla="*/ 2756 w 2756"/>
                  <a:gd name="T13" fmla="*/ 49 h 748"/>
                  <a:gd name="T14" fmla="*/ 2756 w 2756"/>
                  <a:gd name="T15" fmla="*/ 116 h 748"/>
                  <a:gd name="T16" fmla="*/ 2361 w 2756"/>
                  <a:gd name="T17" fmla="*/ 70 h 748"/>
                  <a:gd name="T18" fmla="*/ 1833 w 2756"/>
                  <a:gd name="T19" fmla="*/ 391 h 748"/>
                  <a:gd name="T20" fmla="*/ 1187 w 2756"/>
                  <a:gd name="T21" fmla="*/ 326 h 748"/>
                  <a:gd name="T22" fmla="*/ 662 w 2756"/>
                  <a:gd name="T23" fmla="*/ 645 h 748"/>
                  <a:gd name="T24" fmla="*/ 11 w 2756"/>
                  <a:gd name="T25" fmla="*/ 74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56" h="748">
                    <a:moveTo>
                      <a:pt x="11" y="748"/>
                    </a:moveTo>
                    <a:lnTo>
                      <a:pt x="0" y="682"/>
                    </a:lnTo>
                    <a:lnTo>
                      <a:pt x="639" y="581"/>
                    </a:lnTo>
                    <a:lnTo>
                      <a:pt x="1172" y="257"/>
                    </a:lnTo>
                    <a:lnTo>
                      <a:pt x="1817" y="322"/>
                    </a:lnTo>
                    <a:lnTo>
                      <a:pt x="2346" y="0"/>
                    </a:lnTo>
                    <a:lnTo>
                      <a:pt x="2756" y="49"/>
                    </a:lnTo>
                    <a:lnTo>
                      <a:pt x="2756" y="116"/>
                    </a:lnTo>
                    <a:lnTo>
                      <a:pt x="2361" y="70"/>
                    </a:lnTo>
                    <a:lnTo>
                      <a:pt x="1833" y="391"/>
                    </a:lnTo>
                    <a:lnTo>
                      <a:pt x="1187" y="326"/>
                    </a:lnTo>
                    <a:lnTo>
                      <a:pt x="662" y="645"/>
                    </a:lnTo>
                    <a:lnTo>
                      <a:pt x="11" y="748"/>
                    </a:lnTo>
                    <a:close/>
                  </a:path>
                </a:pathLst>
              </a:custGeom>
              <a:solidFill>
                <a:srgbClr val="0072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472" name="Group 471"/>
            <p:cNvGrpSpPr/>
            <p:nvPr/>
          </p:nvGrpSpPr>
          <p:grpSpPr>
            <a:xfrm>
              <a:off x="6741713" y="4020407"/>
              <a:ext cx="499537" cy="497809"/>
              <a:chOff x="6318453" y="3617912"/>
              <a:chExt cx="458787" cy="457200"/>
            </a:xfrm>
          </p:grpSpPr>
          <p:sp>
            <p:nvSpPr>
              <p:cNvPr id="470" name="Freeform 5"/>
              <p:cNvSpPr>
                <a:spLocks/>
              </p:cNvSpPr>
              <p:nvPr/>
            </p:nvSpPr>
            <p:spPr bwMode="auto">
              <a:xfrm>
                <a:off x="6318453" y="3656012"/>
                <a:ext cx="419100" cy="419100"/>
              </a:xfrm>
              <a:custGeom>
                <a:avLst/>
                <a:gdLst>
                  <a:gd name="T0" fmla="*/ 132 w 264"/>
                  <a:gd name="T1" fmla="*/ 0 h 264"/>
                  <a:gd name="T2" fmla="*/ 118 w 264"/>
                  <a:gd name="T3" fmla="*/ 1 h 264"/>
                  <a:gd name="T4" fmla="*/ 105 w 264"/>
                  <a:gd name="T5" fmla="*/ 3 h 264"/>
                  <a:gd name="T6" fmla="*/ 93 w 264"/>
                  <a:gd name="T7" fmla="*/ 6 h 264"/>
                  <a:gd name="T8" fmla="*/ 82 w 264"/>
                  <a:gd name="T9" fmla="*/ 10 h 264"/>
                  <a:gd name="T10" fmla="*/ 69 w 264"/>
                  <a:gd name="T11" fmla="*/ 17 h 264"/>
                  <a:gd name="T12" fmla="*/ 59 w 264"/>
                  <a:gd name="T13" fmla="*/ 22 h 264"/>
                  <a:gd name="T14" fmla="*/ 48 w 264"/>
                  <a:gd name="T15" fmla="*/ 31 h 264"/>
                  <a:gd name="T16" fmla="*/ 40 w 264"/>
                  <a:gd name="T17" fmla="*/ 39 h 264"/>
                  <a:gd name="T18" fmla="*/ 30 w 264"/>
                  <a:gd name="T19" fmla="*/ 48 h 264"/>
                  <a:gd name="T20" fmla="*/ 23 w 264"/>
                  <a:gd name="T21" fmla="*/ 59 h 264"/>
                  <a:gd name="T22" fmla="*/ 16 w 264"/>
                  <a:gd name="T23" fmla="*/ 70 h 264"/>
                  <a:gd name="T24" fmla="*/ 10 w 264"/>
                  <a:gd name="T25" fmla="*/ 81 h 264"/>
                  <a:gd name="T26" fmla="*/ 6 w 264"/>
                  <a:gd name="T27" fmla="*/ 92 h 264"/>
                  <a:gd name="T28" fmla="*/ 2 w 264"/>
                  <a:gd name="T29" fmla="*/ 106 h 264"/>
                  <a:gd name="T30" fmla="*/ 0 w 264"/>
                  <a:gd name="T31" fmla="*/ 119 h 264"/>
                  <a:gd name="T32" fmla="*/ 0 w 264"/>
                  <a:gd name="T33" fmla="*/ 133 h 264"/>
                  <a:gd name="T34" fmla="*/ 0 w 264"/>
                  <a:gd name="T35" fmla="*/ 147 h 264"/>
                  <a:gd name="T36" fmla="*/ 2 w 264"/>
                  <a:gd name="T37" fmla="*/ 158 h 264"/>
                  <a:gd name="T38" fmla="*/ 6 w 264"/>
                  <a:gd name="T39" fmla="*/ 172 h 264"/>
                  <a:gd name="T40" fmla="*/ 10 w 264"/>
                  <a:gd name="T41" fmla="*/ 183 h 264"/>
                  <a:gd name="T42" fmla="*/ 16 w 264"/>
                  <a:gd name="T43" fmla="*/ 196 h 264"/>
                  <a:gd name="T44" fmla="*/ 23 w 264"/>
                  <a:gd name="T45" fmla="*/ 206 h 264"/>
                  <a:gd name="T46" fmla="*/ 30 w 264"/>
                  <a:gd name="T47" fmla="*/ 217 h 264"/>
                  <a:gd name="T48" fmla="*/ 40 w 264"/>
                  <a:gd name="T49" fmla="*/ 225 h 264"/>
                  <a:gd name="T50" fmla="*/ 48 w 264"/>
                  <a:gd name="T51" fmla="*/ 235 h 264"/>
                  <a:gd name="T52" fmla="*/ 59 w 264"/>
                  <a:gd name="T53" fmla="*/ 242 h 264"/>
                  <a:gd name="T54" fmla="*/ 69 w 264"/>
                  <a:gd name="T55" fmla="*/ 248 h 264"/>
                  <a:gd name="T56" fmla="*/ 82 w 264"/>
                  <a:gd name="T57" fmla="*/ 253 h 264"/>
                  <a:gd name="T58" fmla="*/ 93 w 264"/>
                  <a:gd name="T59" fmla="*/ 259 h 264"/>
                  <a:gd name="T60" fmla="*/ 105 w 264"/>
                  <a:gd name="T61" fmla="*/ 262 h 264"/>
                  <a:gd name="T62" fmla="*/ 118 w 264"/>
                  <a:gd name="T63" fmla="*/ 263 h 264"/>
                  <a:gd name="T64" fmla="*/ 132 w 264"/>
                  <a:gd name="T65" fmla="*/ 264 h 264"/>
                  <a:gd name="T66" fmla="*/ 146 w 264"/>
                  <a:gd name="T67" fmla="*/ 263 h 264"/>
                  <a:gd name="T68" fmla="*/ 157 w 264"/>
                  <a:gd name="T69" fmla="*/ 262 h 264"/>
                  <a:gd name="T70" fmla="*/ 171 w 264"/>
                  <a:gd name="T71" fmla="*/ 259 h 264"/>
                  <a:gd name="T72" fmla="*/ 182 w 264"/>
                  <a:gd name="T73" fmla="*/ 253 h 264"/>
                  <a:gd name="T74" fmla="*/ 194 w 264"/>
                  <a:gd name="T75" fmla="*/ 248 h 264"/>
                  <a:gd name="T76" fmla="*/ 205 w 264"/>
                  <a:gd name="T77" fmla="*/ 242 h 264"/>
                  <a:gd name="T78" fmla="*/ 215 w 264"/>
                  <a:gd name="T79" fmla="*/ 235 h 264"/>
                  <a:gd name="T80" fmla="*/ 224 w 264"/>
                  <a:gd name="T81" fmla="*/ 227 h 264"/>
                  <a:gd name="T82" fmla="*/ 231 w 264"/>
                  <a:gd name="T83" fmla="*/ 218 h 264"/>
                  <a:gd name="T84" fmla="*/ 240 w 264"/>
                  <a:gd name="T85" fmla="*/ 207 h 264"/>
                  <a:gd name="T86" fmla="*/ 247 w 264"/>
                  <a:gd name="T87" fmla="*/ 197 h 264"/>
                  <a:gd name="T88" fmla="*/ 251 w 264"/>
                  <a:gd name="T89" fmla="*/ 185 h 264"/>
                  <a:gd name="T90" fmla="*/ 258 w 264"/>
                  <a:gd name="T91" fmla="*/ 173 h 264"/>
                  <a:gd name="T92" fmla="*/ 261 w 264"/>
                  <a:gd name="T93" fmla="*/ 161 h 264"/>
                  <a:gd name="T94" fmla="*/ 262 w 264"/>
                  <a:gd name="T95" fmla="*/ 150 h 264"/>
                  <a:gd name="T96" fmla="*/ 264 w 264"/>
                  <a:gd name="T97" fmla="*/ 136 h 264"/>
                  <a:gd name="T98" fmla="*/ 132 w 264"/>
                  <a:gd name="T99" fmla="*/ 136 h 264"/>
                  <a:gd name="T100" fmla="*/ 132 w 264"/>
                  <a:gd name="T101" fmla="*/ 0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64" h="264">
                    <a:moveTo>
                      <a:pt x="132" y="0"/>
                    </a:moveTo>
                    <a:lnTo>
                      <a:pt x="118" y="1"/>
                    </a:lnTo>
                    <a:lnTo>
                      <a:pt x="105" y="3"/>
                    </a:lnTo>
                    <a:lnTo>
                      <a:pt x="93" y="6"/>
                    </a:lnTo>
                    <a:lnTo>
                      <a:pt x="82" y="10"/>
                    </a:lnTo>
                    <a:lnTo>
                      <a:pt x="69" y="17"/>
                    </a:lnTo>
                    <a:lnTo>
                      <a:pt x="59" y="22"/>
                    </a:lnTo>
                    <a:lnTo>
                      <a:pt x="48" y="31"/>
                    </a:lnTo>
                    <a:lnTo>
                      <a:pt x="40" y="39"/>
                    </a:lnTo>
                    <a:lnTo>
                      <a:pt x="30" y="48"/>
                    </a:lnTo>
                    <a:lnTo>
                      <a:pt x="23" y="59"/>
                    </a:lnTo>
                    <a:lnTo>
                      <a:pt x="16" y="70"/>
                    </a:lnTo>
                    <a:lnTo>
                      <a:pt x="10" y="81"/>
                    </a:lnTo>
                    <a:lnTo>
                      <a:pt x="6" y="92"/>
                    </a:lnTo>
                    <a:lnTo>
                      <a:pt x="2" y="106"/>
                    </a:lnTo>
                    <a:lnTo>
                      <a:pt x="0" y="119"/>
                    </a:lnTo>
                    <a:lnTo>
                      <a:pt x="0" y="133"/>
                    </a:lnTo>
                    <a:lnTo>
                      <a:pt x="0" y="147"/>
                    </a:lnTo>
                    <a:lnTo>
                      <a:pt x="2" y="158"/>
                    </a:lnTo>
                    <a:lnTo>
                      <a:pt x="6" y="172"/>
                    </a:lnTo>
                    <a:lnTo>
                      <a:pt x="10" y="183"/>
                    </a:lnTo>
                    <a:lnTo>
                      <a:pt x="16" y="196"/>
                    </a:lnTo>
                    <a:lnTo>
                      <a:pt x="23" y="206"/>
                    </a:lnTo>
                    <a:lnTo>
                      <a:pt x="30" y="217"/>
                    </a:lnTo>
                    <a:lnTo>
                      <a:pt x="40" y="225"/>
                    </a:lnTo>
                    <a:lnTo>
                      <a:pt x="48" y="235"/>
                    </a:lnTo>
                    <a:lnTo>
                      <a:pt x="59" y="242"/>
                    </a:lnTo>
                    <a:lnTo>
                      <a:pt x="69" y="248"/>
                    </a:lnTo>
                    <a:lnTo>
                      <a:pt x="82" y="253"/>
                    </a:lnTo>
                    <a:lnTo>
                      <a:pt x="93" y="259"/>
                    </a:lnTo>
                    <a:lnTo>
                      <a:pt x="105" y="262"/>
                    </a:lnTo>
                    <a:lnTo>
                      <a:pt x="118" y="263"/>
                    </a:lnTo>
                    <a:lnTo>
                      <a:pt x="132" y="264"/>
                    </a:lnTo>
                    <a:lnTo>
                      <a:pt x="146" y="263"/>
                    </a:lnTo>
                    <a:lnTo>
                      <a:pt x="157" y="262"/>
                    </a:lnTo>
                    <a:lnTo>
                      <a:pt x="171" y="259"/>
                    </a:lnTo>
                    <a:lnTo>
                      <a:pt x="182" y="253"/>
                    </a:lnTo>
                    <a:lnTo>
                      <a:pt x="194" y="248"/>
                    </a:lnTo>
                    <a:lnTo>
                      <a:pt x="205" y="242"/>
                    </a:lnTo>
                    <a:lnTo>
                      <a:pt x="215" y="235"/>
                    </a:lnTo>
                    <a:lnTo>
                      <a:pt x="224" y="227"/>
                    </a:lnTo>
                    <a:lnTo>
                      <a:pt x="231" y="218"/>
                    </a:lnTo>
                    <a:lnTo>
                      <a:pt x="240" y="207"/>
                    </a:lnTo>
                    <a:lnTo>
                      <a:pt x="247" y="197"/>
                    </a:lnTo>
                    <a:lnTo>
                      <a:pt x="251" y="185"/>
                    </a:lnTo>
                    <a:lnTo>
                      <a:pt x="258" y="173"/>
                    </a:lnTo>
                    <a:lnTo>
                      <a:pt x="261" y="161"/>
                    </a:lnTo>
                    <a:lnTo>
                      <a:pt x="262" y="150"/>
                    </a:lnTo>
                    <a:lnTo>
                      <a:pt x="264" y="136"/>
                    </a:lnTo>
                    <a:lnTo>
                      <a:pt x="132" y="136"/>
                    </a:lnTo>
                    <a:lnTo>
                      <a:pt x="132" y="0"/>
                    </a:lnTo>
                    <a:close/>
                  </a:path>
                </a:pathLst>
              </a:custGeom>
              <a:solidFill>
                <a:srgbClr val="DC3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1" name="Freeform 7"/>
              <p:cNvSpPr>
                <a:spLocks/>
              </p:cNvSpPr>
              <p:nvPr/>
            </p:nvSpPr>
            <p:spPr bwMode="auto">
              <a:xfrm>
                <a:off x="6567690" y="3617912"/>
                <a:ext cx="209550" cy="212725"/>
              </a:xfrm>
              <a:custGeom>
                <a:avLst/>
                <a:gdLst>
                  <a:gd name="T0" fmla="*/ 0 w 132"/>
                  <a:gd name="T1" fmla="*/ 0 h 134"/>
                  <a:gd name="T2" fmla="*/ 0 w 132"/>
                  <a:gd name="T3" fmla="*/ 134 h 134"/>
                  <a:gd name="T4" fmla="*/ 132 w 132"/>
                  <a:gd name="T5" fmla="*/ 134 h 134"/>
                  <a:gd name="T6" fmla="*/ 132 w 132"/>
                  <a:gd name="T7" fmla="*/ 132 h 134"/>
                  <a:gd name="T8" fmla="*/ 130 w 132"/>
                  <a:gd name="T9" fmla="*/ 118 h 134"/>
                  <a:gd name="T10" fmla="*/ 129 w 132"/>
                  <a:gd name="T11" fmla="*/ 104 h 134"/>
                  <a:gd name="T12" fmla="*/ 126 w 132"/>
                  <a:gd name="T13" fmla="*/ 92 h 134"/>
                  <a:gd name="T14" fmla="*/ 121 w 132"/>
                  <a:gd name="T15" fmla="*/ 79 h 134"/>
                  <a:gd name="T16" fmla="*/ 115 w 132"/>
                  <a:gd name="T17" fmla="*/ 69 h 134"/>
                  <a:gd name="T18" fmla="*/ 109 w 132"/>
                  <a:gd name="T19" fmla="*/ 56 h 134"/>
                  <a:gd name="T20" fmla="*/ 102 w 132"/>
                  <a:gd name="T21" fmla="*/ 48 h 134"/>
                  <a:gd name="T22" fmla="*/ 93 w 132"/>
                  <a:gd name="T23" fmla="*/ 37 h 134"/>
                  <a:gd name="T24" fmla="*/ 84 w 132"/>
                  <a:gd name="T25" fmla="*/ 30 h 134"/>
                  <a:gd name="T26" fmla="*/ 73 w 132"/>
                  <a:gd name="T27" fmla="*/ 23 h 134"/>
                  <a:gd name="T28" fmla="*/ 63 w 132"/>
                  <a:gd name="T29" fmla="*/ 14 h 134"/>
                  <a:gd name="T30" fmla="*/ 51 w 132"/>
                  <a:gd name="T31" fmla="*/ 10 h 134"/>
                  <a:gd name="T32" fmla="*/ 39 w 132"/>
                  <a:gd name="T33" fmla="*/ 6 h 134"/>
                  <a:gd name="T34" fmla="*/ 25 w 132"/>
                  <a:gd name="T35" fmla="*/ 2 h 134"/>
                  <a:gd name="T36" fmla="*/ 14 w 132"/>
                  <a:gd name="T37" fmla="*/ 0 h 134"/>
                  <a:gd name="T38" fmla="*/ 0 w 132"/>
                  <a:gd name="T39" fmla="*/ 0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32" h="134">
                    <a:moveTo>
                      <a:pt x="0" y="0"/>
                    </a:moveTo>
                    <a:lnTo>
                      <a:pt x="0" y="134"/>
                    </a:lnTo>
                    <a:lnTo>
                      <a:pt x="132" y="134"/>
                    </a:lnTo>
                    <a:lnTo>
                      <a:pt x="132" y="132"/>
                    </a:lnTo>
                    <a:lnTo>
                      <a:pt x="130" y="118"/>
                    </a:lnTo>
                    <a:lnTo>
                      <a:pt x="129" y="104"/>
                    </a:lnTo>
                    <a:lnTo>
                      <a:pt x="126" y="92"/>
                    </a:lnTo>
                    <a:lnTo>
                      <a:pt x="121" y="79"/>
                    </a:lnTo>
                    <a:lnTo>
                      <a:pt x="115" y="69"/>
                    </a:lnTo>
                    <a:lnTo>
                      <a:pt x="109" y="56"/>
                    </a:lnTo>
                    <a:lnTo>
                      <a:pt x="102" y="48"/>
                    </a:lnTo>
                    <a:lnTo>
                      <a:pt x="93" y="37"/>
                    </a:lnTo>
                    <a:lnTo>
                      <a:pt x="84" y="30"/>
                    </a:lnTo>
                    <a:lnTo>
                      <a:pt x="73" y="23"/>
                    </a:lnTo>
                    <a:lnTo>
                      <a:pt x="63" y="14"/>
                    </a:lnTo>
                    <a:lnTo>
                      <a:pt x="51" y="10"/>
                    </a:lnTo>
                    <a:lnTo>
                      <a:pt x="39" y="6"/>
                    </a:lnTo>
                    <a:lnTo>
                      <a:pt x="25" y="2"/>
                    </a:lnTo>
                    <a:lnTo>
                      <a:pt x="14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394" name="Freeform 171"/>
            <p:cNvSpPr>
              <a:spLocks/>
            </p:cNvSpPr>
            <p:nvPr/>
          </p:nvSpPr>
          <p:spPr bwMode="auto">
            <a:xfrm>
              <a:off x="5846696" y="5410660"/>
              <a:ext cx="622621" cy="48534"/>
            </a:xfrm>
            <a:custGeom>
              <a:avLst/>
              <a:gdLst>
                <a:gd name="T0" fmla="*/ 916 w 953"/>
                <a:gd name="T1" fmla="*/ 0 h 74"/>
                <a:gd name="T2" fmla="*/ 37 w 953"/>
                <a:gd name="T3" fmla="*/ 0 h 74"/>
                <a:gd name="T4" fmla="*/ 0 w 953"/>
                <a:gd name="T5" fmla="*/ 37 h 74"/>
                <a:gd name="T6" fmla="*/ 37 w 953"/>
                <a:gd name="T7" fmla="*/ 74 h 74"/>
                <a:gd name="T8" fmla="*/ 916 w 953"/>
                <a:gd name="T9" fmla="*/ 74 h 74"/>
                <a:gd name="T10" fmla="*/ 953 w 953"/>
                <a:gd name="T11" fmla="*/ 37 h 74"/>
                <a:gd name="T12" fmla="*/ 916 w 953"/>
                <a:gd name="T13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53" h="74">
                  <a:moveTo>
                    <a:pt x="916" y="0"/>
                  </a:moveTo>
                  <a:cubicBezTo>
                    <a:pt x="37" y="0"/>
                    <a:pt x="37" y="0"/>
                    <a:pt x="37" y="0"/>
                  </a:cubicBezTo>
                  <a:cubicBezTo>
                    <a:pt x="17" y="0"/>
                    <a:pt x="0" y="17"/>
                    <a:pt x="0" y="37"/>
                  </a:cubicBezTo>
                  <a:cubicBezTo>
                    <a:pt x="0" y="57"/>
                    <a:pt x="17" y="74"/>
                    <a:pt x="37" y="74"/>
                  </a:cubicBezTo>
                  <a:cubicBezTo>
                    <a:pt x="916" y="74"/>
                    <a:pt x="916" y="74"/>
                    <a:pt x="916" y="74"/>
                  </a:cubicBezTo>
                  <a:cubicBezTo>
                    <a:pt x="937" y="74"/>
                    <a:pt x="953" y="57"/>
                    <a:pt x="953" y="37"/>
                  </a:cubicBezTo>
                  <a:cubicBezTo>
                    <a:pt x="953" y="17"/>
                    <a:pt x="937" y="0"/>
                    <a:pt x="916" y="0"/>
                  </a:cubicBezTo>
                </a:path>
              </a:pathLst>
            </a:custGeom>
            <a:solidFill>
              <a:srgbClr val="00C2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5" name="Freeform 172"/>
            <p:cNvSpPr>
              <a:spLocks/>
            </p:cNvSpPr>
            <p:nvPr/>
          </p:nvSpPr>
          <p:spPr bwMode="auto">
            <a:xfrm>
              <a:off x="6680092" y="5401673"/>
              <a:ext cx="557129" cy="57521"/>
            </a:xfrm>
            <a:custGeom>
              <a:avLst/>
              <a:gdLst>
                <a:gd name="T0" fmla="*/ 684 w 721"/>
                <a:gd name="T1" fmla="*/ 0 h 74"/>
                <a:gd name="T2" fmla="*/ 37 w 721"/>
                <a:gd name="T3" fmla="*/ 0 h 74"/>
                <a:gd name="T4" fmla="*/ 0 w 721"/>
                <a:gd name="T5" fmla="*/ 37 h 74"/>
                <a:gd name="T6" fmla="*/ 37 w 721"/>
                <a:gd name="T7" fmla="*/ 74 h 74"/>
                <a:gd name="T8" fmla="*/ 684 w 721"/>
                <a:gd name="T9" fmla="*/ 74 h 74"/>
                <a:gd name="T10" fmla="*/ 721 w 721"/>
                <a:gd name="T11" fmla="*/ 37 h 74"/>
                <a:gd name="T12" fmla="*/ 684 w 721"/>
                <a:gd name="T13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1" h="74">
                  <a:moveTo>
                    <a:pt x="684" y="0"/>
                  </a:moveTo>
                  <a:cubicBezTo>
                    <a:pt x="37" y="0"/>
                    <a:pt x="37" y="0"/>
                    <a:pt x="37" y="0"/>
                  </a:cubicBezTo>
                  <a:cubicBezTo>
                    <a:pt x="16" y="0"/>
                    <a:pt x="0" y="17"/>
                    <a:pt x="0" y="37"/>
                  </a:cubicBezTo>
                  <a:cubicBezTo>
                    <a:pt x="0" y="57"/>
                    <a:pt x="16" y="74"/>
                    <a:pt x="37" y="74"/>
                  </a:cubicBezTo>
                  <a:cubicBezTo>
                    <a:pt x="684" y="74"/>
                    <a:pt x="684" y="74"/>
                    <a:pt x="684" y="74"/>
                  </a:cubicBezTo>
                  <a:cubicBezTo>
                    <a:pt x="704" y="74"/>
                    <a:pt x="721" y="57"/>
                    <a:pt x="721" y="37"/>
                  </a:cubicBezTo>
                  <a:cubicBezTo>
                    <a:pt x="721" y="17"/>
                    <a:pt x="704" y="0"/>
                    <a:pt x="684" y="0"/>
                  </a:cubicBezTo>
                </a:path>
              </a:pathLst>
            </a:custGeom>
            <a:solidFill>
              <a:srgbClr val="00C2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6" name="Freeform 173"/>
            <p:cNvSpPr>
              <a:spLocks/>
            </p:cNvSpPr>
            <p:nvPr/>
          </p:nvSpPr>
          <p:spPr bwMode="auto">
            <a:xfrm>
              <a:off x="6456837" y="4835982"/>
              <a:ext cx="119255" cy="115095"/>
            </a:xfrm>
            <a:custGeom>
              <a:avLst/>
              <a:gdLst>
                <a:gd name="T0" fmla="*/ 63 w 86"/>
                <a:gd name="T1" fmla="*/ 83 h 83"/>
                <a:gd name="T2" fmla="*/ 0 w 86"/>
                <a:gd name="T3" fmla="*/ 25 h 83"/>
                <a:gd name="T4" fmla="*/ 22 w 86"/>
                <a:gd name="T5" fmla="*/ 0 h 83"/>
                <a:gd name="T6" fmla="*/ 86 w 86"/>
                <a:gd name="T7" fmla="*/ 58 h 83"/>
                <a:gd name="T8" fmla="*/ 63 w 86"/>
                <a:gd name="T9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" h="83">
                  <a:moveTo>
                    <a:pt x="63" y="83"/>
                  </a:moveTo>
                  <a:lnTo>
                    <a:pt x="0" y="25"/>
                  </a:lnTo>
                  <a:lnTo>
                    <a:pt x="22" y="0"/>
                  </a:lnTo>
                  <a:lnTo>
                    <a:pt x="86" y="58"/>
                  </a:lnTo>
                  <a:lnTo>
                    <a:pt x="63" y="83"/>
                  </a:lnTo>
                  <a:close/>
                </a:path>
              </a:pathLst>
            </a:custGeom>
            <a:solidFill>
              <a:srgbClr val="4423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7" name="Freeform 174"/>
            <p:cNvSpPr>
              <a:spLocks/>
            </p:cNvSpPr>
            <p:nvPr/>
          </p:nvSpPr>
          <p:spPr bwMode="auto">
            <a:xfrm>
              <a:off x="6544198" y="4916409"/>
              <a:ext cx="61014" cy="59628"/>
            </a:xfrm>
            <a:custGeom>
              <a:avLst/>
              <a:gdLst>
                <a:gd name="T0" fmla="*/ 28 w 94"/>
                <a:gd name="T1" fmla="*/ 78 h 93"/>
                <a:gd name="T2" fmla="*/ 29 w 94"/>
                <a:gd name="T3" fmla="*/ 79 h 93"/>
                <a:gd name="T4" fmla="*/ 80 w 94"/>
                <a:gd name="T5" fmla="*/ 77 h 93"/>
                <a:gd name="T6" fmla="*/ 78 w 94"/>
                <a:gd name="T7" fmla="*/ 26 h 93"/>
                <a:gd name="T8" fmla="*/ 76 w 94"/>
                <a:gd name="T9" fmla="*/ 25 h 93"/>
                <a:gd name="T10" fmla="*/ 76 w 94"/>
                <a:gd name="T11" fmla="*/ 25 h 93"/>
                <a:gd name="T12" fmla="*/ 49 w 94"/>
                <a:gd name="T13" fmla="*/ 0 h 93"/>
                <a:gd name="T14" fmla="*/ 0 w 94"/>
                <a:gd name="T15" fmla="*/ 53 h 93"/>
                <a:gd name="T16" fmla="*/ 28 w 94"/>
                <a:gd name="T17" fmla="*/ 78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4" h="93">
                  <a:moveTo>
                    <a:pt x="28" y="78"/>
                  </a:moveTo>
                  <a:cubicBezTo>
                    <a:pt x="28" y="79"/>
                    <a:pt x="29" y="79"/>
                    <a:pt x="29" y="79"/>
                  </a:cubicBezTo>
                  <a:cubicBezTo>
                    <a:pt x="44" y="93"/>
                    <a:pt x="67" y="92"/>
                    <a:pt x="80" y="77"/>
                  </a:cubicBezTo>
                  <a:cubicBezTo>
                    <a:pt x="94" y="62"/>
                    <a:pt x="92" y="40"/>
                    <a:pt x="78" y="26"/>
                  </a:cubicBezTo>
                  <a:cubicBezTo>
                    <a:pt x="77" y="26"/>
                    <a:pt x="77" y="26"/>
                    <a:pt x="76" y="25"/>
                  </a:cubicBezTo>
                  <a:cubicBezTo>
                    <a:pt x="76" y="25"/>
                    <a:pt x="76" y="25"/>
                    <a:pt x="76" y="25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28" y="78"/>
                    <a:pt x="28" y="78"/>
                    <a:pt x="28" y="78"/>
                  </a:cubicBezTo>
                  <a:close/>
                </a:path>
              </a:pathLst>
            </a:custGeom>
            <a:solidFill>
              <a:srgbClr val="F472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8" name="Freeform 175"/>
            <p:cNvSpPr>
              <a:spLocks/>
            </p:cNvSpPr>
            <p:nvPr/>
          </p:nvSpPr>
          <p:spPr bwMode="auto">
            <a:xfrm>
              <a:off x="6588572" y="4835982"/>
              <a:ext cx="120642" cy="115095"/>
            </a:xfrm>
            <a:custGeom>
              <a:avLst/>
              <a:gdLst>
                <a:gd name="T0" fmla="*/ 23 w 87"/>
                <a:gd name="T1" fmla="*/ 83 h 83"/>
                <a:gd name="T2" fmla="*/ 87 w 87"/>
                <a:gd name="T3" fmla="*/ 25 h 83"/>
                <a:gd name="T4" fmla="*/ 64 w 87"/>
                <a:gd name="T5" fmla="*/ 0 h 83"/>
                <a:gd name="T6" fmla="*/ 0 w 87"/>
                <a:gd name="T7" fmla="*/ 58 h 83"/>
                <a:gd name="T8" fmla="*/ 23 w 87"/>
                <a:gd name="T9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83">
                  <a:moveTo>
                    <a:pt x="23" y="83"/>
                  </a:moveTo>
                  <a:lnTo>
                    <a:pt x="87" y="25"/>
                  </a:lnTo>
                  <a:lnTo>
                    <a:pt x="64" y="0"/>
                  </a:lnTo>
                  <a:lnTo>
                    <a:pt x="0" y="58"/>
                  </a:lnTo>
                  <a:lnTo>
                    <a:pt x="23" y="83"/>
                  </a:lnTo>
                  <a:close/>
                </a:path>
              </a:pathLst>
            </a:custGeom>
            <a:solidFill>
              <a:srgbClr val="4423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9" name="Freeform 176"/>
            <p:cNvSpPr>
              <a:spLocks/>
            </p:cNvSpPr>
            <p:nvPr/>
          </p:nvSpPr>
          <p:spPr bwMode="auto">
            <a:xfrm>
              <a:off x="6588572" y="4835982"/>
              <a:ext cx="120642" cy="115095"/>
            </a:xfrm>
            <a:custGeom>
              <a:avLst/>
              <a:gdLst>
                <a:gd name="T0" fmla="*/ 23 w 87"/>
                <a:gd name="T1" fmla="*/ 83 h 83"/>
                <a:gd name="T2" fmla="*/ 87 w 87"/>
                <a:gd name="T3" fmla="*/ 25 h 83"/>
                <a:gd name="T4" fmla="*/ 64 w 87"/>
                <a:gd name="T5" fmla="*/ 0 h 83"/>
                <a:gd name="T6" fmla="*/ 0 w 87"/>
                <a:gd name="T7" fmla="*/ 58 h 83"/>
                <a:gd name="T8" fmla="*/ 23 w 87"/>
                <a:gd name="T9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83">
                  <a:moveTo>
                    <a:pt x="23" y="83"/>
                  </a:moveTo>
                  <a:lnTo>
                    <a:pt x="87" y="25"/>
                  </a:lnTo>
                  <a:lnTo>
                    <a:pt x="64" y="0"/>
                  </a:lnTo>
                  <a:lnTo>
                    <a:pt x="0" y="58"/>
                  </a:lnTo>
                  <a:lnTo>
                    <a:pt x="23" y="8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0" name="Freeform 177"/>
            <p:cNvSpPr>
              <a:spLocks/>
            </p:cNvSpPr>
            <p:nvPr/>
          </p:nvSpPr>
          <p:spPr bwMode="auto">
            <a:xfrm>
              <a:off x="6559451" y="4916409"/>
              <a:ext cx="61014" cy="59628"/>
            </a:xfrm>
            <a:custGeom>
              <a:avLst/>
              <a:gdLst>
                <a:gd name="T0" fmla="*/ 66 w 94"/>
                <a:gd name="T1" fmla="*/ 78 h 93"/>
                <a:gd name="T2" fmla="*/ 65 w 94"/>
                <a:gd name="T3" fmla="*/ 79 h 93"/>
                <a:gd name="T4" fmla="*/ 14 w 94"/>
                <a:gd name="T5" fmla="*/ 77 h 93"/>
                <a:gd name="T6" fmla="*/ 17 w 94"/>
                <a:gd name="T7" fmla="*/ 26 h 93"/>
                <a:gd name="T8" fmla="*/ 18 w 94"/>
                <a:gd name="T9" fmla="*/ 25 h 93"/>
                <a:gd name="T10" fmla="*/ 18 w 94"/>
                <a:gd name="T11" fmla="*/ 25 h 93"/>
                <a:gd name="T12" fmla="*/ 45 w 94"/>
                <a:gd name="T13" fmla="*/ 0 h 93"/>
                <a:gd name="T14" fmla="*/ 94 w 94"/>
                <a:gd name="T15" fmla="*/ 53 h 93"/>
                <a:gd name="T16" fmla="*/ 66 w 94"/>
                <a:gd name="T17" fmla="*/ 78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4" h="93">
                  <a:moveTo>
                    <a:pt x="66" y="78"/>
                  </a:moveTo>
                  <a:cubicBezTo>
                    <a:pt x="66" y="79"/>
                    <a:pt x="65" y="79"/>
                    <a:pt x="65" y="79"/>
                  </a:cubicBezTo>
                  <a:cubicBezTo>
                    <a:pt x="50" y="93"/>
                    <a:pt x="27" y="92"/>
                    <a:pt x="14" y="77"/>
                  </a:cubicBezTo>
                  <a:cubicBezTo>
                    <a:pt x="0" y="62"/>
                    <a:pt x="2" y="40"/>
                    <a:pt x="17" y="26"/>
                  </a:cubicBezTo>
                  <a:cubicBezTo>
                    <a:pt x="17" y="26"/>
                    <a:pt x="17" y="26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94" y="53"/>
                    <a:pt x="94" y="53"/>
                    <a:pt x="94" y="53"/>
                  </a:cubicBezTo>
                  <a:cubicBezTo>
                    <a:pt x="66" y="78"/>
                    <a:pt x="66" y="78"/>
                    <a:pt x="66" y="78"/>
                  </a:cubicBezTo>
                  <a:close/>
                </a:path>
              </a:pathLst>
            </a:custGeom>
            <a:solidFill>
              <a:srgbClr val="F472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1" name="Freeform 178"/>
            <p:cNvSpPr>
              <a:spLocks/>
            </p:cNvSpPr>
            <p:nvPr/>
          </p:nvSpPr>
          <p:spPr bwMode="auto">
            <a:xfrm>
              <a:off x="6218327" y="5382926"/>
              <a:ext cx="97068" cy="54081"/>
            </a:xfrm>
            <a:custGeom>
              <a:avLst/>
              <a:gdLst>
                <a:gd name="T0" fmla="*/ 70 w 70"/>
                <a:gd name="T1" fmla="*/ 31 h 39"/>
                <a:gd name="T2" fmla="*/ 39 w 70"/>
                <a:gd name="T3" fmla="*/ 0 h 39"/>
                <a:gd name="T4" fmla="*/ 0 w 70"/>
                <a:gd name="T5" fmla="*/ 0 h 39"/>
                <a:gd name="T6" fmla="*/ 0 w 70"/>
                <a:gd name="T7" fmla="*/ 39 h 39"/>
                <a:gd name="T8" fmla="*/ 70 w 70"/>
                <a:gd name="T9" fmla="*/ 39 h 39"/>
                <a:gd name="T10" fmla="*/ 70 w 70"/>
                <a:gd name="T11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39">
                  <a:moveTo>
                    <a:pt x="70" y="31"/>
                  </a:moveTo>
                  <a:lnTo>
                    <a:pt x="39" y="0"/>
                  </a:lnTo>
                  <a:lnTo>
                    <a:pt x="0" y="0"/>
                  </a:lnTo>
                  <a:lnTo>
                    <a:pt x="0" y="39"/>
                  </a:lnTo>
                  <a:lnTo>
                    <a:pt x="70" y="39"/>
                  </a:lnTo>
                  <a:lnTo>
                    <a:pt x="70" y="31"/>
                  </a:lnTo>
                  <a:close/>
                </a:path>
              </a:pathLst>
            </a:custGeom>
            <a:solidFill>
              <a:srgbClr val="4423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3" name="Rectangle 180"/>
            <p:cNvSpPr>
              <a:spLocks noChangeArrowheads="1"/>
            </p:cNvSpPr>
            <p:nvPr/>
          </p:nvSpPr>
          <p:spPr bwMode="auto">
            <a:xfrm>
              <a:off x="6218327" y="5033482"/>
              <a:ext cx="54081" cy="3522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5" name="Rectangle 182"/>
            <p:cNvSpPr>
              <a:spLocks noChangeArrowheads="1"/>
            </p:cNvSpPr>
            <p:nvPr/>
          </p:nvSpPr>
          <p:spPr bwMode="auto">
            <a:xfrm>
              <a:off x="6101846" y="5033482"/>
              <a:ext cx="54081" cy="3522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6" name="Freeform 183"/>
            <p:cNvSpPr>
              <a:spLocks/>
            </p:cNvSpPr>
            <p:nvPr/>
          </p:nvSpPr>
          <p:spPr bwMode="auto">
            <a:xfrm>
              <a:off x="6100460" y="5382926"/>
              <a:ext cx="97068" cy="54081"/>
            </a:xfrm>
            <a:custGeom>
              <a:avLst/>
              <a:gdLst>
                <a:gd name="T0" fmla="*/ 70 w 70"/>
                <a:gd name="T1" fmla="*/ 31 h 39"/>
                <a:gd name="T2" fmla="*/ 40 w 70"/>
                <a:gd name="T3" fmla="*/ 0 h 39"/>
                <a:gd name="T4" fmla="*/ 0 w 70"/>
                <a:gd name="T5" fmla="*/ 0 h 39"/>
                <a:gd name="T6" fmla="*/ 0 w 70"/>
                <a:gd name="T7" fmla="*/ 39 h 39"/>
                <a:gd name="T8" fmla="*/ 70 w 70"/>
                <a:gd name="T9" fmla="*/ 39 h 39"/>
                <a:gd name="T10" fmla="*/ 70 w 70"/>
                <a:gd name="T11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39">
                  <a:moveTo>
                    <a:pt x="70" y="31"/>
                  </a:moveTo>
                  <a:lnTo>
                    <a:pt x="40" y="0"/>
                  </a:lnTo>
                  <a:lnTo>
                    <a:pt x="0" y="0"/>
                  </a:lnTo>
                  <a:lnTo>
                    <a:pt x="0" y="39"/>
                  </a:lnTo>
                  <a:lnTo>
                    <a:pt x="70" y="39"/>
                  </a:lnTo>
                  <a:lnTo>
                    <a:pt x="70" y="31"/>
                  </a:lnTo>
                  <a:close/>
                </a:path>
              </a:pathLst>
            </a:custGeom>
            <a:solidFill>
              <a:srgbClr val="4423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9" name="Rectangle 186"/>
            <p:cNvSpPr>
              <a:spLocks noChangeArrowheads="1"/>
            </p:cNvSpPr>
            <p:nvPr/>
          </p:nvSpPr>
          <p:spPr bwMode="auto">
            <a:xfrm>
              <a:off x="6834015" y="5033482"/>
              <a:ext cx="54081" cy="3522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2" name="Rectangle 179"/>
            <p:cNvSpPr>
              <a:spLocks noChangeArrowheads="1"/>
            </p:cNvSpPr>
            <p:nvPr/>
          </p:nvSpPr>
          <p:spPr bwMode="auto">
            <a:xfrm>
              <a:off x="6218327" y="4801506"/>
              <a:ext cx="54081" cy="584194"/>
            </a:xfrm>
            <a:prstGeom prst="rect">
              <a:avLst/>
            </a:prstGeom>
            <a:solidFill>
              <a:srgbClr val="4423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4" name="Rectangle 181"/>
            <p:cNvSpPr>
              <a:spLocks noChangeArrowheads="1"/>
            </p:cNvSpPr>
            <p:nvPr/>
          </p:nvSpPr>
          <p:spPr bwMode="auto">
            <a:xfrm>
              <a:off x="6101846" y="4801506"/>
              <a:ext cx="54081" cy="584194"/>
            </a:xfrm>
            <a:prstGeom prst="rect">
              <a:avLst/>
            </a:prstGeom>
            <a:solidFill>
              <a:srgbClr val="4423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1" name="Rectangle 188"/>
            <p:cNvSpPr>
              <a:spLocks noChangeArrowheads="1"/>
            </p:cNvSpPr>
            <p:nvPr/>
          </p:nvSpPr>
          <p:spPr bwMode="auto">
            <a:xfrm>
              <a:off x="6950496" y="5033482"/>
              <a:ext cx="54081" cy="3522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491" name="Group 490"/>
            <p:cNvGrpSpPr/>
            <p:nvPr/>
          </p:nvGrpSpPr>
          <p:grpSpPr>
            <a:xfrm>
              <a:off x="6833786" y="4801506"/>
              <a:ext cx="213549" cy="635501"/>
              <a:chOff x="7121503" y="4811714"/>
              <a:chExt cx="213549" cy="635501"/>
            </a:xfrm>
          </p:grpSpPr>
          <p:sp>
            <p:nvSpPr>
              <p:cNvPr id="407" name="Freeform 184"/>
              <p:cNvSpPr>
                <a:spLocks/>
              </p:cNvSpPr>
              <p:nvPr/>
            </p:nvSpPr>
            <p:spPr bwMode="auto">
              <a:xfrm>
                <a:off x="7121503" y="5393134"/>
                <a:ext cx="97068" cy="54081"/>
              </a:xfrm>
              <a:custGeom>
                <a:avLst/>
                <a:gdLst>
                  <a:gd name="T0" fmla="*/ 0 w 70"/>
                  <a:gd name="T1" fmla="*/ 31 h 39"/>
                  <a:gd name="T2" fmla="*/ 30 w 70"/>
                  <a:gd name="T3" fmla="*/ 0 h 39"/>
                  <a:gd name="T4" fmla="*/ 70 w 70"/>
                  <a:gd name="T5" fmla="*/ 0 h 39"/>
                  <a:gd name="T6" fmla="*/ 70 w 70"/>
                  <a:gd name="T7" fmla="*/ 39 h 39"/>
                  <a:gd name="T8" fmla="*/ 0 w 70"/>
                  <a:gd name="T9" fmla="*/ 39 h 39"/>
                  <a:gd name="T10" fmla="*/ 0 w 70"/>
                  <a:gd name="T11" fmla="*/ 31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0" h="39">
                    <a:moveTo>
                      <a:pt x="0" y="31"/>
                    </a:moveTo>
                    <a:lnTo>
                      <a:pt x="30" y="0"/>
                    </a:lnTo>
                    <a:lnTo>
                      <a:pt x="70" y="0"/>
                    </a:lnTo>
                    <a:lnTo>
                      <a:pt x="70" y="39"/>
                    </a:lnTo>
                    <a:lnTo>
                      <a:pt x="0" y="39"/>
                    </a:lnTo>
                    <a:lnTo>
                      <a:pt x="0" y="31"/>
                    </a:lnTo>
                    <a:close/>
                  </a:path>
                </a:pathLst>
              </a:custGeom>
              <a:solidFill>
                <a:srgbClr val="4423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8" name="Rectangle 185"/>
              <p:cNvSpPr>
                <a:spLocks noChangeArrowheads="1"/>
              </p:cNvSpPr>
              <p:nvPr/>
            </p:nvSpPr>
            <p:spPr bwMode="auto">
              <a:xfrm>
                <a:off x="7164490" y="4811714"/>
                <a:ext cx="54081" cy="584194"/>
              </a:xfrm>
              <a:prstGeom prst="rect">
                <a:avLst/>
              </a:prstGeom>
              <a:solidFill>
                <a:srgbClr val="4423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0" name="Rectangle 187"/>
              <p:cNvSpPr>
                <a:spLocks noChangeArrowheads="1"/>
              </p:cNvSpPr>
              <p:nvPr/>
            </p:nvSpPr>
            <p:spPr bwMode="auto">
              <a:xfrm>
                <a:off x="7280971" y="4811714"/>
                <a:ext cx="54081" cy="584194"/>
              </a:xfrm>
              <a:prstGeom prst="rect">
                <a:avLst/>
              </a:prstGeom>
              <a:solidFill>
                <a:srgbClr val="4423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2" name="Freeform 189"/>
              <p:cNvSpPr>
                <a:spLocks/>
              </p:cNvSpPr>
              <p:nvPr/>
            </p:nvSpPr>
            <p:spPr bwMode="auto">
              <a:xfrm>
                <a:off x="7239370" y="5393134"/>
                <a:ext cx="95682" cy="54081"/>
              </a:xfrm>
              <a:custGeom>
                <a:avLst/>
                <a:gdLst>
                  <a:gd name="T0" fmla="*/ 0 w 69"/>
                  <a:gd name="T1" fmla="*/ 31 h 39"/>
                  <a:gd name="T2" fmla="*/ 29 w 69"/>
                  <a:gd name="T3" fmla="*/ 0 h 39"/>
                  <a:gd name="T4" fmla="*/ 69 w 69"/>
                  <a:gd name="T5" fmla="*/ 0 h 39"/>
                  <a:gd name="T6" fmla="*/ 69 w 69"/>
                  <a:gd name="T7" fmla="*/ 39 h 39"/>
                  <a:gd name="T8" fmla="*/ 0 w 69"/>
                  <a:gd name="T9" fmla="*/ 39 h 39"/>
                  <a:gd name="T10" fmla="*/ 0 w 69"/>
                  <a:gd name="T11" fmla="*/ 31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9" h="39">
                    <a:moveTo>
                      <a:pt x="0" y="31"/>
                    </a:moveTo>
                    <a:lnTo>
                      <a:pt x="29" y="0"/>
                    </a:lnTo>
                    <a:lnTo>
                      <a:pt x="69" y="0"/>
                    </a:lnTo>
                    <a:lnTo>
                      <a:pt x="69" y="39"/>
                    </a:lnTo>
                    <a:lnTo>
                      <a:pt x="0" y="39"/>
                    </a:lnTo>
                    <a:lnTo>
                      <a:pt x="0" y="31"/>
                    </a:lnTo>
                    <a:close/>
                  </a:path>
                </a:pathLst>
              </a:custGeom>
              <a:solidFill>
                <a:srgbClr val="4423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488" name="Group 487"/>
            <p:cNvGrpSpPr/>
            <p:nvPr/>
          </p:nvGrpSpPr>
          <p:grpSpPr>
            <a:xfrm>
              <a:off x="5806483" y="4514272"/>
              <a:ext cx="700275" cy="410459"/>
              <a:chOff x="6136958" y="4524480"/>
              <a:chExt cx="700275" cy="410459"/>
            </a:xfrm>
          </p:grpSpPr>
          <p:sp>
            <p:nvSpPr>
              <p:cNvPr id="414" name="Freeform 191"/>
              <p:cNvSpPr>
                <a:spLocks/>
              </p:cNvSpPr>
              <p:nvPr/>
            </p:nvSpPr>
            <p:spPr bwMode="auto">
              <a:xfrm>
                <a:off x="6136958" y="4524480"/>
                <a:ext cx="700275" cy="410458"/>
              </a:xfrm>
              <a:custGeom>
                <a:avLst/>
                <a:gdLst>
                  <a:gd name="T0" fmla="*/ 942 w 1074"/>
                  <a:gd name="T1" fmla="*/ 336 h 628"/>
                  <a:gd name="T2" fmla="*/ 949 w 1074"/>
                  <a:gd name="T3" fmla="*/ 292 h 628"/>
                  <a:gd name="T4" fmla="*/ 803 w 1074"/>
                  <a:gd name="T5" fmla="*/ 145 h 628"/>
                  <a:gd name="T6" fmla="*/ 762 w 1074"/>
                  <a:gd name="T7" fmla="*/ 151 h 628"/>
                  <a:gd name="T8" fmla="*/ 546 w 1074"/>
                  <a:gd name="T9" fmla="*/ 0 h 628"/>
                  <a:gd name="T10" fmla="*/ 318 w 1074"/>
                  <a:gd name="T11" fmla="*/ 200 h 628"/>
                  <a:gd name="T12" fmla="*/ 257 w 1074"/>
                  <a:gd name="T13" fmla="*/ 188 h 628"/>
                  <a:gd name="T14" fmla="*/ 96 w 1074"/>
                  <a:gd name="T15" fmla="*/ 349 h 628"/>
                  <a:gd name="T16" fmla="*/ 103 w 1074"/>
                  <a:gd name="T17" fmla="*/ 391 h 628"/>
                  <a:gd name="T18" fmla="*/ 0 w 1074"/>
                  <a:gd name="T19" fmla="*/ 508 h 628"/>
                  <a:gd name="T20" fmla="*/ 112 w 1074"/>
                  <a:gd name="T21" fmla="*/ 627 h 628"/>
                  <a:gd name="T22" fmla="*/ 112 w 1074"/>
                  <a:gd name="T23" fmla="*/ 628 h 628"/>
                  <a:gd name="T24" fmla="*/ 927 w 1074"/>
                  <a:gd name="T25" fmla="*/ 628 h 628"/>
                  <a:gd name="T26" fmla="*/ 1074 w 1074"/>
                  <a:gd name="T27" fmla="*/ 481 h 628"/>
                  <a:gd name="T28" fmla="*/ 942 w 1074"/>
                  <a:gd name="T29" fmla="*/ 336 h 6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074" h="628">
                    <a:moveTo>
                      <a:pt x="942" y="336"/>
                    </a:moveTo>
                    <a:cubicBezTo>
                      <a:pt x="946" y="322"/>
                      <a:pt x="949" y="307"/>
                      <a:pt x="949" y="292"/>
                    </a:cubicBezTo>
                    <a:cubicBezTo>
                      <a:pt x="949" y="211"/>
                      <a:pt x="884" y="145"/>
                      <a:pt x="803" y="145"/>
                    </a:cubicBezTo>
                    <a:cubicBezTo>
                      <a:pt x="789" y="145"/>
                      <a:pt x="775" y="148"/>
                      <a:pt x="762" y="151"/>
                    </a:cubicBezTo>
                    <a:cubicBezTo>
                      <a:pt x="730" y="63"/>
                      <a:pt x="645" y="0"/>
                      <a:pt x="546" y="0"/>
                    </a:cubicBezTo>
                    <a:cubicBezTo>
                      <a:pt x="429" y="0"/>
                      <a:pt x="332" y="87"/>
                      <a:pt x="318" y="200"/>
                    </a:cubicBezTo>
                    <a:cubicBezTo>
                      <a:pt x="299" y="192"/>
                      <a:pt x="278" y="188"/>
                      <a:pt x="257" y="188"/>
                    </a:cubicBezTo>
                    <a:cubicBezTo>
                      <a:pt x="168" y="188"/>
                      <a:pt x="96" y="260"/>
                      <a:pt x="96" y="349"/>
                    </a:cubicBezTo>
                    <a:cubicBezTo>
                      <a:pt x="96" y="363"/>
                      <a:pt x="99" y="377"/>
                      <a:pt x="103" y="391"/>
                    </a:cubicBezTo>
                    <a:cubicBezTo>
                      <a:pt x="45" y="399"/>
                      <a:pt x="0" y="449"/>
                      <a:pt x="0" y="508"/>
                    </a:cubicBezTo>
                    <a:cubicBezTo>
                      <a:pt x="0" y="572"/>
                      <a:pt x="50" y="623"/>
                      <a:pt x="112" y="627"/>
                    </a:cubicBezTo>
                    <a:cubicBezTo>
                      <a:pt x="112" y="628"/>
                      <a:pt x="112" y="628"/>
                      <a:pt x="112" y="628"/>
                    </a:cubicBezTo>
                    <a:cubicBezTo>
                      <a:pt x="927" y="628"/>
                      <a:pt x="927" y="628"/>
                      <a:pt x="927" y="628"/>
                    </a:cubicBezTo>
                    <a:cubicBezTo>
                      <a:pt x="1008" y="628"/>
                      <a:pt x="1074" y="562"/>
                      <a:pt x="1074" y="481"/>
                    </a:cubicBezTo>
                    <a:cubicBezTo>
                      <a:pt x="1074" y="405"/>
                      <a:pt x="1016" y="344"/>
                      <a:pt x="942" y="336"/>
                    </a:cubicBezTo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5" name="Freeform 192"/>
              <p:cNvSpPr>
                <a:spLocks/>
              </p:cNvSpPr>
              <p:nvPr/>
            </p:nvSpPr>
            <p:spPr bwMode="auto">
              <a:xfrm>
                <a:off x="6136958" y="4647895"/>
                <a:ext cx="485339" cy="287044"/>
              </a:xfrm>
              <a:custGeom>
                <a:avLst/>
                <a:gdLst>
                  <a:gd name="T0" fmla="*/ 257 w 744"/>
                  <a:gd name="T1" fmla="*/ 0 h 440"/>
                  <a:gd name="T2" fmla="*/ 96 w 744"/>
                  <a:gd name="T3" fmla="*/ 161 h 440"/>
                  <a:gd name="T4" fmla="*/ 103 w 744"/>
                  <a:gd name="T5" fmla="*/ 203 h 440"/>
                  <a:gd name="T6" fmla="*/ 103 w 744"/>
                  <a:gd name="T7" fmla="*/ 203 h 440"/>
                  <a:gd name="T8" fmla="*/ 103 w 744"/>
                  <a:gd name="T9" fmla="*/ 203 h 440"/>
                  <a:gd name="T10" fmla="*/ 0 w 744"/>
                  <a:gd name="T11" fmla="*/ 320 h 440"/>
                  <a:gd name="T12" fmla="*/ 112 w 744"/>
                  <a:gd name="T13" fmla="*/ 439 h 440"/>
                  <a:gd name="T14" fmla="*/ 112 w 744"/>
                  <a:gd name="T15" fmla="*/ 440 h 440"/>
                  <a:gd name="T16" fmla="*/ 744 w 744"/>
                  <a:gd name="T17" fmla="*/ 440 h 440"/>
                  <a:gd name="T18" fmla="*/ 315 w 744"/>
                  <a:gd name="T19" fmla="*/ 11 h 440"/>
                  <a:gd name="T20" fmla="*/ 257 w 744"/>
                  <a:gd name="T21" fmla="*/ 0 h 440"/>
                  <a:gd name="T22" fmla="*/ 257 w 744"/>
                  <a:gd name="T23" fmla="*/ 0 h 4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44" h="440">
                    <a:moveTo>
                      <a:pt x="257" y="0"/>
                    </a:moveTo>
                    <a:cubicBezTo>
                      <a:pt x="168" y="0"/>
                      <a:pt x="96" y="72"/>
                      <a:pt x="96" y="161"/>
                    </a:cubicBezTo>
                    <a:cubicBezTo>
                      <a:pt x="96" y="175"/>
                      <a:pt x="99" y="189"/>
                      <a:pt x="103" y="203"/>
                    </a:cubicBezTo>
                    <a:cubicBezTo>
                      <a:pt x="103" y="203"/>
                      <a:pt x="103" y="203"/>
                      <a:pt x="103" y="203"/>
                    </a:cubicBezTo>
                    <a:cubicBezTo>
                      <a:pt x="103" y="203"/>
                      <a:pt x="103" y="203"/>
                      <a:pt x="103" y="203"/>
                    </a:cubicBezTo>
                    <a:cubicBezTo>
                      <a:pt x="45" y="211"/>
                      <a:pt x="0" y="261"/>
                      <a:pt x="0" y="320"/>
                    </a:cubicBezTo>
                    <a:cubicBezTo>
                      <a:pt x="0" y="384"/>
                      <a:pt x="50" y="435"/>
                      <a:pt x="112" y="439"/>
                    </a:cubicBezTo>
                    <a:cubicBezTo>
                      <a:pt x="112" y="440"/>
                      <a:pt x="112" y="440"/>
                      <a:pt x="112" y="440"/>
                    </a:cubicBezTo>
                    <a:cubicBezTo>
                      <a:pt x="744" y="440"/>
                      <a:pt x="744" y="440"/>
                      <a:pt x="744" y="440"/>
                    </a:cubicBezTo>
                    <a:cubicBezTo>
                      <a:pt x="315" y="11"/>
                      <a:pt x="315" y="11"/>
                      <a:pt x="315" y="11"/>
                    </a:cubicBezTo>
                    <a:cubicBezTo>
                      <a:pt x="297" y="4"/>
                      <a:pt x="278" y="0"/>
                      <a:pt x="257" y="0"/>
                    </a:cubicBezTo>
                    <a:cubicBezTo>
                      <a:pt x="257" y="0"/>
                      <a:pt x="257" y="0"/>
                      <a:pt x="257" y="0"/>
                    </a:cubicBezTo>
                  </a:path>
                </a:pathLst>
              </a:custGeom>
              <a:solidFill>
                <a:srgbClr val="F2F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490" name="Group 489"/>
            <p:cNvGrpSpPr/>
            <p:nvPr/>
          </p:nvGrpSpPr>
          <p:grpSpPr>
            <a:xfrm>
              <a:off x="6678706" y="4551370"/>
              <a:ext cx="558516" cy="391387"/>
              <a:chOff x="7009181" y="4577173"/>
              <a:chExt cx="493660" cy="375792"/>
            </a:xfrm>
          </p:grpSpPr>
          <p:sp>
            <p:nvSpPr>
              <p:cNvPr id="413" name="Freeform 190"/>
              <p:cNvSpPr>
                <a:spLocks/>
              </p:cNvSpPr>
              <p:nvPr/>
            </p:nvSpPr>
            <p:spPr bwMode="auto">
              <a:xfrm>
                <a:off x="7041075" y="4577173"/>
                <a:ext cx="461766" cy="375791"/>
              </a:xfrm>
              <a:custGeom>
                <a:avLst/>
                <a:gdLst>
                  <a:gd name="T0" fmla="*/ 0 w 707"/>
                  <a:gd name="T1" fmla="*/ 36 h 576"/>
                  <a:gd name="T2" fmla="*/ 0 w 707"/>
                  <a:gd name="T3" fmla="*/ 540 h 576"/>
                  <a:gd name="T4" fmla="*/ 36 w 707"/>
                  <a:gd name="T5" fmla="*/ 576 h 576"/>
                  <a:gd name="T6" fmla="*/ 671 w 707"/>
                  <a:gd name="T7" fmla="*/ 576 h 576"/>
                  <a:gd name="T8" fmla="*/ 707 w 707"/>
                  <a:gd name="T9" fmla="*/ 540 h 576"/>
                  <a:gd name="T10" fmla="*/ 707 w 707"/>
                  <a:gd name="T11" fmla="*/ 36 h 576"/>
                  <a:gd name="T12" fmla="*/ 671 w 707"/>
                  <a:gd name="T13" fmla="*/ 0 h 576"/>
                  <a:gd name="T14" fmla="*/ 36 w 707"/>
                  <a:gd name="T15" fmla="*/ 0 h 576"/>
                  <a:gd name="T16" fmla="*/ 0 w 707"/>
                  <a:gd name="T17" fmla="*/ 36 h 5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07" h="576">
                    <a:moveTo>
                      <a:pt x="0" y="36"/>
                    </a:moveTo>
                    <a:cubicBezTo>
                      <a:pt x="0" y="540"/>
                      <a:pt x="0" y="540"/>
                      <a:pt x="0" y="540"/>
                    </a:cubicBezTo>
                    <a:cubicBezTo>
                      <a:pt x="0" y="540"/>
                      <a:pt x="0" y="576"/>
                      <a:pt x="36" y="576"/>
                    </a:cubicBezTo>
                    <a:cubicBezTo>
                      <a:pt x="671" y="576"/>
                      <a:pt x="671" y="576"/>
                      <a:pt x="671" y="576"/>
                    </a:cubicBezTo>
                    <a:cubicBezTo>
                      <a:pt x="671" y="576"/>
                      <a:pt x="707" y="576"/>
                      <a:pt x="707" y="540"/>
                    </a:cubicBezTo>
                    <a:cubicBezTo>
                      <a:pt x="707" y="36"/>
                      <a:pt x="707" y="36"/>
                      <a:pt x="707" y="36"/>
                    </a:cubicBezTo>
                    <a:cubicBezTo>
                      <a:pt x="707" y="36"/>
                      <a:pt x="707" y="0"/>
                      <a:pt x="67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6" y="0"/>
                      <a:pt x="0" y="0"/>
                      <a:pt x="0" y="36"/>
                    </a:cubicBezTo>
                  </a:path>
                </a:pathLst>
              </a:cu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6" name="Freeform 193"/>
              <p:cNvSpPr>
                <a:spLocks/>
              </p:cNvSpPr>
              <p:nvPr/>
            </p:nvSpPr>
            <p:spPr bwMode="auto">
              <a:xfrm>
                <a:off x="7009181" y="4577173"/>
                <a:ext cx="470086" cy="375791"/>
              </a:xfrm>
              <a:custGeom>
                <a:avLst/>
                <a:gdLst>
                  <a:gd name="T0" fmla="*/ 0 w 720"/>
                  <a:gd name="T1" fmla="*/ 36 h 576"/>
                  <a:gd name="T2" fmla="*/ 0 w 720"/>
                  <a:gd name="T3" fmla="*/ 540 h 576"/>
                  <a:gd name="T4" fmla="*/ 36 w 720"/>
                  <a:gd name="T5" fmla="*/ 576 h 576"/>
                  <a:gd name="T6" fmla="*/ 684 w 720"/>
                  <a:gd name="T7" fmla="*/ 576 h 576"/>
                  <a:gd name="T8" fmla="*/ 720 w 720"/>
                  <a:gd name="T9" fmla="*/ 540 h 576"/>
                  <a:gd name="T10" fmla="*/ 720 w 720"/>
                  <a:gd name="T11" fmla="*/ 36 h 576"/>
                  <a:gd name="T12" fmla="*/ 684 w 720"/>
                  <a:gd name="T13" fmla="*/ 0 h 576"/>
                  <a:gd name="T14" fmla="*/ 36 w 720"/>
                  <a:gd name="T15" fmla="*/ 0 h 576"/>
                  <a:gd name="T16" fmla="*/ 0 w 720"/>
                  <a:gd name="T17" fmla="*/ 36 h 5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20" h="576">
                    <a:moveTo>
                      <a:pt x="0" y="36"/>
                    </a:moveTo>
                    <a:cubicBezTo>
                      <a:pt x="0" y="540"/>
                      <a:pt x="0" y="540"/>
                      <a:pt x="0" y="540"/>
                    </a:cubicBezTo>
                    <a:cubicBezTo>
                      <a:pt x="0" y="540"/>
                      <a:pt x="0" y="576"/>
                      <a:pt x="36" y="576"/>
                    </a:cubicBezTo>
                    <a:cubicBezTo>
                      <a:pt x="684" y="576"/>
                      <a:pt x="684" y="576"/>
                      <a:pt x="684" y="576"/>
                    </a:cubicBezTo>
                    <a:cubicBezTo>
                      <a:pt x="684" y="576"/>
                      <a:pt x="720" y="576"/>
                      <a:pt x="720" y="540"/>
                    </a:cubicBezTo>
                    <a:cubicBezTo>
                      <a:pt x="720" y="36"/>
                      <a:pt x="720" y="36"/>
                      <a:pt x="720" y="36"/>
                    </a:cubicBezTo>
                    <a:cubicBezTo>
                      <a:pt x="720" y="36"/>
                      <a:pt x="720" y="0"/>
                      <a:pt x="684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6" y="0"/>
                      <a:pt x="0" y="0"/>
                      <a:pt x="0" y="36"/>
                    </a:cubicBezTo>
                  </a:path>
                </a:pathLst>
              </a:custGeom>
              <a:solidFill>
                <a:srgbClr val="F472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7" name="Rectangle 194"/>
              <p:cNvSpPr>
                <a:spLocks noChangeArrowheads="1"/>
              </p:cNvSpPr>
              <p:nvPr/>
            </p:nvSpPr>
            <p:spPr bwMode="auto">
              <a:xfrm>
                <a:off x="7032754" y="4600747"/>
                <a:ext cx="422939" cy="281497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8" name="Rectangle 195"/>
              <p:cNvSpPr>
                <a:spLocks noChangeArrowheads="1"/>
              </p:cNvSpPr>
              <p:nvPr/>
            </p:nvSpPr>
            <p:spPr bwMode="auto">
              <a:xfrm>
                <a:off x="7032755" y="4600747"/>
                <a:ext cx="422939" cy="28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3" name="Freeform 200"/>
              <p:cNvSpPr>
                <a:spLocks/>
              </p:cNvSpPr>
              <p:nvPr/>
            </p:nvSpPr>
            <p:spPr bwMode="auto">
              <a:xfrm>
                <a:off x="7455693" y="4905818"/>
                <a:ext cx="23574" cy="47147"/>
              </a:xfrm>
              <a:custGeom>
                <a:avLst/>
                <a:gdLst>
                  <a:gd name="T0" fmla="*/ 36 w 36"/>
                  <a:gd name="T1" fmla="*/ 0 h 72"/>
                  <a:gd name="T2" fmla="*/ 36 w 36"/>
                  <a:gd name="T3" fmla="*/ 36 h 72"/>
                  <a:gd name="T4" fmla="*/ 0 w 36"/>
                  <a:gd name="T5" fmla="*/ 72 h 72"/>
                  <a:gd name="T6" fmla="*/ 0 w 36"/>
                  <a:gd name="T7" fmla="*/ 72 h 72"/>
                  <a:gd name="T8" fmla="*/ 36 w 36"/>
                  <a:gd name="T9" fmla="*/ 36 h 72"/>
                  <a:gd name="T10" fmla="*/ 36 w 36"/>
                  <a:gd name="T11" fmla="*/ 0 h 72"/>
                  <a:gd name="T12" fmla="*/ 36 w 36"/>
                  <a:gd name="T13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6" h="72">
                    <a:moveTo>
                      <a:pt x="36" y="0"/>
                    </a:moveTo>
                    <a:cubicBezTo>
                      <a:pt x="36" y="36"/>
                      <a:pt x="36" y="36"/>
                      <a:pt x="36" y="36"/>
                    </a:cubicBezTo>
                    <a:cubicBezTo>
                      <a:pt x="36" y="72"/>
                      <a:pt x="0" y="72"/>
                      <a:pt x="0" y="72"/>
                    </a:cubicBezTo>
                    <a:cubicBezTo>
                      <a:pt x="0" y="72"/>
                      <a:pt x="0" y="72"/>
                      <a:pt x="0" y="72"/>
                    </a:cubicBezTo>
                    <a:cubicBezTo>
                      <a:pt x="0" y="72"/>
                      <a:pt x="36" y="72"/>
                      <a:pt x="36" y="36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6" y="0"/>
                      <a:pt x="36" y="0"/>
                      <a:pt x="36" y="0"/>
                    </a:cubicBezTo>
                  </a:path>
                </a:pathLst>
              </a:custGeom>
              <a:solidFill>
                <a:srgbClr val="591C6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4" name="Freeform 201"/>
              <p:cNvSpPr>
                <a:spLocks/>
              </p:cNvSpPr>
              <p:nvPr/>
            </p:nvSpPr>
            <p:spPr bwMode="auto">
              <a:xfrm>
                <a:off x="7009181" y="4624321"/>
                <a:ext cx="470086" cy="328644"/>
              </a:xfrm>
              <a:custGeom>
                <a:avLst/>
                <a:gdLst>
                  <a:gd name="T0" fmla="*/ 0 w 720"/>
                  <a:gd name="T1" fmla="*/ 0 h 504"/>
                  <a:gd name="T2" fmla="*/ 0 w 720"/>
                  <a:gd name="T3" fmla="*/ 468 h 504"/>
                  <a:gd name="T4" fmla="*/ 36 w 720"/>
                  <a:gd name="T5" fmla="*/ 504 h 504"/>
                  <a:gd name="T6" fmla="*/ 684 w 720"/>
                  <a:gd name="T7" fmla="*/ 504 h 504"/>
                  <a:gd name="T8" fmla="*/ 720 w 720"/>
                  <a:gd name="T9" fmla="*/ 468 h 504"/>
                  <a:gd name="T10" fmla="*/ 720 w 720"/>
                  <a:gd name="T11" fmla="*/ 432 h 504"/>
                  <a:gd name="T12" fmla="*/ 660 w 720"/>
                  <a:gd name="T13" fmla="*/ 396 h 504"/>
                  <a:gd name="T14" fmla="*/ 36 w 720"/>
                  <a:gd name="T15" fmla="*/ 396 h 504"/>
                  <a:gd name="T16" fmla="*/ 36 w 720"/>
                  <a:gd name="T17" fmla="*/ 22 h 504"/>
                  <a:gd name="T18" fmla="*/ 0 w 720"/>
                  <a:gd name="T19" fmla="*/ 0 h 5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0" h="504">
                    <a:moveTo>
                      <a:pt x="0" y="0"/>
                    </a:moveTo>
                    <a:cubicBezTo>
                      <a:pt x="0" y="468"/>
                      <a:pt x="0" y="468"/>
                      <a:pt x="0" y="468"/>
                    </a:cubicBezTo>
                    <a:cubicBezTo>
                      <a:pt x="0" y="468"/>
                      <a:pt x="0" y="504"/>
                      <a:pt x="36" y="504"/>
                    </a:cubicBezTo>
                    <a:cubicBezTo>
                      <a:pt x="684" y="504"/>
                      <a:pt x="684" y="504"/>
                      <a:pt x="684" y="504"/>
                    </a:cubicBezTo>
                    <a:cubicBezTo>
                      <a:pt x="684" y="504"/>
                      <a:pt x="720" y="504"/>
                      <a:pt x="720" y="468"/>
                    </a:cubicBezTo>
                    <a:cubicBezTo>
                      <a:pt x="720" y="432"/>
                      <a:pt x="720" y="432"/>
                      <a:pt x="720" y="432"/>
                    </a:cubicBezTo>
                    <a:cubicBezTo>
                      <a:pt x="660" y="396"/>
                      <a:pt x="660" y="396"/>
                      <a:pt x="660" y="396"/>
                    </a:cubicBezTo>
                    <a:cubicBezTo>
                      <a:pt x="36" y="396"/>
                      <a:pt x="36" y="396"/>
                      <a:pt x="36" y="396"/>
                    </a:cubicBezTo>
                    <a:cubicBezTo>
                      <a:pt x="36" y="22"/>
                      <a:pt x="36" y="22"/>
                      <a:pt x="36" y="22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D061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5" name="Freeform 202"/>
              <p:cNvSpPr>
                <a:spLocks/>
              </p:cNvSpPr>
              <p:nvPr/>
            </p:nvSpPr>
            <p:spPr bwMode="auto">
              <a:xfrm>
                <a:off x="7032755" y="4638187"/>
                <a:ext cx="407685" cy="244056"/>
              </a:xfrm>
              <a:custGeom>
                <a:avLst/>
                <a:gdLst>
                  <a:gd name="T0" fmla="*/ 0 w 294"/>
                  <a:gd name="T1" fmla="*/ 0 h 176"/>
                  <a:gd name="T2" fmla="*/ 0 w 294"/>
                  <a:gd name="T3" fmla="*/ 176 h 176"/>
                  <a:gd name="T4" fmla="*/ 294 w 294"/>
                  <a:gd name="T5" fmla="*/ 176 h 176"/>
                  <a:gd name="T6" fmla="*/ 0 w 294"/>
                  <a:gd name="T7" fmla="*/ 0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4" h="176">
                    <a:moveTo>
                      <a:pt x="0" y="0"/>
                    </a:moveTo>
                    <a:lnTo>
                      <a:pt x="0" y="176"/>
                    </a:lnTo>
                    <a:lnTo>
                      <a:pt x="294" y="1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6" name="Freeform 203"/>
              <p:cNvSpPr>
                <a:spLocks/>
              </p:cNvSpPr>
              <p:nvPr/>
            </p:nvSpPr>
            <p:spPr bwMode="auto">
              <a:xfrm>
                <a:off x="7032755" y="4638187"/>
                <a:ext cx="407685" cy="244056"/>
              </a:xfrm>
              <a:custGeom>
                <a:avLst/>
                <a:gdLst>
                  <a:gd name="T0" fmla="*/ 0 w 294"/>
                  <a:gd name="T1" fmla="*/ 0 h 176"/>
                  <a:gd name="T2" fmla="*/ 0 w 294"/>
                  <a:gd name="T3" fmla="*/ 176 h 176"/>
                  <a:gd name="T4" fmla="*/ 294 w 294"/>
                  <a:gd name="T5" fmla="*/ 176 h 176"/>
                  <a:gd name="T6" fmla="*/ 0 w 294"/>
                  <a:gd name="T7" fmla="*/ 0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4" h="176">
                    <a:moveTo>
                      <a:pt x="0" y="0"/>
                    </a:moveTo>
                    <a:lnTo>
                      <a:pt x="0" y="176"/>
                    </a:lnTo>
                    <a:lnTo>
                      <a:pt x="294" y="176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12" name="Group 511"/>
            <p:cNvGrpSpPr/>
            <p:nvPr/>
          </p:nvGrpSpPr>
          <p:grpSpPr>
            <a:xfrm>
              <a:off x="5922462" y="3715304"/>
              <a:ext cx="528267" cy="759774"/>
              <a:chOff x="6338973" y="4036243"/>
              <a:chExt cx="311509" cy="448024"/>
            </a:xfrm>
          </p:grpSpPr>
          <p:sp>
            <p:nvSpPr>
              <p:cNvPr id="476" name="Rectangle 26"/>
              <p:cNvSpPr>
                <a:spLocks noChangeArrowheads="1"/>
              </p:cNvSpPr>
              <p:nvPr/>
            </p:nvSpPr>
            <p:spPr bwMode="auto">
              <a:xfrm>
                <a:off x="6604672" y="4036243"/>
                <a:ext cx="45810" cy="448024"/>
              </a:xfrm>
              <a:prstGeom prst="rect">
                <a:avLst/>
              </a:prstGeom>
              <a:solidFill>
                <a:srgbClr val="3410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7" name="Rectangle 28"/>
              <p:cNvSpPr>
                <a:spLocks noChangeArrowheads="1"/>
              </p:cNvSpPr>
              <p:nvPr/>
            </p:nvSpPr>
            <p:spPr bwMode="auto">
              <a:xfrm>
                <a:off x="6538705" y="4369741"/>
                <a:ext cx="46726" cy="114526"/>
              </a:xfrm>
              <a:prstGeom prst="rect">
                <a:avLst/>
              </a:prstGeom>
              <a:solidFill>
                <a:srgbClr val="4E195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8" name="Rectangle 30"/>
              <p:cNvSpPr>
                <a:spLocks noChangeArrowheads="1"/>
              </p:cNvSpPr>
              <p:nvPr/>
            </p:nvSpPr>
            <p:spPr bwMode="auto">
              <a:xfrm>
                <a:off x="6471822" y="4174589"/>
                <a:ext cx="46726" cy="309677"/>
              </a:xfrm>
              <a:prstGeom prst="rect">
                <a:avLst/>
              </a:prstGeom>
              <a:solidFill>
                <a:srgbClr val="B957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9" name="Rectangle 32"/>
              <p:cNvSpPr>
                <a:spLocks noChangeArrowheads="1"/>
              </p:cNvSpPr>
              <p:nvPr/>
            </p:nvSpPr>
            <p:spPr bwMode="auto">
              <a:xfrm>
                <a:off x="6404023" y="4093963"/>
                <a:ext cx="47643" cy="390303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0" name="Rectangle 34"/>
              <p:cNvSpPr>
                <a:spLocks noChangeArrowheads="1"/>
              </p:cNvSpPr>
              <p:nvPr/>
            </p:nvSpPr>
            <p:spPr bwMode="auto">
              <a:xfrm>
                <a:off x="6338973" y="4241473"/>
                <a:ext cx="45810" cy="242794"/>
              </a:xfrm>
              <a:prstGeom prst="rect">
                <a:avLst/>
              </a:prstGeom>
              <a:solidFill>
                <a:srgbClr val="D08F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09" name="Group 508"/>
            <p:cNvGrpSpPr/>
            <p:nvPr/>
          </p:nvGrpSpPr>
          <p:grpSpPr>
            <a:xfrm>
              <a:off x="6780820" y="4606328"/>
              <a:ext cx="326143" cy="226346"/>
              <a:chOff x="9685336" y="5118101"/>
              <a:chExt cx="847725" cy="639762"/>
            </a:xfrm>
          </p:grpSpPr>
          <p:sp>
            <p:nvSpPr>
              <p:cNvPr id="492" name="Rectangle 11"/>
              <p:cNvSpPr>
                <a:spLocks noChangeArrowheads="1"/>
              </p:cNvSpPr>
              <p:nvPr/>
            </p:nvSpPr>
            <p:spPr bwMode="auto">
              <a:xfrm>
                <a:off x="9832974" y="5522913"/>
                <a:ext cx="177800" cy="26988"/>
              </a:xfrm>
              <a:prstGeom prst="rect">
                <a:avLst/>
              </a:prstGeom>
              <a:solidFill>
                <a:srgbClr val="0072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3" name="Rectangle 12"/>
              <p:cNvSpPr>
                <a:spLocks noChangeArrowheads="1"/>
              </p:cNvSpPr>
              <p:nvPr/>
            </p:nvSpPr>
            <p:spPr bwMode="auto">
              <a:xfrm>
                <a:off x="9788524" y="5522913"/>
                <a:ext cx="28575" cy="26988"/>
              </a:xfrm>
              <a:prstGeom prst="rect">
                <a:avLst/>
              </a:prstGeom>
              <a:solidFill>
                <a:srgbClr val="0072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4" name="Rectangle 13"/>
              <p:cNvSpPr>
                <a:spLocks noChangeArrowheads="1"/>
              </p:cNvSpPr>
              <p:nvPr/>
            </p:nvSpPr>
            <p:spPr bwMode="auto">
              <a:xfrm>
                <a:off x="9832974" y="5580063"/>
                <a:ext cx="192087" cy="26988"/>
              </a:xfrm>
              <a:prstGeom prst="rect">
                <a:avLst/>
              </a:prstGeom>
              <a:solidFill>
                <a:srgbClr val="0072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5" name="Rectangle 14"/>
              <p:cNvSpPr>
                <a:spLocks noChangeArrowheads="1"/>
              </p:cNvSpPr>
              <p:nvPr/>
            </p:nvSpPr>
            <p:spPr bwMode="auto">
              <a:xfrm>
                <a:off x="9788524" y="5580063"/>
                <a:ext cx="28575" cy="26988"/>
              </a:xfrm>
              <a:prstGeom prst="rect">
                <a:avLst/>
              </a:prstGeom>
              <a:solidFill>
                <a:srgbClr val="0072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6" name="Rectangle 15"/>
              <p:cNvSpPr>
                <a:spLocks noChangeArrowheads="1"/>
              </p:cNvSpPr>
              <p:nvPr/>
            </p:nvSpPr>
            <p:spPr bwMode="auto">
              <a:xfrm>
                <a:off x="9832974" y="5635626"/>
                <a:ext cx="141287" cy="26988"/>
              </a:xfrm>
              <a:prstGeom prst="rect">
                <a:avLst/>
              </a:prstGeom>
              <a:solidFill>
                <a:srgbClr val="0072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7" name="Rectangle 16"/>
              <p:cNvSpPr>
                <a:spLocks noChangeArrowheads="1"/>
              </p:cNvSpPr>
              <p:nvPr/>
            </p:nvSpPr>
            <p:spPr bwMode="auto">
              <a:xfrm>
                <a:off x="9788524" y="5635626"/>
                <a:ext cx="28575" cy="26988"/>
              </a:xfrm>
              <a:prstGeom prst="rect">
                <a:avLst/>
              </a:prstGeom>
              <a:solidFill>
                <a:srgbClr val="0072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8" name="Rectangle 17"/>
              <p:cNvSpPr>
                <a:spLocks noChangeArrowheads="1"/>
              </p:cNvSpPr>
              <p:nvPr/>
            </p:nvSpPr>
            <p:spPr bwMode="auto">
              <a:xfrm>
                <a:off x="9985374" y="5311776"/>
                <a:ext cx="36512" cy="150813"/>
              </a:xfrm>
              <a:prstGeom prst="rect">
                <a:avLst/>
              </a:prstGeom>
              <a:solidFill>
                <a:srgbClr val="3410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9" name="Rectangle 18"/>
              <p:cNvSpPr>
                <a:spLocks noChangeArrowheads="1"/>
              </p:cNvSpPr>
              <p:nvPr/>
            </p:nvSpPr>
            <p:spPr bwMode="auto">
              <a:xfrm>
                <a:off x="9936161" y="5422901"/>
                <a:ext cx="36512" cy="39688"/>
              </a:xfrm>
              <a:prstGeom prst="rect">
                <a:avLst/>
              </a:prstGeom>
              <a:solidFill>
                <a:srgbClr val="4E195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0" name="Rectangle 19"/>
              <p:cNvSpPr>
                <a:spLocks noChangeArrowheads="1"/>
              </p:cNvSpPr>
              <p:nvPr/>
            </p:nvSpPr>
            <p:spPr bwMode="auto">
              <a:xfrm>
                <a:off x="9888536" y="5357813"/>
                <a:ext cx="34925" cy="104775"/>
              </a:xfrm>
              <a:prstGeom prst="rect">
                <a:avLst/>
              </a:prstGeom>
              <a:solidFill>
                <a:srgbClr val="B957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1" name="Rectangle 20"/>
              <p:cNvSpPr>
                <a:spLocks noChangeArrowheads="1"/>
              </p:cNvSpPr>
              <p:nvPr/>
            </p:nvSpPr>
            <p:spPr bwMode="auto">
              <a:xfrm>
                <a:off x="9836149" y="5332413"/>
                <a:ext cx="33337" cy="130175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2" name="Rectangle 21"/>
              <p:cNvSpPr>
                <a:spLocks noChangeArrowheads="1"/>
              </p:cNvSpPr>
              <p:nvPr/>
            </p:nvSpPr>
            <p:spPr bwMode="auto">
              <a:xfrm>
                <a:off x="9785349" y="5380038"/>
                <a:ext cx="36512" cy="82550"/>
              </a:xfrm>
              <a:prstGeom prst="rect">
                <a:avLst/>
              </a:prstGeom>
              <a:solidFill>
                <a:srgbClr val="D08F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3" name="Freeform 22"/>
              <p:cNvSpPr>
                <a:spLocks/>
              </p:cNvSpPr>
              <p:nvPr/>
            </p:nvSpPr>
            <p:spPr bwMode="auto">
              <a:xfrm>
                <a:off x="10106024" y="5372101"/>
                <a:ext cx="282575" cy="280988"/>
              </a:xfrm>
              <a:custGeom>
                <a:avLst/>
                <a:gdLst>
                  <a:gd name="T0" fmla="*/ 88 w 178"/>
                  <a:gd name="T1" fmla="*/ 0 h 177"/>
                  <a:gd name="T2" fmla="*/ 88 w 178"/>
                  <a:gd name="T3" fmla="*/ 0 h 177"/>
                  <a:gd name="T4" fmla="*/ 80 w 178"/>
                  <a:gd name="T5" fmla="*/ 0 h 177"/>
                  <a:gd name="T6" fmla="*/ 70 w 178"/>
                  <a:gd name="T7" fmla="*/ 1 h 177"/>
                  <a:gd name="T8" fmla="*/ 63 w 178"/>
                  <a:gd name="T9" fmla="*/ 4 h 177"/>
                  <a:gd name="T10" fmla="*/ 55 w 178"/>
                  <a:gd name="T11" fmla="*/ 7 h 177"/>
                  <a:gd name="T12" fmla="*/ 46 w 178"/>
                  <a:gd name="T13" fmla="*/ 11 h 177"/>
                  <a:gd name="T14" fmla="*/ 39 w 178"/>
                  <a:gd name="T15" fmla="*/ 14 h 177"/>
                  <a:gd name="T16" fmla="*/ 32 w 178"/>
                  <a:gd name="T17" fmla="*/ 21 h 177"/>
                  <a:gd name="T18" fmla="*/ 27 w 178"/>
                  <a:gd name="T19" fmla="*/ 25 h 177"/>
                  <a:gd name="T20" fmla="*/ 20 w 178"/>
                  <a:gd name="T21" fmla="*/ 32 h 177"/>
                  <a:gd name="T22" fmla="*/ 15 w 178"/>
                  <a:gd name="T23" fmla="*/ 39 h 177"/>
                  <a:gd name="T24" fmla="*/ 10 w 178"/>
                  <a:gd name="T25" fmla="*/ 47 h 177"/>
                  <a:gd name="T26" fmla="*/ 7 w 178"/>
                  <a:gd name="T27" fmla="*/ 54 h 177"/>
                  <a:gd name="T28" fmla="*/ 4 w 178"/>
                  <a:gd name="T29" fmla="*/ 61 h 177"/>
                  <a:gd name="T30" fmla="*/ 1 w 178"/>
                  <a:gd name="T31" fmla="*/ 71 h 177"/>
                  <a:gd name="T32" fmla="*/ 0 w 178"/>
                  <a:gd name="T33" fmla="*/ 80 h 177"/>
                  <a:gd name="T34" fmla="*/ 0 w 178"/>
                  <a:gd name="T35" fmla="*/ 89 h 177"/>
                  <a:gd name="T36" fmla="*/ 0 w 178"/>
                  <a:gd name="T37" fmla="*/ 98 h 177"/>
                  <a:gd name="T38" fmla="*/ 1 w 178"/>
                  <a:gd name="T39" fmla="*/ 106 h 177"/>
                  <a:gd name="T40" fmla="*/ 4 w 178"/>
                  <a:gd name="T41" fmla="*/ 116 h 177"/>
                  <a:gd name="T42" fmla="*/ 7 w 178"/>
                  <a:gd name="T43" fmla="*/ 123 h 177"/>
                  <a:gd name="T44" fmla="*/ 10 w 178"/>
                  <a:gd name="T45" fmla="*/ 131 h 177"/>
                  <a:gd name="T46" fmla="*/ 15 w 178"/>
                  <a:gd name="T47" fmla="*/ 138 h 177"/>
                  <a:gd name="T48" fmla="*/ 20 w 178"/>
                  <a:gd name="T49" fmla="*/ 145 h 177"/>
                  <a:gd name="T50" fmla="*/ 27 w 178"/>
                  <a:gd name="T51" fmla="*/ 152 h 177"/>
                  <a:gd name="T52" fmla="*/ 32 w 178"/>
                  <a:gd name="T53" fmla="*/ 158 h 177"/>
                  <a:gd name="T54" fmla="*/ 39 w 178"/>
                  <a:gd name="T55" fmla="*/ 163 h 177"/>
                  <a:gd name="T56" fmla="*/ 46 w 178"/>
                  <a:gd name="T57" fmla="*/ 166 h 177"/>
                  <a:gd name="T58" fmla="*/ 55 w 178"/>
                  <a:gd name="T59" fmla="*/ 170 h 177"/>
                  <a:gd name="T60" fmla="*/ 63 w 178"/>
                  <a:gd name="T61" fmla="*/ 173 h 177"/>
                  <a:gd name="T62" fmla="*/ 70 w 178"/>
                  <a:gd name="T63" fmla="*/ 176 h 177"/>
                  <a:gd name="T64" fmla="*/ 80 w 178"/>
                  <a:gd name="T65" fmla="*/ 177 h 177"/>
                  <a:gd name="T66" fmla="*/ 88 w 178"/>
                  <a:gd name="T67" fmla="*/ 177 h 177"/>
                  <a:gd name="T68" fmla="*/ 98 w 178"/>
                  <a:gd name="T69" fmla="*/ 177 h 177"/>
                  <a:gd name="T70" fmla="*/ 106 w 178"/>
                  <a:gd name="T71" fmla="*/ 176 h 177"/>
                  <a:gd name="T72" fmla="*/ 115 w 178"/>
                  <a:gd name="T73" fmla="*/ 173 h 177"/>
                  <a:gd name="T74" fmla="*/ 123 w 178"/>
                  <a:gd name="T75" fmla="*/ 170 h 177"/>
                  <a:gd name="T76" fmla="*/ 130 w 178"/>
                  <a:gd name="T77" fmla="*/ 166 h 177"/>
                  <a:gd name="T78" fmla="*/ 139 w 178"/>
                  <a:gd name="T79" fmla="*/ 163 h 177"/>
                  <a:gd name="T80" fmla="*/ 144 w 178"/>
                  <a:gd name="T81" fmla="*/ 158 h 177"/>
                  <a:gd name="T82" fmla="*/ 151 w 178"/>
                  <a:gd name="T83" fmla="*/ 152 h 177"/>
                  <a:gd name="T84" fmla="*/ 157 w 178"/>
                  <a:gd name="T85" fmla="*/ 147 h 177"/>
                  <a:gd name="T86" fmla="*/ 161 w 178"/>
                  <a:gd name="T87" fmla="*/ 140 h 177"/>
                  <a:gd name="T88" fmla="*/ 167 w 178"/>
                  <a:gd name="T89" fmla="*/ 133 h 177"/>
                  <a:gd name="T90" fmla="*/ 169 w 178"/>
                  <a:gd name="T91" fmla="*/ 124 h 177"/>
                  <a:gd name="T92" fmla="*/ 174 w 178"/>
                  <a:gd name="T93" fmla="*/ 116 h 177"/>
                  <a:gd name="T94" fmla="*/ 175 w 178"/>
                  <a:gd name="T95" fmla="*/ 109 h 177"/>
                  <a:gd name="T96" fmla="*/ 176 w 178"/>
                  <a:gd name="T97" fmla="*/ 100 h 177"/>
                  <a:gd name="T98" fmla="*/ 178 w 178"/>
                  <a:gd name="T99" fmla="*/ 91 h 177"/>
                  <a:gd name="T100" fmla="*/ 88 w 178"/>
                  <a:gd name="T101" fmla="*/ 91 h 177"/>
                  <a:gd name="T102" fmla="*/ 88 w 178"/>
                  <a:gd name="T103" fmla="*/ 0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78" h="177">
                    <a:moveTo>
                      <a:pt x="88" y="0"/>
                    </a:moveTo>
                    <a:lnTo>
                      <a:pt x="88" y="0"/>
                    </a:lnTo>
                    <a:lnTo>
                      <a:pt x="80" y="0"/>
                    </a:lnTo>
                    <a:lnTo>
                      <a:pt x="70" y="1"/>
                    </a:lnTo>
                    <a:lnTo>
                      <a:pt x="63" y="4"/>
                    </a:lnTo>
                    <a:lnTo>
                      <a:pt x="55" y="7"/>
                    </a:lnTo>
                    <a:lnTo>
                      <a:pt x="46" y="11"/>
                    </a:lnTo>
                    <a:lnTo>
                      <a:pt x="39" y="14"/>
                    </a:lnTo>
                    <a:lnTo>
                      <a:pt x="32" y="21"/>
                    </a:lnTo>
                    <a:lnTo>
                      <a:pt x="27" y="25"/>
                    </a:lnTo>
                    <a:lnTo>
                      <a:pt x="20" y="32"/>
                    </a:lnTo>
                    <a:lnTo>
                      <a:pt x="15" y="39"/>
                    </a:lnTo>
                    <a:lnTo>
                      <a:pt x="10" y="47"/>
                    </a:lnTo>
                    <a:lnTo>
                      <a:pt x="7" y="54"/>
                    </a:lnTo>
                    <a:lnTo>
                      <a:pt x="4" y="61"/>
                    </a:lnTo>
                    <a:lnTo>
                      <a:pt x="1" y="71"/>
                    </a:lnTo>
                    <a:lnTo>
                      <a:pt x="0" y="80"/>
                    </a:lnTo>
                    <a:lnTo>
                      <a:pt x="0" y="89"/>
                    </a:lnTo>
                    <a:lnTo>
                      <a:pt x="0" y="98"/>
                    </a:lnTo>
                    <a:lnTo>
                      <a:pt x="1" y="106"/>
                    </a:lnTo>
                    <a:lnTo>
                      <a:pt x="4" y="116"/>
                    </a:lnTo>
                    <a:lnTo>
                      <a:pt x="7" y="123"/>
                    </a:lnTo>
                    <a:lnTo>
                      <a:pt x="10" y="131"/>
                    </a:lnTo>
                    <a:lnTo>
                      <a:pt x="15" y="138"/>
                    </a:lnTo>
                    <a:lnTo>
                      <a:pt x="20" y="145"/>
                    </a:lnTo>
                    <a:lnTo>
                      <a:pt x="27" y="152"/>
                    </a:lnTo>
                    <a:lnTo>
                      <a:pt x="32" y="158"/>
                    </a:lnTo>
                    <a:lnTo>
                      <a:pt x="39" y="163"/>
                    </a:lnTo>
                    <a:lnTo>
                      <a:pt x="46" y="166"/>
                    </a:lnTo>
                    <a:lnTo>
                      <a:pt x="55" y="170"/>
                    </a:lnTo>
                    <a:lnTo>
                      <a:pt x="63" y="173"/>
                    </a:lnTo>
                    <a:lnTo>
                      <a:pt x="70" y="176"/>
                    </a:lnTo>
                    <a:lnTo>
                      <a:pt x="80" y="177"/>
                    </a:lnTo>
                    <a:lnTo>
                      <a:pt x="88" y="177"/>
                    </a:lnTo>
                    <a:lnTo>
                      <a:pt x="98" y="177"/>
                    </a:lnTo>
                    <a:lnTo>
                      <a:pt x="106" y="176"/>
                    </a:lnTo>
                    <a:lnTo>
                      <a:pt x="115" y="173"/>
                    </a:lnTo>
                    <a:lnTo>
                      <a:pt x="123" y="170"/>
                    </a:lnTo>
                    <a:lnTo>
                      <a:pt x="130" y="166"/>
                    </a:lnTo>
                    <a:lnTo>
                      <a:pt x="139" y="163"/>
                    </a:lnTo>
                    <a:lnTo>
                      <a:pt x="144" y="158"/>
                    </a:lnTo>
                    <a:lnTo>
                      <a:pt x="151" y="152"/>
                    </a:lnTo>
                    <a:lnTo>
                      <a:pt x="157" y="147"/>
                    </a:lnTo>
                    <a:lnTo>
                      <a:pt x="161" y="140"/>
                    </a:lnTo>
                    <a:lnTo>
                      <a:pt x="167" y="133"/>
                    </a:lnTo>
                    <a:lnTo>
                      <a:pt x="169" y="124"/>
                    </a:lnTo>
                    <a:lnTo>
                      <a:pt x="174" y="116"/>
                    </a:lnTo>
                    <a:lnTo>
                      <a:pt x="175" y="109"/>
                    </a:lnTo>
                    <a:lnTo>
                      <a:pt x="176" y="100"/>
                    </a:lnTo>
                    <a:lnTo>
                      <a:pt x="178" y="91"/>
                    </a:lnTo>
                    <a:lnTo>
                      <a:pt x="88" y="91"/>
                    </a:lnTo>
                    <a:lnTo>
                      <a:pt x="88" y="0"/>
                    </a:lnTo>
                    <a:close/>
                  </a:path>
                </a:pathLst>
              </a:custGeom>
              <a:solidFill>
                <a:srgbClr val="DC3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4" name="Rectangle 23"/>
              <p:cNvSpPr>
                <a:spLocks noChangeArrowheads="1"/>
              </p:cNvSpPr>
              <p:nvPr/>
            </p:nvSpPr>
            <p:spPr bwMode="auto">
              <a:xfrm>
                <a:off x="10410824" y="5154613"/>
                <a:ext cx="26987" cy="25400"/>
              </a:xfrm>
              <a:prstGeom prst="rect">
                <a:avLst/>
              </a:prstGeom>
              <a:solidFill>
                <a:srgbClr val="00827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5" name="Freeform 24"/>
              <p:cNvSpPr>
                <a:spLocks noEditPoints="1"/>
              </p:cNvSpPr>
              <p:nvPr/>
            </p:nvSpPr>
            <p:spPr bwMode="auto">
              <a:xfrm>
                <a:off x="9688510" y="5118101"/>
                <a:ext cx="844551" cy="84139"/>
              </a:xfrm>
              <a:custGeom>
                <a:avLst/>
                <a:gdLst>
                  <a:gd name="T0" fmla="*/ 0 w 532"/>
                  <a:gd name="T1" fmla="*/ 0 h 53"/>
                  <a:gd name="T2" fmla="*/ 0 w 532"/>
                  <a:gd name="T3" fmla="*/ 53 h 53"/>
                  <a:gd name="T4" fmla="*/ 532 w 532"/>
                  <a:gd name="T5" fmla="*/ 53 h 53"/>
                  <a:gd name="T6" fmla="*/ 532 w 532"/>
                  <a:gd name="T7" fmla="*/ 0 h 53"/>
                  <a:gd name="T8" fmla="*/ 0 w 532"/>
                  <a:gd name="T9" fmla="*/ 0 h 53"/>
                  <a:gd name="T10" fmla="*/ 434 w 532"/>
                  <a:gd name="T11" fmla="*/ 45 h 53"/>
                  <a:gd name="T12" fmla="*/ 402 w 532"/>
                  <a:gd name="T13" fmla="*/ 45 h 53"/>
                  <a:gd name="T14" fmla="*/ 402 w 532"/>
                  <a:gd name="T15" fmla="*/ 37 h 53"/>
                  <a:gd name="T16" fmla="*/ 434 w 532"/>
                  <a:gd name="T17" fmla="*/ 37 h 53"/>
                  <a:gd name="T18" fmla="*/ 434 w 532"/>
                  <a:gd name="T19" fmla="*/ 45 h 53"/>
                  <a:gd name="T20" fmla="*/ 477 w 532"/>
                  <a:gd name="T21" fmla="*/ 45 h 53"/>
                  <a:gd name="T22" fmla="*/ 449 w 532"/>
                  <a:gd name="T23" fmla="*/ 45 h 53"/>
                  <a:gd name="T24" fmla="*/ 449 w 532"/>
                  <a:gd name="T25" fmla="*/ 16 h 53"/>
                  <a:gd name="T26" fmla="*/ 477 w 532"/>
                  <a:gd name="T27" fmla="*/ 16 h 53"/>
                  <a:gd name="T28" fmla="*/ 477 w 532"/>
                  <a:gd name="T29" fmla="*/ 45 h 53"/>
                  <a:gd name="T30" fmla="*/ 521 w 532"/>
                  <a:gd name="T31" fmla="*/ 39 h 53"/>
                  <a:gd name="T32" fmla="*/ 515 w 532"/>
                  <a:gd name="T33" fmla="*/ 45 h 53"/>
                  <a:gd name="T34" fmla="*/ 507 w 532"/>
                  <a:gd name="T35" fmla="*/ 38 h 53"/>
                  <a:gd name="T36" fmla="*/ 498 w 532"/>
                  <a:gd name="T37" fmla="*/ 45 h 53"/>
                  <a:gd name="T38" fmla="*/ 493 w 532"/>
                  <a:gd name="T39" fmla="*/ 39 h 53"/>
                  <a:gd name="T40" fmla="*/ 500 w 532"/>
                  <a:gd name="T41" fmla="*/ 31 h 53"/>
                  <a:gd name="T42" fmla="*/ 493 w 532"/>
                  <a:gd name="T43" fmla="*/ 23 h 53"/>
                  <a:gd name="T44" fmla="*/ 498 w 532"/>
                  <a:gd name="T45" fmla="*/ 16 h 53"/>
                  <a:gd name="T46" fmla="*/ 507 w 532"/>
                  <a:gd name="T47" fmla="*/ 24 h 53"/>
                  <a:gd name="T48" fmla="*/ 515 w 532"/>
                  <a:gd name="T49" fmla="*/ 16 h 53"/>
                  <a:gd name="T50" fmla="*/ 521 w 532"/>
                  <a:gd name="T51" fmla="*/ 23 h 53"/>
                  <a:gd name="T52" fmla="*/ 512 w 532"/>
                  <a:gd name="T53" fmla="*/ 31 h 53"/>
                  <a:gd name="T54" fmla="*/ 521 w 532"/>
                  <a:gd name="T55" fmla="*/ 39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532" h="53">
                    <a:moveTo>
                      <a:pt x="0" y="0"/>
                    </a:moveTo>
                    <a:lnTo>
                      <a:pt x="0" y="53"/>
                    </a:lnTo>
                    <a:lnTo>
                      <a:pt x="532" y="53"/>
                    </a:lnTo>
                    <a:lnTo>
                      <a:pt x="532" y="0"/>
                    </a:lnTo>
                    <a:lnTo>
                      <a:pt x="0" y="0"/>
                    </a:lnTo>
                    <a:close/>
                    <a:moveTo>
                      <a:pt x="434" y="45"/>
                    </a:moveTo>
                    <a:lnTo>
                      <a:pt x="402" y="45"/>
                    </a:lnTo>
                    <a:lnTo>
                      <a:pt x="402" y="37"/>
                    </a:lnTo>
                    <a:lnTo>
                      <a:pt x="434" y="37"/>
                    </a:lnTo>
                    <a:lnTo>
                      <a:pt x="434" y="45"/>
                    </a:lnTo>
                    <a:close/>
                    <a:moveTo>
                      <a:pt x="477" y="45"/>
                    </a:moveTo>
                    <a:lnTo>
                      <a:pt x="449" y="45"/>
                    </a:lnTo>
                    <a:lnTo>
                      <a:pt x="449" y="16"/>
                    </a:lnTo>
                    <a:lnTo>
                      <a:pt x="477" y="16"/>
                    </a:lnTo>
                    <a:lnTo>
                      <a:pt x="477" y="45"/>
                    </a:lnTo>
                    <a:close/>
                    <a:moveTo>
                      <a:pt x="521" y="39"/>
                    </a:moveTo>
                    <a:lnTo>
                      <a:pt x="515" y="45"/>
                    </a:lnTo>
                    <a:lnTo>
                      <a:pt x="507" y="38"/>
                    </a:lnTo>
                    <a:lnTo>
                      <a:pt x="498" y="45"/>
                    </a:lnTo>
                    <a:lnTo>
                      <a:pt x="493" y="39"/>
                    </a:lnTo>
                    <a:lnTo>
                      <a:pt x="500" y="31"/>
                    </a:lnTo>
                    <a:lnTo>
                      <a:pt x="493" y="23"/>
                    </a:lnTo>
                    <a:lnTo>
                      <a:pt x="498" y="16"/>
                    </a:lnTo>
                    <a:lnTo>
                      <a:pt x="507" y="24"/>
                    </a:lnTo>
                    <a:lnTo>
                      <a:pt x="515" y="16"/>
                    </a:lnTo>
                    <a:lnTo>
                      <a:pt x="521" y="23"/>
                    </a:lnTo>
                    <a:lnTo>
                      <a:pt x="512" y="31"/>
                    </a:lnTo>
                    <a:lnTo>
                      <a:pt x="521" y="39"/>
                    </a:lnTo>
                    <a:close/>
                  </a:path>
                </a:pathLst>
              </a:custGeom>
              <a:solidFill>
                <a:srgbClr val="00827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6" name="Freeform 25"/>
              <p:cNvSpPr>
                <a:spLocks noEditPoints="1"/>
              </p:cNvSpPr>
              <p:nvPr/>
            </p:nvSpPr>
            <p:spPr bwMode="auto">
              <a:xfrm>
                <a:off x="9685336" y="5221287"/>
                <a:ext cx="842962" cy="536576"/>
              </a:xfrm>
              <a:custGeom>
                <a:avLst/>
                <a:gdLst>
                  <a:gd name="T0" fmla="*/ 0 w 531"/>
                  <a:gd name="T1" fmla="*/ 0 h 338"/>
                  <a:gd name="T2" fmla="*/ 0 w 531"/>
                  <a:gd name="T3" fmla="*/ 338 h 338"/>
                  <a:gd name="T4" fmla="*/ 531 w 531"/>
                  <a:gd name="T5" fmla="*/ 338 h 338"/>
                  <a:gd name="T6" fmla="*/ 531 w 531"/>
                  <a:gd name="T7" fmla="*/ 0 h 338"/>
                  <a:gd name="T8" fmla="*/ 0 w 531"/>
                  <a:gd name="T9" fmla="*/ 0 h 338"/>
                  <a:gd name="T10" fmla="*/ 506 w 531"/>
                  <a:gd name="T11" fmla="*/ 313 h 338"/>
                  <a:gd name="T12" fmla="*/ 27 w 531"/>
                  <a:gd name="T13" fmla="*/ 313 h 338"/>
                  <a:gd name="T14" fmla="*/ 27 w 531"/>
                  <a:gd name="T15" fmla="*/ 26 h 338"/>
                  <a:gd name="T16" fmla="*/ 506 w 531"/>
                  <a:gd name="T17" fmla="*/ 26 h 338"/>
                  <a:gd name="T18" fmla="*/ 506 w 531"/>
                  <a:gd name="T19" fmla="*/ 313 h 3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31" h="338">
                    <a:moveTo>
                      <a:pt x="0" y="0"/>
                    </a:moveTo>
                    <a:lnTo>
                      <a:pt x="0" y="338"/>
                    </a:lnTo>
                    <a:lnTo>
                      <a:pt x="531" y="338"/>
                    </a:lnTo>
                    <a:lnTo>
                      <a:pt x="531" y="0"/>
                    </a:lnTo>
                    <a:lnTo>
                      <a:pt x="0" y="0"/>
                    </a:lnTo>
                    <a:close/>
                    <a:moveTo>
                      <a:pt x="506" y="313"/>
                    </a:moveTo>
                    <a:lnTo>
                      <a:pt x="27" y="313"/>
                    </a:lnTo>
                    <a:lnTo>
                      <a:pt x="27" y="26"/>
                    </a:lnTo>
                    <a:lnTo>
                      <a:pt x="506" y="26"/>
                    </a:lnTo>
                    <a:lnTo>
                      <a:pt x="506" y="313"/>
                    </a:lnTo>
                    <a:close/>
                  </a:path>
                </a:pathLst>
              </a:custGeom>
              <a:solidFill>
                <a:srgbClr val="00827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7" name="Freeform 64"/>
              <p:cNvSpPr>
                <a:spLocks/>
              </p:cNvSpPr>
              <p:nvPr/>
            </p:nvSpPr>
            <p:spPr bwMode="auto">
              <a:xfrm>
                <a:off x="10272711" y="5345113"/>
                <a:ext cx="142875" cy="144463"/>
              </a:xfrm>
              <a:custGeom>
                <a:avLst/>
                <a:gdLst>
                  <a:gd name="T0" fmla="*/ 0 w 90"/>
                  <a:gd name="T1" fmla="*/ 0 h 91"/>
                  <a:gd name="T2" fmla="*/ 0 w 90"/>
                  <a:gd name="T3" fmla="*/ 91 h 91"/>
                  <a:gd name="T4" fmla="*/ 90 w 90"/>
                  <a:gd name="T5" fmla="*/ 91 h 91"/>
                  <a:gd name="T6" fmla="*/ 90 w 90"/>
                  <a:gd name="T7" fmla="*/ 90 h 91"/>
                  <a:gd name="T8" fmla="*/ 88 w 90"/>
                  <a:gd name="T9" fmla="*/ 80 h 91"/>
                  <a:gd name="T10" fmla="*/ 87 w 90"/>
                  <a:gd name="T11" fmla="*/ 71 h 91"/>
                  <a:gd name="T12" fmla="*/ 85 w 90"/>
                  <a:gd name="T13" fmla="*/ 63 h 91"/>
                  <a:gd name="T14" fmla="*/ 83 w 90"/>
                  <a:gd name="T15" fmla="*/ 55 h 91"/>
                  <a:gd name="T16" fmla="*/ 78 w 90"/>
                  <a:gd name="T17" fmla="*/ 46 h 91"/>
                  <a:gd name="T18" fmla="*/ 74 w 90"/>
                  <a:gd name="T19" fmla="*/ 39 h 91"/>
                  <a:gd name="T20" fmla="*/ 70 w 90"/>
                  <a:gd name="T21" fmla="*/ 32 h 91"/>
                  <a:gd name="T22" fmla="*/ 63 w 90"/>
                  <a:gd name="T23" fmla="*/ 25 h 91"/>
                  <a:gd name="T24" fmla="*/ 57 w 90"/>
                  <a:gd name="T25" fmla="*/ 21 h 91"/>
                  <a:gd name="T26" fmla="*/ 50 w 90"/>
                  <a:gd name="T27" fmla="*/ 15 h 91"/>
                  <a:gd name="T28" fmla="*/ 43 w 90"/>
                  <a:gd name="T29" fmla="*/ 10 h 91"/>
                  <a:gd name="T30" fmla="*/ 35 w 90"/>
                  <a:gd name="T31" fmla="*/ 7 h 91"/>
                  <a:gd name="T32" fmla="*/ 27 w 90"/>
                  <a:gd name="T33" fmla="*/ 4 h 91"/>
                  <a:gd name="T34" fmla="*/ 18 w 90"/>
                  <a:gd name="T35" fmla="*/ 1 h 91"/>
                  <a:gd name="T36" fmla="*/ 10 w 90"/>
                  <a:gd name="T37" fmla="*/ 0 h 91"/>
                  <a:gd name="T38" fmla="*/ 0 w 90"/>
                  <a:gd name="T39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90" h="91">
                    <a:moveTo>
                      <a:pt x="0" y="0"/>
                    </a:moveTo>
                    <a:lnTo>
                      <a:pt x="0" y="91"/>
                    </a:lnTo>
                    <a:lnTo>
                      <a:pt x="90" y="91"/>
                    </a:lnTo>
                    <a:lnTo>
                      <a:pt x="90" y="90"/>
                    </a:lnTo>
                    <a:lnTo>
                      <a:pt x="88" y="80"/>
                    </a:lnTo>
                    <a:lnTo>
                      <a:pt x="87" y="71"/>
                    </a:lnTo>
                    <a:lnTo>
                      <a:pt x="85" y="63"/>
                    </a:lnTo>
                    <a:lnTo>
                      <a:pt x="83" y="55"/>
                    </a:lnTo>
                    <a:lnTo>
                      <a:pt x="78" y="46"/>
                    </a:lnTo>
                    <a:lnTo>
                      <a:pt x="74" y="39"/>
                    </a:lnTo>
                    <a:lnTo>
                      <a:pt x="70" y="32"/>
                    </a:lnTo>
                    <a:lnTo>
                      <a:pt x="63" y="25"/>
                    </a:lnTo>
                    <a:lnTo>
                      <a:pt x="57" y="21"/>
                    </a:lnTo>
                    <a:lnTo>
                      <a:pt x="50" y="15"/>
                    </a:lnTo>
                    <a:lnTo>
                      <a:pt x="43" y="10"/>
                    </a:lnTo>
                    <a:lnTo>
                      <a:pt x="35" y="7"/>
                    </a:lnTo>
                    <a:lnTo>
                      <a:pt x="27" y="4"/>
                    </a:lnTo>
                    <a:lnTo>
                      <a:pt x="18" y="1"/>
                    </a:lnTo>
                    <a:lnTo>
                      <a:pt x="1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8" name="Freeform 65"/>
              <p:cNvSpPr>
                <a:spLocks/>
              </p:cNvSpPr>
              <p:nvPr/>
            </p:nvSpPr>
            <p:spPr bwMode="auto">
              <a:xfrm>
                <a:off x="10272711" y="5345113"/>
                <a:ext cx="142875" cy="144463"/>
              </a:xfrm>
              <a:custGeom>
                <a:avLst/>
                <a:gdLst>
                  <a:gd name="T0" fmla="*/ 0 w 90"/>
                  <a:gd name="T1" fmla="*/ 0 h 91"/>
                  <a:gd name="T2" fmla="*/ 0 w 90"/>
                  <a:gd name="T3" fmla="*/ 91 h 91"/>
                  <a:gd name="T4" fmla="*/ 90 w 90"/>
                  <a:gd name="T5" fmla="*/ 91 h 91"/>
                  <a:gd name="T6" fmla="*/ 90 w 90"/>
                  <a:gd name="T7" fmla="*/ 90 h 91"/>
                  <a:gd name="T8" fmla="*/ 88 w 90"/>
                  <a:gd name="T9" fmla="*/ 80 h 91"/>
                  <a:gd name="T10" fmla="*/ 87 w 90"/>
                  <a:gd name="T11" fmla="*/ 71 h 91"/>
                  <a:gd name="T12" fmla="*/ 85 w 90"/>
                  <a:gd name="T13" fmla="*/ 63 h 91"/>
                  <a:gd name="T14" fmla="*/ 83 w 90"/>
                  <a:gd name="T15" fmla="*/ 55 h 91"/>
                  <a:gd name="T16" fmla="*/ 78 w 90"/>
                  <a:gd name="T17" fmla="*/ 46 h 91"/>
                  <a:gd name="T18" fmla="*/ 74 w 90"/>
                  <a:gd name="T19" fmla="*/ 39 h 91"/>
                  <a:gd name="T20" fmla="*/ 70 w 90"/>
                  <a:gd name="T21" fmla="*/ 32 h 91"/>
                  <a:gd name="T22" fmla="*/ 63 w 90"/>
                  <a:gd name="T23" fmla="*/ 25 h 91"/>
                  <a:gd name="T24" fmla="*/ 57 w 90"/>
                  <a:gd name="T25" fmla="*/ 21 h 91"/>
                  <a:gd name="T26" fmla="*/ 50 w 90"/>
                  <a:gd name="T27" fmla="*/ 15 h 91"/>
                  <a:gd name="T28" fmla="*/ 43 w 90"/>
                  <a:gd name="T29" fmla="*/ 10 h 91"/>
                  <a:gd name="T30" fmla="*/ 35 w 90"/>
                  <a:gd name="T31" fmla="*/ 7 h 91"/>
                  <a:gd name="T32" fmla="*/ 27 w 90"/>
                  <a:gd name="T33" fmla="*/ 4 h 91"/>
                  <a:gd name="T34" fmla="*/ 18 w 90"/>
                  <a:gd name="T35" fmla="*/ 1 h 91"/>
                  <a:gd name="T36" fmla="*/ 10 w 90"/>
                  <a:gd name="T37" fmla="*/ 0 h 91"/>
                  <a:gd name="T38" fmla="*/ 0 w 90"/>
                  <a:gd name="T39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90" h="91">
                    <a:moveTo>
                      <a:pt x="0" y="0"/>
                    </a:moveTo>
                    <a:lnTo>
                      <a:pt x="0" y="91"/>
                    </a:lnTo>
                    <a:lnTo>
                      <a:pt x="90" y="91"/>
                    </a:lnTo>
                    <a:lnTo>
                      <a:pt x="90" y="90"/>
                    </a:lnTo>
                    <a:lnTo>
                      <a:pt x="88" y="80"/>
                    </a:lnTo>
                    <a:lnTo>
                      <a:pt x="87" y="71"/>
                    </a:lnTo>
                    <a:lnTo>
                      <a:pt x="85" y="63"/>
                    </a:lnTo>
                    <a:lnTo>
                      <a:pt x="83" y="55"/>
                    </a:lnTo>
                    <a:lnTo>
                      <a:pt x="78" y="46"/>
                    </a:lnTo>
                    <a:lnTo>
                      <a:pt x="74" y="39"/>
                    </a:lnTo>
                    <a:lnTo>
                      <a:pt x="70" y="32"/>
                    </a:lnTo>
                    <a:lnTo>
                      <a:pt x="63" y="25"/>
                    </a:lnTo>
                    <a:lnTo>
                      <a:pt x="57" y="21"/>
                    </a:lnTo>
                    <a:lnTo>
                      <a:pt x="50" y="15"/>
                    </a:lnTo>
                    <a:lnTo>
                      <a:pt x="43" y="10"/>
                    </a:lnTo>
                    <a:lnTo>
                      <a:pt x="35" y="7"/>
                    </a:lnTo>
                    <a:lnTo>
                      <a:pt x="27" y="4"/>
                    </a:lnTo>
                    <a:lnTo>
                      <a:pt x="18" y="1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603" name="Group 602"/>
          <p:cNvGrpSpPr/>
          <p:nvPr/>
        </p:nvGrpSpPr>
        <p:grpSpPr>
          <a:xfrm>
            <a:off x="2296061" y="3530476"/>
            <a:ext cx="1351522" cy="2137108"/>
            <a:chOff x="2296061" y="3530476"/>
            <a:chExt cx="1351522" cy="2137108"/>
          </a:xfrm>
        </p:grpSpPr>
        <p:grpSp>
          <p:nvGrpSpPr>
            <p:cNvPr id="434" name="Group 433"/>
            <p:cNvGrpSpPr/>
            <p:nvPr/>
          </p:nvGrpSpPr>
          <p:grpSpPr>
            <a:xfrm>
              <a:off x="2508768" y="4102756"/>
              <a:ext cx="704053" cy="479477"/>
              <a:chOff x="1881188" y="3570288"/>
              <a:chExt cx="2373312" cy="1606551"/>
            </a:xfrm>
          </p:grpSpPr>
          <p:sp>
            <p:nvSpPr>
              <p:cNvPr id="467" name="Freeform 5"/>
              <p:cNvSpPr>
                <a:spLocks/>
              </p:cNvSpPr>
              <p:nvPr/>
            </p:nvSpPr>
            <p:spPr bwMode="auto">
              <a:xfrm>
                <a:off x="1881188" y="4192588"/>
                <a:ext cx="2343150" cy="814388"/>
              </a:xfrm>
              <a:custGeom>
                <a:avLst/>
                <a:gdLst>
                  <a:gd name="T0" fmla="*/ 8 w 1476"/>
                  <a:gd name="T1" fmla="*/ 513 h 513"/>
                  <a:gd name="T2" fmla="*/ 0 w 1476"/>
                  <a:gd name="T3" fmla="*/ 479 h 513"/>
                  <a:gd name="T4" fmla="*/ 429 w 1476"/>
                  <a:gd name="T5" fmla="*/ 374 h 513"/>
                  <a:gd name="T6" fmla="*/ 780 w 1476"/>
                  <a:gd name="T7" fmla="*/ 155 h 513"/>
                  <a:gd name="T8" fmla="*/ 1213 w 1476"/>
                  <a:gd name="T9" fmla="*/ 138 h 513"/>
                  <a:gd name="T10" fmla="*/ 1476 w 1476"/>
                  <a:gd name="T11" fmla="*/ 0 h 513"/>
                  <a:gd name="T12" fmla="*/ 1476 w 1476"/>
                  <a:gd name="T13" fmla="*/ 0 h 513"/>
                  <a:gd name="T14" fmla="*/ 1476 w 1476"/>
                  <a:gd name="T15" fmla="*/ 36 h 513"/>
                  <a:gd name="T16" fmla="*/ 1476 w 1476"/>
                  <a:gd name="T17" fmla="*/ 39 h 513"/>
                  <a:gd name="T18" fmla="*/ 1222 w 1476"/>
                  <a:gd name="T19" fmla="*/ 175 h 513"/>
                  <a:gd name="T20" fmla="*/ 792 w 1476"/>
                  <a:gd name="T21" fmla="*/ 190 h 513"/>
                  <a:gd name="T22" fmla="*/ 443 w 1476"/>
                  <a:gd name="T23" fmla="*/ 407 h 513"/>
                  <a:gd name="T24" fmla="*/ 8 w 1476"/>
                  <a:gd name="T25" fmla="*/ 513 h 5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76" h="513">
                    <a:moveTo>
                      <a:pt x="8" y="513"/>
                    </a:moveTo>
                    <a:lnTo>
                      <a:pt x="0" y="479"/>
                    </a:lnTo>
                    <a:lnTo>
                      <a:pt x="429" y="374"/>
                    </a:lnTo>
                    <a:lnTo>
                      <a:pt x="780" y="155"/>
                    </a:lnTo>
                    <a:lnTo>
                      <a:pt x="1213" y="138"/>
                    </a:lnTo>
                    <a:lnTo>
                      <a:pt x="1476" y="0"/>
                    </a:lnTo>
                    <a:lnTo>
                      <a:pt x="1476" y="0"/>
                    </a:lnTo>
                    <a:lnTo>
                      <a:pt x="1476" y="36"/>
                    </a:lnTo>
                    <a:lnTo>
                      <a:pt x="1476" y="39"/>
                    </a:lnTo>
                    <a:lnTo>
                      <a:pt x="1222" y="175"/>
                    </a:lnTo>
                    <a:lnTo>
                      <a:pt x="792" y="190"/>
                    </a:lnTo>
                    <a:lnTo>
                      <a:pt x="443" y="407"/>
                    </a:lnTo>
                    <a:lnTo>
                      <a:pt x="8" y="513"/>
                    </a:lnTo>
                    <a:close/>
                  </a:path>
                </a:pathLst>
              </a:custGeom>
              <a:solidFill>
                <a:srgbClr val="00BC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8" name="Freeform 6"/>
              <p:cNvSpPr>
                <a:spLocks/>
              </p:cNvSpPr>
              <p:nvPr/>
            </p:nvSpPr>
            <p:spPr bwMode="auto">
              <a:xfrm>
                <a:off x="1887538" y="3570288"/>
                <a:ext cx="2366962" cy="1341438"/>
              </a:xfrm>
              <a:custGeom>
                <a:avLst/>
                <a:gdLst>
                  <a:gd name="T0" fmla="*/ 14 w 1491"/>
                  <a:gd name="T1" fmla="*/ 845 h 845"/>
                  <a:gd name="T2" fmla="*/ 0 w 1491"/>
                  <a:gd name="T3" fmla="*/ 813 h 845"/>
                  <a:gd name="T4" fmla="*/ 348 w 1491"/>
                  <a:gd name="T5" fmla="*/ 652 h 845"/>
                  <a:gd name="T6" fmla="*/ 562 w 1491"/>
                  <a:gd name="T7" fmla="*/ 402 h 845"/>
                  <a:gd name="T8" fmla="*/ 915 w 1491"/>
                  <a:gd name="T9" fmla="*/ 328 h 845"/>
                  <a:gd name="T10" fmla="*/ 1128 w 1491"/>
                  <a:gd name="T11" fmla="*/ 77 h 845"/>
                  <a:gd name="T12" fmla="*/ 1491 w 1491"/>
                  <a:gd name="T13" fmla="*/ 0 h 845"/>
                  <a:gd name="T14" fmla="*/ 1491 w 1491"/>
                  <a:gd name="T15" fmla="*/ 37 h 845"/>
                  <a:gd name="T16" fmla="*/ 1147 w 1491"/>
                  <a:gd name="T17" fmla="*/ 111 h 845"/>
                  <a:gd name="T18" fmla="*/ 934 w 1491"/>
                  <a:gd name="T19" fmla="*/ 360 h 845"/>
                  <a:gd name="T20" fmla="*/ 582 w 1491"/>
                  <a:gd name="T21" fmla="*/ 434 h 845"/>
                  <a:gd name="T22" fmla="*/ 371 w 1491"/>
                  <a:gd name="T23" fmla="*/ 682 h 845"/>
                  <a:gd name="T24" fmla="*/ 14 w 1491"/>
                  <a:gd name="T25" fmla="*/ 845 h 8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91" h="845">
                    <a:moveTo>
                      <a:pt x="14" y="845"/>
                    </a:moveTo>
                    <a:lnTo>
                      <a:pt x="0" y="813"/>
                    </a:lnTo>
                    <a:lnTo>
                      <a:pt x="348" y="652"/>
                    </a:lnTo>
                    <a:lnTo>
                      <a:pt x="562" y="402"/>
                    </a:lnTo>
                    <a:lnTo>
                      <a:pt x="915" y="328"/>
                    </a:lnTo>
                    <a:lnTo>
                      <a:pt x="1128" y="77"/>
                    </a:lnTo>
                    <a:lnTo>
                      <a:pt x="1491" y="0"/>
                    </a:lnTo>
                    <a:lnTo>
                      <a:pt x="1491" y="37"/>
                    </a:lnTo>
                    <a:lnTo>
                      <a:pt x="1147" y="111"/>
                    </a:lnTo>
                    <a:lnTo>
                      <a:pt x="934" y="360"/>
                    </a:lnTo>
                    <a:lnTo>
                      <a:pt x="582" y="434"/>
                    </a:lnTo>
                    <a:lnTo>
                      <a:pt x="371" y="682"/>
                    </a:lnTo>
                    <a:lnTo>
                      <a:pt x="14" y="845"/>
                    </a:lnTo>
                    <a:close/>
                  </a:path>
                </a:pathLst>
              </a:cu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9" name="Freeform 7"/>
              <p:cNvSpPr>
                <a:spLocks/>
              </p:cNvSpPr>
              <p:nvPr/>
            </p:nvSpPr>
            <p:spPr bwMode="auto">
              <a:xfrm>
                <a:off x="1892300" y="4543426"/>
                <a:ext cx="2332037" cy="633413"/>
              </a:xfrm>
              <a:custGeom>
                <a:avLst/>
                <a:gdLst>
                  <a:gd name="T0" fmla="*/ 6 w 1469"/>
                  <a:gd name="T1" fmla="*/ 399 h 399"/>
                  <a:gd name="T2" fmla="*/ 0 w 1469"/>
                  <a:gd name="T3" fmla="*/ 362 h 399"/>
                  <a:gd name="T4" fmla="*/ 340 w 1469"/>
                  <a:gd name="T5" fmla="*/ 309 h 399"/>
                  <a:gd name="T6" fmla="*/ 624 w 1469"/>
                  <a:gd name="T7" fmla="*/ 137 h 399"/>
                  <a:gd name="T8" fmla="*/ 968 w 1469"/>
                  <a:gd name="T9" fmla="*/ 171 h 399"/>
                  <a:gd name="T10" fmla="*/ 1249 w 1469"/>
                  <a:gd name="T11" fmla="*/ 0 h 399"/>
                  <a:gd name="T12" fmla="*/ 1469 w 1469"/>
                  <a:gd name="T13" fmla="*/ 25 h 399"/>
                  <a:gd name="T14" fmla="*/ 1469 w 1469"/>
                  <a:gd name="T15" fmla="*/ 62 h 399"/>
                  <a:gd name="T16" fmla="*/ 1257 w 1469"/>
                  <a:gd name="T17" fmla="*/ 36 h 399"/>
                  <a:gd name="T18" fmla="*/ 976 w 1469"/>
                  <a:gd name="T19" fmla="*/ 209 h 399"/>
                  <a:gd name="T20" fmla="*/ 632 w 1469"/>
                  <a:gd name="T21" fmla="*/ 174 h 399"/>
                  <a:gd name="T22" fmla="*/ 352 w 1469"/>
                  <a:gd name="T23" fmla="*/ 344 h 399"/>
                  <a:gd name="T24" fmla="*/ 6 w 1469"/>
                  <a:gd name="T25" fmla="*/ 399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69" h="399">
                    <a:moveTo>
                      <a:pt x="6" y="399"/>
                    </a:moveTo>
                    <a:lnTo>
                      <a:pt x="0" y="362"/>
                    </a:lnTo>
                    <a:lnTo>
                      <a:pt x="340" y="309"/>
                    </a:lnTo>
                    <a:lnTo>
                      <a:pt x="624" y="137"/>
                    </a:lnTo>
                    <a:lnTo>
                      <a:pt x="968" y="171"/>
                    </a:lnTo>
                    <a:lnTo>
                      <a:pt x="1249" y="0"/>
                    </a:lnTo>
                    <a:lnTo>
                      <a:pt x="1469" y="25"/>
                    </a:lnTo>
                    <a:lnTo>
                      <a:pt x="1469" y="62"/>
                    </a:lnTo>
                    <a:lnTo>
                      <a:pt x="1257" y="36"/>
                    </a:lnTo>
                    <a:lnTo>
                      <a:pt x="976" y="209"/>
                    </a:lnTo>
                    <a:lnTo>
                      <a:pt x="632" y="174"/>
                    </a:lnTo>
                    <a:lnTo>
                      <a:pt x="352" y="344"/>
                    </a:lnTo>
                    <a:lnTo>
                      <a:pt x="6" y="399"/>
                    </a:lnTo>
                    <a:close/>
                  </a:path>
                </a:pathLst>
              </a:custGeom>
              <a:solidFill>
                <a:srgbClr val="0072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568" name="Freeform 34"/>
            <p:cNvSpPr>
              <a:spLocks/>
            </p:cNvSpPr>
            <p:nvPr/>
          </p:nvSpPr>
          <p:spPr bwMode="auto">
            <a:xfrm>
              <a:off x="3178421" y="3899461"/>
              <a:ext cx="165292" cy="175310"/>
            </a:xfrm>
            <a:custGeom>
              <a:avLst/>
              <a:gdLst>
                <a:gd name="T0" fmla="*/ 0 w 99"/>
                <a:gd name="T1" fmla="*/ 9 h 105"/>
                <a:gd name="T2" fmla="*/ 10 w 99"/>
                <a:gd name="T3" fmla="*/ 0 h 105"/>
                <a:gd name="T4" fmla="*/ 90 w 99"/>
                <a:gd name="T5" fmla="*/ 0 h 105"/>
                <a:gd name="T6" fmla="*/ 99 w 99"/>
                <a:gd name="T7" fmla="*/ 9 h 105"/>
                <a:gd name="T8" fmla="*/ 74 w 99"/>
                <a:gd name="T9" fmla="*/ 98 h 105"/>
                <a:gd name="T10" fmla="*/ 36 w 99"/>
                <a:gd name="T11" fmla="*/ 105 h 105"/>
                <a:gd name="T12" fmla="*/ 6 w 99"/>
                <a:gd name="T13" fmla="*/ 63 h 105"/>
                <a:gd name="T14" fmla="*/ 0 w 99"/>
                <a:gd name="T15" fmla="*/ 9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9" h="105">
                  <a:moveTo>
                    <a:pt x="0" y="9"/>
                  </a:moveTo>
                  <a:lnTo>
                    <a:pt x="10" y="0"/>
                  </a:lnTo>
                  <a:lnTo>
                    <a:pt x="90" y="0"/>
                  </a:lnTo>
                  <a:lnTo>
                    <a:pt x="99" y="9"/>
                  </a:lnTo>
                  <a:lnTo>
                    <a:pt x="74" y="98"/>
                  </a:lnTo>
                  <a:lnTo>
                    <a:pt x="36" y="105"/>
                  </a:lnTo>
                  <a:lnTo>
                    <a:pt x="6" y="63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9" name="Freeform 96"/>
            <p:cNvSpPr>
              <a:spLocks/>
            </p:cNvSpPr>
            <p:nvPr/>
          </p:nvSpPr>
          <p:spPr bwMode="auto">
            <a:xfrm>
              <a:off x="3083254" y="5584103"/>
              <a:ext cx="168631" cy="83481"/>
            </a:xfrm>
            <a:custGeom>
              <a:avLst/>
              <a:gdLst>
                <a:gd name="T0" fmla="*/ 41 w 83"/>
                <a:gd name="T1" fmla="*/ 0 h 41"/>
                <a:gd name="T2" fmla="*/ 0 w 83"/>
                <a:gd name="T3" fmla="*/ 41 h 41"/>
                <a:gd name="T4" fmla="*/ 83 w 83"/>
                <a:gd name="T5" fmla="*/ 41 h 41"/>
                <a:gd name="T6" fmla="*/ 41 w 83"/>
                <a:gd name="T7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3" h="41">
                  <a:moveTo>
                    <a:pt x="41" y="0"/>
                  </a:moveTo>
                  <a:cubicBezTo>
                    <a:pt x="18" y="0"/>
                    <a:pt x="0" y="19"/>
                    <a:pt x="0" y="41"/>
                  </a:cubicBezTo>
                  <a:cubicBezTo>
                    <a:pt x="83" y="41"/>
                    <a:pt x="83" y="41"/>
                    <a:pt x="83" y="41"/>
                  </a:cubicBezTo>
                  <a:cubicBezTo>
                    <a:pt x="83" y="19"/>
                    <a:pt x="64" y="0"/>
                    <a:pt x="41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0" name="Freeform 97"/>
            <p:cNvSpPr>
              <a:spLocks/>
            </p:cNvSpPr>
            <p:nvPr/>
          </p:nvSpPr>
          <p:spPr bwMode="auto">
            <a:xfrm>
              <a:off x="3061548" y="4687519"/>
              <a:ext cx="212041" cy="913280"/>
            </a:xfrm>
            <a:custGeom>
              <a:avLst/>
              <a:gdLst>
                <a:gd name="T0" fmla="*/ 98 w 127"/>
                <a:gd name="T1" fmla="*/ 547 h 547"/>
                <a:gd name="T2" fmla="*/ 23 w 127"/>
                <a:gd name="T3" fmla="*/ 547 h 547"/>
                <a:gd name="T4" fmla="*/ 0 w 127"/>
                <a:gd name="T5" fmla="*/ 0 h 547"/>
                <a:gd name="T6" fmla="*/ 127 w 127"/>
                <a:gd name="T7" fmla="*/ 0 h 547"/>
                <a:gd name="T8" fmla="*/ 98 w 127"/>
                <a:gd name="T9" fmla="*/ 547 h 5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547">
                  <a:moveTo>
                    <a:pt x="98" y="547"/>
                  </a:moveTo>
                  <a:lnTo>
                    <a:pt x="23" y="547"/>
                  </a:lnTo>
                  <a:lnTo>
                    <a:pt x="0" y="0"/>
                  </a:lnTo>
                  <a:lnTo>
                    <a:pt x="127" y="0"/>
                  </a:lnTo>
                  <a:lnTo>
                    <a:pt x="98" y="54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1" name="Freeform 98"/>
            <p:cNvSpPr>
              <a:spLocks/>
            </p:cNvSpPr>
            <p:nvPr/>
          </p:nvSpPr>
          <p:spPr bwMode="auto">
            <a:xfrm>
              <a:off x="3246876" y="4687519"/>
              <a:ext cx="213711" cy="913280"/>
            </a:xfrm>
            <a:custGeom>
              <a:avLst/>
              <a:gdLst>
                <a:gd name="T0" fmla="*/ 103 w 128"/>
                <a:gd name="T1" fmla="*/ 547 h 547"/>
                <a:gd name="T2" fmla="*/ 28 w 128"/>
                <a:gd name="T3" fmla="*/ 547 h 547"/>
                <a:gd name="T4" fmla="*/ 0 w 128"/>
                <a:gd name="T5" fmla="*/ 0 h 547"/>
                <a:gd name="T6" fmla="*/ 128 w 128"/>
                <a:gd name="T7" fmla="*/ 0 h 547"/>
                <a:gd name="T8" fmla="*/ 103 w 128"/>
                <a:gd name="T9" fmla="*/ 547 h 5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547">
                  <a:moveTo>
                    <a:pt x="103" y="547"/>
                  </a:moveTo>
                  <a:lnTo>
                    <a:pt x="28" y="547"/>
                  </a:lnTo>
                  <a:lnTo>
                    <a:pt x="0" y="0"/>
                  </a:lnTo>
                  <a:lnTo>
                    <a:pt x="128" y="0"/>
                  </a:lnTo>
                  <a:lnTo>
                    <a:pt x="103" y="54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2" name="Freeform 99"/>
            <p:cNvSpPr>
              <a:spLocks/>
            </p:cNvSpPr>
            <p:nvPr/>
          </p:nvSpPr>
          <p:spPr bwMode="auto">
            <a:xfrm>
              <a:off x="3276929" y="5584103"/>
              <a:ext cx="168631" cy="83481"/>
            </a:xfrm>
            <a:custGeom>
              <a:avLst/>
              <a:gdLst>
                <a:gd name="T0" fmla="*/ 41 w 83"/>
                <a:gd name="T1" fmla="*/ 0 h 41"/>
                <a:gd name="T2" fmla="*/ 0 w 83"/>
                <a:gd name="T3" fmla="*/ 41 h 41"/>
                <a:gd name="T4" fmla="*/ 83 w 83"/>
                <a:gd name="T5" fmla="*/ 41 h 41"/>
                <a:gd name="T6" fmla="*/ 41 w 83"/>
                <a:gd name="T7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3" h="41">
                  <a:moveTo>
                    <a:pt x="41" y="0"/>
                  </a:moveTo>
                  <a:cubicBezTo>
                    <a:pt x="18" y="0"/>
                    <a:pt x="0" y="19"/>
                    <a:pt x="0" y="41"/>
                  </a:cubicBezTo>
                  <a:cubicBezTo>
                    <a:pt x="83" y="41"/>
                    <a:pt x="83" y="41"/>
                    <a:pt x="83" y="41"/>
                  </a:cubicBezTo>
                  <a:cubicBezTo>
                    <a:pt x="83" y="19"/>
                    <a:pt x="64" y="0"/>
                    <a:pt x="41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3" name="Freeform 100"/>
            <p:cNvSpPr>
              <a:spLocks/>
            </p:cNvSpPr>
            <p:nvPr/>
          </p:nvSpPr>
          <p:spPr bwMode="auto">
            <a:xfrm>
              <a:off x="3161725" y="3919496"/>
              <a:ext cx="207033" cy="554312"/>
            </a:xfrm>
            <a:custGeom>
              <a:avLst/>
              <a:gdLst>
                <a:gd name="T0" fmla="*/ 124 w 124"/>
                <a:gd name="T1" fmla="*/ 69 h 332"/>
                <a:gd name="T2" fmla="*/ 62 w 124"/>
                <a:gd name="T3" fmla="*/ 0 h 332"/>
                <a:gd name="T4" fmla="*/ 0 w 124"/>
                <a:gd name="T5" fmla="*/ 64 h 332"/>
                <a:gd name="T6" fmla="*/ 46 w 124"/>
                <a:gd name="T7" fmla="*/ 308 h 332"/>
                <a:gd name="T8" fmla="*/ 60 w 124"/>
                <a:gd name="T9" fmla="*/ 332 h 332"/>
                <a:gd name="T10" fmla="*/ 73 w 124"/>
                <a:gd name="T11" fmla="*/ 308 h 332"/>
                <a:gd name="T12" fmla="*/ 124 w 124"/>
                <a:gd name="T13" fmla="*/ 6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332">
                  <a:moveTo>
                    <a:pt x="124" y="69"/>
                  </a:moveTo>
                  <a:lnTo>
                    <a:pt x="62" y="0"/>
                  </a:lnTo>
                  <a:lnTo>
                    <a:pt x="0" y="64"/>
                  </a:lnTo>
                  <a:lnTo>
                    <a:pt x="46" y="308"/>
                  </a:lnTo>
                  <a:lnTo>
                    <a:pt x="60" y="332"/>
                  </a:lnTo>
                  <a:lnTo>
                    <a:pt x="73" y="308"/>
                  </a:lnTo>
                  <a:lnTo>
                    <a:pt x="124" y="69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4" name="Freeform 101"/>
            <p:cNvSpPr>
              <a:spLocks/>
            </p:cNvSpPr>
            <p:nvPr/>
          </p:nvSpPr>
          <p:spPr bwMode="auto">
            <a:xfrm>
              <a:off x="3141690" y="3542163"/>
              <a:ext cx="258790" cy="328915"/>
            </a:xfrm>
            <a:custGeom>
              <a:avLst/>
              <a:gdLst>
                <a:gd name="T0" fmla="*/ 114 w 128"/>
                <a:gd name="T1" fmla="*/ 98 h 162"/>
                <a:gd name="T2" fmla="*/ 46 w 128"/>
                <a:gd name="T3" fmla="*/ 151 h 162"/>
                <a:gd name="T4" fmla="*/ 13 w 128"/>
                <a:gd name="T5" fmla="*/ 65 h 162"/>
                <a:gd name="T6" fmla="*/ 96 w 128"/>
                <a:gd name="T7" fmla="*/ 10 h 162"/>
                <a:gd name="T8" fmla="*/ 114 w 128"/>
                <a:gd name="T9" fmla="*/ 98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162">
                  <a:moveTo>
                    <a:pt x="114" y="98"/>
                  </a:moveTo>
                  <a:cubicBezTo>
                    <a:pt x="90" y="162"/>
                    <a:pt x="77" y="161"/>
                    <a:pt x="46" y="151"/>
                  </a:cubicBezTo>
                  <a:cubicBezTo>
                    <a:pt x="15" y="141"/>
                    <a:pt x="0" y="102"/>
                    <a:pt x="13" y="65"/>
                  </a:cubicBezTo>
                  <a:cubicBezTo>
                    <a:pt x="25" y="27"/>
                    <a:pt x="65" y="0"/>
                    <a:pt x="96" y="10"/>
                  </a:cubicBezTo>
                  <a:cubicBezTo>
                    <a:pt x="126" y="20"/>
                    <a:pt x="128" y="61"/>
                    <a:pt x="114" y="98"/>
                  </a:cubicBezTo>
                  <a:close/>
                </a:path>
              </a:pathLst>
            </a:cu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5" name="Freeform 102"/>
            <p:cNvSpPr>
              <a:spLocks/>
            </p:cNvSpPr>
            <p:nvPr/>
          </p:nvSpPr>
          <p:spPr bwMode="auto">
            <a:xfrm>
              <a:off x="3094940" y="3530476"/>
              <a:ext cx="290513" cy="355629"/>
            </a:xfrm>
            <a:custGeom>
              <a:avLst/>
              <a:gdLst>
                <a:gd name="T0" fmla="*/ 124 w 143"/>
                <a:gd name="T1" fmla="*/ 35 h 176"/>
                <a:gd name="T2" fmla="*/ 104 w 143"/>
                <a:gd name="T3" fmla="*/ 149 h 176"/>
                <a:gd name="T4" fmla="*/ 41 w 143"/>
                <a:gd name="T5" fmla="*/ 144 h 176"/>
                <a:gd name="T6" fmla="*/ 41 w 143"/>
                <a:gd name="T7" fmla="*/ 12 h 176"/>
                <a:gd name="T8" fmla="*/ 124 w 143"/>
                <a:gd name="T9" fmla="*/ 35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176">
                  <a:moveTo>
                    <a:pt x="124" y="35"/>
                  </a:moveTo>
                  <a:cubicBezTo>
                    <a:pt x="143" y="67"/>
                    <a:pt x="129" y="134"/>
                    <a:pt x="104" y="149"/>
                  </a:cubicBezTo>
                  <a:cubicBezTo>
                    <a:pt x="79" y="163"/>
                    <a:pt x="60" y="176"/>
                    <a:pt x="41" y="144"/>
                  </a:cubicBezTo>
                  <a:cubicBezTo>
                    <a:pt x="23" y="112"/>
                    <a:pt x="0" y="31"/>
                    <a:pt x="41" y="12"/>
                  </a:cubicBezTo>
                  <a:cubicBezTo>
                    <a:pt x="67" y="0"/>
                    <a:pt x="105" y="3"/>
                    <a:pt x="124" y="35"/>
                  </a:cubicBezTo>
                  <a:close/>
                </a:path>
              </a:pathLst>
            </a:cu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6" name="Freeform 103"/>
            <p:cNvSpPr>
              <a:spLocks/>
            </p:cNvSpPr>
            <p:nvPr/>
          </p:nvSpPr>
          <p:spPr bwMode="auto">
            <a:xfrm>
              <a:off x="3195117" y="3790936"/>
              <a:ext cx="133569" cy="160283"/>
            </a:xfrm>
            <a:custGeom>
              <a:avLst/>
              <a:gdLst>
                <a:gd name="T0" fmla="*/ 80 w 80"/>
                <a:gd name="T1" fmla="*/ 65 h 96"/>
                <a:gd name="T2" fmla="*/ 40 w 80"/>
                <a:gd name="T3" fmla="*/ 96 h 96"/>
                <a:gd name="T4" fmla="*/ 0 w 80"/>
                <a:gd name="T5" fmla="*/ 65 h 96"/>
                <a:gd name="T6" fmla="*/ 0 w 80"/>
                <a:gd name="T7" fmla="*/ 0 h 96"/>
                <a:gd name="T8" fmla="*/ 80 w 80"/>
                <a:gd name="T9" fmla="*/ 0 h 96"/>
                <a:gd name="T10" fmla="*/ 80 w 80"/>
                <a:gd name="T11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96">
                  <a:moveTo>
                    <a:pt x="80" y="65"/>
                  </a:moveTo>
                  <a:lnTo>
                    <a:pt x="40" y="96"/>
                  </a:lnTo>
                  <a:lnTo>
                    <a:pt x="0" y="65"/>
                  </a:lnTo>
                  <a:lnTo>
                    <a:pt x="0" y="0"/>
                  </a:lnTo>
                  <a:lnTo>
                    <a:pt x="80" y="0"/>
                  </a:lnTo>
                  <a:lnTo>
                    <a:pt x="80" y="65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7" name="Freeform 104"/>
            <p:cNvSpPr>
              <a:spLocks/>
            </p:cNvSpPr>
            <p:nvPr/>
          </p:nvSpPr>
          <p:spPr bwMode="auto">
            <a:xfrm>
              <a:off x="2876221" y="3939531"/>
              <a:ext cx="285504" cy="737970"/>
            </a:xfrm>
            <a:custGeom>
              <a:avLst/>
              <a:gdLst>
                <a:gd name="T0" fmla="*/ 141 w 141"/>
                <a:gd name="T1" fmla="*/ 15 h 364"/>
                <a:gd name="T2" fmla="*/ 85 w 141"/>
                <a:gd name="T3" fmla="*/ 0 h 364"/>
                <a:gd name="T4" fmla="*/ 0 w 141"/>
                <a:gd name="T5" fmla="*/ 364 h 364"/>
                <a:gd name="T6" fmla="*/ 58 w 141"/>
                <a:gd name="T7" fmla="*/ 364 h 364"/>
                <a:gd name="T8" fmla="*/ 141 w 141"/>
                <a:gd name="T9" fmla="*/ 15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364">
                  <a:moveTo>
                    <a:pt x="141" y="15"/>
                  </a:moveTo>
                  <a:cubicBezTo>
                    <a:pt x="123" y="10"/>
                    <a:pt x="104" y="5"/>
                    <a:pt x="85" y="0"/>
                  </a:cubicBezTo>
                  <a:cubicBezTo>
                    <a:pt x="31" y="117"/>
                    <a:pt x="13" y="235"/>
                    <a:pt x="0" y="364"/>
                  </a:cubicBezTo>
                  <a:cubicBezTo>
                    <a:pt x="58" y="364"/>
                    <a:pt x="58" y="364"/>
                    <a:pt x="58" y="364"/>
                  </a:cubicBezTo>
                  <a:cubicBezTo>
                    <a:pt x="71" y="241"/>
                    <a:pt x="89" y="128"/>
                    <a:pt x="141" y="15"/>
                  </a:cubicBezTo>
                  <a:close/>
                </a:path>
              </a:pathLst>
            </a:cu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8" name="Freeform 105"/>
            <p:cNvSpPr>
              <a:spLocks/>
            </p:cNvSpPr>
            <p:nvPr/>
          </p:nvSpPr>
          <p:spPr bwMode="auto">
            <a:xfrm>
              <a:off x="3362079" y="3939531"/>
              <a:ext cx="285504" cy="737970"/>
            </a:xfrm>
            <a:custGeom>
              <a:avLst/>
              <a:gdLst>
                <a:gd name="T0" fmla="*/ 0 w 141"/>
                <a:gd name="T1" fmla="*/ 15 h 364"/>
                <a:gd name="T2" fmla="*/ 56 w 141"/>
                <a:gd name="T3" fmla="*/ 0 h 364"/>
                <a:gd name="T4" fmla="*/ 141 w 141"/>
                <a:gd name="T5" fmla="*/ 364 h 364"/>
                <a:gd name="T6" fmla="*/ 84 w 141"/>
                <a:gd name="T7" fmla="*/ 364 h 364"/>
                <a:gd name="T8" fmla="*/ 0 w 141"/>
                <a:gd name="T9" fmla="*/ 15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364">
                  <a:moveTo>
                    <a:pt x="0" y="15"/>
                  </a:moveTo>
                  <a:cubicBezTo>
                    <a:pt x="19" y="10"/>
                    <a:pt x="38" y="5"/>
                    <a:pt x="56" y="0"/>
                  </a:cubicBezTo>
                  <a:cubicBezTo>
                    <a:pt x="111" y="117"/>
                    <a:pt x="129" y="235"/>
                    <a:pt x="141" y="364"/>
                  </a:cubicBezTo>
                  <a:cubicBezTo>
                    <a:pt x="84" y="364"/>
                    <a:pt x="84" y="364"/>
                    <a:pt x="84" y="364"/>
                  </a:cubicBezTo>
                  <a:cubicBezTo>
                    <a:pt x="71" y="241"/>
                    <a:pt x="53" y="128"/>
                    <a:pt x="0" y="15"/>
                  </a:cubicBezTo>
                  <a:close/>
                </a:path>
              </a:pathLst>
            </a:cu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0" name="Freeform 107"/>
            <p:cNvSpPr>
              <a:spLocks/>
            </p:cNvSpPr>
            <p:nvPr/>
          </p:nvSpPr>
          <p:spPr bwMode="auto">
            <a:xfrm>
              <a:off x="3547407" y="4677501"/>
              <a:ext cx="85150" cy="95169"/>
            </a:xfrm>
            <a:custGeom>
              <a:avLst/>
              <a:gdLst>
                <a:gd name="T0" fmla="*/ 0 w 42"/>
                <a:gd name="T1" fmla="*/ 0 h 47"/>
                <a:gd name="T2" fmla="*/ 0 w 42"/>
                <a:gd name="T3" fmla="*/ 26 h 47"/>
                <a:gd name="T4" fmla="*/ 21 w 42"/>
                <a:gd name="T5" fmla="*/ 47 h 47"/>
                <a:gd name="T6" fmla="*/ 42 w 42"/>
                <a:gd name="T7" fmla="*/ 26 h 47"/>
                <a:gd name="T8" fmla="*/ 42 w 42"/>
                <a:gd name="T9" fmla="*/ 0 h 47"/>
                <a:gd name="T10" fmla="*/ 0 w 42"/>
                <a:gd name="T11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47">
                  <a:moveTo>
                    <a:pt x="0" y="0"/>
                  </a:moveTo>
                  <a:cubicBezTo>
                    <a:pt x="0" y="26"/>
                    <a:pt x="0" y="26"/>
                    <a:pt x="0" y="26"/>
                  </a:cubicBezTo>
                  <a:cubicBezTo>
                    <a:pt x="0" y="37"/>
                    <a:pt x="10" y="47"/>
                    <a:pt x="21" y="47"/>
                  </a:cubicBezTo>
                  <a:cubicBezTo>
                    <a:pt x="33" y="47"/>
                    <a:pt x="42" y="37"/>
                    <a:pt x="42" y="26"/>
                  </a:cubicBezTo>
                  <a:cubicBezTo>
                    <a:pt x="42" y="0"/>
                    <a:pt x="42" y="0"/>
                    <a:pt x="4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1" name="Freeform 108"/>
            <p:cNvSpPr>
              <a:spLocks/>
            </p:cNvSpPr>
            <p:nvPr/>
          </p:nvSpPr>
          <p:spPr bwMode="auto">
            <a:xfrm>
              <a:off x="3046522" y="3914488"/>
              <a:ext cx="429091" cy="747988"/>
            </a:xfrm>
            <a:custGeom>
              <a:avLst/>
              <a:gdLst>
                <a:gd name="T0" fmla="*/ 178 w 257"/>
                <a:gd name="T1" fmla="*/ 0 h 448"/>
                <a:gd name="T2" fmla="*/ 129 w 257"/>
                <a:gd name="T3" fmla="*/ 85 h 448"/>
                <a:gd name="T4" fmla="*/ 79 w 257"/>
                <a:gd name="T5" fmla="*/ 0 h 448"/>
                <a:gd name="T6" fmla="*/ 0 w 257"/>
                <a:gd name="T7" fmla="*/ 15 h 448"/>
                <a:gd name="T8" fmla="*/ 5 w 257"/>
                <a:gd name="T9" fmla="*/ 448 h 448"/>
                <a:gd name="T10" fmla="*/ 252 w 257"/>
                <a:gd name="T11" fmla="*/ 448 h 448"/>
                <a:gd name="T12" fmla="*/ 257 w 257"/>
                <a:gd name="T13" fmla="*/ 15 h 448"/>
                <a:gd name="T14" fmla="*/ 178 w 257"/>
                <a:gd name="T15" fmla="*/ 0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7" h="448">
                  <a:moveTo>
                    <a:pt x="178" y="0"/>
                  </a:moveTo>
                  <a:lnTo>
                    <a:pt x="129" y="85"/>
                  </a:lnTo>
                  <a:lnTo>
                    <a:pt x="79" y="0"/>
                  </a:lnTo>
                  <a:lnTo>
                    <a:pt x="0" y="15"/>
                  </a:lnTo>
                  <a:lnTo>
                    <a:pt x="5" y="448"/>
                  </a:lnTo>
                  <a:lnTo>
                    <a:pt x="252" y="448"/>
                  </a:lnTo>
                  <a:lnTo>
                    <a:pt x="257" y="15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2" name="Freeform 109"/>
            <p:cNvSpPr>
              <a:spLocks/>
            </p:cNvSpPr>
            <p:nvPr/>
          </p:nvSpPr>
          <p:spPr bwMode="auto">
            <a:xfrm>
              <a:off x="3370428" y="3655697"/>
              <a:ext cx="0" cy="1670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1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FFD6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3" name="Freeform 110"/>
            <p:cNvSpPr>
              <a:spLocks/>
            </p:cNvSpPr>
            <p:nvPr/>
          </p:nvSpPr>
          <p:spPr bwMode="auto">
            <a:xfrm>
              <a:off x="3368757" y="3652357"/>
              <a:ext cx="0" cy="1670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1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FFD6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4" name="Freeform 111"/>
            <p:cNvSpPr>
              <a:spLocks/>
            </p:cNvSpPr>
            <p:nvPr/>
          </p:nvSpPr>
          <p:spPr bwMode="auto">
            <a:xfrm>
              <a:off x="3365418" y="3642340"/>
              <a:ext cx="0" cy="1670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FFD6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5" name="Freeform 112"/>
            <p:cNvSpPr>
              <a:spLocks/>
            </p:cNvSpPr>
            <p:nvPr/>
          </p:nvSpPr>
          <p:spPr bwMode="auto">
            <a:xfrm>
              <a:off x="3367088" y="3645679"/>
              <a:ext cx="0" cy="1670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FFD6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6" name="Freeform 113"/>
            <p:cNvSpPr>
              <a:spLocks/>
            </p:cNvSpPr>
            <p:nvPr/>
          </p:nvSpPr>
          <p:spPr bwMode="auto">
            <a:xfrm>
              <a:off x="3153377" y="3644010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D6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7" name="Freeform 114"/>
            <p:cNvSpPr>
              <a:spLocks/>
            </p:cNvSpPr>
            <p:nvPr/>
          </p:nvSpPr>
          <p:spPr bwMode="auto">
            <a:xfrm>
              <a:off x="3370428" y="3659036"/>
              <a:ext cx="0" cy="5009"/>
            </a:xfrm>
            <a:custGeom>
              <a:avLst/>
              <a:gdLst>
                <a:gd name="T0" fmla="*/ 2 h 2"/>
                <a:gd name="T1" fmla="*/ 0 h 2"/>
                <a:gd name="T2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cubicBezTo>
                    <a:pt x="0" y="2"/>
                    <a:pt x="0" y="1"/>
                    <a:pt x="0" y="0"/>
                  </a:cubicBezTo>
                  <a:cubicBezTo>
                    <a:pt x="0" y="1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FFD6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8" name="Freeform 115"/>
            <p:cNvSpPr>
              <a:spLocks/>
            </p:cNvSpPr>
            <p:nvPr/>
          </p:nvSpPr>
          <p:spPr bwMode="auto">
            <a:xfrm>
              <a:off x="3370428" y="3665714"/>
              <a:ext cx="1669" cy="5009"/>
            </a:xfrm>
            <a:custGeom>
              <a:avLst/>
              <a:gdLst>
                <a:gd name="T0" fmla="*/ 1 w 1"/>
                <a:gd name="T1" fmla="*/ 2 h 2"/>
                <a:gd name="T2" fmla="*/ 0 w 1"/>
                <a:gd name="T3" fmla="*/ 0 h 2"/>
                <a:gd name="T4" fmla="*/ 1 w 1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">
                  <a:moveTo>
                    <a:pt x="1" y="2"/>
                  </a:moveTo>
                  <a:cubicBezTo>
                    <a:pt x="1" y="2"/>
                    <a:pt x="0" y="1"/>
                    <a:pt x="0" y="0"/>
                  </a:cubicBezTo>
                  <a:cubicBezTo>
                    <a:pt x="0" y="1"/>
                    <a:pt x="1" y="2"/>
                    <a:pt x="1" y="2"/>
                  </a:cubicBezTo>
                  <a:close/>
                </a:path>
              </a:pathLst>
            </a:custGeom>
            <a:solidFill>
              <a:srgbClr val="FFD6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9" name="Freeform 116"/>
            <p:cNvSpPr>
              <a:spLocks/>
            </p:cNvSpPr>
            <p:nvPr/>
          </p:nvSpPr>
          <p:spPr bwMode="auto">
            <a:xfrm>
              <a:off x="3362079" y="3639000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D6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0" name="Freeform 117"/>
            <p:cNvSpPr>
              <a:spLocks/>
            </p:cNvSpPr>
            <p:nvPr/>
          </p:nvSpPr>
          <p:spPr bwMode="auto">
            <a:xfrm>
              <a:off x="3146699" y="3664045"/>
              <a:ext cx="1669" cy="1670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1 h 1"/>
                <a:gd name="T4" fmla="*/ 1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lose/>
                </a:path>
              </a:pathLst>
            </a:custGeom>
            <a:solidFill>
              <a:srgbClr val="FFD6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1" name="Freeform 118"/>
            <p:cNvSpPr>
              <a:spLocks/>
            </p:cNvSpPr>
            <p:nvPr/>
          </p:nvSpPr>
          <p:spPr bwMode="auto">
            <a:xfrm>
              <a:off x="3150038" y="365402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D6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2" name="Freeform 119"/>
            <p:cNvSpPr>
              <a:spLocks/>
            </p:cNvSpPr>
            <p:nvPr/>
          </p:nvSpPr>
          <p:spPr bwMode="auto">
            <a:xfrm>
              <a:off x="3151707" y="3647349"/>
              <a:ext cx="0" cy="1670"/>
            </a:xfrm>
            <a:custGeom>
              <a:avLst/>
              <a:gdLst>
                <a:gd name="T0" fmla="*/ 0 h 1"/>
                <a:gd name="T1" fmla="*/ 1 h 1"/>
                <a:gd name="T2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D6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3" name="Freeform 120"/>
            <p:cNvSpPr>
              <a:spLocks/>
            </p:cNvSpPr>
            <p:nvPr/>
          </p:nvSpPr>
          <p:spPr bwMode="auto">
            <a:xfrm>
              <a:off x="3148368" y="3657367"/>
              <a:ext cx="0" cy="1670"/>
            </a:xfrm>
            <a:custGeom>
              <a:avLst/>
              <a:gdLst>
                <a:gd name="T0" fmla="*/ 0 h 1"/>
                <a:gd name="T1" fmla="*/ 1 h 1"/>
                <a:gd name="T2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D6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4" name="Freeform 121"/>
            <p:cNvSpPr>
              <a:spLocks/>
            </p:cNvSpPr>
            <p:nvPr/>
          </p:nvSpPr>
          <p:spPr bwMode="auto">
            <a:xfrm>
              <a:off x="3128333" y="3630653"/>
              <a:ext cx="262129" cy="235416"/>
            </a:xfrm>
            <a:custGeom>
              <a:avLst/>
              <a:gdLst>
                <a:gd name="T0" fmla="*/ 124 w 130"/>
                <a:gd name="T1" fmla="*/ 28 h 116"/>
                <a:gd name="T2" fmla="*/ 121 w 130"/>
                <a:gd name="T3" fmla="*/ 27 h 116"/>
                <a:gd name="T4" fmla="*/ 121 w 130"/>
                <a:gd name="T5" fmla="*/ 19 h 116"/>
                <a:gd name="T6" fmla="*/ 120 w 130"/>
                <a:gd name="T7" fmla="*/ 17 h 116"/>
                <a:gd name="T8" fmla="*/ 120 w 130"/>
                <a:gd name="T9" fmla="*/ 16 h 116"/>
                <a:gd name="T10" fmla="*/ 120 w 130"/>
                <a:gd name="T11" fmla="*/ 14 h 116"/>
                <a:gd name="T12" fmla="*/ 120 w 130"/>
                <a:gd name="T13" fmla="*/ 13 h 116"/>
                <a:gd name="T14" fmla="*/ 120 w 130"/>
                <a:gd name="T15" fmla="*/ 12 h 116"/>
                <a:gd name="T16" fmla="*/ 119 w 130"/>
                <a:gd name="T17" fmla="*/ 11 h 116"/>
                <a:gd name="T18" fmla="*/ 119 w 130"/>
                <a:gd name="T19" fmla="*/ 10 h 116"/>
                <a:gd name="T20" fmla="*/ 118 w 130"/>
                <a:gd name="T21" fmla="*/ 8 h 116"/>
                <a:gd name="T22" fmla="*/ 118 w 130"/>
                <a:gd name="T23" fmla="*/ 7 h 116"/>
                <a:gd name="T24" fmla="*/ 117 w 130"/>
                <a:gd name="T25" fmla="*/ 6 h 116"/>
                <a:gd name="T26" fmla="*/ 117 w 130"/>
                <a:gd name="T27" fmla="*/ 5 h 116"/>
                <a:gd name="T28" fmla="*/ 116 w 130"/>
                <a:gd name="T29" fmla="*/ 4 h 116"/>
                <a:gd name="T30" fmla="*/ 116 w 130"/>
                <a:gd name="T31" fmla="*/ 4 h 116"/>
                <a:gd name="T32" fmla="*/ 105 w 130"/>
                <a:gd name="T33" fmla="*/ 5 h 116"/>
                <a:gd name="T34" fmla="*/ 87 w 130"/>
                <a:gd name="T35" fmla="*/ 0 h 116"/>
                <a:gd name="T36" fmla="*/ 53 w 130"/>
                <a:gd name="T37" fmla="*/ 5 h 116"/>
                <a:gd name="T38" fmla="*/ 18 w 130"/>
                <a:gd name="T39" fmla="*/ 0 h 116"/>
                <a:gd name="T40" fmla="*/ 13 w 130"/>
                <a:gd name="T41" fmla="*/ 6 h 116"/>
                <a:gd name="T42" fmla="*/ 13 w 130"/>
                <a:gd name="T43" fmla="*/ 6 h 116"/>
                <a:gd name="T44" fmla="*/ 12 w 130"/>
                <a:gd name="T45" fmla="*/ 8 h 116"/>
                <a:gd name="T46" fmla="*/ 12 w 130"/>
                <a:gd name="T47" fmla="*/ 9 h 116"/>
                <a:gd name="T48" fmla="*/ 11 w 130"/>
                <a:gd name="T49" fmla="*/ 11 h 116"/>
                <a:gd name="T50" fmla="*/ 11 w 130"/>
                <a:gd name="T51" fmla="*/ 11 h 116"/>
                <a:gd name="T52" fmla="*/ 10 w 130"/>
                <a:gd name="T53" fmla="*/ 13 h 116"/>
                <a:gd name="T54" fmla="*/ 10 w 130"/>
                <a:gd name="T55" fmla="*/ 14 h 116"/>
                <a:gd name="T56" fmla="*/ 10 w 130"/>
                <a:gd name="T57" fmla="*/ 16 h 116"/>
                <a:gd name="T58" fmla="*/ 9 w 130"/>
                <a:gd name="T59" fmla="*/ 17 h 116"/>
                <a:gd name="T60" fmla="*/ 9 w 130"/>
                <a:gd name="T61" fmla="*/ 19 h 116"/>
                <a:gd name="T62" fmla="*/ 9 w 130"/>
                <a:gd name="T63" fmla="*/ 27 h 116"/>
                <a:gd name="T64" fmla="*/ 8 w 130"/>
                <a:gd name="T65" fmla="*/ 27 h 116"/>
                <a:gd name="T66" fmla="*/ 0 w 130"/>
                <a:gd name="T67" fmla="*/ 37 h 116"/>
                <a:gd name="T68" fmla="*/ 0 w 130"/>
                <a:gd name="T69" fmla="*/ 57 h 116"/>
                <a:gd name="T70" fmla="*/ 9 w 130"/>
                <a:gd name="T71" fmla="*/ 67 h 116"/>
                <a:gd name="T72" fmla="*/ 40 w 130"/>
                <a:gd name="T73" fmla="*/ 116 h 116"/>
                <a:gd name="T74" fmla="*/ 90 w 130"/>
                <a:gd name="T75" fmla="*/ 116 h 116"/>
                <a:gd name="T76" fmla="*/ 121 w 130"/>
                <a:gd name="T77" fmla="*/ 67 h 116"/>
                <a:gd name="T78" fmla="*/ 130 w 130"/>
                <a:gd name="T79" fmla="*/ 57 h 116"/>
                <a:gd name="T80" fmla="*/ 130 w 130"/>
                <a:gd name="T81" fmla="*/ 37 h 116"/>
                <a:gd name="T82" fmla="*/ 124 w 130"/>
                <a:gd name="T83" fmla="*/ 2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0" h="116">
                  <a:moveTo>
                    <a:pt x="124" y="28"/>
                  </a:moveTo>
                  <a:cubicBezTo>
                    <a:pt x="123" y="28"/>
                    <a:pt x="122" y="27"/>
                    <a:pt x="121" y="27"/>
                  </a:cubicBezTo>
                  <a:cubicBezTo>
                    <a:pt x="121" y="19"/>
                    <a:pt x="121" y="19"/>
                    <a:pt x="121" y="19"/>
                  </a:cubicBezTo>
                  <a:cubicBezTo>
                    <a:pt x="121" y="19"/>
                    <a:pt x="120" y="18"/>
                    <a:pt x="120" y="17"/>
                  </a:cubicBezTo>
                  <a:cubicBezTo>
                    <a:pt x="120" y="17"/>
                    <a:pt x="120" y="16"/>
                    <a:pt x="120" y="16"/>
                  </a:cubicBezTo>
                  <a:cubicBezTo>
                    <a:pt x="120" y="16"/>
                    <a:pt x="120" y="15"/>
                    <a:pt x="120" y="14"/>
                  </a:cubicBezTo>
                  <a:cubicBezTo>
                    <a:pt x="120" y="14"/>
                    <a:pt x="120" y="14"/>
                    <a:pt x="120" y="13"/>
                  </a:cubicBezTo>
                  <a:cubicBezTo>
                    <a:pt x="120" y="13"/>
                    <a:pt x="120" y="13"/>
                    <a:pt x="120" y="12"/>
                  </a:cubicBezTo>
                  <a:cubicBezTo>
                    <a:pt x="119" y="12"/>
                    <a:pt x="119" y="11"/>
                    <a:pt x="119" y="11"/>
                  </a:cubicBezTo>
                  <a:cubicBezTo>
                    <a:pt x="119" y="11"/>
                    <a:pt x="119" y="11"/>
                    <a:pt x="119" y="10"/>
                  </a:cubicBezTo>
                  <a:cubicBezTo>
                    <a:pt x="119" y="9"/>
                    <a:pt x="118" y="8"/>
                    <a:pt x="118" y="8"/>
                  </a:cubicBezTo>
                  <a:cubicBezTo>
                    <a:pt x="118" y="7"/>
                    <a:pt x="118" y="7"/>
                    <a:pt x="118" y="7"/>
                  </a:cubicBezTo>
                  <a:cubicBezTo>
                    <a:pt x="117" y="7"/>
                    <a:pt x="117" y="6"/>
                    <a:pt x="117" y="6"/>
                  </a:cubicBezTo>
                  <a:cubicBezTo>
                    <a:pt x="117" y="6"/>
                    <a:pt x="117" y="5"/>
                    <a:pt x="117" y="5"/>
                  </a:cubicBezTo>
                  <a:cubicBezTo>
                    <a:pt x="116" y="5"/>
                    <a:pt x="116" y="4"/>
                    <a:pt x="116" y="4"/>
                  </a:cubicBezTo>
                  <a:cubicBezTo>
                    <a:pt x="116" y="4"/>
                    <a:pt x="116" y="4"/>
                    <a:pt x="116" y="4"/>
                  </a:cubicBezTo>
                  <a:cubicBezTo>
                    <a:pt x="112" y="4"/>
                    <a:pt x="109" y="5"/>
                    <a:pt x="105" y="5"/>
                  </a:cubicBezTo>
                  <a:cubicBezTo>
                    <a:pt x="98" y="5"/>
                    <a:pt x="91" y="3"/>
                    <a:pt x="87" y="0"/>
                  </a:cubicBezTo>
                  <a:cubicBezTo>
                    <a:pt x="79" y="3"/>
                    <a:pt x="67" y="5"/>
                    <a:pt x="53" y="5"/>
                  </a:cubicBezTo>
                  <a:cubicBezTo>
                    <a:pt x="39" y="5"/>
                    <a:pt x="26" y="3"/>
                    <a:pt x="18" y="0"/>
                  </a:cubicBezTo>
                  <a:cubicBezTo>
                    <a:pt x="16" y="2"/>
                    <a:pt x="14" y="4"/>
                    <a:pt x="13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2" y="7"/>
                    <a:pt x="12" y="8"/>
                    <a:pt x="12" y="8"/>
                  </a:cubicBezTo>
                  <a:cubicBezTo>
                    <a:pt x="12" y="8"/>
                    <a:pt x="12" y="9"/>
                    <a:pt x="12" y="9"/>
                  </a:cubicBezTo>
                  <a:cubicBezTo>
                    <a:pt x="11" y="9"/>
                    <a:pt x="11" y="10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0" y="12"/>
                    <a:pt x="10" y="13"/>
                    <a:pt x="10" y="13"/>
                  </a:cubicBezTo>
                  <a:cubicBezTo>
                    <a:pt x="10" y="13"/>
                    <a:pt x="10" y="14"/>
                    <a:pt x="10" y="14"/>
                  </a:cubicBezTo>
                  <a:cubicBezTo>
                    <a:pt x="10" y="15"/>
                    <a:pt x="10" y="15"/>
                    <a:pt x="10" y="16"/>
                  </a:cubicBezTo>
                  <a:cubicBezTo>
                    <a:pt x="9" y="16"/>
                    <a:pt x="9" y="16"/>
                    <a:pt x="9" y="17"/>
                  </a:cubicBezTo>
                  <a:cubicBezTo>
                    <a:pt x="9" y="17"/>
                    <a:pt x="9" y="18"/>
                    <a:pt x="9" y="19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9" y="27"/>
                    <a:pt x="8" y="27"/>
                    <a:pt x="8" y="27"/>
                  </a:cubicBezTo>
                  <a:cubicBezTo>
                    <a:pt x="3" y="28"/>
                    <a:pt x="0" y="32"/>
                    <a:pt x="0" y="3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2"/>
                    <a:pt x="4" y="67"/>
                    <a:pt x="9" y="67"/>
                  </a:cubicBezTo>
                  <a:cubicBezTo>
                    <a:pt x="9" y="67"/>
                    <a:pt x="25" y="116"/>
                    <a:pt x="40" y="116"/>
                  </a:cubicBezTo>
                  <a:cubicBezTo>
                    <a:pt x="90" y="116"/>
                    <a:pt x="90" y="116"/>
                    <a:pt x="90" y="116"/>
                  </a:cubicBezTo>
                  <a:cubicBezTo>
                    <a:pt x="104" y="116"/>
                    <a:pt x="121" y="67"/>
                    <a:pt x="121" y="67"/>
                  </a:cubicBezTo>
                  <a:cubicBezTo>
                    <a:pt x="126" y="67"/>
                    <a:pt x="130" y="62"/>
                    <a:pt x="130" y="57"/>
                  </a:cubicBezTo>
                  <a:cubicBezTo>
                    <a:pt x="130" y="37"/>
                    <a:pt x="130" y="37"/>
                    <a:pt x="130" y="37"/>
                  </a:cubicBezTo>
                  <a:cubicBezTo>
                    <a:pt x="130" y="33"/>
                    <a:pt x="127" y="29"/>
                    <a:pt x="124" y="28"/>
                  </a:cubicBez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5" name="Rectangle 122"/>
            <p:cNvSpPr>
              <a:spLocks noChangeArrowheads="1"/>
            </p:cNvSpPr>
            <p:nvPr/>
          </p:nvSpPr>
          <p:spPr bwMode="auto">
            <a:xfrm>
              <a:off x="3054869" y="4662475"/>
              <a:ext cx="412395" cy="28384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6" name="Rectangle 123"/>
            <p:cNvSpPr>
              <a:spLocks noChangeArrowheads="1"/>
            </p:cNvSpPr>
            <p:nvPr/>
          </p:nvSpPr>
          <p:spPr bwMode="auto">
            <a:xfrm>
              <a:off x="3223501" y="4662475"/>
              <a:ext cx="76802" cy="28384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7" name="Oval 124"/>
            <p:cNvSpPr>
              <a:spLocks noChangeArrowheads="1"/>
            </p:cNvSpPr>
            <p:nvPr/>
          </p:nvSpPr>
          <p:spPr bwMode="auto">
            <a:xfrm>
              <a:off x="3255224" y="3976263"/>
              <a:ext cx="11687" cy="11688"/>
            </a:xfrm>
            <a:prstGeom prst="ellipse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8" name="Oval 125"/>
            <p:cNvSpPr>
              <a:spLocks noChangeArrowheads="1"/>
            </p:cNvSpPr>
            <p:nvPr/>
          </p:nvSpPr>
          <p:spPr bwMode="auto">
            <a:xfrm>
              <a:off x="3255224" y="4019673"/>
              <a:ext cx="15026" cy="15027"/>
            </a:xfrm>
            <a:prstGeom prst="ellipse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516" name="Group 515"/>
            <p:cNvGrpSpPr/>
            <p:nvPr/>
          </p:nvGrpSpPr>
          <p:grpSpPr>
            <a:xfrm>
              <a:off x="2306918" y="4013710"/>
              <a:ext cx="468952" cy="274871"/>
              <a:chOff x="2209867" y="3027238"/>
              <a:chExt cx="711361" cy="416957"/>
            </a:xfrm>
          </p:grpSpPr>
          <p:sp>
            <p:nvSpPr>
              <p:cNvPr id="514" name="Freeform 191"/>
              <p:cNvSpPr>
                <a:spLocks/>
              </p:cNvSpPr>
              <p:nvPr/>
            </p:nvSpPr>
            <p:spPr bwMode="auto">
              <a:xfrm>
                <a:off x="2209867" y="3027238"/>
                <a:ext cx="711361" cy="416956"/>
              </a:xfrm>
              <a:custGeom>
                <a:avLst/>
                <a:gdLst>
                  <a:gd name="T0" fmla="*/ 942 w 1074"/>
                  <a:gd name="T1" fmla="*/ 336 h 628"/>
                  <a:gd name="T2" fmla="*/ 949 w 1074"/>
                  <a:gd name="T3" fmla="*/ 292 h 628"/>
                  <a:gd name="T4" fmla="*/ 803 w 1074"/>
                  <a:gd name="T5" fmla="*/ 145 h 628"/>
                  <a:gd name="T6" fmla="*/ 762 w 1074"/>
                  <a:gd name="T7" fmla="*/ 151 h 628"/>
                  <a:gd name="T8" fmla="*/ 546 w 1074"/>
                  <a:gd name="T9" fmla="*/ 0 h 628"/>
                  <a:gd name="T10" fmla="*/ 318 w 1074"/>
                  <a:gd name="T11" fmla="*/ 200 h 628"/>
                  <a:gd name="T12" fmla="*/ 257 w 1074"/>
                  <a:gd name="T13" fmla="*/ 188 h 628"/>
                  <a:gd name="T14" fmla="*/ 96 w 1074"/>
                  <a:gd name="T15" fmla="*/ 349 h 628"/>
                  <a:gd name="T16" fmla="*/ 103 w 1074"/>
                  <a:gd name="T17" fmla="*/ 391 h 628"/>
                  <a:gd name="T18" fmla="*/ 0 w 1074"/>
                  <a:gd name="T19" fmla="*/ 508 h 628"/>
                  <a:gd name="T20" fmla="*/ 112 w 1074"/>
                  <a:gd name="T21" fmla="*/ 627 h 628"/>
                  <a:gd name="T22" fmla="*/ 112 w 1074"/>
                  <a:gd name="T23" fmla="*/ 628 h 628"/>
                  <a:gd name="T24" fmla="*/ 927 w 1074"/>
                  <a:gd name="T25" fmla="*/ 628 h 628"/>
                  <a:gd name="T26" fmla="*/ 1074 w 1074"/>
                  <a:gd name="T27" fmla="*/ 481 h 628"/>
                  <a:gd name="T28" fmla="*/ 942 w 1074"/>
                  <a:gd name="T29" fmla="*/ 336 h 6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074" h="628">
                    <a:moveTo>
                      <a:pt x="942" y="336"/>
                    </a:moveTo>
                    <a:cubicBezTo>
                      <a:pt x="946" y="322"/>
                      <a:pt x="949" y="307"/>
                      <a:pt x="949" y="292"/>
                    </a:cubicBezTo>
                    <a:cubicBezTo>
                      <a:pt x="949" y="211"/>
                      <a:pt x="884" y="145"/>
                      <a:pt x="803" y="145"/>
                    </a:cubicBezTo>
                    <a:cubicBezTo>
                      <a:pt x="789" y="145"/>
                      <a:pt x="775" y="148"/>
                      <a:pt x="762" y="151"/>
                    </a:cubicBezTo>
                    <a:cubicBezTo>
                      <a:pt x="730" y="63"/>
                      <a:pt x="645" y="0"/>
                      <a:pt x="546" y="0"/>
                    </a:cubicBezTo>
                    <a:cubicBezTo>
                      <a:pt x="429" y="0"/>
                      <a:pt x="332" y="87"/>
                      <a:pt x="318" y="200"/>
                    </a:cubicBezTo>
                    <a:cubicBezTo>
                      <a:pt x="299" y="192"/>
                      <a:pt x="278" y="188"/>
                      <a:pt x="257" y="188"/>
                    </a:cubicBezTo>
                    <a:cubicBezTo>
                      <a:pt x="168" y="188"/>
                      <a:pt x="96" y="260"/>
                      <a:pt x="96" y="349"/>
                    </a:cubicBezTo>
                    <a:cubicBezTo>
                      <a:pt x="96" y="363"/>
                      <a:pt x="99" y="377"/>
                      <a:pt x="103" y="391"/>
                    </a:cubicBezTo>
                    <a:cubicBezTo>
                      <a:pt x="45" y="399"/>
                      <a:pt x="0" y="449"/>
                      <a:pt x="0" y="508"/>
                    </a:cubicBezTo>
                    <a:cubicBezTo>
                      <a:pt x="0" y="572"/>
                      <a:pt x="50" y="623"/>
                      <a:pt x="112" y="627"/>
                    </a:cubicBezTo>
                    <a:cubicBezTo>
                      <a:pt x="112" y="628"/>
                      <a:pt x="112" y="628"/>
                      <a:pt x="112" y="628"/>
                    </a:cubicBezTo>
                    <a:cubicBezTo>
                      <a:pt x="927" y="628"/>
                      <a:pt x="927" y="628"/>
                      <a:pt x="927" y="628"/>
                    </a:cubicBezTo>
                    <a:cubicBezTo>
                      <a:pt x="1008" y="628"/>
                      <a:pt x="1074" y="562"/>
                      <a:pt x="1074" y="481"/>
                    </a:cubicBezTo>
                    <a:cubicBezTo>
                      <a:pt x="1074" y="405"/>
                      <a:pt x="1016" y="344"/>
                      <a:pt x="942" y="336"/>
                    </a:cubicBezTo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5" name="Freeform 192"/>
              <p:cNvSpPr>
                <a:spLocks/>
              </p:cNvSpPr>
              <p:nvPr/>
            </p:nvSpPr>
            <p:spPr bwMode="auto">
              <a:xfrm>
                <a:off x="2209867" y="3152607"/>
                <a:ext cx="493022" cy="291588"/>
              </a:xfrm>
              <a:custGeom>
                <a:avLst/>
                <a:gdLst>
                  <a:gd name="T0" fmla="*/ 257 w 744"/>
                  <a:gd name="T1" fmla="*/ 0 h 440"/>
                  <a:gd name="T2" fmla="*/ 96 w 744"/>
                  <a:gd name="T3" fmla="*/ 161 h 440"/>
                  <a:gd name="T4" fmla="*/ 103 w 744"/>
                  <a:gd name="T5" fmla="*/ 203 h 440"/>
                  <a:gd name="T6" fmla="*/ 103 w 744"/>
                  <a:gd name="T7" fmla="*/ 203 h 440"/>
                  <a:gd name="T8" fmla="*/ 103 w 744"/>
                  <a:gd name="T9" fmla="*/ 203 h 440"/>
                  <a:gd name="T10" fmla="*/ 0 w 744"/>
                  <a:gd name="T11" fmla="*/ 320 h 440"/>
                  <a:gd name="T12" fmla="*/ 112 w 744"/>
                  <a:gd name="T13" fmla="*/ 439 h 440"/>
                  <a:gd name="T14" fmla="*/ 112 w 744"/>
                  <a:gd name="T15" fmla="*/ 440 h 440"/>
                  <a:gd name="T16" fmla="*/ 744 w 744"/>
                  <a:gd name="T17" fmla="*/ 440 h 440"/>
                  <a:gd name="T18" fmla="*/ 315 w 744"/>
                  <a:gd name="T19" fmla="*/ 11 h 440"/>
                  <a:gd name="T20" fmla="*/ 257 w 744"/>
                  <a:gd name="T21" fmla="*/ 0 h 440"/>
                  <a:gd name="T22" fmla="*/ 257 w 744"/>
                  <a:gd name="T23" fmla="*/ 0 h 4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44" h="440">
                    <a:moveTo>
                      <a:pt x="257" y="0"/>
                    </a:moveTo>
                    <a:cubicBezTo>
                      <a:pt x="168" y="0"/>
                      <a:pt x="96" y="72"/>
                      <a:pt x="96" y="161"/>
                    </a:cubicBezTo>
                    <a:cubicBezTo>
                      <a:pt x="96" y="175"/>
                      <a:pt x="99" y="189"/>
                      <a:pt x="103" y="203"/>
                    </a:cubicBezTo>
                    <a:cubicBezTo>
                      <a:pt x="103" y="203"/>
                      <a:pt x="103" y="203"/>
                      <a:pt x="103" y="203"/>
                    </a:cubicBezTo>
                    <a:cubicBezTo>
                      <a:pt x="103" y="203"/>
                      <a:pt x="103" y="203"/>
                      <a:pt x="103" y="203"/>
                    </a:cubicBezTo>
                    <a:cubicBezTo>
                      <a:pt x="45" y="211"/>
                      <a:pt x="0" y="261"/>
                      <a:pt x="0" y="320"/>
                    </a:cubicBezTo>
                    <a:cubicBezTo>
                      <a:pt x="0" y="384"/>
                      <a:pt x="50" y="435"/>
                      <a:pt x="112" y="439"/>
                    </a:cubicBezTo>
                    <a:cubicBezTo>
                      <a:pt x="112" y="440"/>
                      <a:pt x="112" y="440"/>
                      <a:pt x="112" y="440"/>
                    </a:cubicBezTo>
                    <a:cubicBezTo>
                      <a:pt x="744" y="440"/>
                      <a:pt x="744" y="440"/>
                      <a:pt x="744" y="440"/>
                    </a:cubicBezTo>
                    <a:cubicBezTo>
                      <a:pt x="315" y="11"/>
                      <a:pt x="315" y="11"/>
                      <a:pt x="315" y="11"/>
                    </a:cubicBezTo>
                    <a:cubicBezTo>
                      <a:pt x="297" y="4"/>
                      <a:pt x="278" y="0"/>
                      <a:pt x="257" y="0"/>
                    </a:cubicBezTo>
                    <a:cubicBezTo>
                      <a:pt x="257" y="0"/>
                      <a:pt x="257" y="0"/>
                      <a:pt x="257" y="0"/>
                    </a:cubicBezTo>
                  </a:path>
                </a:pathLst>
              </a:custGeom>
              <a:solidFill>
                <a:srgbClr val="F2F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432" name="Freeform 9"/>
            <p:cNvSpPr>
              <a:spLocks/>
            </p:cNvSpPr>
            <p:nvPr/>
          </p:nvSpPr>
          <p:spPr bwMode="auto">
            <a:xfrm>
              <a:off x="2296061" y="4722302"/>
              <a:ext cx="939784" cy="705361"/>
            </a:xfrm>
            <a:custGeom>
              <a:avLst/>
              <a:gdLst>
                <a:gd name="T0" fmla="*/ 641 w 641"/>
                <a:gd name="T1" fmla="*/ 13 h 482"/>
                <a:gd name="T2" fmla="*/ 628 w 641"/>
                <a:gd name="T3" fmla="*/ 0 h 482"/>
                <a:gd name="T4" fmla="*/ 13 w 641"/>
                <a:gd name="T5" fmla="*/ 0 h 482"/>
                <a:gd name="T6" fmla="*/ 0 w 641"/>
                <a:gd name="T7" fmla="*/ 13 h 482"/>
                <a:gd name="T8" fmla="*/ 0 w 641"/>
                <a:gd name="T9" fmla="*/ 432 h 482"/>
                <a:gd name="T10" fmla="*/ 13 w 641"/>
                <a:gd name="T11" fmla="*/ 445 h 482"/>
                <a:gd name="T12" fmla="*/ 297 w 641"/>
                <a:gd name="T13" fmla="*/ 445 h 482"/>
                <a:gd name="T14" fmla="*/ 288 w 641"/>
                <a:gd name="T15" fmla="*/ 473 h 482"/>
                <a:gd name="T16" fmla="*/ 231 w 641"/>
                <a:gd name="T17" fmla="*/ 473 h 482"/>
                <a:gd name="T18" fmla="*/ 231 w 641"/>
                <a:gd name="T19" fmla="*/ 482 h 482"/>
                <a:gd name="T20" fmla="*/ 407 w 641"/>
                <a:gd name="T21" fmla="*/ 482 h 482"/>
                <a:gd name="T22" fmla="*/ 407 w 641"/>
                <a:gd name="T23" fmla="*/ 473 h 482"/>
                <a:gd name="T24" fmla="*/ 360 w 641"/>
                <a:gd name="T25" fmla="*/ 473 h 482"/>
                <a:gd name="T26" fmla="*/ 351 w 641"/>
                <a:gd name="T27" fmla="*/ 445 h 482"/>
                <a:gd name="T28" fmla="*/ 628 w 641"/>
                <a:gd name="T29" fmla="*/ 445 h 482"/>
                <a:gd name="T30" fmla="*/ 641 w 641"/>
                <a:gd name="T31" fmla="*/ 432 h 482"/>
                <a:gd name="T32" fmla="*/ 641 w 641"/>
                <a:gd name="T33" fmla="*/ 13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41" h="482">
                  <a:moveTo>
                    <a:pt x="641" y="13"/>
                  </a:moveTo>
                  <a:cubicBezTo>
                    <a:pt x="641" y="6"/>
                    <a:pt x="635" y="0"/>
                    <a:pt x="628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6" y="0"/>
                    <a:pt x="0" y="6"/>
                    <a:pt x="0" y="13"/>
                  </a:cubicBezTo>
                  <a:cubicBezTo>
                    <a:pt x="0" y="432"/>
                    <a:pt x="0" y="432"/>
                    <a:pt x="0" y="432"/>
                  </a:cubicBezTo>
                  <a:cubicBezTo>
                    <a:pt x="0" y="439"/>
                    <a:pt x="6" y="445"/>
                    <a:pt x="13" y="445"/>
                  </a:cubicBezTo>
                  <a:cubicBezTo>
                    <a:pt x="297" y="445"/>
                    <a:pt x="297" y="445"/>
                    <a:pt x="297" y="445"/>
                  </a:cubicBezTo>
                  <a:cubicBezTo>
                    <a:pt x="288" y="473"/>
                    <a:pt x="288" y="473"/>
                    <a:pt x="288" y="473"/>
                  </a:cubicBezTo>
                  <a:cubicBezTo>
                    <a:pt x="231" y="473"/>
                    <a:pt x="231" y="473"/>
                    <a:pt x="231" y="473"/>
                  </a:cubicBezTo>
                  <a:cubicBezTo>
                    <a:pt x="231" y="482"/>
                    <a:pt x="231" y="482"/>
                    <a:pt x="231" y="482"/>
                  </a:cubicBezTo>
                  <a:cubicBezTo>
                    <a:pt x="407" y="482"/>
                    <a:pt x="407" y="482"/>
                    <a:pt x="407" y="482"/>
                  </a:cubicBezTo>
                  <a:cubicBezTo>
                    <a:pt x="407" y="473"/>
                    <a:pt x="407" y="473"/>
                    <a:pt x="407" y="473"/>
                  </a:cubicBezTo>
                  <a:cubicBezTo>
                    <a:pt x="360" y="473"/>
                    <a:pt x="360" y="473"/>
                    <a:pt x="360" y="473"/>
                  </a:cubicBezTo>
                  <a:cubicBezTo>
                    <a:pt x="351" y="445"/>
                    <a:pt x="351" y="445"/>
                    <a:pt x="351" y="445"/>
                  </a:cubicBezTo>
                  <a:cubicBezTo>
                    <a:pt x="628" y="445"/>
                    <a:pt x="628" y="445"/>
                    <a:pt x="628" y="445"/>
                  </a:cubicBezTo>
                  <a:cubicBezTo>
                    <a:pt x="635" y="445"/>
                    <a:pt x="641" y="439"/>
                    <a:pt x="641" y="432"/>
                  </a:cubicBezTo>
                  <a:lnTo>
                    <a:pt x="641" y="13"/>
                  </a:lnTo>
                  <a:close/>
                </a:path>
              </a:pathLst>
            </a:custGeom>
            <a:solidFill>
              <a:srgbClr val="0039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6" name="Freeform 6"/>
            <p:cNvSpPr>
              <a:spLocks/>
            </p:cNvSpPr>
            <p:nvPr/>
          </p:nvSpPr>
          <p:spPr bwMode="auto">
            <a:xfrm>
              <a:off x="2848629" y="4565541"/>
              <a:ext cx="276284" cy="276284"/>
            </a:xfrm>
            <a:custGeom>
              <a:avLst/>
              <a:gdLst>
                <a:gd name="T0" fmla="*/ 132 w 264"/>
                <a:gd name="T1" fmla="*/ 0 h 264"/>
                <a:gd name="T2" fmla="*/ 118 w 264"/>
                <a:gd name="T3" fmla="*/ 1 h 264"/>
                <a:gd name="T4" fmla="*/ 105 w 264"/>
                <a:gd name="T5" fmla="*/ 3 h 264"/>
                <a:gd name="T6" fmla="*/ 93 w 264"/>
                <a:gd name="T7" fmla="*/ 6 h 264"/>
                <a:gd name="T8" fmla="*/ 82 w 264"/>
                <a:gd name="T9" fmla="*/ 10 h 264"/>
                <a:gd name="T10" fmla="*/ 69 w 264"/>
                <a:gd name="T11" fmla="*/ 17 h 264"/>
                <a:gd name="T12" fmla="*/ 59 w 264"/>
                <a:gd name="T13" fmla="*/ 22 h 264"/>
                <a:gd name="T14" fmla="*/ 48 w 264"/>
                <a:gd name="T15" fmla="*/ 31 h 264"/>
                <a:gd name="T16" fmla="*/ 40 w 264"/>
                <a:gd name="T17" fmla="*/ 39 h 264"/>
                <a:gd name="T18" fmla="*/ 30 w 264"/>
                <a:gd name="T19" fmla="*/ 48 h 264"/>
                <a:gd name="T20" fmla="*/ 23 w 264"/>
                <a:gd name="T21" fmla="*/ 59 h 264"/>
                <a:gd name="T22" fmla="*/ 16 w 264"/>
                <a:gd name="T23" fmla="*/ 70 h 264"/>
                <a:gd name="T24" fmla="*/ 10 w 264"/>
                <a:gd name="T25" fmla="*/ 81 h 264"/>
                <a:gd name="T26" fmla="*/ 6 w 264"/>
                <a:gd name="T27" fmla="*/ 92 h 264"/>
                <a:gd name="T28" fmla="*/ 2 w 264"/>
                <a:gd name="T29" fmla="*/ 106 h 264"/>
                <a:gd name="T30" fmla="*/ 0 w 264"/>
                <a:gd name="T31" fmla="*/ 119 h 264"/>
                <a:gd name="T32" fmla="*/ 0 w 264"/>
                <a:gd name="T33" fmla="*/ 133 h 264"/>
                <a:gd name="T34" fmla="*/ 0 w 264"/>
                <a:gd name="T35" fmla="*/ 147 h 264"/>
                <a:gd name="T36" fmla="*/ 2 w 264"/>
                <a:gd name="T37" fmla="*/ 158 h 264"/>
                <a:gd name="T38" fmla="*/ 6 w 264"/>
                <a:gd name="T39" fmla="*/ 172 h 264"/>
                <a:gd name="T40" fmla="*/ 10 w 264"/>
                <a:gd name="T41" fmla="*/ 183 h 264"/>
                <a:gd name="T42" fmla="*/ 16 w 264"/>
                <a:gd name="T43" fmla="*/ 196 h 264"/>
                <a:gd name="T44" fmla="*/ 23 w 264"/>
                <a:gd name="T45" fmla="*/ 206 h 264"/>
                <a:gd name="T46" fmla="*/ 30 w 264"/>
                <a:gd name="T47" fmla="*/ 217 h 264"/>
                <a:gd name="T48" fmla="*/ 40 w 264"/>
                <a:gd name="T49" fmla="*/ 225 h 264"/>
                <a:gd name="T50" fmla="*/ 48 w 264"/>
                <a:gd name="T51" fmla="*/ 235 h 264"/>
                <a:gd name="T52" fmla="*/ 59 w 264"/>
                <a:gd name="T53" fmla="*/ 242 h 264"/>
                <a:gd name="T54" fmla="*/ 69 w 264"/>
                <a:gd name="T55" fmla="*/ 248 h 264"/>
                <a:gd name="T56" fmla="*/ 82 w 264"/>
                <a:gd name="T57" fmla="*/ 253 h 264"/>
                <a:gd name="T58" fmla="*/ 93 w 264"/>
                <a:gd name="T59" fmla="*/ 259 h 264"/>
                <a:gd name="T60" fmla="*/ 105 w 264"/>
                <a:gd name="T61" fmla="*/ 262 h 264"/>
                <a:gd name="T62" fmla="*/ 118 w 264"/>
                <a:gd name="T63" fmla="*/ 263 h 264"/>
                <a:gd name="T64" fmla="*/ 132 w 264"/>
                <a:gd name="T65" fmla="*/ 264 h 264"/>
                <a:gd name="T66" fmla="*/ 146 w 264"/>
                <a:gd name="T67" fmla="*/ 263 h 264"/>
                <a:gd name="T68" fmla="*/ 157 w 264"/>
                <a:gd name="T69" fmla="*/ 262 h 264"/>
                <a:gd name="T70" fmla="*/ 171 w 264"/>
                <a:gd name="T71" fmla="*/ 259 h 264"/>
                <a:gd name="T72" fmla="*/ 182 w 264"/>
                <a:gd name="T73" fmla="*/ 253 h 264"/>
                <a:gd name="T74" fmla="*/ 194 w 264"/>
                <a:gd name="T75" fmla="*/ 248 h 264"/>
                <a:gd name="T76" fmla="*/ 205 w 264"/>
                <a:gd name="T77" fmla="*/ 242 h 264"/>
                <a:gd name="T78" fmla="*/ 215 w 264"/>
                <a:gd name="T79" fmla="*/ 235 h 264"/>
                <a:gd name="T80" fmla="*/ 224 w 264"/>
                <a:gd name="T81" fmla="*/ 227 h 264"/>
                <a:gd name="T82" fmla="*/ 231 w 264"/>
                <a:gd name="T83" fmla="*/ 218 h 264"/>
                <a:gd name="T84" fmla="*/ 240 w 264"/>
                <a:gd name="T85" fmla="*/ 207 h 264"/>
                <a:gd name="T86" fmla="*/ 247 w 264"/>
                <a:gd name="T87" fmla="*/ 197 h 264"/>
                <a:gd name="T88" fmla="*/ 251 w 264"/>
                <a:gd name="T89" fmla="*/ 185 h 264"/>
                <a:gd name="T90" fmla="*/ 258 w 264"/>
                <a:gd name="T91" fmla="*/ 173 h 264"/>
                <a:gd name="T92" fmla="*/ 261 w 264"/>
                <a:gd name="T93" fmla="*/ 161 h 264"/>
                <a:gd name="T94" fmla="*/ 262 w 264"/>
                <a:gd name="T95" fmla="*/ 150 h 264"/>
                <a:gd name="T96" fmla="*/ 264 w 264"/>
                <a:gd name="T97" fmla="*/ 136 h 264"/>
                <a:gd name="T98" fmla="*/ 132 w 264"/>
                <a:gd name="T99" fmla="*/ 136 h 264"/>
                <a:gd name="T100" fmla="*/ 132 w 264"/>
                <a:gd name="T101" fmla="*/ 0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64" h="264">
                  <a:moveTo>
                    <a:pt x="132" y="0"/>
                  </a:moveTo>
                  <a:lnTo>
                    <a:pt x="118" y="1"/>
                  </a:lnTo>
                  <a:lnTo>
                    <a:pt x="105" y="3"/>
                  </a:lnTo>
                  <a:lnTo>
                    <a:pt x="93" y="6"/>
                  </a:lnTo>
                  <a:lnTo>
                    <a:pt x="82" y="10"/>
                  </a:lnTo>
                  <a:lnTo>
                    <a:pt x="69" y="17"/>
                  </a:lnTo>
                  <a:lnTo>
                    <a:pt x="59" y="22"/>
                  </a:lnTo>
                  <a:lnTo>
                    <a:pt x="48" y="31"/>
                  </a:lnTo>
                  <a:lnTo>
                    <a:pt x="40" y="39"/>
                  </a:lnTo>
                  <a:lnTo>
                    <a:pt x="30" y="48"/>
                  </a:lnTo>
                  <a:lnTo>
                    <a:pt x="23" y="59"/>
                  </a:lnTo>
                  <a:lnTo>
                    <a:pt x="16" y="70"/>
                  </a:lnTo>
                  <a:lnTo>
                    <a:pt x="10" y="81"/>
                  </a:lnTo>
                  <a:lnTo>
                    <a:pt x="6" y="92"/>
                  </a:lnTo>
                  <a:lnTo>
                    <a:pt x="2" y="106"/>
                  </a:lnTo>
                  <a:lnTo>
                    <a:pt x="0" y="119"/>
                  </a:lnTo>
                  <a:lnTo>
                    <a:pt x="0" y="133"/>
                  </a:lnTo>
                  <a:lnTo>
                    <a:pt x="0" y="147"/>
                  </a:lnTo>
                  <a:lnTo>
                    <a:pt x="2" y="158"/>
                  </a:lnTo>
                  <a:lnTo>
                    <a:pt x="6" y="172"/>
                  </a:lnTo>
                  <a:lnTo>
                    <a:pt x="10" y="183"/>
                  </a:lnTo>
                  <a:lnTo>
                    <a:pt x="16" y="196"/>
                  </a:lnTo>
                  <a:lnTo>
                    <a:pt x="23" y="206"/>
                  </a:lnTo>
                  <a:lnTo>
                    <a:pt x="30" y="217"/>
                  </a:lnTo>
                  <a:lnTo>
                    <a:pt x="40" y="225"/>
                  </a:lnTo>
                  <a:lnTo>
                    <a:pt x="48" y="235"/>
                  </a:lnTo>
                  <a:lnTo>
                    <a:pt x="59" y="242"/>
                  </a:lnTo>
                  <a:lnTo>
                    <a:pt x="69" y="248"/>
                  </a:lnTo>
                  <a:lnTo>
                    <a:pt x="82" y="253"/>
                  </a:lnTo>
                  <a:lnTo>
                    <a:pt x="93" y="259"/>
                  </a:lnTo>
                  <a:lnTo>
                    <a:pt x="105" y="262"/>
                  </a:lnTo>
                  <a:lnTo>
                    <a:pt x="118" y="263"/>
                  </a:lnTo>
                  <a:lnTo>
                    <a:pt x="132" y="264"/>
                  </a:lnTo>
                  <a:lnTo>
                    <a:pt x="146" y="263"/>
                  </a:lnTo>
                  <a:lnTo>
                    <a:pt x="157" y="262"/>
                  </a:lnTo>
                  <a:lnTo>
                    <a:pt x="171" y="259"/>
                  </a:lnTo>
                  <a:lnTo>
                    <a:pt x="182" y="253"/>
                  </a:lnTo>
                  <a:lnTo>
                    <a:pt x="194" y="248"/>
                  </a:lnTo>
                  <a:lnTo>
                    <a:pt x="205" y="242"/>
                  </a:lnTo>
                  <a:lnTo>
                    <a:pt x="215" y="235"/>
                  </a:lnTo>
                  <a:lnTo>
                    <a:pt x="224" y="227"/>
                  </a:lnTo>
                  <a:lnTo>
                    <a:pt x="231" y="218"/>
                  </a:lnTo>
                  <a:lnTo>
                    <a:pt x="240" y="207"/>
                  </a:lnTo>
                  <a:lnTo>
                    <a:pt x="247" y="197"/>
                  </a:lnTo>
                  <a:lnTo>
                    <a:pt x="251" y="185"/>
                  </a:lnTo>
                  <a:lnTo>
                    <a:pt x="258" y="173"/>
                  </a:lnTo>
                  <a:lnTo>
                    <a:pt x="261" y="161"/>
                  </a:lnTo>
                  <a:lnTo>
                    <a:pt x="262" y="150"/>
                  </a:lnTo>
                  <a:lnTo>
                    <a:pt x="264" y="136"/>
                  </a:lnTo>
                  <a:lnTo>
                    <a:pt x="132" y="136"/>
                  </a:lnTo>
                  <a:lnTo>
                    <a:pt x="13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8" name="Freeform 8"/>
            <p:cNvSpPr>
              <a:spLocks/>
            </p:cNvSpPr>
            <p:nvPr/>
          </p:nvSpPr>
          <p:spPr bwMode="auto">
            <a:xfrm>
              <a:off x="3012934" y="4540425"/>
              <a:ext cx="138142" cy="140235"/>
            </a:xfrm>
            <a:custGeom>
              <a:avLst/>
              <a:gdLst>
                <a:gd name="T0" fmla="*/ 0 w 132"/>
                <a:gd name="T1" fmla="*/ 0 h 134"/>
                <a:gd name="T2" fmla="*/ 0 w 132"/>
                <a:gd name="T3" fmla="*/ 134 h 134"/>
                <a:gd name="T4" fmla="*/ 132 w 132"/>
                <a:gd name="T5" fmla="*/ 134 h 134"/>
                <a:gd name="T6" fmla="*/ 132 w 132"/>
                <a:gd name="T7" fmla="*/ 132 h 134"/>
                <a:gd name="T8" fmla="*/ 130 w 132"/>
                <a:gd name="T9" fmla="*/ 118 h 134"/>
                <a:gd name="T10" fmla="*/ 129 w 132"/>
                <a:gd name="T11" fmla="*/ 104 h 134"/>
                <a:gd name="T12" fmla="*/ 126 w 132"/>
                <a:gd name="T13" fmla="*/ 92 h 134"/>
                <a:gd name="T14" fmla="*/ 121 w 132"/>
                <a:gd name="T15" fmla="*/ 79 h 134"/>
                <a:gd name="T16" fmla="*/ 115 w 132"/>
                <a:gd name="T17" fmla="*/ 69 h 134"/>
                <a:gd name="T18" fmla="*/ 109 w 132"/>
                <a:gd name="T19" fmla="*/ 56 h 134"/>
                <a:gd name="T20" fmla="*/ 102 w 132"/>
                <a:gd name="T21" fmla="*/ 48 h 134"/>
                <a:gd name="T22" fmla="*/ 93 w 132"/>
                <a:gd name="T23" fmla="*/ 37 h 134"/>
                <a:gd name="T24" fmla="*/ 84 w 132"/>
                <a:gd name="T25" fmla="*/ 30 h 134"/>
                <a:gd name="T26" fmla="*/ 73 w 132"/>
                <a:gd name="T27" fmla="*/ 23 h 134"/>
                <a:gd name="T28" fmla="*/ 63 w 132"/>
                <a:gd name="T29" fmla="*/ 14 h 134"/>
                <a:gd name="T30" fmla="*/ 51 w 132"/>
                <a:gd name="T31" fmla="*/ 10 h 134"/>
                <a:gd name="T32" fmla="*/ 39 w 132"/>
                <a:gd name="T33" fmla="*/ 6 h 134"/>
                <a:gd name="T34" fmla="*/ 25 w 132"/>
                <a:gd name="T35" fmla="*/ 2 h 134"/>
                <a:gd name="T36" fmla="*/ 14 w 132"/>
                <a:gd name="T37" fmla="*/ 0 h 134"/>
                <a:gd name="T38" fmla="*/ 0 w 132"/>
                <a:gd name="T39" fmla="*/ 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2" h="134">
                  <a:moveTo>
                    <a:pt x="0" y="0"/>
                  </a:moveTo>
                  <a:lnTo>
                    <a:pt x="0" y="134"/>
                  </a:lnTo>
                  <a:lnTo>
                    <a:pt x="132" y="134"/>
                  </a:lnTo>
                  <a:lnTo>
                    <a:pt x="132" y="132"/>
                  </a:lnTo>
                  <a:lnTo>
                    <a:pt x="130" y="118"/>
                  </a:lnTo>
                  <a:lnTo>
                    <a:pt x="129" y="104"/>
                  </a:lnTo>
                  <a:lnTo>
                    <a:pt x="126" y="92"/>
                  </a:lnTo>
                  <a:lnTo>
                    <a:pt x="121" y="79"/>
                  </a:lnTo>
                  <a:lnTo>
                    <a:pt x="115" y="69"/>
                  </a:lnTo>
                  <a:lnTo>
                    <a:pt x="109" y="56"/>
                  </a:lnTo>
                  <a:lnTo>
                    <a:pt x="102" y="48"/>
                  </a:lnTo>
                  <a:lnTo>
                    <a:pt x="93" y="37"/>
                  </a:lnTo>
                  <a:lnTo>
                    <a:pt x="84" y="30"/>
                  </a:lnTo>
                  <a:lnTo>
                    <a:pt x="73" y="23"/>
                  </a:lnTo>
                  <a:lnTo>
                    <a:pt x="63" y="14"/>
                  </a:lnTo>
                  <a:lnTo>
                    <a:pt x="51" y="10"/>
                  </a:lnTo>
                  <a:lnTo>
                    <a:pt x="39" y="6"/>
                  </a:lnTo>
                  <a:lnTo>
                    <a:pt x="25" y="2"/>
                  </a:lnTo>
                  <a:lnTo>
                    <a:pt x="14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9" name="Rectangle 10"/>
            <p:cNvSpPr>
              <a:spLocks noChangeArrowheads="1"/>
            </p:cNvSpPr>
            <p:nvPr/>
          </p:nvSpPr>
          <p:spPr bwMode="auto">
            <a:xfrm>
              <a:off x="2320131" y="4745326"/>
              <a:ext cx="892690" cy="50233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0" name="Rectangle 11"/>
            <p:cNvSpPr>
              <a:spLocks noChangeArrowheads="1"/>
            </p:cNvSpPr>
            <p:nvPr/>
          </p:nvSpPr>
          <p:spPr bwMode="auto">
            <a:xfrm>
              <a:off x="2586997" y="5053006"/>
              <a:ext cx="117211" cy="17791"/>
            </a:xfrm>
            <a:prstGeom prst="rect">
              <a:avLst/>
            </a:prstGeom>
            <a:solidFill>
              <a:srgbClr val="0072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1" name="Rectangle 12"/>
            <p:cNvSpPr>
              <a:spLocks noChangeArrowheads="1"/>
            </p:cNvSpPr>
            <p:nvPr/>
          </p:nvSpPr>
          <p:spPr bwMode="auto">
            <a:xfrm>
              <a:off x="2557694" y="5053006"/>
              <a:ext cx="18838" cy="17791"/>
            </a:xfrm>
            <a:prstGeom prst="rect">
              <a:avLst/>
            </a:prstGeom>
            <a:solidFill>
              <a:srgbClr val="0072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2" name="Rectangle 13"/>
            <p:cNvSpPr>
              <a:spLocks noChangeArrowheads="1"/>
            </p:cNvSpPr>
            <p:nvPr/>
          </p:nvSpPr>
          <p:spPr bwMode="auto">
            <a:xfrm>
              <a:off x="2586997" y="5090681"/>
              <a:ext cx="126630" cy="17791"/>
            </a:xfrm>
            <a:prstGeom prst="rect">
              <a:avLst/>
            </a:prstGeom>
            <a:solidFill>
              <a:srgbClr val="0072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3" name="Rectangle 14"/>
            <p:cNvSpPr>
              <a:spLocks noChangeArrowheads="1"/>
            </p:cNvSpPr>
            <p:nvPr/>
          </p:nvSpPr>
          <p:spPr bwMode="auto">
            <a:xfrm>
              <a:off x="2557694" y="5090681"/>
              <a:ext cx="18838" cy="17791"/>
            </a:xfrm>
            <a:prstGeom prst="rect">
              <a:avLst/>
            </a:prstGeom>
            <a:solidFill>
              <a:srgbClr val="0072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4" name="Rectangle 15"/>
            <p:cNvSpPr>
              <a:spLocks noChangeArrowheads="1"/>
            </p:cNvSpPr>
            <p:nvPr/>
          </p:nvSpPr>
          <p:spPr bwMode="auto">
            <a:xfrm>
              <a:off x="2586997" y="5127309"/>
              <a:ext cx="93141" cy="17791"/>
            </a:xfrm>
            <a:prstGeom prst="rect">
              <a:avLst/>
            </a:prstGeom>
            <a:solidFill>
              <a:srgbClr val="0072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5" name="Rectangle 16"/>
            <p:cNvSpPr>
              <a:spLocks noChangeArrowheads="1"/>
            </p:cNvSpPr>
            <p:nvPr/>
          </p:nvSpPr>
          <p:spPr bwMode="auto">
            <a:xfrm>
              <a:off x="2557694" y="5127309"/>
              <a:ext cx="18838" cy="17791"/>
            </a:xfrm>
            <a:prstGeom prst="rect">
              <a:avLst/>
            </a:prstGeom>
            <a:solidFill>
              <a:srgbClr val="0072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6" name="Rectangle 17"/>
            <p:cNvSpPr>
              <a:spLocks noChangeArrowheads="1"/>
            </p:cNvSpPr>
            <p:nvPr/>
          </p:nvSpPr>
          <p:spPr bwMode="auto">
            <a:xfrm>
              <a:off x="2687463" y="4913817"/>
              <a:ext cx="24070" cy="99421"/>
            </a:xfrm>
            <a:prstGeom prst="rect">
              <a:avLst/>
            </a:prstGeom>
            <a:solidFill>
              <a:srgbClr val="3410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7" name="Rectangle 18"/>
            <p:cNvSpPr>
              <a:spLocks noChangeArrowheads="1"/>
            </p:cNvSpPr>
            <p:nvPr/>
          </p:nvSpPr>
          <p:spPr bwMode="auto">
            <a:xfrm>
              <a:off x="2655021" y="4987074"/>
              <a:ext cx="24070" cy="26164"/>
            </a:xfrm>
            <a:prstGeom prst="rect">
              <a:avLst/>
            </a:prstGeom>
            <a:solidFill>
              <a:srgbClr val="4E19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8" name="Rectangle 19"/>
            <p:cNvSpPr>
              <a:spLocks noChangeArrowheads="1"/>
            </p:cNvSpPr>
            <p:nvPr/>
          </p:nvSpPr>
          <p:spPr bwMode="auto">
            <a:xfrm>
              <a:off x="2623625" y="4944166"/>
              <a:ext cx="23024" cy="69071"/>
            </a:xfrm>
            <a:prstGeom prst="rect">
              <a:avLst/>
            </a:prstGeom>
            <a:solidFill>
              <a:srgbClr val="B957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9" name="Rectangle 20"/>
            <p:cNvSpPr>
              <a:spLocks noChangeArrowheads="1"/>
            </p:cNvSpPr>
            <p:nvPr/>
          </p:nvSpPr>
          <p:spPr bwMode="auto">
            <a:xfrm>
              <a:off x="2589090" y="4927422"/>
              <a:ext cx="21977" cy="85815"/>
            </a:xfrm>
            <a:prstGeom prst="rect">
              <a:avLst/>
            </a:prstGeom>
            <a:solidFill>
              <a:srgbClr val="6821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0" name="Rectangle 21"/>
            <p:cNvSpPr>
              <a:spLocks noChangeArrowheads="1"/>
            </p:cNvSpPr>
            <p:nvPr/>
          </p:nvSpPr>
          <p:spPr bwMode="auto">
            <a:xfrm>
              <a:off x="2555601" y="4958818"/>
              <a:ext cx="24070" cy="54420"/>
            </a:xfrm>
            <a:prstGeom prst="rect">
              <a:avLst/>
            </a:prstGeom>
            <a:solidFill>
              <a:srgbClr val="D08F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" name="Freeform 22"/>
            <p:cNvSpPr>
              <a:spLocks/>
            </p:cNvSpPr>
            <p:nvPr/>
          </p:nvSpPr>
          <p:spPr bwMode="auto">
            <a:xfrm>
              <a:off x="2767000" y="4953586"/>
              <a:ext cx="186282" cy="185236"/>
            </a:xfrm>
            <a:custGeom>
              <a:avLst/>
              <a:gdLst>
                <a:gd name="T0" fmla="*/ 88 w 178"/>
                <a:gd name="T1" fmla="*/ 0 h 177"/>
                <a:gd name="T2" fmla="*/ 88 w 178"/>
                <a:gd name="T3" fmla="*/ 0 h 177"/>
                <a:gd name="T4" fmla="*/ 80 w 178"/>
                <a:gd name="T5" fmla="*/ 0 h 177"/>
                <a:gd name="T6" fmla="*/ 70 w 178"/>
                <a:gd name="T7" fmla="*/ 1 h 177"/>
                <a:gd name="T8" fmla="*/ 63 w 178"/>
                <a:gd name="T9" fmla="*/ 4 h 177"/>
                <a:gd name="T10" fmla="*/ 55 w 178"/>
                <a:gd name="T11" fmla="*/ 7 h 177"/>
                <a:gd name="T12" fmla="*/ 46 w 178"/>
                <a:gd name="T13" fmla="*/ 11 h 177"/>
                <a:gd name="T14" fmla="*/ 39 w 178"/>
                <a:gd name="T15" fmla="*/ 14 h 177"/>
                <a:gd name="T16" fmla="*/ 32 w 178"/>
                <a:gd name="T17" fmla="*/ 21 h 177"/>
                <a:gd name="T18" fmla="*/ 27 w 178"/>
                <a:gd name="T19" fmla="*/ 25 h 177"/>
                <a:gd name="T20" fmla="*/ 20 w 178"/>
                <a:gd name="T21" fmla="*/ 32 h 177"/>
                <a:gd name="T22" fmla="*/ 15 w 178"/>
                <a:gd name="T23" fmla="*/ 39 h 177"/>
                <a:gd name="T24" fmla="*/ 10 w 178"/>
                <a:gd name="T25" fmla="*/ 47 h 177"/>
                <a:gd name="T26" fmla="*/ 7 w 178"/>
                <a:gd name="T27" fmla="*/ 54 h 177"/>
                <a:gd name="T28" fmla="*/ 4 w 178"/>
                <a:gd name="T29" fmla="*/ 61 h 177"/>
                <a:gd name="T30" fmla="*/ 1 w 178"/>
                <a:gd name="T31" fmla="*/ 71 h 177"/>
                <a:gd name="T32" fmla="*/ 0 w 178"/>
                <a:gd name="T33" fmla="*/ 80 h 177"/>
                <a:gd name="T34" fmla="*/ 0 w 178"/>
                <a:gd name="T35" fmla="*/ 89 h 177"/>
                <a:gd name="T36" fmla="*/ 0 w 178"/>
                <a:gd name="T37" fmla="*/ 98 h 177"/>
                <a:gd name="T38" fmla="*/ 1 w 178"/>
                <a:gd name="T39" fmla="*/ 106 h 177"/>
                <a:gd name="T40" fmla="*/ 4 w 178"/>
                <a:gd name="T41" fmla="*/ 116 h 177"/>
                <a:gd name="T42" fmla="*/ 7 w 178"/>
                <a:gd name="T43" fmla="*/ 123 h 177"/>
                <a:gd name="T44" fmla="*/ 10 w 178"/>
                <a:gd name="T45" fmla="*/ 131 h 177"/>
                <a:gd name="T46" fmla="*/ 15 w 178"/>
                <a:gd name="T47" fmla="*/ 138 h 177"/>
                <a:gd name="T48" fmla="*/ 20 w 178"/>
                <a:gd name="T49" fmla="*/ 145 h 177"/>
                <a:gd name="T50" fmla="*/ 27 w 178"/>
                <a:gd name="T51" fmla="*/ 152 h 177"/>
                <a:gd name="T52" fmla="*/ 32 w 178"/>
                <a:gd name="T53" fmla="*/ 158 h 177"/>
                <a:gd name="T54" fmla="*/ 39 w 178"/>
                <a:gd name="T55" fmla="*/ 163 h 177"/>
                <a:gd name="T56" fmla="*/ 46 w 178"/>
                <a:gd name="T57" fmla="*/ 166 h 177"/>
                <a:gd name="T58" fmla="*/ 55 w 178"/>
                <a:gd name="T59" fmla="*/ 170 h 177"/>
                <a:gd name="T60" fmla="*/ 63 w 178"/>
                <a:gd name="T61" fmla="*/ 173 h 177"/>
                <a:gd name="T62" fmla="*/ 70 w 178"/>
                <a:gd name="T63" fmla="*/ 176 h 177"/>
                <a:gd name="T64" fmla="*/ 80 w 178"/>
                <a:gd name="T65" fmla="*/ 177 h 177"/>
                <a:gd name="T66" fmla="*/ 88 w 178"/>
                <a:gd name="T67" fmla="*/ 177 h 177"/>
                <a:gd name="T68" fmla="*/ 98 w 178"/>
                <a:gd name="T69" fmla="*/ 177 h 177"/>
                <a:gd name="T70" fmla="*/ 106 w 178"/>
                <a:gd name="T71" fmla="*/ 176 h 177"/>
                <a:gd name="T72" fmla="*/ 115 w 178"/>
                <a:gd name="T73" fmla="*/ 173 h 177"/>
                <a:gd name="T74" fmla="*/ 123 w 178"/>
                <a:gd name="T75" fmla="*/ 170 h 177"/>
                <a:gd name="T76" fmla="*/ 130 w 178"/>
                <a:gd name="T77" fmla="*/ 166 h 177"/>
                <a:gd name="T78" fmla="*/ 139 w 178"/>
                <a:gd name="T79" fmla="*/ 163 h 177"/>
                <a:gd name="T80" fmla="*/ 144 w 178"/>
                <a:gd name="T81" fmla="*/ 158 h 177"/>
                <a:gd name="T82" fmla="*/ 151 w 178"/>
                <a:gd name="T83" fmla="*/ 152 h 177"/>
                <a:gd name="T84" fmla="*/ 157 w 178"/>
                <a:gd name="T85" fmla="*/ 147 h 177"/>
                <a:gd name="T86" fmla="*/ 161 w 178"/>
                <a:gd name="T87" fmla="*/ 140 h 177"/>
                <a:gd name="T88" fmla="*/ 167 w 178"/>
                <a:gd name="T89" fmla="*/ 133 h 177"/>
                <a:gd name="T90" fmla="*/ 169 w 178"/>
                <a:gd name="T91" fmla="*/ 124 h 177"/>
                <a:gd name="T92" fmla="*/ 174 w 178"/>
                <a:gd name="T93" fmla="*/ 116 h 177"/>
                <a:gd name="T94" fmla="*/ 175 w 178"/>
                <a:gd name="T95" fmla="*/ 109 h 177"/>
                <a:gd name="T96" fmla="*/ 176 w 178"/>
                <a:gd name="T97" fmla="*/ 100 h 177"/>
                <a:gd name="T98" fmla="*/ 178 w 178"/>
                <a:gd name="T99" fmla="*/ 91 h 177"/>
                <a:gd name="T100" fmla="*/ 88 w 178"/>
                <a:gd name="T101" fmla="*/ 91 h 177"/>
                <a:gd name="T102" fmla="*/ 88 w 178"/>
                <a:gd name="T103" fmla="*/ 0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78" h="177">
                  <a:moveTo>
                    <a:pt x="88" y="0"/>
                  </a:moveTo>
                  <a:lnTo>
                    <a:pt x="88" y="0"/>
                  </a:lnTo>
                  <a:lnTo>
                    <a:pt x="80" y="0"/>
                  </a:lnTo>
                  <a:lnTo>
                    <a:pt x="70" y="1"/>
                  </a:lnTo>
                  <a:lnTo>
                    <a:pt x="63" y="4"/>
                  </a:lnTo>
                  <a:lnTo>
                    <a:pt x="55" y="7"/>
                  </a:lnTo>
                  <a:lnTo>
                    <a:pt x="46" y="11"/>
                  </a:lnTo>
                  <a:lnTo>
                    <a:pt x="39" y="14"/>
                  </a:lnTo>
                  <a:lnTo>
                    <a:pt x="32" y="21"/>
                  </a:lnTo>
                  <a:lnTo>
                    <a:pt x="27" y="25"/>
                  </a:lnTo>
                  <a:lnTo>
                    <a:pt x="20" y="32"/>
                  </a:lnTo>
                  <a:lnTo>
                    <a:pt x="15" y="39"/>
                  </a:lnTo>
                  <a:lnTo>
                    <a:pt x="10" y="47"/>
                  </a:lnTo>
                  <a:lnTo>
                    <a:pt x="7" y="54"/>
                  </a:lnTo>
                  <a:lnTo>
                    <a:pt x="4" y="61"/>
                  </a:lnTo>
                  <a:lnTo>
                    <a:pt x="1" y="71"/>
                  </a:lnTo>
                  <a:lnTo>
                    <a:pt x="0" y="80"/>
                  </a:lnTo>
                  <a:lnTo>
                    <a:pt x="0" y="89"/>
                  </a:lnTo>
                  <a:lnTo>
                    <a:pt x="0" y="98"/>
                  </a:lnTo>
                  <a:lnTo>
                    <a:pt x="1" y="106"/>
                  </a:lnTo>
                  <a:lnTo>
                    <a:pt x="4" y="116"/>
                  </a:lnTo>
                  <a:lnTo>
                    <a:pt x="7" y="123"/>
                  </a:lnTo>
                  <a:lnTo>
                    <a:pt x="10" y="131"/>
                  </a:lnTo>
                  <a:lnTo>
                    <a:pt x="15" y="138"/>
                  </a:lnTo>
                  <a:lnTo>
                    <a:pt x="20" y="145"/>
                  </a:lnTo>
                  <a:lnTo>
                    <a:pt x="27" y="152"/>
                  </a:lnTo>
                  <a:lnTo>
                    <a:pt x="32" y="158"/>
                  </a:lnTo>
                  <a:lnTo>
                    <a:pt x="39" y="163"/>
                  </a:lnTo>
                  <a:lnTo>
                    <a:pt x="46" y="166"/>
                  </a:lnTo>
                  <a:lnTo>
                    <a:pt x="55" y="170"/>
                  </a:lnTo>
                  <a:lnTo>
                    <a:pt x="63" y="173"/>
                  </a:lnTo>
                  <a:lnTo>
                    <a:pt x="70" y="176"/>
                  </a:lnTo>
                  <a:lnTo>
                    <a:pt x="80" y="177"/>
                  </a:lnTo>
                  <a:lnTo>
                    <a:pt x="88" y="177"/>
                  </a:lnTo>
                  <a:lnTo>
                    <a:pt x="98" y="177"/>
                  </a:lnTo>
                  <a:lnTo>
                    <a:pt x="106" y="176"/>
                  </a:lnTo>
                  <a:lnTo>
                    <a:pt x="115" y="173"/>
                  </a:lnTo>
                  <a:lnTo>
                    <a:pt x="123" y="170"/>
                  </a:lnTo>
                  <a:lnTo>
                    <a:pt x="130" y="166"/>
                  </a:lnTo>
                  <a:lnTo>
                    <a:pt x="139" y="163"/>
                  </a:lnTo>
                  <a:lnTo>
                    <a:pt x="144" y="158"/>
                  </a:lnTo>
                  <a:lnTo>
                    <a:pt x="151" y="152"/>
                  </a:lnTo>
                  <a:lnTo>
                    <a:pt x="157" y="147"/>
                  </a:lnTo>
                  <a:lnTo>
                    <a:pt x="161" y="140"/>
                  </a:lnTo>
                  <a:lnTo>
                    <a:pt x="167" y="133"/>
                  </a:lnTo>
                  <a:lnTo>
                    <a:pt x="169" y="124"/>
                  </a:lnTo>
                  <a:lnTo>
                    <a:pt x="174" y="116"/>
                  </a:lnTo>
                  <a:lnTo>
                    <a:pt x="175" y="109"/>
                  </a:lnTo>
                  <a:lnTo>
                    <a:pt x="176" y="100"/>
                  </a:lnTo>
                  <a:lnTo>
                    <a:pt x="178" y="91"/>
                  </a:lnTo>
                  <a:lnTo>
                    <a:pt x="88" y="91"/>
                  </a:lnTo>
                  <a:lnTo>
                    <a:pt x="88" y="0"/>
                  </a:lnTo>
                  <a:close/>
                </a:path>
              </a:pathLst>
            </a:custGeom>
            <a:solidFill>
              <a:srgbClr val="DC3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" name="Rectangle 23"/>
            <p:cNvSpPr>
              <a:spLocks noChangeArrowheads="1"/>
            </p:cNvSpPr>
            <p:nvPr/>
          </p:nvSpPr>
          <p:spPr bwMode="auto">
            <a:xfrm>
              <a:off x="2967934" y="4810211"/>
              <a:ext cx="17791" cy="16744"/>
            </a:xfrm>
            <a:prstGeom prst="rect">
              <a:avLst/>
            </a:prstGeom>
            <a:solidFill>
              <a:srgbClr val="0082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" name="Freeform 24"/>
            <p:cNvSpPr>
              <a:spLocks noEditPoints="1"/>
            </p:cNvSpPr>
            <p:nvPr/>
          </p:nvSpPr>
          <p:spPr bwMode="auto">
            <a:xfrm>
              <a:off x="2491762" y="4786141"/>
              <a:ext cx="556754" cy="55466"/>
            </a:xfrm>
            <a:custGeom>
              <a:avLst/>
              <a:gdLst>
                <a:gd name="T0" fmla="*/ 0 w 532"/>
                <a:gd name="T1" fmla="*/ 0 h 53"/>
                <a:gd name="T2" fmla="*/ 0 w 532"/>
                <a:gd name="T3" fmla="*/ 53 h 53"/>
                <a:gd name="T4" fmla="*/ 532 w 532"/>
                <a:gd name="T5" fmla="*/ 53 h 53"/>
                <a:gd name="T6" fmla="*/ 532 w 532"/>
                <a:gd name="T7" fmla="*/ 0 h 53"/>
                <a:gd name="T8" fmla="*/ 0 w 532"/>
                <a:gd name="T9" fmla="*/ 0 h 53"/>
                <a:gd name="T10" fmla="*/ 434 w 532"/>
                <a:gd name="T11" fmla="*/ 45 h 53"/>
                <a:gd name="T12" fmla="*/ 402 w 532"/>
                <a:gd name="T13" fmla="*/ 45 h 53"/>
                <a:gd name="T14" fmla="*/ 402 w 532"/>
                <a:gd name="T15" fmla="*/ 37 h 53"/>
                <a:gd name="T16" fmla="*/ 434 w 532"/>
                <a:gd name="T17" fmla="*/ 37 h 53"/>
                <a:gd name="T18" fmla="*/ 434 w 532"/>
                <a:gd name="T19" fmla="*/ 45 h 53"/>
                <a:gd name="T20" fmla="*/ 477 w 532"/>
                <a:gd name="T21" fmla="*/ 45 h 53"/>
                <a:gd name="T22" fmla="*/ 449 w 532"/>
                <a:gd name="T23" fmla="*/ 45 h 53"/>
                <a:gd name="T24" fmla="*/ 449 w 532"/>
                <a:gd name="T25" fmla="*/ 16 h 53"/>
                <a:gd name="T26" fmla="*/ 477 w 532"/>
                <a:gd name="T27" fmla="*/ 16 h 53"/>
                <a:gd name="T28" fmla="*/ 477 w 532"/>
                <a:gd name="T29" fmla="*/ 45 h 53"/>
                <a:gd name="T30" fmla="*/ 521 w 532"/>
                <a:gd name="T31" fmla="*/ 39 h 53"/>
                <a:gd name="T32" fmla="*/ 515 w 532"/>
                <a:gd name="T33" fmla="*/ 45 h 53"/>
                <a:gd name="T34" fmla="*/ 507 w 532"/>
                <a:gd name="T35" fmla="*/ 38 h 53"/>
                <a:gd name="T36" fmla="*/ 498 w 532"/>
                <a:gd name="T37" fmla="*/ 45 h 53"/>
                <a:gd name="T38" fmla="*/ 493 w 532"/>
                <a:gd name="T39" fmla="*/ 39 h 53"/>
                <a:gd name="T40" fmla="*/ 500 w 532"/>
                <a:gd name="T41" fmla="*/ 31 h 53"/>
                <a:gd name="T42" fmla="*/ 493 w 532"/>
                <a:gd name="T43" fmla="*/ 23 h 53"/>
                <a:gd name="T44" fmla="*/ 498 w 532"/>
                <a:gd name="T45" fmla="*/ 16 h 53"/>
                <a:gd name="T46" fmla="*/ 507 w 532"/>
                <a:gd name="T47" fmla="*/ 24 h 53"/>
                <a:gd name="T48" fmla="*/ 515 w 532"/>
                <a:gd name="T49" fmla="*/ 16 h 53"/>
                <a:gd name="T50" fmla="*/ 521 w 532"/>
                <a:gd name="T51" fmla="*/ 23 h 53"/>
                <a:gd name="T52" fmla="*/ 512 w 532"/>
                <a:gd name="T53" fmla="*/ 31 h 53"/>
                <a:gd name="T54" fmla="*/ 521 w 532"/>
                <a:gd name="T55" fmla="*/ 39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32" h="53">
                  <a:moveTo>
                    <a:pt x="0" y="0"/>
                  </a:moveTo>
                  <a:lnTo>
                    <a:pt x="0" y="53"/>
                  </a:lnTo>
                  <a:lnTo>
                    <a:pt x="532" y="53"/>
                  </a:lnTo>
                  <a:lnTo>
                    <a:pt x="532" y="0"/>
                  </a:lnTo>
                  <a:lnTo>
                    <a:pt x="0" y="0"/>
                  </a:lnTo>
                  <a:close/>
                  <a:moveTo>
                    <a:pt x="434" y="45"/>
                  </a:moveTo>
                  <a:lnTo>
                    <a:pt x="402" y="45"/>
                  </a:lnTo>
                  <a:lnTo>
                    <a:pt x="402" y="37"/>
                  </a:lnTo>
                  <a:lnTo>
                    <a:pt x="434" y="37"/>
                  </a:lnTo>
                  <a:lnTo>
                    <a:pt x="434" y="45"/>
                  </a:lnTo>
                  <a:close/>
                  <a:moveTo>
                    <a:pt x="477" y="45"/>
                  </a:moveTo>
                  <a:lnTo>
                    <a:pt x="449" y="45"/>
                  </a:lnTo>
                  <a:lnTo>
                    <a:pt x="449" y="16"/>
                  </a:lnTo>
                  <a:lnTo>
                    <a:pt x="477" y="16"/>
                  </a:lnTo>
                  <a:lnTo>
                    <a:pt x="477" y="45"/>
                  </a:lnTo>
                  <a:close/>
                  <a:moveTo>
                    <a:pt x="521" y="39"/>
                  </a:moveTo>
                  <a:lnTo>
                    <a:pt x="515" y="45"/>
                  </a:lnTo>
                  <a:lnTo>
                    <a:pt x="507" y="38"/>
                  </a:lnTo>
                  <a:lnTo>
                    <a:pt x="498" y="45"/>
                  </a:lnTo>
                  <a:lnTo>
                    <a:pt x="493" y="39"/>
                  </a:lnTo>
                  <a:lnTo>
                    <a:pt x="500" y="31"/>
                  </a:lnTo>
                  <a:lnTo>
                    <a:pt x="493" y="23"/>
                  </a:lnTo>
                  <a:lnTo>
                    <a:pt x="498" y="16"/>
                  </a:lnTo>
                  <a:lnTo>
                    <a:pt x="507" y="24"/>
                  </a:lnTo>
                  <a:lnTo>
                    <a:pt x="515" y="16"/>
                  </a:lnTo>
                  <a:lnTo>
                    <a:pt x="521" y="23"/>
                  </a:lnTo>
                  <a:lnTo>
                    <a:pt x="512" y="31"/>
                  </a:lnTo>
                  <a:lnTo>
                    <a:pt x="521" y="39"/>
                  </a:lnTo>
                  <a:close/>
                </a:path>
              </a:pathLst>
            </a:custGeom>
            <a:solidFill>
              <a:srgbClr val="0082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" name="Freeform 25"/>
            <p:cNvSpPr>
              <a:spLocks noEditPoints="1"/>
            </p:cNvSpPr>
            <p:nvPr/>
          </p:nvSpPr>
          <p:spPr bwMode="auto">
            <a:xfrm>
              <a:off x="2489669" y="4854165"/>
              <a:ext cx="555707" cy="353727"/>
            </a:xfrm>
            <a:custGeom>
              <a:avLst/>
              <a:gdLst>
                <a:gd name="T0" fmla="*/ 0 w 531"/>
                <a:gd name="T1" fmla="*/ 0 h 338"/>
                <a:gd name="T2" fmla="*/ 0 w 531"/>
                <a:gd name="T3" fmla="*/ 338 h 338"/>
                <a:gd name="T4" fmla="*/ 531 w 531"/>
                <a:gd name="T5" fmla="*/ 338 h 338"/>
                <a:gd name="T6" fmla="*/ 531 w 531"/>
                <a:gd name="T7" fmla="*/ 0 h 338"/>
                <a:gd name="T8" fmla="*/ 0 w 531"/>
                <a:gd name="T9" fmla="*/ 0 h 338"/>
                <a:gd name="T10" fmla="*/ 506 w 531"/>
                <a:gd name="T11" fmla="*/ 313 h 338"/>
                <a:gd name="T12" fmla="*/ 27 w 531"/>
                <a:gd name="T13" fmla="*/ 313 h 338"/>
                <a:gd name="T14" fmla="*/ 27 w 531"/>
                <a:gd name="T15" fmla="*/ 26 h 338"/>
                <a:gd name="T16" fmla="*/ 506 w 531"/>
                <a:gd name="T17" fmla="*/ 26 h 338"/>
                <a:gd name="T18" fmla="*/ 506 w 531"/>
                <a:gd name="T19" fmla="*/ 313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1" h="338">
                  <a:moveTo>
                    <a:pt x="0" y="0"/>
                  </a:moveTo>
                  <a:lnTo>
                    <a:pt x="0" y="338"/>
                  </a:lnTo>
                  <a:lnTo>
                    <a:pt x="531" y="338"/>
                  </a:lnTo>
                  <a:lnTo>
                    <a:pt x="531" y="0"/>
                  </a:lnTo>
                  <a:lnTo>
                    <a:pt x="0" y="0"/>
                  </a:lnTo>
                  <a:close/>
                  <a:moveTo>
                    <a:pt x="506" y="313"/>
                  </a:moveTo>
                  <a:lnTo>
                    <a:pt x="27" y="313"/>
                  </a:lnTo>
                  <a:lnTo>
                    <a:pt x="27" y="26"/>
                  </a:lnTo>
                  <a:lnTo>
                    <a:pt x="506" y="26"/>
                  </a:lnTo>
                  <a:lnTo>
                    <a:pt x="506" y="313"/>
                  </a:lnTo>
                  <a:close/>
                </a:path>
              </a:pathLst>
            </a:custGeom>
            <a:solidFill>
              <a:srgbClr val="0082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" name="Rectangle 26"/>
            <p:cNvSpPr>
              <a:spLocks noChangeArrowheads="1"/>
            </p:cNvSpPr>
            <p:nvPr/>
          </p:nvSpPr>
          <p:spPr bwMode="auto">
            <a:xfrm>
              <a:off x="2645602" y="4210550"/>
              <a:ext cx="52327" cy="511753"/>
            </a:xfrm>
            <a:prstGeom prst="rect">
              <a:avLst/>
            </a:prstGeom>
            <a:solidFill>
              <a:srgbClr val="3410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6" name="Rectangle 27"/>
            <p:cNvSpPr>
              <a:spLocks noChangeArrowheads="1"/>
            </p:cNvSpPr>
            <p:nvPr/>
          </p:nvSpPr>
          <p:spPr bwMode="auto">
            <a:xfrm>
              <a:off x="2645602" y="4210550"/>
              <a:ext cx="52327" cy="5117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7" name="Rectangle 28"/>
            <p:cNvSpPr>
              <a:spLocks noChangeArrowheads="1"/>
            </p:cNvSpPr>
            <p:nvPr/>
          </p:nvSpPr>
          <p:spPr bwMode="auto">
            <a:xfrm>
              <a:off x="2570252" y="4591486"/>
              <a:ext cx="53373" cy="130817"/>
            </a:xfrm>
            <a:prstGeom prst="rect">
              <a:avLst/>
            </a:prstGeom>
            <a:solidFill>
              <a:srgbClr val="4E19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8" name="Rectangle 29"/>
            <p:cNvSpPr>
              <a:spLocks noChangeArrowheads="1"/>
            </p:cNvSpPr>
            <p:nvPr/>
          </p:nvSpPr>
          <p:spPr bwMode="auto">
            <a:xfrm>
              <a:off x="2570252" y="4591486"/>
              <a:ext cx="53373" cy="1308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9" name="Rectangle 30"/>
            <p:cNvSpPr>
              <a:spLocks noChangeArrowheads="1"/>
            </p:cNvSpPr>
            <p:nvPr/>
          </p:nvSpPr>
          <p:spPr bwMode="auto">
            <a:xfrm>
              <a:off x="2493855" y="4368575"/>
              <a:ext cx="53373" cy="353727"/>
            </a:xfrm>
            <a:prstGeom prst="rect">
              <a:avLst/>
            </a:prstGeom>
            <a:solidFill>
              <a:srgbClr val="B957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0" name="Rectangle 31"/>
            <p:cNvSpPr>
              <a:spLocks noChangeArrowheads="1"/>
            </p:cNvSpPr>
            <p:nvPr/>
          </p:nvSpPr>
          <p:spPr bwMode="auto">
            <a:xfrm>
              <a:off x="2493855" y="4368575"/>
              <a:ext cx="53373" cy="3537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" name="Rectangle 32"/>
            <p:cNvSpPr>
              <a:spLocks noChangeArrowheads="1"/>
            </p:cNvSpPr>
            <p:nvPr/>
          </p:nvSpPr>
          <p:spPr bwMode="auto">
            <a:xfrm>
              <a:off x="2416412" y="4276481"/>
              <a:ext cx="54420" cy="445822"/>
            </a:xfrm>
            <a:prstGeom prst="rect">
              <a:avLst/>
            </a:prstGeom>
            <a:solidFill>
              <a:srgbClr val="6821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" name="Rectangle 33"/>
            <p:cNvSpPr>
              <a:spLocks noChangeArrowheads="1"/>
            </p:cNvSpPr>
            <p:nvPr/>
          </p:nvSpPr>
          <p:spPr bwMode="auto">
            <a:xfrm>
              <a:off x="2416412" y="4276481"/>
              <a:ext cx="54420" cy="4458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" name="Rectangle 34"/>
            <p:cNvSpPr>
              <a:spLocks noChangeArrowheads="1"/>
            </p:cNvSpPr>
            <p:nvPr/>
          </p:nvSpPr>
          <p:spPr bwMode="auto">
            <a:xfrm>
              <a:off x="2342108" y="4444972"/>
              <a:ext cx="52327" cy="277331"/>
            </a:xfrm>
            <a:prstGeom prst="rect">
              <a:avLst/>
            </a:prstGeom>
            <a:solidFill>
              <a:srgbClr val="D08F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4" name="Freeform 62"/>
            <p:cNvSpPr>
              <a:spLocks/>
            </p:cNvSpPr>
            <p:nvPr/>
          </p:nvSpPr>
          <p:spPr bwMode="auto">
            <a:xfrm>
              <a:off x="2390249" y="4412529"/>
              <a:ext cx="25117" cy="24071"/>
            </a:xfrm>
            <a:custGeom>
              <a:avLst/>
              <a:gdLst>
                <a:gd name="T0" fmla="*/ 17 w 17"/>
                <a:gd name="T1" fmla="*/ 8 h 16"/>
                <a:gd name="T2" fmla="*/ 9 w 17"/>
                <a:gd name="T3" fmla="*/ 16 h 16"/>
                <a:gd name="T4" fmla="*/ 1 w 17"/>
                <a:gd name="T5" fmla="*/ 9 h 16"/>
                <a:gd name="T6" fmla="*/ 9 w 17"/>
                <a:gd name="T7" fmla="*/ 0 h 16"/>
                <a:gd name="T8" fmla="*/ 17 w 17"/>
                <a:gd name="T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6">
                  <a:moveTo>
                    <a:pt x="17" y="8"/>
                  </a:moveTo>
                  <a:cubicBezTo>
                    <a:pt x="17" y="13"/>
                    <a:pt x="14" y="16"/>
                    <a:pt x="9" y="16"/>
                  </a:cubicBezTo>
                  <a:cubicBezTo>
                    <a:pt x="5" y="16"/>
                    <a:pt x="1" y="13"/>
                    <a:pt x="1" y="9"/>
                  </a:cubicBezTo>
                  <a:cubicBezTo>
                    <a:pt x="0" y="4"/>
                    <a:pt x="4" y="1"/>
                    <a:pt x="9" y="0"/>
                  </a:cubicBezTo>
                  <a:cubicBezTo>
                    <a:pt x="13" y="0"/>
                    <a:pt x="17" y="4"/>
                    <a:pt x="17" y="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5" name="Freeform 64"/>
            <p:cNvSpPr>
              <a:spLocks/>
            </p:cNvSpPr>
            <p:nvPr/>
          </p:nvSpPr>
          <p:spPr bwMode="auto">
            <a:xfrm>
              <a:off x="2876885" y="4935794"/>
              <a:ext cx="94188" cy="95235"/>
            </a:xfrm>
            <a:custGeom>
              <a:avLst/>
              <a:gdLst>
                <a:gd name="T0" fmla="*/ 0 w 90"/>
                <a:gd name="T1" fmla="*/ 0 h 91"/>
                <a:gd name="T2" fmla="*/ 0 w 90"/>
                <a:gd name="T3" fmla="*/ 91 h 91"/>
                <a:gd name="T4" fmla="*/ 90 w 90"/>
                <a:gd name="T5" fmla="*/ 91 h 91"/>
                <a:gd name="T6" fmla="*/ 90 w 90"/>
                <a:gd name="T7" fmla="*/ 90 h 91"/>
                <a:gd name="T8" fmla="*/ 88 w 90"/>
                <a:gd name="T9" fmla="*/ 80 h 91"/>
                <a:gd name="T10" fmla="*/ 87 w 90"/>
                <a:gd name="T11" fmla="*/ 71 h 91"/>
                <a:gd name="T12" fmla="*/ 85 w 90"/>
                <a:gd name="T13" fmla="*/ 63 h 91"/>
                <a:gd name="T14" fmla="*/ 83 w 90"/>
                <a:gd name="T15" fmla="*/ 55 h 91"/>
                <a:gd name="T16" fmla="*/ 78 w 90"/>
                <a:gd name="T17" fmla="*/ 46 h 91"/>
                <a:gd name="T18" fmla="*/ 74 w 90"/>
                <a:gd name="T19" fmla="*/ 39 h 91"/>
                <a:gd name="T20" fmla="*/ 70 w 90"/>
                <a:gd name="T21" fmla="*/ 32 h 91"/>
                <a:gd name="T22" fmla="*/ 63 w 90"/>
                <a:gd name="T23" fmla="*/ 25 h 91"/>
                <a:gd name="T24" fmla="*/ 57 w 90"/>
                <a:gd name="T25" fmla="*/ 21 h 91"/>
                <a:gd name="T26" fmla="*/ 50 w 90"/>
                <a:gd name="T27" fmla="*/ 15 h 91"/>
                <a:gd name="T28" fmla="*/ 43 w 90"/>
                <a:gd name="T29" fmla="*/ 10 h 91"/>
                <a:gd name="T30" fmla="*/ 35 w 90"/>
                <a:gd name="T31" fmla="*/ 7 h 91"/>
                <a:gd name="T32" fmla="*/ 27 w 90"/>
                <a:gd name="T33" fmla="*/ 4 h 91"/>
                <a:gd name="T34" fmla="*/ 18 w 90"/>
                <a:gd name="T35" fmla="*/ 1 h 91"/>
                <a:gd name="T36" fmla="*/ 10 w 90"/>
                <a:gd name="T37" fmla="*/ 0 h 91"/>
                <a:gd name="T38" fmla="*/ 0 w 90"/>
                <a:gd name="T3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0" h="91">
                  <a:moveTo>
                    <a:pt x="0" y="0"/>
                  </a:moveTo>
                  <a:lnTo>
                    <a:pt x="0" y="91"/>
                  </a:lnTo>
                  <a:lnTo>
                    <a:pt x="90" y="91"/>
                  </a:lnTo>
                  <a:lnTo>
                    <a:pt x="90" y="90"/>
                  </a:lnTo>
                  <a:lnTo>
                    <a:pt x="88" y="80"/>
                  </a:lnTo>
                  <a:lnTo>
                    <a:pt x="87" y="71"/>
                  </a:lnTo>
                  <a:lnTo>
                    <a:pt x="85" y="63"/>
                  </a:lnTo>
                  <a:lnTo>
                    <a:pt x="83" y="55"/>
                  </a:lnTo>
                  <a:lnTo>
                    <a:pt x="78" y="46"/>
                  </a:lnTo>
                  <a:lnTo>
                    <a:pt x="74" y="39"/>
                  </a:lnTo>
                  <a:lnTo>
                    <a:pt x="70" y="32"/>
                  </a:lnTo>
                  <a:lnTo>
                    <a:pt x="63" y="25"/>
                  </a:lnTo>
                  <a:lnTo>
                    <a:pt x="57" y="21"/>
                  </a:lnTo>
                  <a:lnTo>
                    <a:pt x="50" y="15"/>
                  </a:lnTo>
                  <a:lnTo>
                    <a:pt x="43" y="10"/>
                  </a:lnTo>
                  <a:lnTo>
                    <a:pt x="35" y="7"/>
                  </a:lnTo>
                  <a:lnTo>
                    <a:pt x="27" y="4"/>
                  </a:lnTo>
                  <a:lnTo>
                    <a:pt x="18" y="1"/>
                  </a:lnTo>
                  <a:lnTo>
                    <a:pt x="1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6" name="Freeform 65"/>
            <p:cNvSpPr>
              <a:spLocks/>
            </p:cNvSpPr>
            <p:nvPr/>
          </p:nvSpPr>
          <p:spPr bwMode="auto">
            <a:xfrm>
              <a:off x="2876885" y="4935794"/>
              <a:ext cx="94188" cy="95235"/>
            </a:xfrm>
            <a:custGeom>
              <a:avLst/>
              <a:gdLst>
                <a:gd name="T0" fmla="*/ 0 w 90"/>
                <a:gd name="T1" fmla="*/ 0 h 91"/>
                <a:gd name="T2" fmla="*/ 0 w 90"/>
                <a:gd name="T3" fmla="*/ 91 h 91"/>
                <a:gd name="T4" fmla="*/ 90 w 90"/>
                <a:gd name="T5" fmla="*/ 91 h 91"/>
                <a:gd name="T6" fmla="*/ 90 w 90"/>
                <a:gd name="T7" fmla="*/ 90 h 91"/>
                <a:gd name="T8" fmla="*/ 88 w 90"/>
                <a:gd name="T9" fmla="*/ 80 h 91"/>
                <a:gd name="T10" fmla="*/ 87 w 90"/>
                <a:gd name="T11" fmla="*/ 71 h 91"/>
                <a:gd name="T12" fmla="*/ 85 w 90"/>
                <a:gd name="T13" fmla="*/ 63 h 91"/>
                <a:gd name="T14" fmla="*/ 83 w 90"/>
                <a:gd name="T15" fmla="*/ 55 h 91"/>
                <a:gd name="T16" fmla="*/ 78 w 90"/>
                <a:gd name="T17" fmla="*/ 46 h 91"/>
                <a:gd name="T18" fmla="*/ 74 w 90"/>
                <a:gd name="T19" fmla="*/ 39 h 91"/>
                <a:gd name="T20" fmla="*/ 70 w 90"/>
                <a:gd name="T21" fmla="*/ 32 h 91"/>
                <a:gd name="T22" fmla="*/ 63 w 90"/>
                <a:gd name="T23" fmla="*/ 25 h 91"/>
                <a:gd name="T24" fmla="*/ 57 w 90"/>
                <a:gd name="T25" fmla="*/ 21 h 91"/>
                <a:gd name="T26" fmla="*/ 50 w 90"/>
                <a:gd name="T27" fmla="*/ 15 h 91"/>
                <a:gd name="T28" fmla="*/ 43 w 90"/>
                <a:gd name="T29" fmla="*/ 10 h 91"/>
                <a:gd name="T30" fmla="*/ 35 w 90"/>
                <a:gd name="T31" fmla="*/ 7 h 91"/>
                <a:gd name="T32" fmla="*/ 27 w 90"/>
                <a:gd name="T33" fmla="*/ 4 h 91"/>
                <a:gd name="T34" fmla="*/ 18 w 90"/>
                <a:gd name="T35" fmla="*/ 1 h 91"/>
                <a:gd name="T36" fmla="*/ 10 w 90"/>
                <a:gd name="T37" fmla="*/ 0 h 91"/>
                <a:gd name="T38" fmla="*/ 0 w 90"/>
                <a:gd name="T3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0" h="91">
                  <a:moveTo>
                    <a:pt x="0" y="0"/>
                  </a:moveTo>
                  <a:lnTo>
                    <a:pt x="0" y="91"/>
                  </a:lnTo>
                  <a:lnTo>
                    <a:pt x="90" y="91"/>
                  </a:lnTo>
                  <a:lnTo>
                    <a:pt x="90" y="90"/>
                  </a:lnTo>
                  <a:lnTo>
                    <a:pt x="88" y="80"/>
                  </a:lnTo>
                  <a:lnTo>
                    <a:pt x="87" y="71"/>
                  </a:lnTo>
                  <a:lnTo>
                    <a:pt x="85" y="63"/>
                  </a:lnTo>
                  <a:lnTo>
                    <a:pt x="83" y="55"/>
                  </a:lnTo>
                  <a:lnTo>
                    <a:pt x="78" y="46"/>
                  </a:lnTo>
                  <a:lnTo>
                    <a:pt x="74" y="39"/>
                  </a:lnTo>
                  <a:lnTo>
                    <a:pt x="70" y="32"/>
                  </a:lnTo>
                  <a:lnTo>
                    <a:pt x="63" y="25"/>
                  </a:lnTo>
                  <a:lnTo>
                    <a:pt x="57" y="21"/>
                  </a:lnTo>
                  <a:lnTo>
                    <a:pt x="50" y="15"/>
                  </a:lnTo>
                  <a:lnTo>
                    <a:pt x="43" y="10"/>
                  </a:lnTo>
                  <a:lnTo>
                    <a:pt x="35" y="7"/>
                  </a:lnTo>
                  <a:lnTo>
                    <a:pt x="27" y="4"/>
                  </a:lnTo>
                  <a:lnTo>
                    <a:pt x="18" y="1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9" name="Freeform 106"/>
            <p:cNvSpPr>
              <a:spLocks/>
            </p:cNvSpPr>
            <p:nvPr/>
          </p:nvSpPr>
          <p:spPr bwMode="auto">
            <a:xfrm>
              <a:off x="2892917" y="4677501"/>
              <a:ext cx="85150" cy="95169"/>
            </a:xfrm>
            <a:custGeom>
              <a:avLst/>
              <a:gdLst>
                <a:gd name="T0" fmla="*/ 0 w 42"/>
                <a:gd name="T1" fmla="*/ 0 h 47"/>
                <a:gd name="T2" fmla="*/ 0 w 42"/>
                <a:gd name="T3" fmla="*/ 26 h 47"/>
                <a:gd name="T4" fmla="*/ 21 w 42"/>
                <a:gd name="T5" fmla="*/ 47 h 47"/>
                <a:gd name="T6" fmla="*/ 42 w 42"/>
                <a:gd name="T7" fmla="*/ 26 h 47"/>
                <a:gd name="T8" fmla="*/ 42 w 42"/>
                <a:gd name="T9" fmla="*/ 0 h 47"/>
                <a:gd name="T10" fmla="*/ 0 w 42"/>
                <a:gd name="T11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47">
                  <a:moveTo>
                    <a:pt x="0" y="0"/>
                  </a:moveTo>
                  <a:cubicBezTo>
                    <a:pt x="0" y="26"/>
                    <a:pt x="0" y="26"/>
                    <a:pt x="0" y="26"/>
                  </a:cubicBezTo>
                  <a:cubicBezTo>
                    <a:pt x="0" y="37"/>
                    <a:pt x="9" y="47"/>
                    <a:pt x="21" y="47"/>
                  </a:cubicBezTo>
                  <a:cubicBezTo>
                    <a:pt x="33" y="47"/>
                    <a:pt x="42" y="37"/>
                    <a:pt x="42" y="26"/>
                  </a:cubicBezTo>
                  <a:cubicBezTo>
                    <a:pt x="42" y="0"/>
                    <a:pt x="42" y="0"/>
                    <a:pt x="4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7539622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7" name="Group 66"/>
          <p:cNvGrpSpPr/>
          <p:nvPr/>
        </p:nvGrpSpPr>
        <p:grpSpPr>
          <a:xfrm>
            <a:off x="2446063" y="2449286"/>
            <a:ext cx="1457480" cy="2019308"/>
            <a:chOff x="5806483" y="3471354"/>
            <a:chExt cx="1434767" cy="1987840"/>
          </a:xfrm>
        </p:grpSpPr>
        <p:grpSp>
          <p:nvGrpSpPr>
            <p:cNvPr id="68" name="Group 67"/>
            <p:cNvGrpSpPr/>
            <p:nvPr/>
          </p:nvGrpSpPr>
          <p:grpSpPr>
            <a:xfrm>
              <a:off x="6184821" y="3471354"/>
              <a:ext cx="1051561" cy="710028"/>
              <a:chOff x="6478588" y="2436813"/>
              <a:chExt cx="4457701" cy="3009900"/>
            </a:xfrm>
          </p:grpSpPr>
          <p:sp>
            <p:nvSpPr>
              <p:cNvPr id="128" name="Freeform 5"/>
              <p:cNvSpPr>
                <a:spLocks/>
              </p:cNvSpPr>
              <p:nvPr/>
            </p:nvSpPr>
            <p:spPr bwMode="auto">
              <a:xfrm>
                <a:off x="6478588" y="3603625"/>
                <a:ext cx="4395788" cy="1527175"/>
              </a:xfrm>
              <a:custGeom>
                <a:avLst/>
                <a:gdLst>
                  <a:gd name="T0" fmla="*/ 17 w 2769"/>
                  <a:gd name="T1" fmla="*/ 962 h 962"/>
                  <a:gd name="T2" fmla="*/ 0 w 2769"/>
                  <a:gd name="T3" fmla="*/ 896 h 962"/>
                  <a:gd name="T4" fmla="*/ 807 w 2769"/>
                  <a:gd name="T5" fmla="*/ 700 h 962"/>
                  <a:gd name="T6" fmla="*/ 1465 w 2769"/>
                  <a:gd name="T7" fmla="*/ 290 h 962"/>
                  <a:gd name="T8" fmla="*/ 2275 w 2769"/>
                  <a:gd name="T9" fmla="*/ 259 h 962"/>
                  <a:gd name="T10" fmla="*/ 2769 w 2769"/>
                  <a:gd name="T11" fmla="*/ 0 h 962"/>
                  <a:gd name="T12" fmla="*/ 2769 w 2769"/>
                  <a:gd name="T13" fmla="*/ 0 h 962"/>
                  <a:gd name="T14" fmla="*/ 2769 w 2769"/>
                  <a:gd name="T15" fmla="*/ 68 h 962"/>
                  <a:gd name="T16" fmla="*/ 2769 w 2769"/>
                  <a:gd name="T17" fmla="*/ 72 h 962"/>
                  <a:gd name="T18" fmla="*/ 2295 w 2769"/>
                  <a:gd name="T19" fmla="*/ 325 h 962"/>
                  <a:gd name="T20" fmla="*/ 1485 w 2769"/>
                  <a:gd name="T21" fmla="*/ 357 h 962"/>
                  <a:gd name="T22" fmla="*/ 833 w 2769"/>
                  <a:gd name="T23" fmla="*/ 763 h 962"/>
                  <a:gd name="T24" fmla="*/ 17 w 2769"/>
                  <a:gd name="T25" fmla="*/ 962 h 9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69" h="962">
                    <a:moveTo>
                      <a:pt x="17" y="962"/>
                    </a:moveTo>
                    <a:lnTo>
                      <a:pt x="0" y="896"/>
                    </a:lnTo>
                    <a:lnTo>
                      <a:pt x="807" y="700"/>
                    </a:lnTo>
                    <a:lnTo>
                      <a:pt x="1465" y="290"/>
                    </a:lnTo>
                    <a:lnTo>
                      <a:pt x="2275" y="259"/>
                    </a:lnTo>
                    <a:lnTo>
                      <a:pt x="2769" y="0"/>
                    </a:lnTo>
                    <a:lnTo>
                      <a:pt x="2769" y="0"/>
                    </a:lnTo>
                    <a:lnTo>
                      <a:pt x="2769" y="68"/>
                    </a:lnTo>
                    <a:lnTo>
                      <a:pt x="2769" y="72"/>
                    </a:lnTo>
                    <a:lnTo>
                      <a:pt x="2295" y="325"/>
                    </a:lnTo>
                    <a:lnTo>
                      <a:pt x="1485" y="357"/>
                    </a:lnTo>
                    <a:lnTo>
                      <a:pt x="833" y="763"/>
                    </a:lnTo>
                    <a:lnTo>
                      <a:pt x="17" y="962"/>
                    </a:lnTo>
                    <a:close/>
                  </a:path>
                </a:pathLst>
              </a:custGeom>
              <a:solidFill>
                <a:srgbClr val="00BC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6"/>
              <p:cNvSpPr>
                <a:spLocks/>
              </p:cNvSpPr>
              <p:nvPr/>
            </p:nvSpPr>
            <p:spPr bwMode="auto">
              <a:xfrm>
                <a:off x="6489701" y="2436813"/>
                <a:ext cx="4446588" cy="2517775"/>
              </a:xfrm>
              <a:custGeom>
                <a:avLst/>
                <a:gdLst>
                  <a:gd name="T0" fmla="*/ 28 w 2801"/>
                  <a:gd name="T1" fmla="*/ 1586 h 1586"/>
                  <a:gd name="T2" fmla="*/ 0 w 2801"/>
                  <a:gd name="T3" fmla="*/ 1524 h 1586"/>
                  <a:gd name="T4" fmla="*/ 654 w 2801"/>
                  <a:gd name="T5" fmla="*/ 1223 h 1586"/>
                  <a:gd name="T6" fmla="*/ 1057 w 2801"/>
                  <a:gd name="T7" fmla="*/ 750 h 1586"/>
                  <a:gd name="T8" fmla="*/ 1718 w 2801"/>
                  <a:gd name="T9" fmla="*/ 613 h 1586"/>
                  <a:gd name="T10" fmla="*/ 2117 w 2801"/>
                  <a:gd name="T11" fmla="*/ 144 h 1586"/>
                  <a:gd name="T12" fmla="*/ 2801 w 2801"/>
                  <a:gd name="T13" fmla="*/ 0 h 1586"/>
                  <a:gd name="T14" fmla="*/ 2801 w 2801"/>
                  <a:gd name="T15" fmla="*/ 66 h 1586"/>
                  <a:gd name="T16" fmla="*/ 2153 w 2801"/>
                  <a:gd name="T17" fmla="*/ 205 h 1586"/>
                  <a:gd name="T18" fmla="*/ 1754 w 2801"/>
                  <a:gd name="T19" fmla="*/ 674 h 1586"/>
                  <a:gd name="T20" fmla="*/ 1093 w 2801"/>
                  <a:gd name="T21" fmla="*/ 812 h 1586"/>
                  <a:gd name="T22" fmla="*/ 696 w 2801"/>
                  <a:gd name="T23" fmla="*/ 1278 h 1586"/>
                  <a:gd name="T24" fmla="*/ 28 w 2801"/>
                  <a:gd name="T25" fmla="*/ 1586 h 15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801" h="1586">
                    <a:moveTo>
                      <a:pt x="28" y="1586"/>
                    </a:moveTo>
                    <a:lnTo>
                      <a:pt x="0" y="1524"/>
                    </a:lnTo>
                    <a:lnTo>
                      <a:pt x="654" y="1223"/>
                    </a:lnTo>
                    <a:lnTo>
                      <a:pt x="1057" y="750"/>
                    </a:lnTo>
                    <a:lnTo>
                      <a:pt x="1718" y="613"/>
                    </a:lnTo>
                    <a:lnTo>
                      <a:pt x="2117" y="144"/>
                    </a:lnTo>
                    <a:lnTo>
                      <a:pt x="2801" y="0"/>
                    </a:lnTo>
                    <a:lnTo>
                      <a:pt x="2801" y="66"/>
                    </a:lnTo>
                    <a:lnTo>
                      <a:pt x="2153" y="205"/>
                    </a:lnTo>
                    <a:lnTo>
                      <a:pt x="1754" y="674"/>
                    </a:lnTo>
                    <a:lnTo>
                      <a:pt x="1093" y="812"/>
                    </a:lnTo>
                    <a:lnTo>
                      <a:pt x="696" y="1278"/>
                    </a:lnTo>
                    <a:lnTo>
                      <a:pt x="28" y="1586"/>
                    </a:lnTo>
                    <a:close/>
                  </a:path>
                </a:pathLst>
              </a:cu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7"/>
              <p:cNvSpPr>
                <a:spLocks/>
              </p:cNvSpPr>
              <p:nvPr/>
            </p:nvSpPr>
            <p:spPr bwMode="auto">
              <a:xfrm>
                <a:off x="6499226" y="4259263"/>
                <a:ext cx="4375150" cy="1187450"/>
              </a:xfrm>
              <a:custGeom>
                <a:avLst/>
                <a:gdLst>
                  <a:gd name="T0" fmla="*/ 11 w 2756"/>
                  <a:gd name="T1" fmla="*/ 748 h 748"/>
                  <a:gd name="T2" fmla="*/ 0 w 2756"/>
                  <a:gd name="T3" fmla="*/ 682 h 748"/>
                  <a:gd name="T4" fmla="*/ 639 w 2756"/>
                  <a:gd name="T5" fmla="*/ 581 h 748"/>
                  <a:gd name="T6" fmla="*/ 1172 w 2756"/>
                  <a:gd name="T7" fmla="*/ 257 h 748"/>
                  <a:gd name="T8" fmla="*/ 1817 w 2756"/>
                  <a:gd name="T9" fmla="*/ 322 h 748"/>
                  <a:gd name="T10" fmla="*/ 2346 w 2756"/>
                  <a:gd name="T11" fmla="*/ 0 h 748"/>
                  <a:gd name="T12" fmla="*/ 2756 w 2756"/>
                  <a:gd name="T13" fmla="*/ 49 h 748"/>
                  <a:gd name="T14" fmla="*/ 2756 w 2756"/>
                  <a:gd name="T15" fmla="*/ 116 h 748"/>
                  <a:gd name="T16" fmla="*/ 2361 w 2756"/>
                  <a:gd name="T17" fmla="*/ 70 h 748"/>
                  <a:gd name="T18" fmla="*/ 1833 w 2756"/>
                  <a:gd name="T19" fmla="*/ 391 h 748"/>
                  <a:gd name="T20" fmla="*/ 1187 w 2756"/>
                  <a:gd name="T21" fmla="*/ 326 h 748"/>
                  <a:gd name="T22" fmla="*/ 662 w 2756"/>
                  <a:gd name="T23" fmla="*/ 645 h 748"/>
                  <a:gd name="T24" fmla="*/ 11 w 2756"/>
                  <a:gd name="T25" fmla="*/ 74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56" h="748">
                    <a:moveTo>
                      <a:pt x="11" y="748"/>
                    </a:moveTo>
                    <a:lnTo>
                      <a:pt x="0" y="682"/>
                    </a:lnTo>
                    <a:lnTo>
                      <a:pt x="639" y="581"/>
                    </a:lnTo>
                    <a:lnTo>
                      <a:pt x="1172" y="257"/>
                    </a:lnTo>
                    <a:lnTo>
                      <a:pt x="1817" y="322"/>
                    </a:lnTo>
                    <a:lnTo>
                      <a:pt x="2346" y="0"/>
                    </a:lnTo>
                    <a:lnTo>
                      <a:pt x="2756" y="49"/>
                    </a:lnTo>
                    <a:lnTo>
                      <a:pt x="2756" y="116"/>
                    </a:lnTo>
                    <a:lnTo>
                      <a:pt x="2361" y="70"/>
                    </a:lnTo>
                    <a:lnTo>
                      <a:pt x="1833" y="391"/>
                    </a:lnTo>
                    <a:lnTo>
                      <a:pt x="1187" y="326"/>
                    </a:lnTo>
                    <a:lnTo>
                      <a:pt x="662" y="645"/>
                    </a:lnTo>
                    <a:lnTo>
                      <a:pt x="11" y="748"/>
                    </a:lnTo>
                    <a:close/>
                  </a:path>
                </a:pathLst>
              </a:custGeom>
              <a:solidFill>
                <a:srgbClr val="0072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69" name="Group 68"/>
            <p:cNvGrpSpPr/>
            <p:nvPr/>
          </p:nvGrpSpPr>
          <p:grpSpPr>
            <a:xfrm>
              <a:off x="6741713" y="4020407"/>
              <a:ext cx="499537" cy="497809"/>
              <a:chOff x="6318453" y="3617912"/>
              <a:chExt cx="458787" cy="457200"/>
            </a:xfrm>
          </p:grpSpPr>
          <p:sp>
            <p:nvSpPr>
              <p:cNvPr id="126" name="Freeform 5"/>
              <p:cNvSpPr>
                <a:spLocks/>
              </p:cNvSpPr>
              <p:nvPr/>
            </p:nvSpPr>
            <p:spPr bwMode="auto">
              <a:xfrm>
                <a:off x="6318453" y="3656012"/>
                <a:ext cx="419100" cy="419100"/>
              </a:xfrm>
              <a:custGeom>
                <a:avLst/>
                <a:gdLst>
                  <a:gd name="T0" fmla="*/ 132 w 264"/>
                  <a:gd name="T1" fmla="*/ 0 h 264"/>
                  <a:gd name="T2" fmla="*/ 118 w 264"/>
                  <a:gd name="T3" fmla="*/ 1 h 264"/>
                  <a:gd name="T4" fmla="*/ 105 w 264"/>
                  <a:gd name="T5" fmla="*/ 3 h 264"/>
                  <a:gd name="T6" fmla="*/ 93 w 264"/>
                  <a:gd name="T7" fmla="*/ 6 h 264"/>
                  <a:gd name="T8" fmla="*/ 82 w 264"/>
                  <a:gd name="T9" fmla="*/ 10 h 264"/>
                  <a:gd name="T10" fmla="*/ 69 w 264"/>
                  <a:gd name="T11" fmla="*/ 17 h 264"/>
                  <a:gd name="T12" fmla="*/ 59 w 264"/>
                  <a:gd name="T13" fmla="*/ 22 h 264"/>
                  <a:gd name="T14" fmla="*/ 48 w 264"/>
                  <a:gd name="T15" fmla="*/ 31 h 264"/>
                  <a:gd name="T16" fmla="*/ 40 w 264"/>
                  <a:gd name="T17" fmla="*/ 39 h 264"/>
                  <a:gd name="T18" fmla="*/ 30 w 264"/>
                  <a:gd name="T19" fmla="*/ 48 h 264"/>
                  <a:gd name="T20" fmla="*/ 23 w 264"/>
                  <a:gd name="T21" fmla="*/ 59 h 264"/>
                  <a:gd name="T22" fmla="*/ 16 w 264"/>
                  <a:gd name="T23" fmla="*/ 70 h 264"/>
                  <a:gd name="T24" fmla="*/ 10 w 264"/>
                  <a:gd name="T25" fmla="*/ 81 h 264"/>
                  <a:gd name="T26" fmla="*/ 6 w 264"/>
                  <a:gd name="T27" fmla="*/ 92 h 264"/>
                  <a:gd name="T28" fmla="*/ 2 w 264"/>
                  <a:gd name="T29" fmla="*/ 106 h 264"/>
                  <a:gd name="T30" fmla="*/ 0 w 264"/>
                  <a:gd name="T31" fmla="*/ 119 h 264"/>
                  <a:gd name="T32" fmla="*/ 0 w 264"/>
                  <a:gd name="T33" fmla="*/ 133 h 264"/>
                  <a:gd name="T34" fmla="*/ 0 w 264"/>
                  <a:gd name="T35" fmla="*/ 147 h 264"/>
                  <a:gd name="T36" fmla="*/ 2 w 264"/>
                  <a:gd name="T37" fmla="*/ 158 h 264"/>
                  <a:gd name="T38" fmla="*/ 6 w 264"/>
                  <a:gd name="T39" fmla="*/ 172 h 264"/>
                  <a:gd name="T40" fmla="*/ 10 w 264"/>
                  <a:gd name="T41" fmla="*/ 183 h 264"/>
                  <a:gd name="T42" fmla="*/ 16 w 264"/>
                  <a:gd name="T43" fmla="*/ 196 h 264"/>
                  <a:gd name="T44" fmla="*/ 23 w 264"/>
                  <a:gd name="T45" fmla="*/ 206 h 264"/>
                  <a:gd name="T46" fmla="*/ 30 w 264"/>
                  <a:gd name="T47" fmla="*/ 217 h 264"/>
                  <a:gd name="T48" fmla="*/ 40 w 264"/>
                  <a:gd name="T49" fmla="*/ 225 h 264"/>
                  <a:gd name="T50" fmla="*/ 48 w 264"/>
                  <a:gd name="T51" fmla="*/ 235 h 264"/>
                  <a:gd name="T52" fmla="*/ 59 w 264"/>
                  <a:gd name="T53" fmla="*/ 242 h 264"/>
                  <a:gd name="T54" fmla="*/ 69 w 264"/>
                  <a:gd name="T55" fmla="*/ 248 h 264"/>
                  <a:gd name="T56" fmla="*/ 82 w 264"/>
                  <a:gd name="T57" fmla="*/ 253 h 264"/>
                  <a:gd name="T58" fmla="*/ 93 w 264"/>
                  <a:gd name="T59" fmla="*/ 259 h 264"/>
                  <a:gd name="T60" fmla="*/ 105 w 264"/>
                  <a:gd name="T61" fmla="*/ 262 h 264"/>
                  <a:gd name="T62" fmla="*/ 118 w 264"/>
                  <a:gd name="T63" fmla="*/ 263 h 264"/>
                  <a:gd name="T64" fmla="*/ 132 w 264"/>
                  <a:gd name="T65" fmla="*/ 264 h 264"/>
                  <a:gd name="T66" fmla="*/ 146 w 264"/>
                  <a:gd name="T67" fmla="*/ 263 h 264"/>
                  <a:gd name="T68" fmla="*/ 157 w 264"/>
                  <a:gd name="T69" fmla="*/ 262 h 264"/>
                  <a:gd name="T70" fmla="*/ 171 w 264"/>
                  <a:gd name="T71" fmla="*/ 259 h 264"/>
                  <a:gd name="T72" fmla="*/ 182 w 264"/>
                  <a:gd name="T73" fmla="*/ 253 h 264"/>
                  <a:gd name="T74" fmla="*/ 194 w 264"/>
                  <a:gd name="T75" fmla="*/ 248 h 264"/>
                  <a:gd name="T76" fmla="*/ 205 w 264"/>
                  <a:gd name="T77" fmla="*/ 242 h 264"/>
                  <a:gd name="T78" fmla="*/ 215 w 264"/>
                  <a:gd name="T79" fmla="*/ 235 h 264"/>
                  <a:gd name="T80" fmla="*/ 224 w 264"/>
                  <a:gd name="T81" fmla="*/ 227 h 264"/>
                  <a:gd name="T82" fmla="*/ 231 w 264"/>
                  <a:gd name="T83" fmla="*/ 218 h 264"/>
                  <a:gd name="T84" fmla="*/ 240 w 264"/>
                  <a:gd name="T85" fmla="*/ 207 h 264"/>
                  <a:gd name="T86" fmla="*/ 247 w 264"/>
                  <a:gd name="T87" fmla="*/ 197 h 264"/>
                  <a:gd name="T88" fmla="*/ 251 w 264"/>
                  <a:gd name="T89" fmla="*/ 185 h 264"/>
                  <a:gd name="T90" fmla="*/ 258 w 264"/>
                  <a:gd name="T91" fmla="*/ 173 h 264"/>
                  <a:gd name="T92" fmla="*/ 261 w 264"/>
                  <a:gd name="T93" fmla="*/ 161 h 264"/>
                  <a:gd name="T94" fmla="*/ 262 w 264"/>
                  <a:gd name="T95" fmla="*/ 150 h 264"/>
                  <a:gd name="T96" fmla="*/ 264 w 264"/>
                  <a:gd name="T97" fmla="*/ 136 h 264"/>
                  <a:gd name="T98" fmla="*/ 132 w 264"/>
                  <a:gd name="T99" fmla="*/ 136 h 264"/>
                  <a:gd name="T100" fmla="*/ 132 w 264"/>
                  <a:gd name="T101" fmla="*/ 0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64" h="264">
                    <a:moveTo>
                      <a:pt x="132" y="0"/>
                    </a:moveTo>
                    <a:lnTo>
                      <a:pt x="118" y="1"/>
                    </a:lnTo>
                    <a:lnTo>
                      <a:pt x="105" y="3"/>
                    </a:lnTo>
                    <a:lnTo>
                      <a:pt x="93" y="6"/>
                    </a:lnTo>
                    <a:lnTo>
                      <a:pt x="82" y="10"/>
                    </a:lnTo>
                    <a:lnTo>
                      <a:pt x="69" y="17"/>
                    </a:lnTo>
                    <a:lnTo>
                      <a:pt x="59" y="22"/>
                    </a:lnTo>
                    <a:lnTo>
                      <a:pt x="48" y="31"/>
                    </a:lnTo>
                    <a:lnTo>
                      <a:pt x="40" y="39"/>
                    </a:lnTo>
                    <a:lnTo>
                      <a:pt x="30" y="48"/>
                    </a:lnTo>
                    <a:lnTo>
                      <a:pt x="23" y="59"/>
                    </a:lnTo>
                    <a:lnTo>
                      <a:pt x="16" y="70"/>
                    </a:lnTo>
                    <a:lnTo>
                      <a:pt x="10" y="81"/>
                    </a:lnTo>
                    <a:lnTo>
                      <a:pt x="6" y="92"/>
                    </a:lnTo>
                    <a:lnTo>
                      <a:pt x="2" y="106"/>
                    </a:lnTo>
                    <a:lnTo>
                      <a:pt x="0" y="119"/>
                    </a:lnTo>
                    <a:lnTo>
                      <a:pt x="0" y="133"/>
                    </a:lnTo>
                    <a:lnTo>
                      <a:pt x="0" y="147"/>
                    </a:lnTo>
                    <a:lnTo>
                      <a:pt x="2" y="158"/>
                    </a:lnTo>
                    <a:lnTo>
                      <a:pt x="6" y="172"/>
                    </a:lnTo>
                    <a:lnTo>
                      <a:pt x="10" y="183"/>
                    </a:lnTo>
                    <a:lnTo>
                      <a:pt x="16" y="196"/>
                    </a:lnTo>
                    <a:lnTo>
                      <a:pt x="23" y="206"/>
                    </a:lnTo>
                    <a:lnTo>
                      <a:pt x="30" y="217"/>
                    </a:lnTo>
                    <a:lnTo>
                      <a:pt x="40" y="225"/>
                    </a:lnTo>
                    <a:lnTo>
                      <a:pt x="48" y="235"/>
                    </a:lnTo>
                    <a:lnTo>
                      <a:pt x="59" y="242"/>
                    </a:lnTo>
                    <a:lnTo>
                      <a:pt x="69" y="248"/>
                    </a:lnTo>
                    <a:lnTo>
                      <a:pt x="82" y="253"/>
                    </a:lnTo>
                    <a:lnTo>
                      <a:pt x="93" y="259"/>
                    </a:lnTo>
                    <a:lnTo>
                      <a:pt x="105" y="262"/>
                    </a:lnTo>
                    <a:lnTo>
                      <a:pt x="118" y="263"/>
                    </a:lnTo>
                    <a:lnTo>
                      <a:pt x="132" y="264"/>
                    </a:lnTo>
                    <a:lnTo>
                      <a:pt x="146" y="263"/>
                    </a:lnTo>
                    <a:lnTo>
                      <a:pt x="157" y="262"/>
                    </a:lnTo>
                    <a:lnTo>
                      <a:pt x="171" y="259"/>
                    </a:lnTo>
                    <a:lnTo>
                      <a:pt x="182" y="253"/>
                    </a:lnTo>
                    <a:lnTo>
                      <a:pt x="194" y="248"/>
                    </a:lnTo>
                    <a:lnTo>
                      <a:pt x="205" y="242"/>
                    </a:lnTo>
                    <a:lnTo>
                      <a:pt x="215" y="235"/>
                    </a:lnTo>
                    <a:lnTo>
                      <a:pt x="224" y="227"/>
                    </a:lnTo>
                    <a:lnTo>
                      <a:pt x="231" y="218"/>
                    </a:lnTo>
                    <a:lnTo>
                      <a:pt x="240" y="207"/>
                    </a:lnTo>
                    <a:lnTo>
                      <a:pt x="247" y="197"/>
                    </a:lnTo>
                    <a:lnTo>
                      <a:pt x="251" y="185"/>
                    </a:lnTo>
                    <a:lnTo>
                      <a:pt x="258" y="173"/>
                    </a:lnTo>
                    <a:lnTo>
                      <a:pt x="261" y="161"/>
                    </a:lnTo>
                    <a:lnTo>
                      <a:pt x="262" y="150"/>
                    </a:lnTo>
                    <a:lnTo>
                      <a:pt x="264" y="136"/>
                    </a:lnTo>
                    <a:lnTo>
                      <a:pt x="132" y="136"/>
                    </a:lnTo>
                    <a:lnTo>
                      <a:pt x="132" y="0"/>
                    </a:lnTo>
                    <a:close/>
                  </a:path>
                </a:pathLst>
              </a:custGeom>
              <a:solidFill>
                <a:srgbClr val="DC3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7"/>
              <p:cNvSpPr>
                <a:spLocks/>
              </p:cNvSpPr>
              <p:nvPr/>
            </p:nvSpPr>
            <p:spPr bwMode="auto">
              <a:xfrm>
                <a:off x="6567690" y="3617912"/>
                <a:ext cx="209550" cy="212725"/>
              </a:xfrm>
              <a:custGeom>
                <a:avLst/>
                <a:gdLst>
                  <a:gd name="T0" fmla="*/ 0 w 132"/>
                  <a:gd name="T1" fmla="*/ 0 h 134"/>
                  <a:gd name="T2" fmla="*/ 0 w 132"/>
                  <a:gd name="T3" fmla="*/ 134 h 134"/>
                  <a:gd name="T4" fmla="*/ 132 w 132"/>
                  <a:gd name="T5" fmla="*/ 134 h 134"/>
                  <a:gd name="T6" fmla="*/ 132 w 132"/>
                  <a:gd name="T7" fmla="*/ 132 h 134"/>
                  <a:gd name="T8" fmla="*/ 130 w 132"/>
                  <a:gd name="T9" fmla="*/ 118 h 134"/>
                  <a:gd name="T10" fmla="*/ 129 w 132"/>
                  <a:gd name="T11" fmla="*/ 104 h 134"/>
                  <a:gd name="T12" fmla="*/ 126 w 132"/>
                  <a:gd name="T13" fmla="*/ 92 h 134"/>
                  <a:gd name="T14" fmla="*/ 121 w 132"/>
                  <a:gd name="T15" fmla="*/ 79 h 134"/>
                  <a:gd name="T16" fmla="*/ 115 w 132"/>
                  <a:gd name="T17" fmla="*/ 69 h 134"/>
                  <a:gd name="T18" fmla="*/ 109 w 132"/>
                  <a:gd name="T19" fmla="*/ 56 h 134"/>
                  <a:gd name="T20" fmla="*/ 102 w 132"/>
                  <a:gd name="T21" fmla="*/ 48 h 134"/>
                  <a:gd name="T22" fmla="*/ 93 w 132"/>
                  <a:gd name="T23" fmla="*/ 37 h 134"/>
                  <a:gd name="T24" fmla="*/ 84 w 132"/>
                  <a:gd name="T25" fmla="*/ 30 h 134"/>
                  <a:gd name="T26" fmla="*/ 73 w 132"/>
                  <a:gd name="T27" fmla="*/ 23 h 134"/>
                  <a:gd name="T28" fmla="*/ 63 w 132"/>
                  <a:gd name="T29" fmla="*/ 14 h 134"/>
                  <a:gd name="T30" fmla="*/ 51 w 132"/>
                  <a:gd name="T31" fmla="*/ 10 h 134"/>
                  <a:gd name="T32" fmla="*/ 39 w 132"/>
                  <a:gd name="T33" fmla="*/ 6 h 134"/>
                  <a:gd name="T34" fmla="*/ 25 w 132"/>
                  <a:gd name="T35" fmla="*/ 2 h 134"/>
                  <a:gd name="T36" fmla="*/ 14 w 132"/>
                  <a:gd name="T37" fmla="*/ 0 h 134"/>
                  <a:gd name="T38" fmla="*/ 0 w 132"/>
                  <a:gd name="T39" fmla="*/ 0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32" h="134">
                    <a:moveTo>
                      <a:pt x="0" y="0"/>
                    </a:moveTo>
                    <a:lnTo>
                      <a:pt x="0" y="134"/>
                    </a:lnTo>
                    <a:lnTo>
                      <a:pt x="132" y="134"/>
                    </a:lnTo>
                    <a:lnTo>
                      <a:pt x="132" y="132"/>
                    </a:lnTo>
                    <a:lnTo>
                      <a:pt x="130" y="118"/>
                    </a:lnTo>
                    <a:lnTo>
                      <a:pt x="129" y="104"/>
                    </a:lnTo>
                    <a:lnTo>
                      <a:pt x="126" y="92"/>
                    </a:lnTo>
                    <a:lnTo>
                      <a:pt x="121" y="79"/>
                    </a:lnTo>
                    <a:lnTo>
                      <a:pt x="115" y="69"/>
                    </a:lnTo>
                    <a:lnTo>
                      <a:pt x="109" y="56"/>
                    </a:lnTo>
                    <a:lnTo>
                      <a:pt x="102" y="48"/>
                    </a:lnTo>
                    <a:lnTo>
                      <a:pt x="93" y="37"/>
                    </a:lnTo>
                    <a:lnTo>
                      <a:pt x="84" y="30"/>
                    </a:lnTo>
                    <a:lnTo>
                      <a:pt x="73" y="23"/>
                    </a:lnTo>
                    <a:lnTo>
                      <a:pt x="63" y="14"/>
                    </a:lnTo>
                    <a:lnTo>
                      <a:pt x="51" y="10"/>
                    </a:lnTo>
                    <a:lnTo>
                      <a:pt x="39" y="6"/>
                    </a:lnTo>
                    <a:lnTo>
                      <a:pt x="25" y="2"/>
                    </a:lnTo>
                    <a:lnTo>
                      <a:pt x="14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0" name="Freeform 171"/>
            <p:cNvSpPr>
              <a:spLocks/>
            </p:cNvSpPr>
            <p:nvPr/>
          </p:nvSpPr>
          <p:spPr bwMode="auto">
            <a:xfrm>
              <a:off x="5846696" y="5410660"/>
              <a:ext cx="622621" cy="48534"/>
            </a:xfrm>
            <a:custGeom>
              <a:avLst/>
              <a:gdLst>
                <a:gd name="T0" fmla="*/ 916 w 953"/>
                <a:gd name="T1" fmla="*/ 0 h 74"/>
                <a:gd name="T2" fmla="*/ 37 w 953"/>
                <a:gd name="T3" fmla="*/ 0 h 74"/>
                <a:gd name="T4" fmla="*/ 0 w 953"/>
                <a:gd name="T5" fmla="*/ 37 h 74"/>
                <a:gd name="T6" fmla="*/ 37 w 953"/>
                <a:gd name="T7" fmla="*/ 74 h 74"/>
                <a:gd name="T8" fmla="*/ 916 w 953"/>
                <a:gd name="T9" fmla="*/ 74 h 74"/>
                <a:gd name="T10" fmla="*/ 953 w 953"/>
                <a:gd name="T11" fmla="*/ 37 h 74"/>
                <a:gd name="T12" fmla="*/ 916 w 953"/>
                <a:gd name="T13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53" h="74">
                  <a:moveTo>
                    <a:pt x="916" y="0"/>
                  </a:moveTo>
                  <a:cubicBezTo>
                    <a:pt x="37" y="0"/>
                    <a:pt x="37" y="0"/>
                    <a:pt x="37" y="0"/>
                  </a:cubicBezTo>
                  <a:cubicBezTo>
                    <a:pt x="17" y="0"/>
                    <a:pt x="0" y="17"/>
                    <a:pt x="0" y="37"/>
                  </a:cubicBezTo>
                  <a:cubicBezTo>
                    <a:pt x="0" y="57"/>
                    <a:pt x="17" y="74"/>
                    <a:pt x="37" y="74"/>
                  </a:cubicBezTo>
                  <a:cubicBezTo>
                    <a:pt x="916" y="74"/>
                    <a:pt x="916" y="74"/>
                    <a:pt x="916" y="74"/>
                  </a:cubicBezTo>
                  <a:cubicBezTo>
                    <a:pt x="937" y="74"/>
                    <a:pt x="953" y="57"/>
                    <a:pt x="953" y="37"/>
                  </a:cubicBezTo>
                  <a:cubicBezTo>
                    <a:pt x="953" y="17"/>
                    <a:pt x="937" y="0"/>
                    <a:pt x="916" y="0"/>
                  </a:cubicBezTo>
                </a:path>
              </a:pathLst>
            </a:custGeom>
            <a:solidFill>
              <a:srgbClr val="00C2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172"/>
            <p:cNvSpPr>
              <a:spLocks/>
            </p:cNvSpPr>
            <p:nvPr/>
          </p:nvSpPr>
          <p:spPr bwMode="auto">
            <a:xfrm>
              <a:off x="6680092" y="5401673"/>
              <a:ext cx="557129" cy="57521"/>
            </a:xfrm>
            <a:custGeom>
              <a:avLst/>
              <a:gdLst>
                <a:gd name="T0" fmla="*/ 684 w 721"/>
                <a:gd name="T1" fmla="*/ 0 h 74"/>
                <a:gd name="T2" fmla="*/ 37 w 721"/>
                <a:gd name="T3" fmla="*/ 0 h 74"/>
                <a:gd name="T4" fmla="*/ 0 w 721"/>
                <a:gd name="T5" fmla="*/ 37 h 74"/>
                <a:gd name="T6" fmla="*/ 37 w 721"/>
                <a:gd name="T7" fmla="*/ 74 h 74"/>
                <a:gd name="T8" fmla="*/ 684 w 721"/>
                <a:gd name="T9" fmla="*/ 74 h 74"/>
                <a:gd name="T10" fmla="*/ 721 w 721"/>
                <a:gd name="T11" fmla="*/ 37 h 74"/>
                <a:gd name="T12" fmla="*/ 684 w 721"/>
                <a:gd name="T13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1" h="74">
                  <a:moveTo>
                    <a:pt x="684" y="0"/>
                  </a:moveTo>
                  <a:cubicBezTo>
                    <a:pt x="37" y="0"/>
                    <a:pt x="37" y="0"/>
                    <a:pt x="37" y="0"/>
                  </a:cubicBezTo>
                  <a:cubicBezTo>
                    <a:pt x="16" y="0"/>
                    <a:pt x="0" y="17"/>
                    <a:pt x="0" y="37"/>
                  </a:cubicBezTo>
                  <a:cubicBezTo>
                    <a:pt x="0" y="57"/>
                    <a:pt x="16" y="74"/>
                    <a:pt x="37" y="74"/>
                  </a:cubicBezTo>
                  <a:cubicBezTo>
                    <a:pt x="684" y="74"/>
                    <a:pt x="684" y="74"/>
                    <a:pt x="684" y="74"/>
                  </a:cubicBezTo>
                  <a:cubicBezTo>
                    <a:pt x="704" y="74"/>
                    <a:pt x="721" y="57"/>
                    <a:pt x="721" y="37"/>
                  </a:cubicBezTo>
                  <a:cubicBezTo>
                    <a:pt x="721" y="17"/>
                    <a:pt x="704" y="0"/>
                    <a:pt x="684" y="0"/>
                  </a:cubicBezTo>
                </a:path>
              </a:pathLst>
            </a:custGeom>
            <a:solidFill>
              <a:srgbClr val="00C2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173"/>
            <p:cNvSpPr>
              <a:spLocks/>
            </p:cNvSpPr>
            <p:nvPr/>
          </p:nvSpPr>
          <p:spPr bwMode="auto">
            <a:xfrm>
              <a:off x="6456837" y="4835982"/>
              <a:ext cx="119255" cy="115095"/>
            </a:xfrm>
            <a:custGeom>
              <a:avLst/>
              <a:gdLst>
                <a:gd name="T0" fmla="*/ 63 w 86"/>
                <a:gd name="T1" fmla="*/ 83 h 83"/>
                <a:gd name="T2" fmla="*/ 0 w 86"/>
                <a:gd name="T3" fmla="*/ 25 h 83"/>
                <a:gd name="T4" fmla="*/ 22 w 86"/>
                <a:gd name="T5" fmla="*/ 0 h 83"/>
                <a:gd name="T6" fmla="*/ 86 w 86"/>
                <a:gd name="T7" fmla="*/ 58 h 83"/>
                <a:gd name="T8" fmla="*/ 63 w 86"/>
                <a:gd name="T9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" h="83">
                  <a:moveTo>
                    <a:pt x="63" y="83"/>
                  </a:moveTo>
                  <a:lnTo>
                    <a:pt x="0" y="25"/>
                  </a:lnTo>
                  <a:lnTo>
                    <a:pt x="22" y="0"/>
                  </a:lnTo>
                  <a:lnTo>
                    <a:pt x="86" y="58"/>
                  </a:lnTo>
                  <a:lnTo>
                    <a:pt x="63" y="83"/>
                  </a:lnTo>
                  <a:close/>
                </a:path>
              </a:pathLst>
            </a:custGeom>
            <a:solidFill>
              <a:srgbClr val="4423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174"/>
            <p:cNvSpPr>
              <a:spLocks/>
            </p:cNvSpPr>
            <p:nvPr/>
          </p:nvSpPr>
          <p:spPr bwMode="auto">
            <a:xfrm>
              <a:off x="6544198" y="4916409"/>
              <a:ext cx="61014" cy="59628"/>
            </a:xfrm>
            <a:custGeom>
              <a:avLst/>
              <a:gdLst>
                <a:gd name="T0" fmla="*/ 28 w 94"/>
                <a:gd name="T1" fmla="*/ 78 h 93"/>
                <a:gd name="T2" fmla="*/ 29 w 94"/>
                <a:gd name="T3" fmla="*/ 79 h 93"/>
                <a:gd name="T4" fmla="*/ 80 w 94"/>
                <a:gd name="T5" fmla="*/ 77 h 93"/>
                <a:gd name="T6" fmla="*/ 78 w 94"/>
                <a:gd name="T7" fmla="*/ 26 h 93"/>
                <a:gd name="T8" fmla="*/ 76 w 94"/>
                <a:gd name="T9" fmla="*/ 25 h 93"/>
                <a:gd name="T10" fmla="*/ 76 w 94"/>
                <a:gd name="T11" fmla="*/ 25 h 93"/>
                <a:gd name="T12" fmla="*/ 49 w 94"/>
                <a:gd name="T13" fmla="*/ 0 h 93"/>
                <a:gd name="T14" fmla="*/ 0 w 94"/>
                <a:gd name="T15" fmla="*/ 53 h 93"/>
                <a:gd name="T16" fmla="*/ 28 w 94"/>
                <a:gd name="T17" fmla="*/ 78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4" h="93">
                  <a:moveTo>
                    <a:pt x="28" y="78"/>
                  </a:moveTo>
                  <a:cubicBezTo>
                    <a:pt x="28" y="79"/>
                    <a:pt x="29" y="79"/>
                    <a:pt x="29" y="79"/>
                  </a:cubicBezTo>
                  <a:cubicBezTo>
                    <a:pt x="44" y="93"/>
                    <a:pt x="67" y="92"/>
                    <a:pt x="80" y="77"/>
                  </a:cubicBezTo>
                  <a:cubicBezTo>
                    <a:pt x="94" y="62"/>
                    <a:pt x="92" y="40"/>
                    <a:pt x="78" y="26"/>
                  </a:cubicBezTo>
                  <a:cubicBezTo>
                    <a:pt x="77" y="26"/>
                    <a:pt x="77" y="26"/>
                    <a:pt x="76" y="25"/>
                  </a:cubicBezTo>
                  <a:cubicBezTo>
                    <a:pt x="76" y="25"/>
                    <a:pt x="76" y="25"/>
                    <a:pt x="76" y="25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28" y="78"/>
                    <a:pt x="28" y="78"/>
                    <a:pt x="28" y="78"/>
                  </a:cubicBezTo>
                  <a:close/>
                </a:path>
              </a:pathLst>
            </a:custGeom>
            <a:solidFill>
              <a:srgbClr val="F472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175"/>
            <p:cNvSpPr>
              <a:spLocks/>
            </p:cNvSpPr>
            <p:nvPr/>
          </p:nvSpPr>
          <p:spPr bwMode="auto">
            <a:xfrm>
              <a:off x="6588572" y="4835982"/>
              <a:ext cx="120642" cy="115095"/>
            </a:xfrm>
            <a:custGeom>
              <a:avLst/>
              <a:gdLst>
                <a:gd name="T0" fmla="*/ 23 w 87"/>
                <a:gd name="T1" fmla="*/ 83 h 83"/>
                <a:gd name="T2" fmla="*/ 87 w 87"/>
                <a:gd name="T3" fmla="*/ 25 h 83"/>
                <a:gd name="T4" fmla="*/ 64 w 87"/>
                <a:gd name="T5" fmla="*/ 0 h 83"/>
                <a:gd name="T6" fmla="*/ 0 w 87"/>
                <a:gd name="T7" fmla="*/ 58 h 83"/>
                <a:gd name="T8" fmla="*/ 23 w 87"/>
                <a:gd name="T9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83">
                  <a:moveTo>
                    <a:pt x="23" y="83"/>
                  </a:moveTo>
                  <a:lnTo>
                    <a:pt x="87" y="25"/>
                  </a:lnTo>
                  <a:lnTo>
                    <a:pt x="64" y="0"/>
                  </a:lnTo>
                  <a:lnTo>
                    <a:pt x="0" y="58"/>
                  </a:lnTo>
                  <a:lnTo>
                    <a:pt x="23" y="83"/>
                  </a:lnTo>
                  <a:close/>
                </a:path>
              </a:pathLst>
            </a:custGeom>
            <a:solidFill>
              <a:srgbClr val="4423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176"/>
            <p:cNvSpPr>
              <a:spLocks/>
            </p:cNvSpPr>
            <p:nvPr/>
          </p:nvSpPr>
          <p:spPr bwMode="auto">
            <a:xfrm>
              <a:off x="6588572" y="4835982"/>
              <a:ext cx="120642" cy="115095"/>
            </a:xfrm>
            <a:custGeom>
              <a:avLst/>
              <a:gdLst>
                <a:gd name="T0" fmla="*/ 23 w 87"/>
                <a:gd name="T1" fmla="*/ 83 h 83"/>
                <a:gd name="T2" fmla="*/ 87 w 87"/>
                <a:gd name="T3" fmla="*/ 25 h 83"/>
                <a:gd name="T4" fmla="*/ 64 w 87"/>
                <a:gd name="T5" fmla="*/ 0 h 83"/>
                <a:gd name="T6" fmla="*/ 0 w 87"/>
                <a:gd name="T7" fmla="*/ 58 h 83"/>
                <a:gd name="T8" fmla="*/ 23 w 87"/>
                <a:gd name="T9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83">
                  <a:moveTo>
                    <a:pt x="23" y="83"/>
                  </a:moveTo>
                  <a:lnTo>
                    <a:pt x="87" y="25"/>
                  </a:lnTo>
                  <a:lnTo>
                    <a:pt x="64" y="0"/>
                  </a:lnTo>
                  <a:lnTo>
                    <a:pt x="0" y="58"/>
                  </a:lnTo>
                  <a:lnTo>
                    <a:pt x="23" y="8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177"/>
            <p:cNvSpPr>
              <a:spLocks/>
            </p:cNvSpPr>
            <p:nvPr/>
          </p:nvSpPr>
          <p:spPr bwMode="auto">
            <a:xfrm>
              <a:off x="6559451" y="4916409"/>
              <a:ext cx="61014" cy="59628"/>
            </a:xfrm>
            <a:custGeom>
              <a:avLst/>
              <a:gdLst>
                <a:gd name="T0" fmla="*/ 66 w 94"/>
                <a:gd name="T1" fmla="*/ 78 h 93"/>
                <a:gd name="T2" fmla="*/ 65 w 94"/>
                <a:gd name="T3" fmla="*/ 79 h 93"/>
                <a:gd name="T4" fmla="*/ 14 w 94"/>
                <a:gd name="T5" fmla="*/ 77 h 93"/>
                <a:gd name="T6" fmla="*/ 17 w 94"/>
                <a:gd name="T7" fmla="*/ 26 h 93"/>
                <a:gd name="T8" fmla="*/ 18 w 94"/>
                <a:gd name="T9" fmla="*/ 25 h 93"/>
                <a:gd name="T10" fmla="*/ 18 w 94"/>
                <a:gd name="T11" fmla="*/ 25 h 93"/>
                <a:gd name="T12" fmla="*/ 45 w 94"/>
                <a:gd name="T13" fmla="*/ 0 h 93"/>
                <a:gd name="T14" fmla="*/ 94 w 94"/>
                <a:gd name="T15" fmla="*/ 53 h 93"/>
                <a:gd name="T16" fmla="*/ 66 w 94"/>
                <a:gd name="T17" fmla="*/ 78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4" h="93">
                  <a:moveTo>
                    <a:pt x="66" y="78"/>
                  </a:moveTo>
                  <a:cubicBezTo>
                    <a:pt x="66" y="79"/>
                    <a:pt x="65" y="79"/>
                    <a:pt x="65" y="79"/>
                  </a:cubicBezTo>
                  <a:cubicBezTo>
                    <a:pt x="50" y="93"/>
                    <a:pt x="27" y="92"/>
                    <a:pt x="14" y="77"/>
                  </a:cubicBezTo>
                  <a:cubicBezTo>
                    <a:pt x="0" y="62"/>
                    <a:pt x="2" y="40"/>
                    <a:pt x="17" y="26"/>
                  </a:cubicBezTo>
                  <a:cubicBezTo>
                    <a:pt x="17" y="26"/>
                    <a:pt x="17" y="26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94" y="53"/>
                    <a:pt x="94" y="53"/>
                    <a:pt x="94" y="53"/>
                  </a:cubicBezTo>
                  <a:cubicBezTo>
                    <a:pt x="66" y="78"/>
                    <a:pt x="66" y="78"/>
                    <a:pt x="66" y="78"/>
                  </a:cubicBezTo>
                  <a:close/>
                </a:path>
              </a:pathLst>
            </a:custGeom>
            <a:solidFill>
              <a:srgbClr val="F472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178"/>
            <p:cNvSpPr>
              <a:spLocks/>
            </p:cNvSpPr>
            <p:nvPr/>
          </p:nvSpPr>
          <p:spPr bwMode="auto">
            <a:xfrm>
              <a:off x="6218327" y="5382926"/>
              <a:ext cx="97068" cy="54081"/>
            </a:xfrm>
            <a:custGeom>
              <a:avLst/>
              <a:gdLst>
                <a:gd name="T0" fmla="*/ 70 w 70"/>
                <a:gd name="T1" fmla="*/ 31 h 39"/>
                <a:gd name="T2" fmla="*/ 39 w 70"/>
                <a:gd name="T3" fmla="*/ 0 h 39"/>
                <a:gd name="T4" fmla="*/ 0 w 70"/>
                <a:gd name="T5" fmla="*/ 0 h 39"/>
                <a:gd name="T6" fmla="*/ 0 w 70"/>
                <a:gd name="T7" fmla="*/ 39 h 39"/>
                <a:gd name="T8" fmla="*/ 70 w 70"/>
                <a:gd name="T9" fmla="*/ 39 h 39"/>
                <a:gd name="T10" fmla="*/ 70 w 70"/>
                <a:gd name="T11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39">
                  <a:moveTo>
                    <a:pt x="70" y="31"/>
                  </a:moveTo>
                  <a:lnTo>
                    <a:pt x="39" y="0"/>
                  </a:lnTo>
                  <a:lnTo>
                    <a:pt x="0" y="0"/>
                  </a:lnTo>
                  <a:lnTo>
                    <a:pt x="0" y="39"/>
                  </a:lnTo>
                  <a:lnTo>
                    <a:pt x="70" y="39"/>
                  </a:lnTo>
                  <a:lnTo>
                    <a:pt x="70" y="31"/>
                  </a:lnTo>
                  <a:close/>
                </a:path>
              </a:pathLst>
            </a:custGeom>
            <a:solidFill>
              <a:srgbClr val="4423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Rectangle 180"/>
            <p:cNvSpPr>
              <a:spLocks noChangeArrowheads="1"/>
            </p:cNvSpPr>
            <p:nvPr/>
          </p:nvSpPr>
          <p:spPr bwMode="auto">
            <a:xfrm>
              <a:off x="6218327" y="5033482"/>
              <a:ext cx="54081" cy="3522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Rectangle 182"/>
            <p:cNvSpPr>
              <a:spLocks noChangeArrowheads="1"/>
            </p:cNvSpPr>
            <p:nvPr/>
          </p:nvSpPr>
          <p:spPr bwMode="auto">
            <a:xfrm>
              <a:off x="6101846" y="5033482"/>
              <a:ext cx="54081" cy="3522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183"/>
            <p:cNvSpPr>
              <a:spLocks/>
            </p:cNvSpPr>
            <p:nvPr/>
          </p:nvSpPr>
          <p:spPr bwMode="auto">
            <a:xfrm>
              <a:off x="6100460" y="5382926"/>
              <a:ext cx="97068" cy="54081"/>
            </a:xfrm>
            <a:custGeom>
              <a:avLst/>
              <a:gdLst>
                <a:gd name="T0" fmla="*/ 70 w 70"/>
                <a:gd name="T1" fmla="*/ 31 h 39"/>
                <a:gd name="T2" fmla="*/ 40 w 70"/>
                <a:gd name="T3" fmla="*/ 0 h 39"/>
                <a:gd name="T4" fmla="*/ 0 w 70"/>
                <a:gd name="T5" fmla="*/ 0 h 39"/>
                <a:gd name="T6" fmla="*/ 0 w 70"/>
                <a:gd name="T7" fmla="*/ 39 h 39"/>
                <a:gd name="T8" fmla="*/ 70 w 70"/>
                <a:gd name="T9" fmla="*/ 39 h 39"/>
                <a:gd name="T10" fmla="*/ 70 w 70"/>
                <a:gd name="T11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39">
                  <a:moveTo>
                    <a:pt x="70" y="31"/>
                  </a:moveTo>
                  <a:lnTo>
                    <a:pt x="40" y="0"/>
                  </a:lnTo>
                  <a:lnTo>
                    <a:pt x="0" y="0"/>
                  </a:lnTo>
                  <a:lnTo>
                    <a:pt x="0" y="39"/>
                  </a:lnTo>
                  <a:lnTo>
                    <a:pt x="70" y="39"/>
                  </a:lnTo>
                  <a:lnTo>
                    <a:pt x="70" y="31"/>
                  </a:lnTo>
                  <a:close/>
                </a:path>
              </a:pathLst>
            </a:custGeom>
            <a:solidFill>
              <a:srgbClr val="4423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Rectangle 186"/>
            <p:cNvSpPr>
              <a:spLocks noChangeArrowheads="1"/>
            </p:cNvSpPr>
            <p:nvPr/>
          </p:nvSpPr>
          <p:spPr bwMode="auto">
            <a:xfrm>
              <a:off x="6834015" y="5033482"/>
              <a:ext cx="54081" cy="3522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Rectangle 179"/>
            <p:cNvSpPr>
              <a:spLocks noChangeArrowheads="1"/>
            </p:cNvSpPr>
            <p:nvPr/>
          </p:nvSpPr>
          <p:spPr bwMode="auto">
            <a:xfrm>
              <a:off x="6218327" y="4801506"/>
              <a:ext cx="54081" cy="584194"/>
            </a:xfrm>
            <a:prstGeom prst="rect">
              <a:avLst/>
            </a:prstGeom>
            <a:solidFill>
              <a:srgbClr val="4423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Rectangle 181"/>
            <p:cNvSpPr>
              <a:spLocks noChangeArrowheads="1"/>
            </p:cNvSpPr>
            <p:nvPr/>
          </p:nvSpPr>
          <p:spPr bwMode="auto">
            <a:xfrm>
              <a:off x="6101846" y="4801506"/>
              <a:ext cx="54081" cy="584194"/>
            </a:xfrm>
            <a:prstGeom prst="rect">
              <a:avLst/>
            </a:prstGeom>
            <a:solidFill>
              <a:srgbClr val="4423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Rectangle 188"/>
            <p:cNvSpPr>
              <a:spLocks noChangeArrowheads="1"/>
            </p:cNvSpPr>
            <p:nvPr/>
          </p:nvSpPr>
          <p:spPr bwMode="auto">
            <a:xfrm>
              <a:off x="6950496" y="5033482"/>
              <a:ext cx="54081" cy="3522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85" name="Group 84"/>
            <p:cNvGrpSpPr/>
            <p:nvPr/>
          </p:nvGrpSpPr>
          <p:grpSpPr>
            <a:xfrm>
              <a:off x="6833786" y="4801506"/>
              <a:ext cx="213549" cy="635501"/>
              <a:chOff x="7121503" y="4811714"/>
              <a:chExt cx="213549" cy="635501"/>
            </a:xfrm>
          </p:grpSpPr>
          <p:sp>
            <p:nvSpPr>
              <p:cNvPr id="122" name="Freeform 184"/>
              <p:cNvSpPr>
                <a:spLocks/>
              </p:cNvSpPr>
              <p:nvPr/>
            </p:nvSpPr>
            <p:spPr bwMode="auto">
              <a:xfrm>
                <a:off x="7121503" y="5393134"/>
                <a:ext cx="97068" cy="54081"/>
              </a:xfrm>
              <a:custGeom>
                <a:avLst/>
                <a:gdLst>
                  <a:gd name="T0" fmla="*/ 0 w 70"/>
                  <a:gd name="T1" fmla="*/ 31 h 39"/>
                  <a:gd name="T2" fmla="*/ 30 w 70"/>
                  <a:gd name="T3" fmla="*/ 0 h 39"/>
                  <a:gd name="T4" fmla="*/ 70 w 70"/>
                  <a:gd name="T5" fmla="*/ 0 h 39"/>
                  <a:gd name="T6" fmla="*/ 70 w 70"/>
                  <a:gd name="T7" fmla="*/ 39 h 39"/>
                  <a:gd name="T8" fmla="*/ 0 w 70"/>
                  <a:gd name="T9" fmla="*/ 39 h 39"/>
                  <a:gd name="T10" fmla="*/ 0 w 70"/>
                  <a:gd name="T11" fmla="*/ 31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0" h="39">
                    <a:moveTo>
                      <a:pt x="0" y="31"/>
                    </a:moveTo>
                    <a:lnTo>
                      <a:pt x="30" y="0"/>
                    </a:lnTo>
                    <a:lnTo>
                      <a:pt x="70" y="0"/>
                    </a:lnTo>
                    <a:lnTo>
                      <a:pt x="70" y="39"/>
                    </a:lnTo>
                    <a:lnTo>
                      <a:pt x="0" y="39"/>
                    </a:lnTo>
                    <a:lnTo>
                      <a:pt x="0" y="31"/>
                    </a:lnTo>
                    <a:close/>
                  </a:path>
                </a:pathLst>
              </a:custGeom>
              <a:solidFill>
                <a:srgbClr val="4423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Rectangle 185"/>
              <p:cNvSpPr>
                <a:spLocks noChangeArrowheads="1"/>
              </p:cNvSpPr>
              <p:nvPr/>
            </p:nvSpPr>
            <p:spPr bwMode="auto">
              <a:xfrm>
                <a:off x="7164490" y="4811714"/>
                <a:ext cx="54081" cy="584194"/>
              </a:xfrm>
              <a:prstGeom prst="rect">
                <a:avLst/>
              </a:prstGeom>
              <a:solidFill>
                <a:srgbClr val="4423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Rectangle 187"/>
              <p:cNvSpPr>
                <a:spLocks noChangeArrowheads="1"/>
              </p:cNvSpPr>
              <p:nvPr/>
            </p:nvSpPr>
            <p:spPr bwMode="auto">
              <a:xfrm>
                <a:off x="7280971" y="4811714"/>
                <a:ext cx="54081" cy="584194"/>
              </a:xfrm>
              <a:prstGeom prst="rect">
                <a:avLst/>
              </a:prstGeom>
              <a:solidFill>
                <a:srgbClr val="4423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189"/>
              <p:cNvSpPr>
                <a:spLocks/>
              </p:cNvSpPr>
              <p:nvPr/>
            </p:nvSpPr>
            <p:spPr bwMode="auto">
              <a:xfrm>
                <a:off x="7239370" y="5393134"/>
                <a:ext cx="95682" cy="54081"/>
              </a:xfrm>
              <a:custGeom>
                <a:avLst/>
                <a:gdLst>
                  <a:gd name="T0" fmla="*/ 0 w 69"/>
                  <a:gd name="T1" fmla="*/ 31 h 39"/>
                  <a:gd name="T2" fmla="*/ 29 w 69"/>
                  <a:gd name="T3" fmla="*/ 0 h 39"/>
                  <a:gd name="T4" fmla="*/ 69 w 69"/>
                  <a:gd name="T5" fmla="*/ 0 h 39"/>
                  <a:gd name="T6" fmla="*/ 69 w 69"/>
                  <a:gd name="T7" fmla="*/ 39 h 39"/>
                  <a:gd name="T8" fmla="*/ 0 w 69"/>
                  <a:gd name="T9" fmla="*/ 39 h 39"/>
                  <a:gd name="T10" fmla="*/ 0 w 69"/>
                  <a:gd name="T11" fmla="*/ 31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9" h="39">
                    <a:moveTo>
                      <a:pt x="0" y="31"/>
                    </a:moveTo>
                    <a:lnTo>
                      <a:pt x="29" y="0"/>
                    </a:lnTo>
                    <a:lnTo>
                      <a:pt x="69" y="0"/>
                    </a:lnTo>
                    <a:lnTo>
                      <a:pt x="69" y="39"/>
                    </a:lnTo>
                    <a:lnTo>
                      <a:pt x="0" y="39"/>
                    </a:lnTo>
                    <a:lnTo>
                      <a:pt x="0" y="31"/>
                    </a:lnTo>
                    <a:close/>
                  </a:path>
                </a:pathLst>
              </a:custGeom>
              <a:solidFill>
                <a:srgbClr val="4423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86" name="Group 85"/>
            <p:cNvGrpSpPr/>
            <p:nvPr/>
          </p:nvGrpSpPr>
          <p:grpSpPr>
            <a:xfrm>
              <a:off x="5806483" y="4514272"/>
              <a:ext cx="700275" cy="410459"/>
              <a:chOff x="6136958" y="4524480"/>
              <a:chExt cx="700275" cy="410459"/>
            </a:xfrm>
          </p:grpSpPr>
          <p:sp>
            <p:nvSpPr>
              <p:cNvPr id="120" name="Freeform 191"/>
              <p:cNvSpPr>
                <a:spLocks/>
              </p:cNvSpPr>
              <p:nvPr/>
            </p:nvSpPr>
            <p:spPr bwMode="auto">
              <a:xfrm>
                <a:off x="6136958" y="4524480"/>
                <a:ext cx="700275" cy="410458"/>
              </a:xfrm>
              <a:custGeom>
                <a:avLst/>
                <a:gdLst>
                  <a:gd name="T0" fmla="*/ 942 w 1074"/>
                  <a:gd name="T1" fmla="*/ 336 h 628"/>
                  <a:gd name="T2" fmla="*/ 949 w 1074"/>
                  <a:gd name="T3" fmla="*/ 292 h 628"/>
                  <a:gd name="T4" fmla="*/ 803 w 1074"/>
                  <a:gd name="T5" fmla="*/ 145 h 628"/>
                  <a:gd name="T6" fmla="*/ 762 w 1074"/>
                  <a:gd name="T7" fmla="*/ 151 h 628"/>
                  <a:gd name="T8" fmla="*/ 546 w 1074"/>
                  <a:gd name="T9" fmla="*/ 0 h 628"/>
                  <a:gd name="T10" fmla="*/ 318 w 1074"/>
                  <a:gd name="T11" fmla="*/ 200 h 628"/>
                  <a:gd name="T12" fmla="*/ 257 w 1074"/>
                  <a:gd name="T13" fmla="*/ 188 h 628"/>
                  <a:gd name="T14" fmla="*/ 96 w 1074"/>
                  <a:gd name="T15" fmla="*/ 349 h 628"/>
                  <a:gd name="T16" fmla="*/ 103 w 1074"/>
                  <a:gd name="T17" fmla="*/ 391 h 628"/>
                  <a:gd name="T18" fmla="*/ 0 w 1074"/>
                  <a:gd name="T19" fmla="*/ 508 h 628"/>
                  <a:gd name="T20" fmla="*/ 112 w 1074"/>
                  <a:gd name="T21" fmla="*/ 627 h 628"/>
                  <a:gd name="T22" fmla="*/ 112 w 1074"/>
                  <a:gd name="T23" fmla="*/ 628 h 628"/>
                  <a:gd name="T24" fmla="*/ 927 w 1074"/>
                  <a:gd name="T25" fmla="*/ 628 h 628"/>
                  <a:gd name="T26" fmla="*/ 1074 w 1074"/>
                  <a:gd name="T27" fmla="*/ 481 h 628"/>
                  <a:gd name="T28" fmla="*/ 942 w 1074"/>
                  <a:gd name="T29" fmla="*/ 336 h 6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074" h="628">
                    <a:moveTo>
                      <a:pt x="942" y="336"/>
                    </a:moveTo>
                    <a:cubicBezTo>
                      <a:pt x="946" y="322"/>
                      <a:pt x="949" y="307"/>
                      <a:pt x="949" y="292"/>
                    </a:cubicBezTo>
                    <a:cubicBezTo>
                      <a:pt x="949" y="211"/>
                      <a:pt x="884" y="145"/>
                      <a:pt x="803" y="145"/>
                    </a:cubicBezTo>
                    <a:cubicBezTo>
                      <a:pt x="789" y="145"/>
                      <a:pt x="775" y="148"/>
                      <a:pt x="762" y="151"/>
                    </a:cubicBezTo>
                    <a:cubicBezTo>
                      <a:pt x="730" y="63"/>
                      <a:pt x="645" y="0"/>
                      <a:pt x="546" y="0"/>
                    </a:cubicBezTo>
                    <a:cubicBezTo>
                      <a:pt x="429" y="0"/>
                      <a:pt x="332" y="87"/>
                      <a:pt x="318" y="200"/>
                    </a:cubicBezTo>
                    <a:cubicBezTo>
                      <a:pt x="299" y="192"/>
                      <a:pt x="278" y="188"/>
                      <a:pt x="257" y="188"/>
                    </a:cubicBezTo>
                    <a:cubicBezTo>
                      <a:pt x="168" y="188"/>
                      <a:pt x="96" y="260"/>
                      <a:pt x="96" y="349"/>
                    </a:cubicBezTo>
                    <a:cubicBezTo>
                      <a:pt x="96" y="363"/>
                      <a:pt x="99" y="377"/>
                      <a:pt x="103" y="391"/>
                    </a:cubicBezTo>
                    <a:cubicBezTo>
                      <a:pt x="45" y="399"/>
                      <a:pt x="0" y="449"/>
                      <a:pt x="0" y="508"/>
                    </a:cubicBezTo>
                    <a:cubicBezTo>
                      <a:pt x="0" y="572"/>
                      <a:pt x="50" y="623"/>
                      <a:pt x="112" y="627"/>
                    </a:cubicBezTo>
                    <a:cubicBezTo>
                      <a:pt x="112" y="628"/>
                      <a:pt x="112" y="628"/>
                      <a:pt x="112" y="628"/>
                    </a:cubicBezTo>
                    <a:cubicBezTo>
                      <a:pt x="927" y="628"/>
                      <a:pt x="927" y="628"/>
                      <a:pt x="927" y="628"/>
                    </a:cubicBezTo>
                    <a:cubicBezTo>
                      <a:pt x="1008" y="628"/>
                      <a:pt x="1074" y="562"/>
                      <a:pt x="1074" y="481"/>
                    </a:cubicBezTo>
                    <a:cubicBezTo>
                      <a:pt x="1074" y="405"/>
                      <a:pt x="1016" y="344"/>
                      <a:pt x="942" y="336"/>
                    </a:cubicBezTo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192"/>
              <p:cNvSpPr>
                <a:spLocks/>
              </p:cNvSpPr>
              <p:nvPr/>
            </p:nvSpPr>
            <p:spPr bwMode="auto">
              <a:xfrm>
                <a:off x="6136958" y="4647895"/>
                <a:ext cx="485339" cy="287044"/>
              </a:xfrm>
              <a:custGeom>
                <a:avLst/>
                <a:gdLst>
                  <a:gd name="T0" fmla="*/ 257 w 744"/>
                  <a:gd name="T1" fmla="*/ 0 h 440"/>
                  <a:gd name="T2" fmla="*/ 96 w 744"/>
                  <a:gd name="T3" fmla="*/ 161 h 440"/>
                  <a:gd name="T4" fmla="*/ 103 w 744"/>
                  <a:gd name="T5" fmla="*/ 203 h 440"/>
                  <a:gd name="T6" fmla="*/ 103 w 744"/>
                  <a:gd name="T7" fmla="*/ 203 h 440"/>
                  <a:gd name="T8" fmla="*/ 103 w 744"/>
                  <a:gd name="T9" fmla="*/ 203 h 440"/>
                  <a:gd name="T10" fmla="*/ 0 w 744"/>
                  <a:gd name="T11" fmla="*/ 320 h 440"/>
                  <a:gd name="T12" fmla="*/ 112 w 744"/>
                  <a:gd name="T13" fmla="*/ 439 h 440"/>
                  <a:gd name="T14" fmla="*/ 112 w 744"/>
                  <a:gd name="T15" fmla="*/ 440 h 440"/>
                  <a:gd name="T16" fmla="*/ 744 w 744"/>
                  <a:gd name="T17" fmla="*/ 440 h 440"/>
                  <a:gd name="T18" fmla="*/ 315 w 744"/>
                  <a:gd name="T19" fmla="*/ 11 h 440"/>
                  <a:gd name="T20" fmla="*/ 257 w 744"/>
                  <a:gd name="T21" fmla="*/ 0 h 440"/>
                  <a:gd name="T22" fmla="*/ 257 w 744"/>
                  <a:gd name="T23" fmla="*/ 0 h 4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44" h="440">
                    <a:moveTo>
                      <a:pt x="257" y="0"/>
                    </a:moveTo>
                    <a:cubicBezTo>
                      <a:pt x="168" y="0"/>
                      <a:pt x="96" y="72"/>
                      <a:pt x="96" y="161"/>
                    </a:cubicBezTo>
                    <a:cubicBezTo>
                      <a:pt x="96" y="175"/>
                      <a:pt x="99" y="189"/>
                      <a:pt x="103" y="203"/>
                    </a:cubicBezTo>
                    <a:cubicBezTo>
                      <a:pt x="103" y="203"/>
                      <a:pt x="103" y="203"/>
                      <a:pt x="103" y="203"/>
                    </a:cubicBezTo>
                    <a:cubicBezTo>
                      <a:pt x="103" y="203"/>
                      <a:pt x="103" y="203"/>
                      <a:pt x="103" y="203"/>
                    </a:cubicBezTo>
                    <a:cubicBezTo>
                      <a:pt x="45" y="211"/>
                      <a:pt x="0" y="261"/>
                      <a:pt x="0" y="320"/>
                    </a:cubicBezTo>
                    <a:cubicBezTo>
                      <a:pt x="0" y="384"/>
                      <a:pt x="50" y="435"/>
                      <a:pt x="112" y="439"/>
                    </a:cubicBezTo>
                    <a:cubicBezTo>
                      <a:pt x="112" y="440"/>
                      <a:pt x="112" y="440"/>
                      <a:pt x="112" y="440"/>
                    </a:cubicBezTo>
                    <a:cubicBezTo>
                      <a:pt x="744" y="440"/>
                      <a:pt x="744" y="440"/>
                      <a:pt x="744" y="440"/>
                    </a:cubicBezTo>
                    <a:cubicBezTo>
                      <a:pt x="315" y="11"/>
                      <a:pt x="315" y="11"/>
                      <a:pt x="315" y="11"/>
                    </a:cubicBezTo>
                    <a:cubicBezTo>
                      <a:pt x="297" y="4"/>
                      <a:pt x="278" y="0"/>
                      <a:pt x="257" y="0"/>
                    </a:cubicBezTo>
                    <a:cubicBezTo>
                      <a:pt x="257" y="0"/>
                      <a:pt x="257" y="0"/>
                      <a:pt x="257" y="0"/>
                    </a:cubicBezTo>
                  </a:path>
                </a:pathLst>
              </a:custGeom>
              <a:solidFill>
                <a:srgbClr val="F2F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87" name="Group 86"/>
            <p:cNvGrpSpPr/>
            <p:nvPr/>
          </p:nvGrpSpPr>
          <p:grpSpPr>
            <a:xfrm>
              <a:off x="6678706" y="4551370"/>
              <a:ext cx="558516" cy="391387"/>
              <a:chOff x="7009181" y="4577173"/>
              <a:chExt cx="493660" cy="375792"/>
            </a:xfrm>
          </p:grpSpPr>
          <p:sp>
            <p:nvSpPr>
              <p:cNvPr id="112" name="Freeform 190"/>
              <p:cNvSpPr>
                <a:spLocks/>
              </p:cNvSpPr>
              <p:nvPr/>
            </p:nvSpPr>
            <p:spPr bwMode="auto">
              <a:xfrm>
                <a:off x="7041075" y="4577173"/>
                <a:ext cx="461766" cy="375791"/>
              </a:xfrm>
              <a:custGeom>
                <a:avLst/>
                <a:gdLst>
                  <a:gd name="T0" fmla="*/ 0 w 707"/>
                  <a:gd name="T1" fmla="*/ 36 h 576"/>
                  <a:gd name="T2" fmla="*/ 0 w 707"/>
                  <a:gd name="T3" fmla="*/ 540 h 576"/>
                  <a:gd name="T4" fmla="*/ 36 w 707"/>
                  <a:gd name="T5" fmla="*/ 576 h 576"/>
                  <a:gd name="T6" fmla="*/ 671 w 707"/>
                  <a:gd name="T7" fmla="*/ 576 h 576"/>
                  <a:gd name="T8" fmla="*/ 707 w 707"/>
                  <a:gd name="T9" fmla="*/ 540 h 576"/>
                  <a:gd name="T10" fmla="*/ 707 w 707"/>
                  <a:gd name="T11" fmla="*/ 36 h 576"/>
                  <a:gd name="T12" fmla="*/ 671 w 707"/>
                  <a:gd name="T13" fmla="*/ 0 h 576"/>
                  <a:gd name="T14" fmla="*/ 36 w 707"/>
                  <a:gd name="T15" fmla="*/ 0 h 576"/>
                  <a:gd name="T16" fmla="*/ 0 w 707"/>
                  <a:gd name="T17" fmla="*/ 36 h 5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07" h="576">
                    <a:moveTo>
                      <a:pt x="0" y="36"/>
                    </a:moveTo>
                    <a:cubicBezTo>
                      <a:pt x="0" y="540"/>
                      <a:pt x="0" y="540"/>
                      <a:pt x="0" y="540"/>
                    </a:cubicBezTo>
                    <a:cubicBezTo>
                      <a:pt x="0" y="540"/>
                      <a:pt x="0" y="576"/>
                      <a:pt x="36" y="576"/>
                    </a:cubicBezTo>
                    <a:cubicBezTo>
                      <a:pt x="671" y="576"/>
                      <a:pt x="671" y="576"/>
                      <a:pt x="671" y="576"/>
                    </a:cubicBezTo>
                    <a:cubicBezTo>
                      <a:pt x="671" y="576"/>
                      <a:pt x="707" y="576"/>
                      <a:pt x="707" y="540"/>
                    </a:cubicBezTo>
                    <a:cubicBezTo>
                      <a:pt x="707" y="36"/>
                      <a:pt x="707" y="36"/>
                      <a:pt x="707" y="36"/>
                    </a:cubicBezTo>
                    <a:cubicBezTo>
                      <a:pt x="707" y="36"/>
                      <a:pt x="707" y="0"/>
                      <a:pt x="67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6" y="0"/>
                      <a:pt x="0" y="0"/>
                      <a:pt x="0" y="36"/>
                    </a:cubicBezTo>
                  </a:path>
                </a:pathLst>
              </a:cu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193"/>
              <p:cNvSpPr>
                <a:spLocks/>
              </p:cNvSpPr>
              <p:nvPr/>
            </p:nvSpPr>
            <p:spPr bwMode="auto">
              <a:xfrm>
                <a:off x="7009181" y="4577173"/>
                <a:ext cx="470086" cy="375791"/>
              </a:xfrm>
              <a:custGeom>
                <a:avLst/>
                <a:gdLst>
                  <a:gd name="T0" fmla="*/ 0 w 720"/>
                  <a:gd name="T1" fmla="*/ 36 h 576"/>
                  <a:gd name="T2" fmla="*/ 0 w 720"/>
                  <a:gd name="T3" fmla="*/ 540 h 576"/>
                  <a:gd name="T4" fmla="*/ 36 w 720"/>
                  <a:gd name="T5" fmla="*/ 576 h 576"/>
                  <a:gd name="T6" fmla="*/ 684 w 720"/>
                  <a:gd name="T7" fmla="*/ 576 h 576"/>
                  <a:gd name="T8" fmla="*/ 720 w 720"/>
                  <a:gd name="T9" fmla="*/ 540 h 576"/>
                  <a:gd name="T10" fmla="*/ 720 w 720"/>
                  <a:gd name="T11" fmla="*/ 36 h 576"/>
                  <a:gd name="T12" fmla="*/ 684 w 720"/>
                  <a:gd name="T13" fmla="*/ 0 h 576"/>
                  <a:gd name="T14" fmla="*/ 36 w 720"/>
                  <a:gd name="T15" fmla="*/ 0 h 576"/>
                  <a:gd name="T16" fmla="*/ 0 w 720"/>
                  <a:gd name="T17" fmla="*/ 36 h 5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20" h="576">
                    <a:moveTo>
                      <a:pt x="0" y="36"/>
                    </a:moveTo>
                    <a:cubicBezTo>
                      <a:pt x="0" y="540"/>
                      <a:pt x="0" y="540"/>
                      <a:pt x="0" y="540"/>
                    </a:cubicBezTo>
                    <a:cubicBezTo>
                      <a:pt x="0" y="540"/>
                      <a:pt x="0" y="576"/>
                      <a:pt x="36" y="576"/>
                    </a:cubicBezTo>
                    <a:cubicBezTo>
                      <a:pt x="684" y="576"/>
                      <a:pt x="684" y="576"/>
                      <a:pt x="684" y="576"/>
                    </a:cubicBezTo>
                    <a:cubicBezTo>
                      <a:pt x="684" y="576"/>
                      <a:pt x="720" y="576"/>
                      <a:pt x="720" y="540"/>
                    </a:cubicBezTo>
                    <a:cubicBezTo>
                      <a:pt x="720" y="36"/>
                      <a:pt x="720" y="36"/>
                      <a:pt x="720" y="36"/>
                    </a:cubicBezTo>
                    <a:cubicBezTo>
                      <a:pt x="720" y="36"/>
                      <a:pt x="720" y="0"/>
                      <a:pt x="684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6" y="0"/>
                      <a:pt x="0" y="0"/>
                      <a:pt x="0" y="36"/>
                    </a:cubicBezTo>
                  </a:path>
                </a:pathLst>
              </a:custGeom>
              <a:solidFill>
                <a:srgbClr val="F472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Rectangle 194"/>
              <p:cNvSpPr>
                <a:spLocks noChangeArrowheads="1"/>
              </p:cNvSpPr>
              <p:nvPr/>
            </p:nvSpPr>
            <p:spPr bwMode="auto">
              <a:xfrm>
                <a:off x="7032754" y="4600747"/>
                <a:ext cx="422939" cy="281497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Rectangle 195"/>
              <p:cNvSpPr>
                <a:spLocks noChangeArrowheads="1"/>
              </p:cNvSpPr>
              <p:nvPr/>
            </p:nvSpPr>
            <p:spPr bwMode="auto">
              <a:xfrm>
                <a:off x="7032755" y="4600747"/>
                <a:ext cx="422939" cy="28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00"/>
              <p:cNvSpPr>
                <a:spLocks/>
              </p:cNvSpPr>
              <p:nvPr/>
            </p:nvSpPr>
            <p:spPr bwMode="auto">
              <a:xfrm>
                <a:off x="7455693" y="4905818"/>
                <a:ext cx="23574" cy="47147"/>
              </a:xfrm>
              <a:custGeom>
                <a:avLst/>
                <a:gdLst>
                  <a:gd name="T0" fmla="*/ 36 w 36"/>
                  <a:gd name="T1" fmla="*/ 0 h 72"/>
                  <a:gd name="T2" fmla="*/ 36 w 36"/>
                  <a:gd name="T3" fmla="*/ 36 h 72"/>
                  <a:gd name="T4" fmla="*/ 0 w 36"/>
                  <a:gd name="T5" fmla="*/ 72 h 72"/>
                  <a:gd name="T6" fmla="*/ 0 w 36"/>
                  <a:gd name="T7" fmla="*/ 72 h 72"/>
                  <a:gd name="T8" fmla="*/ 36 w 36"/>
                  <a:gd name="T9" fmla="*/ 36 h 72"/>
                  <a:gd name="T10" fmla="*/ 36 w 36"/>
                  <a:gd name="T11" fmla="*/ 0 h 72"/>
                  <a:gd name="T12" fmla="*/ 36 w 36"/>
                  <a:gd name="T13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6" h="72">
                    <a:moveTo>
                      <a:pt x="36" y="0"/>
                    </a:moveTo>
                    <a:cubicBezTo>
                      <a:pt x="36" y="36"/>
                      <a:pt x="36" y="36"/>
                      <a:pt x="36" y="36"/>
                    </a:cubicBezTo>
                    <a:cubicBezTo>
                      <a:pt x="36" y="72"/>
                      <a:pt x="0" y="72"/>
                      <a:pt x="0" y="72"/>
                    </a:cubicBezTo>
                    <a:cubicBezTo>
                      <a:pt x="0" y="72"/>
                      <a:pt x="0" y="72"/>
                      <a:pt x="0" y="72"/>
                    </a:cubicBezTo>
                    <a:cubicBezTo>
                      <a:pt x="0" y="72"/>
                      <a:pt x="36" y="72"/>
                      <a:pt x="36" y="36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6" y="0"/>
                      <a:pt x="36" y="0"/>
                      <a:pt x="36" y="0"/>
                    </a:cubicBezTo>
                  </a:path>
                </a:pathLst>
              </a:custGeom>
              <a:solidFill>
                <a:srgbClr val="591C6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01"/>
              <p:cNvSpPr>
                <a:spLocks/>
              </p:cNvSpPr>
              <p:nvPr/>
            </p:nvSpPr>
            <p:spPr bwMode="auto">
              <a:xfrm>
                <a:off x="7009181" y="4624321"/>
                <a:ext cx="470086" cy="328644"/>
              </a:xfrm>
              <a:custGeom>
                <a:avLst/>
                <a:gdLst>
                  <a:gd name="T0" fmla="*/ 0 w 720"/>
                  <a:gd name="T1" fmla="*/ 0 h 504"/>
                  <a:gd name="T2" fmla="*/ 0 w 720"/>
                  <a:gd name="T3" fmla="*/ 468 h 504"/>
                  <a:gd name="T4" fmla="*/ 36 w 720"/>
                  <a:gd name="T5" fmla="*/ 504 h 504"/>
                  <a:gd name="T6" fmla="*/ 684 w 720"/>
                  <a:gd name="T7" fmla="*/ 504 h 504"/>
                  <a:gd name="T8" fmla="*/ 720 w 720"/>
                  <a:gd name="T9" fmla="*/ 468 h 504"/>
                  <a:gd name="T10" fmla="*/ 720 w 720"/>
                  <a:gd name="T11" fmla="*/ 432 h 504"/>
                  <a:gd name="T12" fmla="*/ 660 w 720"/>
                  <a:gd name="T13" fmla="*/ 396 h 504"/>
                  <a:gd name="T14" fmla="*/ 36 w 720"/>
                  <a:gd name="T15" fmla="*/ 396 h 504"/>
                  <a:gd name="T16" fmla="*/ 36 w 720"/>
                  <a:gd name="T17" fmla="*/ 22 h 504"/>
                  <a:gd name="T18" fmla="*/ 0 w 720"/>
                  <a:gd name="T19" fmla="*/ 0 h 5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0" h="504">
                    <a:moveTo>
                      <a:pt x="0" y="0"/>
                    </a:moveTo>
                    <a:cubicBezTo>
                      <a:pt x="0" y="468"/>
                      <a:pt x="0" y="468"/>
                      <a:pt x="0" y="468"/>
                    </a:cubicBezTo>
                    <a:cubicBezTo>
                      <a:pt x="0" y="468"/>
                      <a:pt x="0" y="504"/>
                      <a:pt x="36" y="504"/>
                    </a:cubicBezTo>
                    <a:cubicBezTo>
                      <a:pt x="684" y="504"/>
                      <a:pt x="684" y="504"/>
                      <a:pt x="684" y="504"/>
                    </a:cubicBezTo>
                    <a:cubicBezTo>
                      <a:pt x="684" y="504"/>
                      <a:pt x="720" y="504"/>
                      <a:pt x="720" y="468"/>
                    </a:cubicBezTo>
                    <a:cubicBezTo>
                      <a:pt x="720" y="432"/>
                      <a:pt x="720" y="432"/>
                      <a:pt x="720" y="432"/>
                    </a:cubicBezTo>
                    <a:cubicBezTo>
                      <a:pt x="660" y="396"/>
                      <a:pt x="660" y="396"/>
                      <a:pt x="660" y="396"/>
                    </a:cubicBezTo>
                    <a:cubicBezTo>
                      <a:pt x="36" y="396"/>
                      <a:pt x="36" y="396"/>
                      <a:pt x="36" y="396"/>
                    </a:cubicBezTo>
                    <a:cubicBezTo>
                      <a:pt x="36" y="22"/>
                      <a:pt x="36" y="22"/>
                      <a:pt x="36" y="22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D061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02"/>
              <p:cNvSpPr>
                <a:spLocks/>
              </p:cNvSpPr>
              <p:nvPr/>
            </p:nvSpPr>
            <p:spPr bwMode="auto">
              <a:xfrm>
                <a:off x="7032755" y="4638187"/>
                <a:ext cx="407685" cy="244056"/>
              </a:xfrm>
              <a:custGeom>
                <a:avLst/>
                <a:gdLst>
                  <a:gd name="T0" fmla="*/ 0 w 294"/>
                  <a:gd name="T1" fmla="*/ 0 h 176"/>
                  <a:gd name="T2" fmla="*/ 0 w 294"/>
                  <a:gd name="T3" fmla="*/ 176 h 176"/>
                  <a:gd name="T4" fmla="*/ 294 w 294"/>
                  <a:gd name="T5" fmla="*/ 176 h 176"/>
                  <a:gd name="T6" fmla="*/ 0 w 294"/>
                  <a:gd name="T7" fmla="*/ 0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4" h="176">
                    <a:moveTo>
                      <a:pt x="0" y="0"/>
                    </a:moveTo>
                    <a:lnTo>
                      <a:pt x="0" y="176"/>
                    </a:lnTo>
                    <a:lnTo>
                      <a:pt x="294" y="1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03"/>
              <p:cNvSpPr>
                <a:spLocks/>
              </p:cNvSpPr>
              <p:nvPr/>
            </p:nvSpPr>
            <p:spPr bwMode="auto">
              <a:xfrm>
                <a:off x="7032755" y="4638187"/>
                <a:ext cx="407685" cy="244056"/>
              </a:xfrm>
              <a:custGeom>
                <a:avLst/>
                <a:gdLst>
                  <a:gd name="T0" fmla="*/ 0 w 294"/>
                  <a:gd name="T1" fmla="*/ 0 h 176"/>
                  <a:gd name="T2" fmla="*/ 0 w 294"/>
                  <a:gd name="T3" fmla="*/ 176 h 176"/>
                  <a:gd name="T4" fmla="*/ 294 w 294"/>
                  <a:gd name="T5" fmla="*/ 176 h 176"/>
                  <a:gd name="T6" fmla="*/ 0 w 294"/>
                  <a:gd name="T7" fmla="*/ 0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4" h="176">
                    <a:moveTo>
                      <a:pt x="0" y="0"/>
                    </a:moveTo>
                    <a:lnTo>
                      <a:pt x="0" y="176"/>
                    </a:lnTo>
                    <a:lnTo>
                      <a:pt x="294" y="176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88" name="Group 87"/>
            <p:cNvGrpSpPr/>
            <p:nvPr/>
          </p:nvGrpSpPr>
          <p:grpSpPr>
            <a:xfrm>
              <a:off x="5922462" y="3715304"/>
              <a:ext cx="528267" cy="759774"/>
              <a:chOff x="6338973" y="4036243"/>
              <a:chExt cx="311509" cy="448024"/>
            </a:xfrm>
          </p:grpSpPr>
          <p:sp>
            <p:nvSpPr>
              <p:cNvPr id="107" name="Rectangle 26"/>
              <p:cNvSpPr>
                <a:spLocks noChangeArrowheads="1"/>
              </p:cNvSpPr>
              <p:nvPr/>
            </p:nvSpPr>
            <p:spPr bwMode="auto">
              <a:xfrm>
                <a:off x="6604672" y="4036243"/>
                <a:ext cx="45810" cy="448024"/>
              </a:xfrm>
              <a:prstGeom prst="rect">
                <a:avLst/>
              </a:prstGeom>
              <a:solidFill>
                <a:srgbClr val="3410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28"/>
              <p:cNvSpPr>
                <a:spLocks noChangeArrowheads="1"/>
              </p:cNvSpPr>
              <p:nvPr/>
            </p:nvSpPr>
            <p:spPr bwMode="auto">
              <a:xfrm>
                <a:off x="6538705" y="4369741"/>
                <a:ext cx="46726" cy="114526"/>
              </a:xfrm>
              <a:prstGeom prst="rect">
                <a:avLst/>
              </a:prstGeom>
              <a:solidFill>
                <a:srgbClr val="4E195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30"/>
              <p:cNvSpPr>
                <a:spLocks noChangeArrowheads="1"/>
              </p:cNvSpPr>
              <p:nvPr/>
            </p:nvSpPr>
            <p:spPr bwMode="auto">
              <a:xfrm>
                <a:off x="6471822" y="4174589"/>
                <a:ext cx="46726" cy="309677"/>
              </a:xfrm>
              <a:prstGeom prst="rect">
                <a:avLst/>
              </a:prstGeom>
              <a:solidFill>
                <a:srgbClr val="B957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32"/>
              <p:cNvSpPr>
                <a:spLocks noChangeArrowheads="1"/>
              </p:cNvSpPr>
              <p:nvPr/>
            </p:nvSpPr>
            <p:spPr bwMode="auto">
              <a:xfrm>
                <a:off x="6404023" y="4093963"/>
                <a:ext cx="47643" cy="390303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4"/>
              <p:cNvSpPr>
                <a:spLocks noChangeArrowheads="1"/>
              </p:cNvSpPr>
              <p:nvPr/>
            </p:nvSpPr>
            <p:spPr bwMode="auto">
              <a:xfrm>
                <a:off x="6338973" y="4241473"/>
                <a:ext cx="45810" cy="242794"/>
              </a:xfrm>
              <a:prstGeom prst="rect">
                <a:avLst/>
              </a:prstGeom>
              <a:solidFill>
                <a:srgbClr val="D08F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89" name="Group 88"/>
            <p:cNvGrpSpPr/>
            <p:nvPr/>
          </p:nvGrpSpPr>
          <p:grpSpPr>
            <a:xfrm>
              <a:off x="6780820" y="4606328"/>
              <a:ext cx="326143" cy="226346"/>
              <a:chOff x="9685336" y="5118101"/>
              <a:chExt cx="847725" cy="639762"/>
            </a:xfrm>
          </p:grpSpPr>
          <p:sp>
            <p:nvSpPr>
              <p:cNvPr id="90" name="Rectangle 11"/>
              <p:cNvSpPr>
                <a:spLocks noChangeArrowheads="1"/>
              </p:cNvSpPr>
              <p:nvPr/>
            </p:nvSpPr>
            <p:spPr bwMode="auto">
              <a:xfrm>
                <a:off x="9832974" y="5522913"/>
                <a:ext cx="177800" cy="26988"/>
              </a:xfrm>
              <a:prstGeom prst="rect">
                <a:avLst/>
              </a:prstGeom>
              <a:solidFill>
                <a:srgbClr val="0072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12"/>
              <p:cNvSpPr>
                <a:spLocks noChangeArrowheads="1"/>
              </p:cNvSpPr>
              <p:nvPr/>
            </p:nvSpPr>
            <p:spPr bwMode="auto">
              <a:xfrm>
                <a:off x="9788524" y="5522913"/>
                <a:ext cx="28575" cy="26988"/>
              </a:xfrm>
              <a:prstGeom prst="rect">
                <a:avLst/>
              </a:prstGeom>
              <a:solidFill>
                <a:srgbClr val="0072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13"/>
              <p:cNvSpPr>
                <a:spLocks noChangeArrowheads="1"/>
              </p:cNvSpPr>
              <p:nvPr/>
            </p:nvSpPr>
            <p:spPr bwMode="auto">
              <a:xfrm>
                <a:off x="9832974" y="5580063"/>
                <a:ext cx="192087" cy="26988"/>
              </a:xfrm>
              <a:prstGeom prst="rect">
                <a:avLst/>
              </a:prstGeom>
              <a:solidFill>
                <a:srgbClr val="0072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14"/>
              <p:cNvSpPr>
                <a:spLocks noChangeArrowheads="1"/>
              </p:cNvSpPr>
              <p:nvPr/>
            </p:nvSpPr>
            <p:spPr bwMode="auto">
              <a:xfrm>
                <a:off x="9788524" y="5580063"/>
                <a:ext cx="28575" cy="26988"/>
              </a:xfrm>
              <a:prstGeom prst="rect">
                <a:avLst/>
              </a:prstGeom>
              <a:solidFill>
                <a:srgbClr val="0072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15"/>
              <p:cNvSpPr>
                <a:spLocks noChangeArrowheads="1"/>
              </p:cNvSpPr>
              <p:nvPr/>
            </p:nvSpPr>
            <p:spPr bwMode="auto">
              <a:xfrm>
                <a:off x="9832974" y="5635626"/>
                <a:ext cx="141287" cy="26988"/>
              </a:xfrm>
              <a:prstGeom prst="rect">
                <a:avLst/>
              </a:prstGeom>
              <a:solidFill>
                <a:srgbClr val="0072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16"/>
              <p:cNvSpPr>
                <a:spLocks noChangeArrowheads="1"/>
              </p:cNvSpPr>
              <p:nvPr/>
            </p:nvSpPr>
            <p:spPr bwMode="auto">
              <a:xfrm>
                <a:off x="9788524" y="5635626"/>
                <a:ext cx="28575" cy="26988"/>
              </a:xfrm>
              <a:prstGeom prst="rect">
                <a:avLst/>
              </a:prstGeom>
              <a:solidFill>
                <a:srgbClr val="0072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17"/>
              <p:cNvSpPr>
                <a:spLocks noChangeArrowheads="1"/>
              </p:cNvSpPr>
              <p:nvPr/>
            </p:nvSpPr>
            <p:spPr bwMode="auto">
              <a:xfrm>
                <a:off x="9985374" y="5311776"/>
                <a:ext cx="36512" cy="150813"/>
              </a:xfrm>
              <a:prstGeom prst="rect">
                <a:avLst/>
              </a:prstGeom>
              <a:solidFill>
                <a:srgbClr val="3410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18"/>
              <p:cNvSpPr>
                <a:spLocks noChangeArrowheads="1"/>
              </p:cNvSpPr>
              <p:nvPr/>
            </p:nvSpPr>
            <p:spPr bwMode="auto">
              <a:xfrm>
                <a:off x="9936161" y="5422901"/>
                <a:ext cx="36512" cy="39688"/>
              </a:xfrm>
              <a:prstGeom prst="rect">
                <a:avLst/>
              </a:prstGeom>
              <a:solidFill>
                <a:srgbClr val="4E195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Rectangle 19"/>
              <p:cNvSpPr>
                <a:spLocks noChangeArrowheads="1"/>
              </p:cNvSpPr>
              <p:nvPr/>
            </p:nvSpPr>
            <p:spPr bwMode="auto">
              <a:xfrm>
                <a:off x="9888536" y="5357813"/>
                <a:ext cx="34925" cy="104775"/>
              </a:xfrm>
              <a:prstGeom prst="rect">
                <a:avLst/>
              </a:prstGeom>
              <a:solidFill>
                <a:srgbClr val="B957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Rectangle 20"/>
              <p:cNvSpPr>
                <a:spLocks noChangeArrowheads="1"/>
              </p:cNvSpPr>
              <p:nvPr/>
            </p:nvSpPr>
            <p:spPr bwMode="auto">
              <a:xfrm>
                <a:off x="9836149" y="5332413"/>
                <a:ext cx="33337" cy="130175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Rectangle 21"/>
              <p:cNvSpPr>
                <a:spLocks noChangeArrowheads="1"/>
              </p:cNvSpPr>
              <p:nvPr/>
            </p:nvSpPr>
            <p:spPr bwMode="auto">
              <a:xfrm>
                <a:off x="9785349" y="5380038"/>
                <a:ext cx="36512" cy="82550"/>
              </a:xfrm>
              <a:prstGeom prst="rect">
                <a:avLst/>
              </a:prstGeom>
              <a:solidFill>
                <a:srgbClr val="D08F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2"/>
              <p:cNvSpPr>
                <a:spLocks/>
              </p:cNvSpPr>
              <p:nvPr/>
            </p:nvSpPr>
            <p:spPr bwMode="auto">
              <a:xfrm>
                <a:off x="10106024" y="5372101"/>
                <a:ext cx="282575" cy="280988"/>
              </a:xfrm>
              <a:custGeom>
                <a:avLst/>
                <a:gdLst>
                  <a:gd name="T0" fmla="*/ 88 w 178"/>
                  <a:gd name="T1" fmla="*/ 0 h 177"/>
                  <a:gd name="T2" fmla="*/ 88 w 178"/>
                  <a:gd name="T3" fmla="*/ 0 h 177"/>
                  <a:gd name="T4" fmla="*/ 80 w 178"/>
                  <a:gd name="T5" fmla="*/ 0 h 177"/>
                  <a:gd name="T6" fmla="*/ 70 w 178"/>
                  <a:gd name="T7" fmla="*/ 1 h 177"/>
                  <a:gd name="T8" fmla="*/ 63 w 178"/>
                  <a:gd name="T9" fmla="*/ 4 h 177"/>
                  <a:gd name="T10" fmla="*/ 55 w 178"/>
                  <a:gd name="T11" fmla="*/ 7 h 177"/>
                  <a:gd name="T12" fmla="*/ 46 w 178"/>
                  <a:gd name="T13" fmla="*/ 11 h 177"/>
                  <a:gd name="T14" fmla="*/ 39 w 178"/>
                  <a:gd name="T15" fmla="*/ 14 h 177"/>
                  <a:gd name="T16" fmla="*/ 32 w 178"/>
                  <a:gd name="T17" fmla="*/ 21 h 177"/>
                  <a:gd name="T18" fmla="*/ 27 w 178"/>
                  <a:gd name="T19" fmla="*/ 25 h 177"/>
                  <a:gd name="T20" fmla="*/ 20 w 178"/>
                  <a:gd name="T21" fmla="*/ 32 h 177"/>
                  <a:gd name="T22" fmla="*/ 15 w 178"/>
                  <a:gd name="T23" fmla="*/ 39 h 177"/>
                  <a:gd name="T24" fmla="*/ 10 w 178"/>
                  <a:gd name="T25" fmla="*/ 47 h 177"/>
                  <a:gd name="T26" fmla="*/ 7 w 178"/>
                  <a:gd name="T27" fmla="*/ 54 h 177"/>
                  <a:gd name="T28" fmla="*/ 4 w 178"/>
                  <a:gd name="T29" fmla="*/ 61 h 177"/>
                  <a:gd name="T30" fmla="*/ 1 w 178"/>
                  <a:gd name="T31" fmla="*/ 71 h 177"/>
                  <a:gd name="T32" fmla="*/ 0 w 178"/>
                  <a:gd name="T33" fmla="*/ 80 h 177"/>
                  <a:gd name="T34" fmla="*/ 0 w 178"/>
                  <a:gd name="T35" fmla="*/ 89 h 177"/>
                  <a:gd name="T36" fmla="*/ 0 w 178"/>
                  <a:gd name="T37" fmla="*/ 98 h 177"/>
                  <a:gd name="T38" fmla="*/ 1 w 178"/>
                  <a:gd name="T39" fmla="*/ 106 h 177"/>
                  <a:gd name="T40" fmla="*/ 4 w 178"/>
                  <a:gd name="T41" fmla="*/ 116 h 177"/>
                  <a:gd name="T42" fmla="*/ 7 w 178"/>
                  <a:gd name="T43" fmla="*/ 123 h 177"/>
                  <a:gd name="T44" fmla="*/ 10 w 178"/>
                  <a:gd name="T45" fmla="*/ 131 h 177"/>
                  <a:gd name="T46" fmla="*/ 15 w 178"/>
                  <a:gd name="T47" fmla="*/ 138 h 177"/>
                  <a:gd name="T48" fmla="*/ 20 w 178"/>
                  <a:gd name="T49" fmla="*/ 145 h 177"/>
                  <a:gd name="T50" fmla="*/ 27 w 178"/>
                  <a:gd name="T51" fmla="*/ 152 h 177"/>
                  <a:gd name="T52" fmla="*/ 32 w 178"/>
                  <a:gd name="T53" fmla="*/ 158 h 177"/>
                  <a:gd name="T54" fmla="*/ 39 w 178"/>
                  <a:gd name="T55" fmla="*/ 163 h 177"/>
                  <a:gd name="T56" fmla="*/ 46 w 178"/>
                  <a:gd name="T57" fmla="*/ 166 h 177"/>
                  <a:gd name="T58" fmla="*/ 55 w 178"/>
                  <a:gd name="T59" fmla="*/ 170 h 177"/>
                  <a:gd name="T60" fmla="*/ 63 w 178"/>
                  <a:gd name="T61" fmla="*/ 173 h 177"/>
                  <a:gd name="T62" fmla="*/ 70 w 178"/>
                  <a:gd name="T63" fmla="*/ 176 h 177"/>
                  <a:gd name="T64" fmla="*/ 80 w 178"/>
                  <a:gd name="T65" fmla="*/ 177 h 177"/>
                  <a:gd name="T66" fmla="*/ 88 w 178"/>
                  <a:gd name="T67" fmla="*/ 177 h 177"/>
                  <a:gd name="T68" fmla="*/ 98 w 178"/>
                  <a:gd name="T69" fmla="*/ 177 h 177"/>
                  <a:gd name="T70" fmla="*/ 106 w 178"/>
                  <a:gd name="T71" fmla="*/ 176 h 177"/>
                  <a:gd name="T72" fmla="*/ 115 w 178"/>
                  <a:gd name="T73" fmla="*/ 173 h 177"/>
                  <a:gd name="T74" fmla="*/ 123 w 178"/>
                  <a:gd name="T75" fmla="*/ 170 h 177"/>
                  <a:gd name="T76" fmla="*/ 130 w 178"/>
                  <a:gd name="T77" fmla="*/ 166 h 177"/>
                  <a:gd name="T78" fmla="*/ 139 w 178"/>
                  <a:gd name="T79" fmla="*/ 163 h 177"/>
                  <a:gd name="T80" fmla="*/ 144 w 178"/>
                  <a:gd name="T81" fmla="*/ 158 h 177"/>
                  <a:gd name="T82" fmla="*/ 151 w 178"/>
                  <a:gd name="T83" fmla="*/ 152 h 177"/>
                  <a:gd name="T84" fmla="*/ 157 w 178"/>
                  <a:gd name="T85" fmla="*/ 147 h 177"/>
                  <a:gd name="T86" fmla="*/ 161 w 178"/>
                  <a:gd name="T87" fmla="*/ 140 h 177"/>
                  <a:gd name="T88" fmla="*/ 167 w 178"/>
                  <a:gd name="T89" fmla="*/ 133 h 177"/>
                  <a:gd name="T90" fmla="*/ 169 w 178"/>
                  <a:gd name="T91" fmla="*/ 124 h 177"/>
                  <a:gd name="T92" fmla="*/ 174 w 178"/>
                  <a:gd name="T93" fmla="*/ 116 h 177"/>
                  <a:gd name="T94" fmla="*/ 175 w 178"/>
                  <a:gd name="T95" fmla="*/ 109 h 177"/>
                  <a:gd name="T96" fmla="*/ 176 w 178"/>
                  <a:gd name="T97" fmla="*/ 100 h 177"/>
                  <a:gd name="T98" fmla="*/ 178 w 178"/>
                  <a:gd name="T99" fmla="*/ 91 h 177"/>
                  <a:gd name="T100" fmla="*/ 88 w 178"/>
                  <a:gd name="T101" fmla="*/ 91 h 177"/>
                  <a:gd name="T102" fmla="*/ 88 w 178"/>
                  <a:gd name="T103" fmla="*/ 0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78" h="177">
                    <a:moveTo>
                      <a:pt x="88" y="0"/>
                    </a:moveTo>
                    <a:lnTo>
                      <a:pt x="88" y="0"/>
                    </a:lnTo>
                    <a:lnTo>
                      <a:pt x="80" y="0"/>
                    </a:lnTo>
                    <a:lnTo>
                      <a:pt x="70" y="1"/>
                    </a:lnTo>
                    <a:lnTo>
                      <a:pt x="63" y="4"/>
                    </a:lnTo>
                    <a:lnTo>
                      <a:pt x="55" y="7"/>
                    </a:lnTo>
                    <a:lnTo>
                      <a:pt x="46" y="11"/>
                    </a:lnTo>
                    <a:lnTo>
                      <a:pt x="39" y="14"/>
                    </a:lnTo>
                    <a:lnTo>
                      <a:pt x="32" y="21"/>
                    </a:lnTo>
                    <a:lnTo>
                      <a:pt x="27" y="25"/>
                    </a:lnTo>
                    <a:lnTo>
                      <a:pt x="20" y="32"/>
                    </a:lnTo>
                    <a:lnTo>
                      <a:pt x="15" y="39"/>
                    </a:lnTo>
                    <a:lnTo>
                      <a:pt x="10" y="47"/>
                    </a:lnTo>
                    <a:lnTo>
                      <a:pt x="7" y="54"/>
                    </a:lnTo>
                    <a:lnTo>
                      <a:pt x="4" y="61"/>
                    </a:lnTo>
                    <a:lnTo>
                      <a:pt x="1" y="71"/>
                    </a:lnTo>
                    <a:lnTo>
                      <a:pt x="0" y="80"/>
                    </a:lnTo>
                    <a:lnTo>
                      <a:pt x="0" y="89"/>
                    </a:lnTo>
                    <a:lnTo>
                      <a:pt x="0" y="98"/>
                    </a:lnTo>
                    <a:lnTo>
                      <a:pt x="1" y="106"/>
                    </a:lnTo>
                    <a:lnTo>
                      <a:pt x="4" y="116"/>
                    </a:lnTo>
                    <a:lnTo>
                      <a:pt x="7" y="123"/>
                    </a:lnTo>
                    <a:lnTo>
                      <a:pt x="10" y="131"/>
                    </a:lnTo>
                    <a:lnTo>
                      <a:pt x="15" y="138"/>
                    </a:lnTo>
                    <a:lnTo>
                      <a:pt x="20" y="145"/>
                    </a:lnTo>
                    <a:lnTo>
                      <a:pt x="27" y="152"/>
                    </a:lnTo>
                    <a:lnTo>
                      <a:pt x="32" y="158"/>
                    </a:lnTo>
                    <a:lnTo>
                      <a:pt x="39" y="163"/>
                    </a:lnTo>
                    <a:lnTo>
                      <a:pt x="46" y="166"/>
                    </a:lnTo>
                    <a:lnTo>
                      <a:pt x="55" y="170"/>
                    </a:lnTo>
                    <a:lnTo>
                      <a:pt x="63" y="173"/>
                    </a:lnTo>
                    <a:lnTo>
                      <a:pt x="70" y="176"/>
                    </a:lnTo>
                    <a:lnTo>
                      <a:pt x="80" y="177"/>
                    </a:lnTo>
                    <a:lnTo>
                      <a:pt x="88" y="177"/>
                    </a:lnTo>
                    <a:lnTo>
                      <a:pt x="98" y="177"/>
                    </a:lnTo>
                    <a:lnTo>
                      <a:pt x="106" y="176"/>
                    </a:lnTo>
                    <a:lnTo>
                      <a:pt x="115" y="173"/>
                    </a:lnTo>
                    <a:lnTo>
                      <a:pt x="123" y="170"/>
                    </a:lnTo>
                    <a:lnTo>
                      <a:pt x="130" y="166"/>
                    </a:lnTo>
                    <a:lnTo>
                      <a:pt x="139" y="163"/>
                    </a:lnTo>
                    <a:lnTo>
                      <a:pt x="144" y="158"/>
                    </a:lnTo>
                    <a:lnTo>
                      <a:pt x="151" y="152"/>
                    </a:lnTo>
                    <a:lnTo>
                      <a:pt x="157" y="147"/>
                    </a:lnTo>
                    <a:lnTo>
                      <a:pt x="161" y="140"/>
                    </a:lnTo>
                    <a:lnTo>
                      <a:pt x="167" y="133"/>
                    </a:lnTo>
                    <a:lnTo>
                      <a:pt x="169" y="124"/>
                    </a:lnTo>
                    <a:lnTo>
                      <a:pt x="174" y="116"/>
                    </a:lnTo>
                    <a:lnTo>
                      <a:pt x="175" y="109"/>
                    </a:lnTo>
                    <a:lnTo>
                      <a:pt x="176" y="100"/>
                    </a:lnTo>
                    <a:lnTo>
                      <a:pt x="178" y="91"/>
                    </a:lnTo>
                    <a:lnTo>
                      <a:pt x="88" y="91"/>
                    </a:lnTo>
                    <a:lnTo>
                      <a:pt x="88" y="0"/>
                    </a:lnTo>
                    <a:close/>
                  </a:path>
                </a:pathLst>
              </a:custGeom>
              <a:solidFill>
                <a:srgbClr val="DC3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23"/>
              <p:cNvSpPr>
                <a:spLocks noChangeArrowheads="1"/>
              </p:cNvSpPr>
              <p:nvPr/>
            </p:nvSpPr>
            <p:spPr bwMode="auto">
              <a:xfrm>
                <a:off x="10410824" y="5154613"/>
                <a:ext cx="26987" cy="25400"/>
              </a:xfrm>
              <a:prstGeom prst="rect">
                <a:avLst/>
              </a:prstGeom>
              <a:solidFill>
                <a:srgbClr val="00827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4"/>
              <p:cNvSpPr>
                <a:spLocks noEditPoints="1"/>
              </p:cNvSpPr>
              <p:nvPr/>
            </p:nvSpPr>
            <p:spPr bwMode="auto">
              <a:xfrm>
                <a:off x="9688510" y="5118101"/>
                <a:ext cx="844551" cy="84139"/>
              </a:xfrm>
              <a:custGeom>
                <a:avLst/>
                <a:gdLst>
                  <a:gd name="T0" fmla="*/ 0 w 532"/>
                  <a:gd name="T1" fmla="*/ 0 h 53"/>
                  <a:gd name="T2" fmla="*/ 0 w 532"/>
                  <a:gd name="T3" fmla="*/ 53 h 53"/>
                  <a:gd name="T4" fmla="*/ 532 w 532"/>
                  <a:gd name="T5" fmla="*/ 53 h 53"/>
                  <a:gd name="T6" fmla="*/ 532 w 532"/>
                  <a:gd name="T7" fmla="*/ 0 h 53"/>
                  <a:gd name="T8" fmla="*/ 0 w 532"/>
                  <a:gd name="T9" fmla="*/ 0 h 53"/>
                  <a:gd name="T10" fmla="*/ 434 w 532"/>
                  <a:gd name="T11" fmla="*/ 45 h 53"/>
                  <a:gd name="T12" fmla="*/ 402 w 532"/>
                  <a:gd name="T13" fmla="*/ 45 h 53"/>
                  <a:gd name="T14" fmla="*/ 402 w 532"/>
                  <a:gd name="T15" fmla="*/ 37 h 53"/>
                  <a:gd name="T16" fmla="*/ 434 w 532"/>
                  <a:gd name="T17" fmla="*/ 37 h 53"/>
                  <a:gd name="T18" fmla="*/ 434 w 532"/>
                  <a:gd name="T19" fmla="*/ 45 h 53"/>
                  <a:gd name="T20" fmla="*/ 477 w 532"/>
                  <a:gd name="T21" fmla="*/ 45 h 53"/>
                  <a:gd name="T22" fmla="*/ 449 w 532"/>
                  <a:gd name="T23" fmla="*/ 45 h 53"/>
                  <a:gd name="T24" fmla="*/ 449 w 532"/>
                  <a:gd name="T25" fmla="*/ 16 h 53"/>
                  <a:gd name="T26" fmla="*/ 477 w 532"/>
                  <a:gd name="T27" fmla="*/ 16 h 53"/>
                  <a:gd name="T28" fmla="*/ 477 w 532"/>
                  <a:gd name="T29" fmla="*/ 45 h 53"/>
                  <a:gd name="T30" fmla="*/ 521 w 532"/>
                  <a:gd name="T31" fmla="*/ 39 h 53"/>
                  <a:gd name="T32" fmla="*/ 515 w 532"/>
                  <a:gd name="T33" fmla="*/ 45 h 53"/>
                  <a:gd name="T34" fmla="*/ 507 w 532"/>
                  <a:gd name="T35" fmla="*/ 38 h 53"/>
                  <a:gd name="T36" fmla="*/ 498 w 532"/>
                  <a:gd name="T37" fmla="*/ 45 h 53"/>
                  <a:gd name="T38" fmla="*/ 493 w 532"/>
                  <a:gd name="T39" fmla="*/ 39 h 53"/>
                  <a:gd name="T40" fmla="*/ 500 w 532"/>
                  <a:gd name="T41" fmla="*/ 31 h 53"/>
                  <a:gd name="T42" fmla="*/ 493 w 532"/>
                  <a:gd name="T43" fmla="*/ 23 h 53"/>
                  <a:gd name="T44" fmla="*/ 498 w 532"/>
                  <a:gd name="T45" fmla="*/ 16 h 53"/>
                  <a:gd name="T46" fmla="*/ 507 w 532"/>
                  <a:gd name="T47" fmla="*/ 24 h 53"/>
                  <a:gd name="T48" fmla="*/ 515 w 532"/>
                  <a:gd name="T49" fmla="*/ 16 h 53"/>
                  <a:gd name="T50" fmla="*/ 521 w 532"/>
                  <a:gd name="T51" fmla="*/ 23 h 53"/>
                  <a:gd name="T52" fmla="*/ 512 w 532"/>
                  <a:gd name="T53" fmla="*/ 31 h 53"/>
                  <a:gd name="T54" fmla="*/ 521 w 532"/>
                  <a:gd name="T55" fmla="*/ 39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532" h="53">
                    <a:moveTo>
                      <a:pt x="0" y="0"/>
                    </a:moveTo>
                    <a:lnTo>
                      <a:pt x="0" y="53"/>
                    </a:lnTo>
                    <a:lnTo>
                      <a:pt x="532" y="53"/>
                    </a:lnTo>
                    <a:lnTo>
                      <a:pt x="532" y="0"/>
                    </a:lnTo>
                    <a:lnTo>
                      <a:pt x="0" y="0"/>
                    </a:lnTo>
                    <a:close/>
                    <a:moveTo>
                      <a:pt x="434" y="45"/>
                    </a:moveTo>
                    <a:lnTo>
                      <a:pt x="402" y="45"/>
                    </a:lnTo>
                    <a:lnTo>
                      <a:pt x="402" y="37"/>
                    </a:lnTo>
                    <a:lnTo>
                      <a:pt x="434" y="37"/>
                    </a:lnTo>
                    <a:lnTo>
                      <a:pt x="434" y="45"/>
                    </a:lnTo>
                    <a:close/>
                    <a:moveTo>
                      <a:pt x="477" y="45"/>
                    </a:moveTo>
                    <a:lnTo>
                      <a:pt x="449" y="45"/>
                    </a:lnTo>
                    <a:lnTo>
                      <a:pt x="449" y="16"/>
                    </a:lnTo>
                    <a:lnTo>
                      <a:pt x="477" y="16"/>
                    </a:lnTo>
                    <a:lnTo>
                      <a:pt x="477" y="45"/>
                    </a:lnTo>
                    <a:close/>
                    <a:moveTo>
                      <a:pt x="521" y="39"/>
                    </a:moveTo>
                    <a:lnTo>
                      <a:pt x="515" y="45"/>
                    </a:lnTo>
                    <a:lnTo>
                      <a:pt x="507" y="38"/>
                    </a:lnTo>
                    <a:lnTo>
                      <a:pt x="498" y="45"/>
                    </a:lnTo>
                    <a:lnTo>
                      <a:pt x="493" y="39"/>
                    </a:lnTo>
                    <a:lnTo>
                      <a:pt x="500" y="31"/>
                    </a:lnTo>
                    <a:lnTo>
                      <a:pt x="493" y="23"/>
                    </a:lnTo>
                    <a:lnTo>
                      <a:pt x="498" y="16"/>
                    </a:lnTo>
                    <a:lnTo>
                      <a:pt x="507" y="24"/>
                    </a:lnTo>
                    <a:lnTo>
                      <a:pt x="515" y="16"/>
                    </a:lnTo>
                    <a:lnTo>
                      <a:pt x="521" y="23"/>
                    </a:lnTo>
                    <a:lnTo>
                      <a:pt x="512" y="31"/>
                    </a:lnTo>
                    <a:lnTo>
                      <a:pt x="521" y="39"/>
                    </a:lnTo>
                    <a:close/>
                  </a:path>
                </a:pathLst>
              </a:custGeom>
              <a:solidFill>
                <a:srgbClr val="00827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5"/>
              <p:cNvSpPr>
                <a:spLocks noEditPoints="1"/>
              </p:cNvSpPr>
              <p:nvPr/>
            </p:nvSpPr>
            <p:spPr bwMode="auto">
              <a:xfrm>
                <a:off x="9685336" y="5221287"/>
                <a:ext cx="842962" cy="536576"/>
              </a:xfrm>
              <a:custGeom>
                <a:avLst/>
                <a:gdLst>
                  <a:gd name="T0" fmla="*/ 0 w 531"/>
                  <a:gd name="T1" fmla="*/ 0 h 338"/>
                  <a:gd name="T2" fmla="*/ 0 w 531"/>
                  <a:gd name="T3" fmla="*/ 338 h 338"/>
                  <a:gd name="T4" fmla="*/ 531 w 531"/>
                  <a:gd name="T5" fmla="*/ 338 h 338"/>
                  <a:gd name="T6" fmla="*/ 531 w 531"/>
                  <a:gd name="T7" fmla="*/ 0 h 338"/>
                  <a:gd name="T8" fmla="*/ 0 w 531"/>
                  <a:gd name="T9" fmla="*/ 0 h 338"/>
                  <a:gd name="T10" fmla="*/ 506 w 531"/>
                  <a:gd name="T11" fmla="*/ 313 h 338"/>
                  <a:gd name="T12" fmla="*/ 27 w 531"/>
                  <a:gd name="T13" fmla="*/ 313 h 338"/>
                  <a:gd name="T14" fmla="*/ 27 w 531"/>
                  <a:gd name="T15" fmla="*/ 26 h 338"/>
                  <a:gd name="T16" fmla="*/ 506 w 531"/>
                  <a:gd name="T17" fmla="*/ 26 h 338"/>
                  <a:gd name="T18" fmla="*/ 506 w 531"/>
                  <a:gd name="T19" fmla="*/ 313 h 3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31" h="338">
                    <a:moveTo>
                      <a:pt x="0" y="0"/>
                    </a:moveTo>
                    <a:lnTo>
                      <a:pt x="0" y="338"/>
                    </a:lnTo>
                    <a:lnTo>
                      <a:pt x="531" y="338"/>
                    </a:lnTo>
                    <a:lnTo>
                      <a:pt x="531" y="0"/>
                    </a:lnTo>
                    <a:lnTo>
                      <a:pt x="0" y="0"/>
                    </a:lnTo>
                    <a:close/>
                    <a:moveTo>
                      <a:pt x="506" y="313"/>
                    </a:moveTo>
                    <a:lnTo>
                      <a:pt x="27" y="313"/>
                    </a:lnTo>
                    <a:lnTo>
                      <a:pt x="27" y="26"/>
                    </a:lnTo>
                    <a:lnTo>
                      <a:pt x="506" y="26"/>
                    </a:lnTo>
                    <a:lnTo>
                      <a:pt x="506" y="313"/>
                    </a:lnTo>
                    <a:close/>
                  </a:path>
                </a:pathLst>
              </a:custGeom>
              <a:solidFill>
                <a:srgbClr val="00827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64"/>
              <p:cNvSpPr>
                <a:spLocks/>
              </p:cNvSpPr>
              <p:nvPr/>
            </p:nvSpPr>
            <p:spPr bwMode="auto">
              <a:xfrm>
                <a:off x="10272711" y="5345113"/>
                <a:ext cx="142875" cy="144463"/>
              </a:xfrm>
              <a:custGeom>
                <a:avLst/>
                <a:gdLst>
                  <a:gd name="T0" fmla="*/ 0 w 90"/>
                  <a:gd name="T1" fmla="*/ 0 h 91"/>
                  <a:gd name="T2" fmla="*/ 0 w 90"/>
                  <a:gd name="T3" fmla="*/ 91 h 91"/>
                  <a:gd name="T4" fmla="*/ 90 w 90"/>
                  <a:gd name="T5" fmla="*/ 91 h 91"/>
                  <a:gd name="T6" fmla="*/ 90 w 90"/>
                  <a:gd name="T7" fmla="*/ 90 h 91"/>
                  <a:gd name="T8" fmla="*/ 88 w 90"/>
                  <a:gd name="T9" fmla="*/ 80 h 91"/>
                  <a:gd name="T10" fmla="*/ 87 w 90"/>
                  <a:gd name="T11" fmla="*/ 71 h 91"/>
                  <a:gd name="T12" fmla="*/ 85 w 90"/>
                  <a:gd name="T13" fmla="*/ 63 h 91"/>
                  <a:gd name="T14" fmla="*/ 83 w 90"/>
                  <a:gd name="T15" fmla="*/ 55 h 91"/>
                  <a:gd name="T16" fmla="*/ 78 w 90"/>
                  <a:gd name="T17" fmla="*/ 46 h 91"/>
                  <a:gd name="T18" fmla="*/ 74 w 90"/>
                  <a:gd name="T19" fmla="*/ 39 h 91"/>
                  <a:gd name="T20" fmla="*/ 70 w 90"/>
                  <a:gd name="T21" fmla="*/ 32 h 91"/>
                  <a:gd name="T22" fmla="*/ 63 w 90"/>
                  <a:gd name="T23" fmla="*/ 25 h 91"/>
                  <a:gd name="T24" fmla="*/ 57 w 90"/>
                  <a:gd name="T25" fmla="*/ 21 h 91"/>
                  <a:gd name="T26" fmla="*/ 50 w 90"/>
                  <a:gd name="T27" fmla="*/ 15 h 91"/>
                  <a:gd name="T28" fmla="*/ 43 w 90"/>
                  <a:gd name="T29" fmla="*/ 10 h 91"/>
                  <a:gd name="T30" fmla="*/ 35 w 90"/>
                  <a:gd name="T31" fmla="*/ 7 h 91"/>
                  <a:gd name="T32" fmla="*/ 27 w 90"/>
                  <a:gd name="T33" fmla="*/ 4 h 91"/>
                  <a:gd name="T34" fmla="*/ 18 w 90"/>
                  <a:gd name="T35" fmla="*/ 1 h 91"/>
                  <a:gd name="T36" fmla="*/ 10 w 90"/>
                  <a:gd name="T37" fmla="*/ 0 h 91"/>
                  <a:gd name="T38" fmla="*/ 0 w 90"/>
                  <a:gd name="T39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90" h="91">
                    <a:moveTo>
                      <a:pt x="0" y="0"/>
                    </a:moveTo>
                    <a:lnTo>
                      <a:pt x="0" y="91"/>
                    </a:lnTo>
                    <a:lnTo>
                      <a:pt x="90" y="91"/>
                    </a:lnTo>
                    <a:lnTo>
                      <a:pt x="90" y="90"/>
                    </a:lnTo>
                    <a:lnTo>
                      <a:pt x="88" y="80"/>
                    </a:lnTo>
                    <a:lnTo>
                      <a:pt x="87" y="71"/>
                    </a:lnTo>
                    <a:lnTo>
                      <a:pt x="85" y="63"/>
                    </a:lnTo>
                    <a:lnTo>
                      <a:pt x="83" y="55"/>
                    </a:lnTo>
                    <a:lnTo>
                      <a:pt x="78" y="46"/>
                    </a:lnTo>
                    <a:lnTo>
                      <a:pt x="74" y="39"/>
                    </a:lnTo>
                    <a:lnTo>
                      <a:pt x="70" y="32"/>
                    </a:lnTo>
                    <a:lnTo>
                      <a:pt x="63" y="25"/>
                    </a:lnTo>
                    <a:lnTo>
                      <a:pt x="57" y="21"/>
                    </a:lnTo>
                    <a:lnTo>
                      <a:pt x="50" y="15"/>
                    </a:lnTo>
                    <a:lnTo>
                      <a:pt x="43" y="10"/>
                    </a:lnTo>
                    <a:lnTo>
                      <a:pt x="35" y="7"/>
                    </a:lnTo>
                    <a:lnTo>
                      <a:pt x="27" y="4"/>
                    </a:lnTo>
                    <a:lnTo>
                      <a:pt x="18" y="1"/>
                    </a:lnTo>
                    <a:lnTo>
                      <a:pt x="1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65"/>
              <p:cNvSpPr>
                <a:spLocks/>
              </p:cNvSpPr>
              <p:nvPr/>
            </p:nvSpPr>
            <p:spPr bwMode="auto">
              <a:xfrm>
                <a:off x="10272711" y="5345113"/>
                <a:ext cx="142875" cy="144463"/>
              </a:xfrm>
              <a:custGeom>
                <a:avLst/>
                <a:gdLst>
                  <a:gd name="T0" fmla="*/ 0 w 90"/>
                  <a:gd name="T1" fmla="*/ 0 h 91"/>
                  <a:gd name="T2" fmla="*/ 0 w 90"/>
                  <a:gd name="T3" fmla="*/ 91 h 91"/>
                  <a:gd name="T4" fmla="*/ 90 w 90"/>
                  <a:gd name="T5" fmla="*/ 91 h 91"/>
                  <a:gd name="T6" fmla="*/ 90 w 90"/>
                  <a:gd name="T7" fmla="*/ 90 h 91"/>
                  <a:gd name="T8" fmla="*/ 88 w 90"/>
                  <a:gd name="T9" fmla="*/ 80 h 91"/>
                  <a:gd name="T10" fmla="*/ 87 w 90"/>
                  <a:gd name="T11" fmla="*/ 71 h 91"/>
                  <a:gd name="T12" fmla="*/ 85 w 90"/>
                  <a:gd name="T13" fmla="*/ 63 h 91"/>
                  <a:gd name="T14" fmla="*/ 83 w 90"/>
                  <a:gd name="T15" fmla="*/ 55 h 91"/>
                  <a:gd name="T16" fmla="*/ 78 w 90"/>
                  <a:gd name="T17" fmla="*/ 46 h 91"/>
                  <a:gd name="T18" fmla="*/ 74 w 90"/>
                  <a:gd name="T19" fmla="*/ 39 h 91"/>
                  <a:gd name="T20" fmla="*/ 70 w 90"/>
                  <a:gd name="T21" fmla="*/ 32 h 91"/>
                  <a:gd name="T22" fmla="*/ 63 w 90"/>
                  <a:gd name="T23" fmla="*/ 25 h 91"/>
                  <a:gd name="T24" fmla="*/ 57 w 90"/>
                  <a:gd name="T25" fmla="*/ 21 h 91"/>
                  <a:gd name="T26" fmla="*/ 50 w 90"/>
                  <a:gd name="T27" fmla="*/ 15 h 91"/>
                  <a:gd name="T28" fmla="*/ 43 w 90"/>
                  <a:gd name="T29" fmla="*/ 10 h 91"/>
                  <a:gd name="T30" fmla="*/ 35 w 90"/>
                  <a:gd name="T31" fmla="*/ 7 h 91"/>
                  <a:gd name="T32" fmla="*/ 27 w 90"/>
                  <a:gd name="T33" fmla="*/ 4 h 91"/>
                  <a:gd name="T34" fmla="*/ 18 w 90"/>
                  <a:gd name="T35" fmla="*/ 1 h 91"/>
                  <a:gd name="T36" fmla="*/ 10 w 90"/>
                  <a:gd name="T37" fmla="*/ 0 h 91"/>
                  <a:gd name="T38" fmla="*/ 0 w 90"/>
                  <a:gd name="T39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90" h="91">
                    <a:moveTo>
                      <a:pt x="0" y="0"/>
                    </a:moveTo>
                    <a:lnTo>
                      <a:pt x="0" y="91"/>
                    </a:lnTo>
                    <a:lnTo>
                      <a:pt x="90" y="91"/>
                    </a:lnTo>
                    <a:lnTo>
                      <a:pt x="90" y="90"/>
                    </a:lnTo>
                    <a:lnTo>
                      <a:pt x="88" y="80"/>
                    </a:lnTo>
                    <a:lnTo>
                      <a:pt x="87" y="71"/>
                    </a:lnTo>
                    <a:lnTo>
                      <a:pt x="85" y="63"/>
                    </a:lnTo>
                    <a:lnTo>
                      <a:pt x="83" y="55"/>
                    </a:lnTo>
                    <a:lnTo>
                      <a:pt x="78" y="46"/>
                    </a:lnTo>
                    <a:lnTo>
                      <a:pt x="74" y="39"/>
                    </a:lnTo>
                    <a:lnTo>
                      <a:pt x="70" y="32"/>
                    </a:lnTo>
                    <a:lnTo>
                      <a:pt x="63" y="25"/>
                    </a:lnTo>
                    <a:lnTo>
                      <a:pt x="57" y="21"/>
                    </a:lnTo>
                    <a:lnTo>
                      <a:pt x="50" y="15"/>
                    </a:lnTo>
                    <a:lnTo>
                      <a:pt x="43" y="10"/>
                    </a:lnTo>
                    <a:lnTo>
                      <a:pt x="35" y="7"/>
                    </a:lnTo>
                    <a:lnTo>
                      <a:pt x="27" y="4"/>
                    </a:lnTo>
                    <a:lnTo>
                      <a:pt x="18" y="1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62" name="Group 161"/>
          <p:cNvGrpSpPr/>
          <p:nvPr/>
        </p:nvGrpSpPr>
        <p:grpSpPr>
          <a:xfrm>
            <a:off x="2702400" y="589202"/>
            <a:ext cx="733424" cy="2032000"/>
            <a:chOff x="2702400" y="589202"/>
            <a:chExt cx="733424" cy="2032000"/>
          </a:xfrm>
        </p:grpSpPr>
        <p:sp>
          <p:nvSpPr>
            <p:cNvPr id="131" name="Freeform 34"/>
            <p:cNvSpPr>
              <a:spLocks/>
            </p:cNvSpPr>
            <p:nvPr/>
          </p:nvSpPr>
          <p:spPr bwMode="auto">
            <a:xfrm>
              <a:off x="2989737" y="940039"/>
              <a:ext cx="157162" cy="166688"/>
            </a:xfrm>
            <a:custGeom>
              <a:avLst/>
              <a:gdLst>
                <a:gd name="T0" fmla="*/ 0 w 99"/>
                <a:gd name="T1" fmla="*/ 9 h 105"/>
                <a:gd name="T2" fmla="*/ 10 w 99"/>
                <a:gd name="T3" fmla="*/ 0 h 105"/>
                <a:gd name="T4" fmla="*/ 90 w 99"/>
                <a:gd name="T5" fmla="*/ 0 h 105"/>
                <a:gd name="T6" fmla="*/ 99 w 99"/>
                <a:gd name="T7" fmla="*/ 9 h 105"/>
                <a:gd name="T8" fmla="*/ 74 w 99"/>
                <a:gd name="T9" fmla="*/ 98 h 105"/>
                <a:gd name="T10" fmla="*/ 36 w 99"/>
                <a:gd name="T11" fmla="*/ 105 h 105"/>
                <a:gd name="T12" fmla="*/ 6 w 99"/>
                <a:gd name="T13" fmla="*/ 63 h 105"/>
                <a:gd name="T14" fmla="*/ 0 w 99"/>
                <a:gd name="T15" fmla="*/ 9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9" h="105">
                  <a:moveTo>
                    <a:pt x="0" y="9"/>
                  </a:moveTo>
                  <a:lnTo>
                    <a:pt x="10" y="0"/>
                  </a:lnTo>
                  <a:lnTo>
                    <a:pt x="90" y="0"/>
                  </a:lnTo>
                  <a:lnTo>
                    <a:pt x="99" y="9"/>
                  </a:lnTo>
                  <a:lnTo>
                    <a:pt x="74" y="98"/>
                  </a:lnTo>
                  <a:lnTo>
                    <a:pt x="36" y="105"/>
                  </a:lnTo>
                  <a:lnTo>
                    <a:pt x="6" y="63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96"/>
            <p:cNvSpPr>
              <a:spLocks/>
            </p:cNvSpPr>
            <p:nvPr/>
          </p:nvSpPr>
          <p:spPr bwMode="auto">
            <a:xfrm>
              <a:off x="2899250" y="2541827"/>
              <a:ext cx="160337" cy="79375"/>
            </a:xfrm>
            <a:custGeom>
              <a:avLst/>
              <a:gdLst>
                <a:gd name="T0" fmla="*/ 41 w 83"/>
                <a:gd name="T1" fmla="*/ 0 h 41"/>
                <a:gd name="T2" fmla="*/ 0 w 83"/>
                <a:gd name="T3" fmla="*/ 41 h 41"/>
                <a:gd name="T4" fmla="*/ 83 w 83"/>
                <a:gd name="T5" fmla="*/ 41 h 41"/>
                <a:gd name="T6" fmla="*/ 41 w 83"/>
                <a:gd name="T7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3" h="41">
                  <a:moveTo>
                    <a:pt x="41" y="0"/>
                  </a:moveTo>
                  <a:cubicBezTo>
                    <a:pt x="18" y="0"/>
                    <a:pt x="0" y="19"/>
                    <a:pt x="0" y="41"/>
                  </a:cubicBezTo>
                  <a:cubicBezTo>
                    <a:pt x="83" y="41"/>
                    <a:pt x="83" y="41"/>
                    <a:pt x="83" y="41"/>
                  </a:cubicBezTo>
                  <a:cubicBezTo>
                    <a:pt x="83" y="19"/>
                    <a:pt x="64" y="0"/>
                    <a:pt x="41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97"/>
            <p:cNvSpPr>
              <a:spLocks/>
            </p:cNvSpPr>
            <p:nvPr/>
          </p:nvSpPr>
          <p:spPr bwMode="auto">
            <a:xfrm>
              <a:off x="2878612" y="1689339"/>
              <a:ext cx="201612" cy="868363"/>
            </a:xfrm>
            <a:custGeom>
              <a:avLst/>
              <a:gdLst>
                <a:gd name="T0" fmla="*/ 98 w 127"/>
                <a:gd name="T1" fmla="*/ 547 h 547"/>
                <a:gd name="T2" fmla="*/ 23 w 127"/>
                <a:gd name="T3" fmla="*/ 547 h 547"/>
                <a:gd name="T4" fmla="*/ 0 w 127"/>
                <a:gd name="T5" fmla="*/ 0 h 547"/>
                <a:gd name="T6" fmla="*/ 127 w 127"/>
                <a:gd name="T7" fmla="*/ 0 h 547"/>
                <a:gd name="T8" fmla="*/ 98 w 127"/>
                <a:gd name="T9" fmla="*/ 547 h 5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547">
                  <a:moveTo>
                    <a:pt x="98" y="547"/>
                  </a:moveTo>
                  <a:lnTo>
                    <a:pt x="23" y="547"/>
                  </a:lnTo>
                  <a:lnTo>
                    <a:pt x="0" y="0"/>
                  </a:lnTo>
                  <a:lnTo>
                    <a:pt x="127" y="0"/>
                  </a:lnTo>
                  <a:lnTo>
                    <a:pt x="98" y="54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98"/>
            <p:cNvSpPr>
              <a:spLocks/>
            </p:cNvSpPr>
            <p:nvPr/>
          </p:nvSpPr>
          <p:spPr bwMode="auto">
            <a:xfrm>
              <a:off x="3054825" y="1689339"/>
              <a:ext cx="203200" cy="868363"/>
            </a:xfrm>
            <a:custGeom>
              <a:avLst/>
              <a:gdLst>
                <a:gd name="T0" fmla="*/ 103 w 128"/>
                <a:gd name="T1" fmla="*/ 547 h 547"/>
                <a:gd name="T2" fmla="*/ 28 w 128"/>
                <a:gd name="T3" fmla="*/ 547 h 547"/>
                <a:gd name="T4" fmla="*/ 0 w 128"/>
                <a:gd name="T5" fmla="*/ 0 h 547"/>
                <a:gd name="T6" fmla="*/ 128 w 128"/>
                <a:gd name="T7" fmla="*/ 0 h 547"/>
                <a:gd name="T8" fmla="*/ 103 w 128"/>
                <a:gd name="T9" fmla="*/ 547 h 5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547">
                  <a:moveTo>
                    <a:pt x="103" y="547"/>
                  </a:moveTo>
                  <a:lnTo>
                    <a:pt x="28" y="547"/>
                  </a:lnTo>
                  <a:lnTo>
                    <a:pt x="0" y="0"/>
                  </a:lnTo>
                  <a:lnTo>
                    <a:pt x="128" y="0"/>
                  </a:lnTo>
                  <a:lnTo>
                    <a:pt x="103" y="54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99"/>
            <p:cNvSpPr>
              <a:spLocks/>
            </p:cNvSpPr>
            <p:nvPr/>
          </p:nvSpPr>
          <p:spPr bwMode="auto">
            <a:xfrm>
              <a:off x="3083400" y="2541827"/>
              <a:ext cx="160337" cy="79375"/>
            </a:xfrm>
            <a:custGeom>
              <a:avLst/>
              <a:gdLst>
                <a:gd name="T0" fmla="*/ 41 w 83"/>
                <a:gd name="T1" fmla="*/ 0 h 41"/>
                <a:gd name="T2" fmla="*/ 0 w 83"/>
                <a:gd name="T3" fmla="*/ 41 h 41"/>
                <a:gd name="T4" fmla="*/ 83 w 83"/>
                <a:gd name="T5" fmla="*/ 41 h 41"/>
                <a:gd name="T6" fmla="*/ 41 w 83"/>
                <a:gd name="T7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3" h="41">
                  <a:moveTo>
                    <a:pt x="41" y="0"/>
                  </a:moveTo>
                  <a:cubicBezTo>
                    <a:pt x="18" y="0"/>
                    <a:pt x="0" y="19"/>
                    <a:pt x="0" y="41"/>
                  </a:cubicBezTo>
                  <a:cubicBezTo>
                    <a:pt x="83" y="41"/>
                    <a:pt x="83" y="41"/>
                    <a:pt x="83" y="41"/>
                  </a:cubicBezTo>
                  <a:cubicBezTo>
                    <a:pt x="83" y="19"/>
                    <a:pt x="64" y="0"/>
                    <a:pt x="41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100"/>
            <p:cNvSpPr>
              <a:spLocks/>
            </p:cNvSpPr>
            <p:nvPr/>
          </p:nvSpPr>
          <p:spPr bwMode="auto">
            <a:xfrm>
              <a:off x="2973862" y="959089"/>
              <a:ext cx="196850" cy="527050"/>
            </a:xfrm>
            <a:custGeom>
              <a:avLst/>
              <a:gdLst>
                <a:gd name="T0" fmla="*/ 124 w 124"/>
                <a:gd name="T1" fmla="*/ 69 h 332"/>
                <a:gd name="T2" fmla="*/ 62 w 124"/>
                <a:gd name="T3" fmla="*/ 0 h 332"/>
                <a:gd name="T4" fmla="*/ 0 w 124"/>
                <a:gd name="T5" fmla="*/ 64 h 332"/>
                <a:gd name="T6" fmla="*/ 46 w 124"/>
                <a:gd name="T7" fmla="*/ 308 h 332"/>
                <a:gd name="T8" fmla="*/ 60 w 124"/>
                <a:gd name="T9" fmla="*/ 332 h 332"/>
                <a:gd name="T10" fmla="*/ 73 w 124"/>
                <a:gd name="T11" fmla="*/ 308 h 332"/>
                <a:gd name="T12" fmla="*/ 124 w 124"/>
                <a:gd name="T13" fmla="*/ 6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332">
                  <a:moveTo>
                    <a:pt x="124" y="69"/>
                  </a:moveTo>
                  <a:lnTo>
                    <a:pt x="62" y="0"/>
                  </a:lnTo>
                  <a:lnTo>
                    <a:pt x="0" y="64"/>
                  </a:lnTo>
                  <a:lnTo>
                    <a:pt x="46" y="308"/>
                  </a:lnTo>
                  <a:lnTo>
                    <a:pt x="60" y="332"/>
                  </a:lnTo>
                  <a:lnTo>
                    <a:pt x="73" y="308"/>
                  </a:lnTo>
                  <a:lnTo>
                    <a:pt x="124" y="69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101"/>
            <p:cNvSpPr>
              <a:spLocks/>
            </p:cNvSpPr>
            <p:nvPr/>
          </p:nvSpPr>
          <p:spPr bwMode="auto">
            <a:xfrm>
              <a:off x="2954812" y="600314"/>
              <a:ext cx="246062" cy="312738"/>
            </a:xfrm>
            <a:custGeom>
              <a:avLst/>
              <a:gdLst>
                <a:gd name="T0" fmla="*/ 114 w 128"/>
                <a:gd name="T1" fmla="*/ 98 h 162"/>
                <a:gd name="T2" fmla="*/ 46 w 128"/>
                <a:gd name="T3" fmla="*/ 151 h 162"/>
                <a:gd name="T4" fmla="*/ 13 w 128"/>
                <a:gd name="T5" fmla="*/ 65 h 162"/>
                <a:gd name="T6" fmla="*/ 96 w 128"/>
                <a:gd name="T7" fmla="*/ 10 h 162"/>
                <a:gd name="T8" fmla="*/ 114 w 128"/>
                <a:gd name="T9" fmla="*/ 98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162">
                  <a:moveTo>
                    <a:pt x="114" y="98"/>
                  </a:moveTo>
                  <a:cubicBezTo>
                    <a:pt x="90" y="162"/>
                    <a:pt x="77" y="161"/>
                    <a:pt x="46" y="151"/>
                  </a:cubicBezTo>
                  <a:cubicBezTo>
                    <a:pt x="15" y="141"/>
                    <a:pt x="0" y="102"/>
                    <a:pt x="13" y="65"/>
                  </a:cubicBezTo>
                  <a:cubicBezTo>
                    <a:pt x="25" y="27"/>
                    <a:pt x="65" y="0"/>
                    <a:pt x="96" y="10"/>
                  </a:cubicBezTo>
                  <a:cubicBezTo>
                    <a:pt x="126" y="20"/>
                    <a:pt x="128" y="61"/>
                    <a:pt x="114" y="98"/>
                  </a:cubicBezTo>
                  <a:close/>
                </a:path>
              </a:pathLst>
            </a:cu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102"/>
            <p:cNvSpPr>
              <a:spLocks/>
            </p:cNvSpPr>
            <p:nvPr/>
          </p:nvSpPr>
          <p:spPr bwMode="auto">
            <a:xfrm>
              <a:off x="2910362" y="589202"/>
              <a:ext cx="276225" cy="338138"/>
            </a:xfrm>
            <a:custGeom>
              <a:avLst/>
              <a:gdLst>
                <a:gd name="T0" fmla="*/ 124 w 143"/>
                <a:gd name="T1" fmla="*/ 35 h 176"/>
                <a:gd name="T2" fmla="*/ 104 w 143"/>
                <a:gd name="T3" fmla="*/ 149 h 176"/>
                <a:gd name="T4" fmla="*/ 41 w 143"/>
                <a:gd name="T5" fmla="*/ 144 h 176"/>
                <a:gd name="T6" fmla="*/ 41 w 143"/>
                <a:gd name="T7" fmla="*/ 12 h 176"/>
                <a:gd name="T8" fmla="*/ 124 w 143"/>
                <a:gd name="T9" fmla="*/ 35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176">
                  <a:moveTo>
                    <a:pt x="124" y="35"/>
                  </a:moveTo>
                  <a:cubicBezTo>
                    <a:pt x="143" y="67"/>
                    <a:pt x="129" y="134"/>
                    <a:pt x="104" y="149"/>
                  </a:cubicBezTo>
                  <a:cubicBezTo>
                    <a:pt x="79" y="163"/>
                    <a:pt x="60" y="176"/>
                    <a:pt x="41" y="144"/>
                  </a:cubicBezTo>
                  <a:cubicBezTo>
                    <a:pt x="23" y="112"/>
                    <a:pt x="0" y="31"/>
                    <a:pt x="41" y="12"/>
                  </a:cubicBezTo>
                  <a:cubicBezTo>
                    <a:pt x="67" y="0"/>
                    <a:pt x="105" y="3"/>
                    <a:pt x="124" y="35"/>
                  </a:cubicBezTo>
                  <a:close/>
                </a:path>
              </a:pathLst>
            </a:cu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103"/>
            <p:cNvSpPr>
              <a:spLocks/>
            </p:cNvSpPr>
            <p:nvPr/>
          </p:nvSpPr>
          <p:spPr bwMode="auto">
            <a:xfrm>
              <a:off x="3005612" y="836852"/>
              <a:ext cx="127000" cy="152400"/>
            </a:xfrm>
            <a:custGeom>
              <a:avLst/>
              <a:gdLst>
                <a:gd name="T0" fmla="*/ 80 w 80"/>
                <a:gd name="T1" fmla="*/ 65 h 96"/>
                <a:gd name="T2" fmla="*/ 40 w 80"/>
                <a:gd name="T3" fmla="*/ 96 h 96"/>
                <a:gd name="T4" fmla="*/ 0 w 80"/>
                <a:gd name="T5" fmla="*/ 65 h 96"/>
                <a:gd name="T6" fmla="*/ 0 w 80"/>
                <a:gd name="T7" fmla="*/ 0 h 96"/>
                <a:gd name="T8" fmla="*/ 80 w 80"/>
                <a:gd name="T9" fmla="*/ 0 h 96"/>
                <a:gd name="T10" fmla="*/ 80 w 80"/>
                <a:gd name="T11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96">
                  <a:moveTo>
                    <a:pt x="80" y="65"/>
                  </a:moveTo>
                  <a:lnTo>
                    <a:pt x="40" y="96"/>
                  </a:lnTo>
                  <a:lnTo>
                    <a:pt x="0" y="65"/>
                  </a:lnTo>
                  <a:lnTo>
                    <a:pt x="0" y="0"/>
                  </a:lnTo>
                  <a:lnTo>
                    <a:pt x="80" y="0"/>
                  </a:lnTo>
                  <a:lnTo>
                    <a:pt x="80" y="65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104"/>
            <p:cNvSpPr>
              <a:spLocks/>
            </p:cNvSpPr>
            <p:nvPr/>
          </p:nvSpPr>
          <p:spPr bwMode="auto">
            <a:xfrm>
              <a:off x="2702400" y="978139"/>
              <a:ext cx="271462" cy="701675"/>
            </a:xfrm>
            <a:custGeom>
              <a:avLst/>
              <a:gdLst>
                <a:gd name="T0" fmla="*/ 141 w 141"/>
                <a:gd name="T1" fmla="*/ 15 h 364"/>
                <a:gd name="T2" fmla="*/ 85 w 141"/>
                <a:gd name="T3" fmla="*/ 0 h 364"/>
                <a:gd name="T4" fmla="*/ 0 w 141"/>
                <a:gd name="T5" fmla="*/ 364 h 364"/>
                <a:gd name="T6" fmla="*/ 58 w 141"/>
                <a:gd name="T7" fmla="*/ 364 h 364"/>
                <a:gd name="T8" fmla="*/ 141 w 141"/>
                <a:gd name="T9" fmla="*/ 15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364">
                  <a:moveTo>
                    <a:pt x="141" y="15"/>
                  </a:moveTo>
                  <a:cubicBezTo>
                    <a:pt x="123" y="10"/>
                    <a:pt x="104" y="5"/>
                    <a:pt x="85" y="0"/>
                  </a:cubicBezTo>
                  <a:cubicBezTo>
                    <a:pt x="31" y="117"/>
                    <a:pt x="13" y="235"/>
                    <a:pt x="0" y="364"/>
                  </a:cubicBezTo>
                  <a:cubicBezTo>
                    <a:pt x="58" y="364"/>
                    <a:pt x="58" y="364"/>
                    <a:pt x="58" y="364"/>
                  </a:cubicBezTo>
                  <a:cubicBezTo>
                    <a:pt x="71" y="241"/>
                    <a:pt x="89" y="128"/>
                    <a:pt x="141" y="15"/>
                  </a:cubicBezTo>
                  <a:close/>
                </a:path>
              </a:pathLst>
            </a:cu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105"/>
            <p:cNvSpPr>
              <a:spLocks/>
            </p:cNvSpPr>
            <p:nvPr/>
          </p:nvSpPr>
          <p:spPr bwMode="auto">
            <a:xfrm>
              <a:off x="3164362" y="978139"/>
              <a:ext cx="271462" cy="701675"/>
            </a:xfrm>
            <a:custGeom>
              <a:avLst/>
              <a:gdLst>
                <a:gd name="T0" fmla="*/ 0 w 141"/>
                <a:gd name="T1" fmla="*/ 15 h 364"/>
                <a:gd name="T2" fmla="*/ 56 w 141"/>
                <a:gd name="T3" fmla="*/ 0 h 364"/>
                <a:gd name="T4" fmla="*/ 141 w 141"/>
                <a:gd name="T5" fmla="*/ 364 h 364"/>
                <a:gd name="T6" fmla="*/ 84 w 141"/>
                <a:gd name="T7" fmla="*/ 364 h 364"/>
                <a:gd name="T8" fmla="*/ 0 w 141"/>
                <a:gd name="T9" fmla="*/ 15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364">
                  <a:moveTo>
                    <a:pt x="0" y="15"/>
                  </a:moveTo>
                  <a:cubicBezTo>
                    <a:pt x="19" y="10"/>
                    <a:pt x="38" y="5"/>
                    <a:pt x="56" y="0"/>
                  </a:cubicBezTo>
                  <a:cubicBezTo>
                    <a:pt x="111" y="117"/>
                    <a:pt x="129" y="235"/>
                    <a:pt x="141" y="364"/>
                  </a:cubicBezTo>
                  <a:cubicBezTo>
                    <a:pt x="84" y="364"/>
                    <a:pt x="84" y="364"/>
                    <a:pt x="84" y="364"/>
                  </a:cubicBezTo>
                  <a:cubicBezTo>
                    <a:pt x="71" y="241"/>
                    <a:pt x="53" y="128"/>
                    <a:pt x="0" y="15"/>
                  </a:cubicBezTo>
                  <a:close/>
                </a:path>
              </a:pathLst>
            </a:cu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106"/>
            <p:cNvSpPr>
              <a:spLocks/>
            </p:cNvSpPr>
            <p:nvPr/>
          </p:nvSpPr>
          <p:spPr bwMode="auto">
            <a:xfrm>
              <a:off x="2718275" y="1679814"/>
              <a:ext cx="80962" cy="90488"/>
            </a:xfrm>
            <a:custGeom>
              <a:avLst/>
              <a:gdLst>
                <a:gd name="T0" fmla="*/ 0 w 42"/>
                <a:gd name="T1" fmla="*/ 0 h 47"/>
                <a:gd name="T2" fmla="*/ 0 w 42"/>
                <a:gd name="T3" fmla="*/ 26 h 47"/>
                <a:gd name="T4" fmla="*/ 21 w 42"/>
                <a:gd name="T5" fmla="*/ 47 h 47"/>
                <a:gd name="T6" fmla="*/ 42 w 42"/>
                <a:gd name="T7" fmla="*/ 26 h 47"/>
                <a:gd name="T8" fmla="*/ 42 w 42"/>
                <a:gd name="T9" fmla="*/ 0 h 47"/>
                <a:gd name="T10" fmla="*/ 0 w 42"/>
                <a:gd name="T11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47">
                  <a:moveTo>
                    <a:pt x="0" y="0"/>
                  </a:moveTo>
                  <a:cubicBezTo>
                    <a:pt x="0" y="26"/>
                    <a:pt x="0" y="26"/>
                    <a:pt x="0" y="26"/>
                  </a:cubicBezTo>
                  <a:cubicBezTo>
                    <a:pt x="0" y="37"/>
                    <a:pt x="9" y="47"/>
                    <a:pt x="21" y="47"/>
                  </a:cubicBezTo>
                  <a:cubicBezTo>
                    <a:pt x="33" y="47"/>
                    <a:pt x="42" y="37"/>
                    <a:pt x="42" y="26"/>
                  </a:cubicBezTo>
                  <a:cubicBezTo>
                    <a:pt x="42" y="0"/>
                    <a:pt x="42" y="0"/>
                    <a:pt x="4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107"/>
            <p:cNvSpPr>
              <a:spLocks/>
            </p:cNvSpPr>
            <p:nvPr/>
          </p:nvSpPr>
          <p:spPr bwMode="auto">
            <a:xfrm>
              <a:off x="3340575" y="1679814"/>
              <a:ext cx="80962" cy="90488"/>
            </a:xfrm>
            <a:custGeom>
              <a:avLst/>
              <a:gdLst>
                <a:gd name="T0" fmla="*/ 0 w 42"/>
                <a:gd name="T1" fmla="*/ 0 h 47"/>
                <a:gd name="T2" fmla="*/ 0 w 42"/>
                <a:gd name="T3" fmla="*/ 26 h 47"/>
                <a:gd name="T4" fmla="*/ 21 w 42"/>
                <a:gd name="T5" fmla="*/ 47 h 47"/>
                <a:gd name="T6" fmla="*/ 42 w 42"/>
                <a:gd name="T7" fmla="*/ 26 h 47"/>
                <a:gd name="T8" fmla="*/ 42 w 42"/>
                <a:gd name="T9" fmla="*/ 0 h 47"/>
                <a:gd name="T10" fmla="*/ 0 w 42"/>
                <a:gd name="T11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47">
                  <a:moveTo>
                    <a:pt x="0" y="0"/>
                  </a:moveTo>
                  <a:cubicBezTo>
                    <a:pt x="0" y="26"/>
                    <a:pt x="0" y="26"/>
                    <a:pt x="0" y="26"/>
                  </a:cubicBezTo>
                  <a:cubicBezTo>
                    <a:pt x="0" y="37"/>
                    <a:pt x="10" y="47"/>
                    <a:pt x="21" y="47"/>
                  </a:cubicBezTo>
                  <a:cubicBezTo>
                    <a:pt x="33" y="47"/>
                    <a:pt x="42" y="37"/>
                    <a:pt x="42" y="26"/>
                  </a:cubicBezTo>
                  <a:cubicBezTo>
                    <a:pt x="42" y="0"/>
                    <a:pt x="42" y="0"/>
                    <a:pt x="4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108"/>
            <p:cNvSpPr>
              <a:spLocks/>
            </p:cNvSpPr>
            <p:nvPr/>
          </p:nvSpPr>
          <p:spPr bwMode="auto">
            <a:xfrm>
              <a:off x="2864325" y="954327"/>
              <a:ext cx="407987" cy="711200"/>
            </a:xfrm>
            <a:custGeom>
              <a:avLst/>
              <a:gdLst>
                <a:gd name="T0" fmla="*/ 178 w 257"/>
                <a:gd name="T1" fmla="*/ 0 h 448"/>
                <a:gd name="T2" fmla="*/ 129 w 257"/>
                <a:gd name="T3" fmla="*/ 85 h 448"/>
                <a:gd name="T4" fmla="*/ 79 w 257"/>
                <a:gd name="T5" fmla="*/ 0 h 448"/>
                <a:gd name="T6" fmla="*/ 0 w 257"/>
                <a:gd name="T7" fmla="*/ 15 h 448"/>
                <a:gd name="T8" fmla="*/ 5 w 257"/>
                <a:gd name="T9" fmla="*/ 448 h 448"/>
                <a:gd name="T10" fmla="*/ 252 w 257"/>
                <a:gd name="T11" fmla="*/ 448 h 448"/>
                <a:gd name="T12" fmla="*/ 257 w 257"/>
                <a:gd name="T13" fmla="*/ 15 h 448"/>
                <a:gd name="T14" fmla="*/ 178 w 257"/>
                <a:gd name="T15" fmla="*/ 0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7" h="448">
                  <a:moveTo>
                    <a:pt x="178" y="0"/>
                  </a:moveTo>
                  <a:lnTo>
                    <a:pt x="129" y="85"/>
                  </a:lnTo>
                  <a:lnTo>
                    <a:pt x="79" y="0"/>
                  </a:lnTo>
                  <a:lnTo>
                    <a:pt x="0" y="15"/>
                  </a:lnTo>
                  <a:lnTo>
                    <a:pt x="5" y="448"/>
                  </a:lnTo>
                  <a:lnTo>
                    <a:pt x="252" y="448"/>
                  </a:lnTo>
                  <a:lnTo>
                    <a:pt x="257" y="15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109"/>
            <p:cNvSpPr>
              <a:spLocks/>
            </p:cNvSpPr>
            <p:nvPr/>
          </p:nvSpPr>
          <p:spPr bwMode="auto">
            <a:xfrm>
              <a:off x="3172300" y="708264"/>
              <a:ext cx="0" cy="1588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1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FFD6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110"/>
            <p:cNvSpPr>
              <a:spLocks/>
            </p:cNvSpPr>
            <p:nvPr/>
          </p:nvSpPr>
          <p:spPr bwMode="auto">
            <a:xfrm>
              <a:off x="3170712" y="705089"/>
              <a:ext cx="0" cy="1588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1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FFD6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111"/>
            <p:cNvSpPr>
              <a:spLocks/>
            </p:cNvSpPr>
            <p:nvPr/>
          </p:nvSpPr>
          <p:spPr bwMode="auto">
            <a:xfrm>
              <a:off x="3167537" y="695564"/>
              <a:ext cx="0" cy="1588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FFD6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112"/>
            <p:cNvSpPr>
              <a:spLocks/>
            </p:cNvSpPr>
            <p:nvPr/>
          </p:nvSpPr>
          <p:spPr bwMode="auto">
            <a:xfrm>
              <a:off x="3169125" y="698739"/>
              <a:ext cx="0" cy="1588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FFD6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113"/>
            <p:cNvSpPr>
              <a:spLocks/>
            </p:cNvSpPr>
            <p:nvPr/>
          </p:nvSpPr>
          <p:spPr bwMode="auto">
            <a:xfrm>
              <a:off x="2965925" y="697152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D6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114"/>
            <p:cNvSpPr>
              <a:spLocks/>
            </p:cNvSpPr>
            <p:nvPr/>
          </p:nvSpPr>
          <p:spPr bwMode="auto">
            <a:xfrm>
              <a:off x="3172300" y="711439"/>
              <a:ext cx="0" cy="4763"/>
            </a:xfrm>
            <a:custGeom>
              <a:avLst/>
              <a:gdLst>
                <a:gd name="T0" fmla="*/ 2 h 2"/>
                <a:gd name="T1" fmla="*/ 0 h 2"/>
                <a:gd name="T2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cubicBezTo>
                    <a:pt x="0" y="2"/>
                    <a:pt x="0" y="1"/>
                    <a:pt x="0" y="0"/>
                  </a:cubicBezTo>
                  <a:cubicBezTo>
                    <a:pt x="0" y="1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FFD6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115"/>
            <p:cNvSpPr>
              <a:spLocks/>
            </p:cNvSpPr>
            <p:nvPr/>
          </p:nvSpPr>
          <p:spPr bwMode="auto">
            <a:xfrm>
              <a:off x="3172300" y="717789"/>
              <a:ext cx="1587" cy="4763"/>
            </a:xfrm>
            <a:custGeom>
              <a:avLst/>
              <a:gdLst>
                <a:gd name="T0" fmla="*/ 1 w 1"/>
                <a:gd name="T1" fmla="*/ 2 h 2"/>
                <a:gd name="T2" fmla="*/ 0 w 1"/>
                <a:gd name="T3" fmla="*/ 0 h 2"/>
                <a:gd name="T4" fmla="*/ 1 w 1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">
                  <a:moveTo>
                    <a:pt x="1" y="2"/>
                  </a:moveTo>
                  <a:cubicBezTo>
                    <a:pt x="1" y="2"/>
                    <a:pt x="0" y="1"/>
                    <a:pt x="0" y="0"/>
                  </a:cubicBezTo>
                  <a:cubicBezTo>
                    <a:pt x="0" y="1"/>
                    <a:pt x="1" y="2"/>
                    <a:pt x="1" y="2"/>
                  </a:cubicBezTo>
                  <a:close/>
                </a:path>
              </a:pathLst>
            </a:custGeom>
            <a:solidFill>
              <a:srgbClr val="FFD6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116"/>
            <p:cNvSpPr>
              <a:spLocks/>
            </p:cNvSpPr>
            <p:nvPr/>
          </p:nvSpPr>
          <p:spPr bwMode="auto">
            <a:xfrm>
              <a:off x="3164362" y="692389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D6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117"/>
            <p:cNvSpPr>
              <a:spLocks/>
            </p:cNvSpPr>
            <p:nvPr/>
          </p:nvSpPr>
          <p:spPr bwMode="auto">
            <a:xfrm>
              <a:off x="2959575" y="716202"/>
              <a:ext cx="1587" cy="1588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1 h 1"/>
                <a:gd name="T4" fmla="*/ 1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lose/>
                </a:path>
              </a:pathLst>
            </a:custGeom>
            <a:solidFill>
              <a:srgbClr val="FFD6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18"/>
            <p:cNvSpPr>
              <a:spLocks/>
            </p:cNvSpPr>
            <p:nvPr/>
          </p:nvSpPr>
          <p:spPr bwMode="auto">
            <a:xfrm>
              <a:off x="2962750" y="706677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D6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9"/>
            <p:cNvSpPr>
              <a:spLocks/>
            </p:cNvSpPr>
            <p:nvPr/>
          </p:nvSpPr>
          <p:spPr bwMode="auto">
            <a:xfrm>
              <a:off x="2964337" y="700327"/>
              <a:ext cx="0" cy="1588"/>
            </a:xfrm>
            <a:custGeom>
              <a:avLst/>
              <a:gdLst>
                <a:gd name="T0" fmla="*/ 0 h 1"/>
                <a:gd name="T1" fmla="*/ 1 h 1"/>
                <a:gd name="T2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D6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0"/>
            <p:cNvSpPr>
              <a:spLocks/>
            </p:cNvSpPr>
            <p:nvPr/>
          </p:nvSpPr>
          <p:spPr bwMode="auto">
            <a:xfrm>
              <a:off x="2961162" y="709852"/>
              <a:ext cx="0" cy="1588"/>
            </a:xfrm>
            <a:custGeom>
              <a:avLst/>
              <a:gdLst>
                <a:gd name="T0" fmla="*/ 0 h 1"/>
                <a:gd name="T1" fmla="*/ 1 h 1"/>
                <a:gd name="T2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D6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21"/>
            <p:cNvSpPr>
              <a:spLocks/>
            </p:cNvSpPr>
            <p:nvPr/>
          </p:nvSpPr>
          <p:spPr bwMode="auto">
            <a:xfrm>
              <a:off x="2942112" y="684452"/>
              <a:ext cx="249237" cy="223838"/>
            </a:xfrm>
            <a:custGeom>
              <a:avLst/>
              <a:gdLst>
                <a:gd name="T0" fmla="*/ 124 w 130"/>
                <a:gd name="T1" fmla="*/ 28 h 116"/>
                <a:gd name="T2" fmla="*/ 121 w 130"/>
                <a:gd name="T3" fmla="*/ 27 h 116"/>
                <a:gd name="T4" fmla="*/ 121 w 130"/>
                <a:gd name="T5" fmla="*/ 19 h 116"/>
                <a:gd name="T6" fmla="*/ 120 w 130"/>
                <a:gd name="T7" fmla="*/ 17 h 116"/>
                <a:gd name="T8" fmla="*/ 120 w 130"/>
                <a:gd name="T9" fmla="*/ 16 h 116"/>
                <a:gd name="T10" fmla="*/ 120 w 130"/>
                <a:gd name="T11" fmla="*/ 14 h 116"/>
                <a:gd name="T12" fmla="*/ 120 w 130"/>
                <a:gd name="T13" fmla="*/ 13 h 116"/>
                <a:gd name="T14" fmla="*/ 120 w 130"/>
                <a:gd name="T15" fmla="*/ 12 h 116"/>
                <a:gd name="T16" fmla="*/ 119 w 130"/>
                <a:gd name="T17" fmla="*/ 11 h 116"/>
                <a:gd name="T18" fmla="*/ 119 w 130"/>
                <a:gd name="T19" fmla="*/ 10 h 116"/>
                <a:gd name="T20" fmla="*/ 118 w 130"/>
                <a:gd name="T21" fmla="*/ 8 h 116"/>
                <a:gd name="T22" fmla="*/ 118 w 130"/>
                <a:gd name="T23" fmla="*/ 7 h 116"/>
                <a:gd name="T24" fmla="*/ 117 w 130"/>
                <a:gd name="T25" fmla="*/ 6 h 116"/>
                <a:gd name="T26" fmla="*/ 117 w 130"/>
                <a:gd name="T27" fmla="*/ 5 h 116"/>
                <a:gd name="T28" fmla="*/ 116 w 130"/>
                <a:gd name="T29" fmla="*/ 4 h 116"/>
                <a:gd name="T30" fmla="*/ 116 w 130"/>
                <a:gd name="T31" fmla="*/ 4 h 116"/>
                <a:gd name="T32" fmla="*/ 105 w 130"/>
                <a:gd name="T33" fmla="*/ 5 h 116"/>
                <a:gd name="T34" fmla="*/ 87 w 130"/>
                <a:gd name="T35" fmla="*/ 0 h 116"/>
                <a:gd name="T36" fmla="*/ 53 w 130"/>
                <a:gd name="T37" fmla="*/ 5 h 116"/>
                <a:gd name="T38" fmla="*/ 18 w 130"/>
                <a:gd name="T39" fmla="*/ 0 h 116"/>
                <a:gd name="T40" fmla="*/ 13 w 130"/>
                <a:gd name="T41" fmla="*/ 6 h 116"/>
                <a:gd name="T42" fmla="*/ 13 w 130"/>
                <a:gd name="T43" fmla="*/ 6 h 116"/>
                <a:gd name="T44" fmla="*/ 12 w 130"/>
                <a:gd name="T45" fmla="*/ 8 h 116"/>
                <a:gd name="T46" fmla="*/ 12 w 130"/>
                <a:gd name="T47" fmla="*/ 9 h 116"/>
                <a:gd name="T48" fmla="*/ 11 w 130"/>
                <a:gd name="T49" fmla="*/ 11 h 116"/>
                <a:gd name="T50" fmla="*/ 11 w 130"/>
                <a:gd name="T51" fmla="*/ 11 h 116"/>
                <a:gd name="T52" fmla="*/ 10 w 130"/>
                <a:gd name="T53" fmla="*/ 13 h 116"/>
                <a:gd name="T54" fmla="*/ 10 w 130"/>
                <a:gd name="T55" fmla="*/ 14 h 116"/>
                <a:gd name="T56" fmla="*/ 10 w 130"/>
                <a:gd name="T57" fmla="*/ 16 h 116"/>
                <a:gd name="T58" fmla="*/ 9 w 130"/>
                <a:gd name="T59" fmla="*/ 17 h 116"/>
                <a:gd name="T60" fmla="*/ 9 w 130"/>
                <a:gd name="T61" fmla="*/ 19 h 116"/>
                <a:gd name="T62" fmla="*/ 9 w 130"/>
                <a:gd name="T63" fmla="*/ 27 h 116"/>
                <a:gd name="T64" fmla="*/ 8 w 130"/>
                <a:gd name="T65" fmla="*/ 27 h 116"/>
                <a:gd name="T66" fmla="*/ 0 w 130"/>
                <a:gd name="T67" fmla="*/ 37 h 116"/>
                <a:gd name="T68" fmla="*/ 0 w 130"/>
                <a:gd name="T69" fmla="*/ 57 h 116"/>
                <a:gd name="T70" fmla="*/ 9 w 130"/>
                <a:gd name="T71" fmla="*/ 67 h 116"/>
                <a:gd name="T72" fmla="*/ 40 w 130"/>
                <a:gd name="T73" fmla="*/ 116 h 116"/>
                <a:gd name="T74" fmla="*/ 90 w 130"/>
                <a:gd name="T75" fmla="*/ 116 h 116"/>
                <a:gd name="T76" fmla="*/ 121 w 130"/>
                <a:gd name="T77" fmla="*/ 67 h 116"/>
                <a:gd name="T78" fmla="*/ 130 w 130"/>
                <a:gd name="T79" fmla="*/ 57 h 116"/>
                <a:gd name="T80" fmla="*/ 130 w 130"/>
                <a:gd name="T81" fmla="*/ 37 h 116"/>
                <a:gd name="T82" fmla="*/ 124 w 130"/>
                <a:gd name="T83" fmla="*/ 2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0" h="116">
                  <a:moveTo>
                    <a:pt x="124" y="28"/>
                  </a:moveTo>
                  <a:cubicBezTo>
                    <a:pt x="123" y="28"/>
                    <a:pt x="122" y="27"/>
                    <a:pt x="121" y="27"/>
                  </a:cubicBezTo>
                  <a:cubicBezTo>
                    <a:pt x="121" y="19"/>
                    <a:pt x="121" y="19"/>
                    <a:pt x="121" y="19"/>
                  </a:cubicBezTo>
                  <a:cubicBezTo>
                    <a:pt x="121" y="19"/>
                    <a:pt x="120" y="18"/>
                    <a:pt x="120" y="17"/>
                  </a:cubicBezTo>
                  <a:cubicBezTo>
                    <a:pt x="120" y="17"/>
                    <a:pt x="120" y="16"/>
                    <a:pt x="120" y="16"/>
                  </a:cubicBezTo>
                  <a:cubicBezTo>
                    <a:pt x="120" y="16"/>
                    <a:pt x="120" y="15"/>
                    <a:pt x="120" y="14"/>
                  </a:cubicBezTo>
                  <a:cubicBezTo>
                    <a:pt x="120" y="14"/>
                    <a:pt x="120" y="14"/>
                    <a:pt x="120" y="13"/>
                  </a:cubicBezTo>
                  <a:cubicBezTo>
                    <a:pt x="120" y="13"/>
                    <a:pt x="120" y="13"/>
                    <a:pt x="120" y="12"/>
                  </a:cubicBezTo>
                  <a:cubicBezTo>
                    <a:pt x="119" y="12"/>
                    <a:pt x="119" y="11"/>
                    <a:pt x="119" y="11"/>
                  </a:cubicBezTo>
                  <a:cubicBezTo>
                    <a:pt x="119" y="11"/>
                    <a:pt x="119" y="11"/>
                    <a:pt x="119" y="10"/>
                  </a:cubicBezTo>
                  <a:cubicBezTo>
                    <a:pt x="119" y="9"/>
                    <a:pt x="118" y="8"/>
                    <a:pt x="118" y="8"/>
                  </a:cubicBezTo>
                  <a:cubicBezTo>
                    <a:pt x="118" y="7"/>
                    <a:pt x="118" y="7"/>
                    <a:pt x="118" y="7"/>
                  </a:cubicBezTo>
                  <a:cubicBezTo>
                    <a:pt x="117" y="7"/>
                    <a:pt x="117" y="6"/>
                    <a:pt x="117" y="6"/>
                  </a:cubicBezTo>
                  <a:cubicBezTo>
                    <a:pt x="117" y="6"/>
                    <a:pt x="117" y="5"/>
                    <a:pt x="117" y="5"/>
                  </a:cubicBezTo>
                  <a:cubicBezTo>
                    <a:pt x="116" y="5"/>
                    <a:pt x="116" y="4"/>
                    <a:pt x="116" y="4"/>
                  </a:cubicBezTo>
                  <a:cubicBezTo>
                    <a:pt x="116" y="4"/>
                    <a:pt x="116" y="4"/>
                    <a:pt x="116" y="4"/>
                  </a:cubicBezTo>
                  <a:cubicBezTo>
                    <a:pt x="112" y="4"/>
                    <a:pt x="109" y="5"/>
                    <a:pt x="105" y="5"/>
                  </a:cubicBezTo>
                  <a:cubicBezTo>
                    <a:pt x="98" y="5"/>
                    <a:pt x="91" y="3"/>
                    <a:pt x="87" y="0"/>
                  </a:cubicBezTo>
                  <a:cubicBezTo>
                    <a:pt x="79" y="3"/>
                    <a:pt x="67" y="5"/>
                    <a:pt x="53" y="5"/>
                  </a:cubicBezTo>
                  <a:cubicBezTo>
                    <a:pt x="39" y="5"/>
                    <a:pt x="26" y="3"/>
                    <a:pt x="18" y="0"/>
                  </a:cubicBezTo>
                  <a:cubicBezTo>
                    <a:pt x="16" y="2"/>
                    <a:pt x="14" y="4"/>
                    <a:pt x="13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2" y="7"/>
                    <a:pt x="12" y="8"/>
                    <a:pt x="12" y="8"/>
                  </a:cubicBezTo>
                  <a:cubicBezTo>
                    <a:pt x="12" y="8"/>
                    <a:pt x="12" y="9"/>
                    <a:pt x="12" y="9"/>
                  </a:cubicBezTo>
                  <a:cubicBezTo>
                    <a:pt x="11" y="9"/>
                    <a:pt x="11" y="10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0" y="12"/>
                    <a:pt x="10" y="13"/>
                    <a:pt x="10" y="13"/>
                  </a:cubicBezTo>
                  <a:cubicBezTo>
                    <a:pt x="10" y="13"/>
                    <a:pt x="10" y="14"/>
                    <a:pt x="10" y="14"/>
                  </a:cubicBezTo>
                  <a:cubicBezTo>
                    <a:pt x="10" y="15"/>
                    <a:pt x="10" y="15"/>
                    <a:pt x="10" y="16"/>
                  </a:cubicBezTo>
                  <a:cubicBezTo>
                    <a:pt x="9" y="16"/>
                    <a:pt x="9" y="16"/>
                    <a:pt x="9" y="17"/>
                  </a:cubicBezTo>
                  <a:cubicBezTo>
                    <a:pt x="9" y="17"/>
                    <a:pt x="9" y="18"/>
                    <a:pt x="9" y="19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9" y="27"/>
                    <a:pt x="8" y="27"/>
                    <a:pt x="8" y="27"/>
                  </a:cubicBezTo>
                  <a:cubicBezTo>
                    <a:pt x="3" y="28"/>
                    <a:pt x="0" y="32"/>
                    <a:pt x="0" y="3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2"/>
                    <a:pt x="4" y="67"/>
                    <a:pt x="9" y="67"/>
                  </a:cubicBezTo>
                  <a:cubicBezTo>
                    <a:pt x="9" y="67"/>
                    <a:pt x="25" y="116"/>
                    <a:pt x="40" y="116"/>
                  </a:cubicBezTo>
                  <a:cubicBezTo>
                    <a:pt x="90" y="116"/>
                    <a:pt x="90" y="116"/>
                    <a:pt x="90" y="116"/>
                  </a:cubicBezTo>
                  <a:cubicBezTo>
                    <a:pt x="104" y="116"/>
                    <a:pt x="121" y="67"/>
                    <a:pt x="121" y="67"/>
                  </a:cubicBezTo>
                  <a:cubicBezTo>
                    <a:pt x="126" y="67"/>
                    <a:pt x="130" y="62"/>
                    <a:pt x="130" y="57"/>
                  </a:cubicBezTo>
                  <a:cubicBezTo>
                    <a:pt x="130" y="37"/>
                    <a:pt x="130" y="37"/>
                    <a:pt x="130" y="37"/>
                  </a:cubicBezTo>
                  <a:cubicBezTo>
                    <a:pt x="130" y="33"/>
                    <a:pt x="127" y="29"/>
                    <a:pt x="124" y="28"/>
                  </a:cubicBez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Rectangle 122"/>
            <p:cNvSpPr>
              <a:spLocks noChangeArrowheads="1"/>
            </p:cNvSpPr>
            <p:nvPr/>
          </p:nvSpPr>
          <p:spPr bwMode="auto">
            <a:xfrm>
              <a:off x="2872262" y="1665527"/>
              <a:ext cx="392112" cy="26988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Rectangle 123"/>
            <p:cNvSpPr>
              <a:spLocks noChangeArrowheads="1"/>
            </p:cNvSpPr>
            <p:nvPr/>
          </p:nvSpPr>
          <p:spPr bwMode="auto">
            <a:xfrm>
              <a:off x="3032600" y="1665527"/>
              <a:ext cx="73025" cy="26988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Oval 124"/>
            <p:cNvSpPr>
              <a:spLocks noChangeArrowheads="1"/>
            </p:cNvSpPr>
            <p:nvPr/>
          </p:nvSpPr>
          <p:spPr bwMode="auto">
            <a:xfrm>
              <a:off x="3062762" y="1013064"/>
              <a:ext cx="11112" cy="11113"/>
            </a:xfrm>
            <a:prstGeom prst="ellipse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Oval 125"/>
            <p:cNvSpPr>
              <a:spLocks noChangeArrowheads="1"/>
            </p:cNvSpPr>
            <p:nvPr/>
          </p:nvSpPr>
          <p:spPr bwMode="auto">
            <a:xfrm>
              <a:off x="3062762" y="1054339"/>
              <a:ext cx="14287" cy="14288"/>
            </a:xfrm>
            <a:prstGeom prst="ellipse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71579962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>
          <a:xfrm>
            <a:off x="2804305" y="1140269"/>
            <a:ext cx="7155517" cy="285425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2953064" y="1300572"/>
            <a:ext cx="6858000" cy="2533650"/>
          </a:xfrm>
          <a:prstGeom prst="rect">
            <a:avLst/>
          </a:prstGeom>
          <a:solidFill>
            <a:srgbClr val="00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886" r="4348"/>
          <a:stretch/>
        </p:blipFill>
        <p:spPr>
          <a:xfrm>
            <a:off x="7045561" y="1301151"/>
            <a:ext cx="2765503" cy="2533071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3120333" y="1417509"/>
            <a:ext cx="375796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e a real enabler of your business </a:t>
            </a:r>
            <a:r>
              <a:rPr lang="en-US" sz="3200" b="1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owth.</a:t>
            </a:r>
            <a:endParaRPr lang="en-US" sz="32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en-US" sz="1600" dirty="0" smtClean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en-US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Use technology to reduce costs and stay ahead.</a:t>
            </a:r>
            <a:endParaRPr lang="en-US" sz="1600" b="1" dirty="0" smtClean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7063471" y="1300572"/>
            <a:ext cx="2747593" cy="2533650"/>
          </a:xfrm>
          <a:prstGeom prst="rect">
            <a:avLst/>
          </a:prstGeom>
          <a:solidFill>
            <a:schemeClr val="bg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672253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3616035" y="2589264"/>
            <a:ext cx="2558537" cy="2543843"/>
            <a:chOff x="3499232" y="2473132"/>
            <a:chExt cx="2675341" cy="2659976"/>
          </a:xfrm>
        </p:grpSpPr>
        <p:sp>
          <p:nvSpPr>
            <p:cNvPr id="74" name="Block Arc 73"/>
            <p:cNvSpPr/>
            <p:nvPr/>
          </p:nvSpPr>
          <p:spPr bwMode="auto">
            <a:xfrm rot="18895467">
              <a:off x="3510740" y="2480785"/>
              <a:ext cx="2646642" cy="2646641"/>
            </a:xfrm>
            <a:prstGeom prst="blockArc">
              <a:avLst>
                <a:gd name="adj1" fmla="val 13529147"/>
                <a:gd name="adj2" fmla="val 16172180"/>
                <a:gd name="adj3" fmla="val 26006"/>
              </a:avLst>
            </a:prstGeom>
            <a:solidFill>
              <a:srgbClr val="4B004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</a:pPr>
              <a:endParaRPr lang="en-IN" sz="900" dirty="0">
                <a:solidFill>
                  <a:srgbClr val="FD7425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5" name="Block Arc 74"/>
            <p:cNvSpPr/>
            <p:nvPr/>
          </p:nvSpPr>
          <p:spPr bwMode="auto">
            <a:xfrm rot="13500000">
              <a:off x="3510740" y="2480785"/>
              <a:ext cx="2646642" cy="2646641"/>
            </a:xfrm>
            <a:prstGeom prst="blockArc">
              <a:avLst>
                <a:gd name="adj1" fmla="val 13529147"/>
                <a:gd name="adj2" fmla="val 16172180"/>
                <a:gd name="adj3" fmla="val 26006"/>
              </a:avLst>
            </a:prstGeom>
            <a:solidFill>
              <a:srgbClr val="FEA83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</a:pPr>
              <a:endParaRPr lang="en-IN" sz="11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6" name="Block Arc 75"/>
            <p:cNvSpPr/>
            <p:nvPr/>
          </p:nvSpPr>
          <p:spPr bwMode="auto">
            <a:xfrm rot="8095707">
              <a:off x="3510740" y="2480785"/>
              <a:ext cx="2646642" cy="2646641"/>
            </a:xfrm>
            <a:prstGeom prst="blockArc">
              <a:avLst>
                <a:gd name="adj1" fmla="val 13529147"/>
                <a:gd name="adj2" fmla="val 16172180"/>
                <a:gd name="adj3" fmla="val 26006"/>
              </a:avLst>
            </a:prstGeom>
            <a:solidFill>
              <a:srgbClr val="AB008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</a:pPr>
              <a:endParaRPr lang="en-IN" sz="11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5" name="Block Arc 94"/>
            <p:cNvSpPr/>
            <p:nvPr/>
          </p:nvSpPr>
          <p:spPr bwMode="auto">
            <a:xfrm rot="2702956">
              <a:off x="3510740" y="2480785"/>
              <a:ext cx="2646642" cy="2646641"/>
            </a:xfrm>
            <a:prstGeom prst="blockArc">
              <a:avLst>
                <a:gd name="adj1" fmla="val 13529147"/>
                <a:gd name="adj2" fmla="val 16172180"/>
                <a:gd name="adj3" fmla="val 26006"/>
              </a:avLst>
            </a:prstGeom>
            <a:solidFill>
              <a:srgbClr val="FD742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</a:pPr>
              <a:endParaRPr lang="en-IN" sz="11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3" name="Group 2"/>
            <p:cNvGrpSpPr/>
            <p:nvPr/>
          </p:nvGrpSpPr>
          <p:grpSpPr>
            <a:xfrm>
              <a:off x="3499232" y="2473132"/>
              <a:ext cx="2675341" cy="2659976"/>
              <a:chOff x="3499232" y="2473132"/>
              <a:chExt cx="2675341" cy="2659976"/>
            </a:xfrm>
          </p:grpSpPr>
          <p:sp>
            <p:nvSpPr>
              <p:cNvPr id="77" name="Block Arc 76"/>
              <p:cNvSpPr/>
              <p:nvPr/>
            </p:nvSpPr>
            <p:spPr bwMode="auto">
              <a:xfrm>
                <a:off x="3500350" y="2480784"/>
                <a:ext cx="2646641" cy="2646642"/>
              </a:xfrm>
              <a:prstGeom prst="blockArc">
                <a:avLst>
                  <a:gd name="adj1" fmla="val 13529147"/>
                  <a:gd name="adj2" fmla="val 16172180"/>
                  <a:gd name="adj3" fmla="val 26006"/>
                </a:avLst>
              </a:prstGeom>
              <a:solidFill>
                <a:srgbClr val="4B004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IN" sz="11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8" name="Block Arc 77"/>
              <p:cNvSpPr/>
              <p:nvPr/>
            </p:nvSpPr>
            <p:spPr bwMode="auto">
              <a:xfrm rot="16200000">
                <a:off x="3510740" y="2480785"/>
                <a:ext cx="2646642" cy="2646641"/>
              </a:xfrm>
              <a:prstGeom prst="blockArc">
                <a:avLst>
                  <a:gd name="adj1" fmla="val 13529147"/>
                  <a:gd name="adj2" fmla="val 16172180"/>
                  <a:gd name="adj3" fmla="val 26006"/>
                </a:avLst>
              </a:prstGeom>
              <a:solidFill>
                <a:srgbClr val="FEA83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IN" sz="11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9" name="Block Arc 78"/>
              <p:cNvSpPr/>
              <p:nvPr/>
            </p:nvSpPr>
            <p:spPr bwMode="auto">
              <a:xfrm rot="10800000">
                <a:off x="3510741" y="2480784"/>
                <a:ext cx="2646641" cy="2646642"/>
              </a:xfrm>
              <a:prstGeom prst="blockArc">
                <a:avLst>
                  <a:gd name="adj1" fmla="val 13529147"/>
                  <a:gd name="adj2" fmla="val 16172180"/>
                  <a:gd name="adj3" fmla="val 26006"/>
                </a:avLst>
              </a:prstGeom>
              <a:solidFill>
                <a:srgbClr val="AB00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IN" sz="11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80" name="Flowchart: Connector 79"/>
              <p:cNvSpPr/>
              <p:nvPr/>
            </p:nvSpPr>
            <p:spPr bwMode="auto">
              <a:xfrm>
                <a:off x="4199916" y="3166996"/>
                <a:ext cx="1268129" cy="1274061"/>
              </a:xfrm>
              <a:prstGeom prst="flowChartConnector">
                <a:avLst/>
              </a:pr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695" tIns="45695" rIns="45695" bIns="45695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3561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9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81" name="TextBox 80"/>
              <p:cNvSpPr txBox="1"/>
              <p:nvPr/>
            </p:nvSpPr>
            <p:spPr>
              <a:xfrm>
                <a:off x="4059739" y="2705466"/>
                <a:ext cx="764373" cy="42995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algn="ctr" defTabSz="913949"/>
                <a:r>
                  <a:rPr lang="en-US" sz="800" dirty="0">
                    <a:solidFill>
                      <a:prstClr val="white"/>
                    </a:solidFill>
                    <a:latin typeface="Segoe UI Semilight"/>
                    <a:cs typeface="Segoe UI Semilight"/>
                  </a:rPr>
                  <a:t>Increase </a:t>
                </a:r>
                <a:br>
                  <a:rPr lang="en-US" sz="800" dirty="0">
                    <a:solidFill>
                      <a:prstClr val="white"/>
                    </a:solidFill>
                    <a:latin typeface="Segoe UI Semilight"/>
                    <a:cs typeface="Segoe UI Semilight"/>
                  </a:rPr>
                </a:br>
                <a:r>
                  <a:rPr lang="en-US" sz="800" dirty="0">
                    <a:solidFill>
                      <a:prstClr val="white"/>
                    </a:solidFill>
                    <a:latin typeface="Segoe UI Semilight"/>
                    <a:cs typeface="Segoe UI Semilight"/>
                  </a:rPr>
                  <a:t>your</a:t>
                </a:r>
                <a:br>
                  <a:rPr lang="en-US" sz="800" dirty="0">
                    <a:solidFill>
                      <a:prstClr val="white"/>
                    </a:solidFill>
                    <a:latin typeface="Segoe UI Semilight"/>
                    <a:cs typeface="Segoe UI Semilight"/>
                  </a:rPr>
                </a:br>
                <a:r>
                  <a:rPr lang="en-US" sz="800" dirty="0">
                    <a:solidFill>
                      <a:prstClr val="white"/>
                    </a:solidFill>
                    <a:latin typeface="Segoe UI Semilight"/>
                    <a:cs typeface="Segoe UI Semilight"/>
                  </a:rPr>
                  <a:t>sales </a:t>
                </a:r>
              </a:p>
            </p:txBody>
          </p:sp>
          <p:cxnSp>
            <p:nvCxnSpPr>
              <p:cNvPr id="82" name="Straight Connector 81"/>
              <p:cNvCxnSpPr/>
              <p:nvPr/>
            </p:nvCxnSpPr>
            <p:spPr>
              <a:xfrm>
                <a:off x="4833131" y="2473132"/>
                <a:ext cx="0" cy="2659976"/>
              </a:xfrm>
              <a:prstGeom prst="line">
                <a:avLst/>
              </a:prstGeom>
              <a:ln w="38100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3898309" y="2868354"/>
                <a:ext cx="1871344" cy="1871345"/>
              </a:xfrm>
              <a:prstGeom prst="line">
                <a:avLst/>
              </a:prstGeom>
              <a:ln w="38100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3503089" y="3803119"/>
                <a:ext cx="2659975" cy="0"/>
              </a:xfrm>
              <a:prstGeom prst="line">
                <a:avLst/>
              </a:prstGeom>
              <a:ln w="38100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 flipV="1">
                <a:off x="3898309" y="2868355"/>
                <a:ext cx="1871344" cy="1871344"/>
              </a:xfrm>
              <a:prstGeom prst="line">
                <a:avLst/>
              </a:prstGeom>
              <a:ln w="38100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6" name="TextBox 85"/>
              <p:cNvSpPr txBox="1"/>
              <p:nvPr/>
            </p:nvSpPr>
            <p:spPr>
              <a:xfrm>
                <a:off x="3519015" y="3969995"/>
                <a:ext cx="764373" cy="42995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algn="ctr" defTabSz="913949"/>
                <a:r>
                  <a:rPr lang="en-US" sz="800" dirty="0">
                    <a:solidFill>
                      <a:srgbClr val="AB0086"/>
                    </a:solidFill>
                    <a:latin typeface="Segoe UI Semilight"/>
                    <a:cs typeface="Segoe UI Semilight"/>
                  </a:rPr>
                  <a:t>Be prepared </a:t>
                </a:r>
              </a:p>
              <a:p>
                <a:pPr algn="ctr" defTabSz="913949"/>
                <a:r>
                  <a:rPr lang="en-US" sz="800" dirty="0">
                    <a:solidFill>
                      <a:srgbClr val="AB0086"/>
                    </a:solidFill>
                    <a:latin typeface="Segoe UI Semilight"/>
                    <a:cs typeface="Segoe UI Semilight"/>
                  </a:rPr>
                  <a:t>for the</a:t>
                </a:r>
              </a:p>
              <a:p>
                <a:pPr algn="ctr" defTabSz="913949"/>
                <a:r>
                  <a:rPr lang="en-US" sz="800" dirty="0">
                    <a:solidFill>
                      <a:srgbClr val="AB0086"/>
                    </a:solidFill>
                    <a:latin typeface="Segoe UI Semilight"/>
                    <a:cs typeface="Segoe UI Semilight"/>
                  </a:rPr>
                  <a:t>unexpected</a:t>
                </a:r>
              </a:p>
            </p:txBody>
          </p:sp>
          <p:sp>
            <p:nvSpPr>
              <p:cNvPr id="87" name="TextBox 86"/>
              <p:cNvSpPr txBox="1"/>
              <p:nvPr/>
            </p:nvSpPr>
            <p:spPr>
              <a:xfrm>
                <a:off x="4034371" y="4494280"/>
                <a:ext cx="764373" cy="42995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algn="ctr" defTabSz="913949"/>
                <a:r>
                  <a:rPr lang="en-US" sz="800" dirty="0">
                    <a:solidFill>
                      <a:srgbClr val="AB0086"/>
                    </a:solidFill>
                    <a:latin typeface="Segoe UI Semilight"/>
                    <a:cs typeface="Segoe UI Semilight"/>
                  </a:rPr>
                  <a:t>Protect </a:t>
                </a:r>
                <a:br>
                  <a:rPr lang="en-US" sz="800" dirty="0">
                    <a:solidFill>
                      <a:srgbClr val="AB0086"/>
                    </a:solidFill>
                    <a:latin typeface="Segoe UI Semilight"/>
                    <a:cs typeface="Segoe UI Semilight"/>
                  </a:rPr>
                </a:br>
                <a:r>
                  <a:rPr lang="en-US" sz="800" dirty="0">
                    <a:solidFill>
                      <a:srgbClr val="AB0086"/>
                    </a:solidFill>
                    <a:latin typeface="Segoe UI Semilight"/>
                    <a:cs typeface="Segoe UI Semilight"/>
                  </a:rPr>
                  <a:t>and control </a:t>
                </a:r>
                <a:br>
                  <a:rPr lang="en-US" sz="800" dirty="0">
                    <a:solidFill>
                      <a:srgbClr val="AB0086"/>
                    </a:solidFill>
                    <a:latin typeface="Segoe UI Semilight"/>
                    <a:cs typeface="Segoe UI Semilight"/>
                  </a:rPr>
                </a:br>
                <a:r>
                  <a:rPr lang="en-US" sz="800" dirty="0">
                    <a:solidFill>
                      <a:srgbClr val="AB0086"/>
                    </a:solidFill>
                    <a:latin typeface="Segoe UI Semilight"/>
                    <a:cs typeface="Segoe UI Semilight"/>
                  </a:rPr>
                  <a:t>your data</a:t>
                </a:r>
              </a:p>
            </p:txBody>
          </p:sp>
          <p:sp>
            <p:nvSpPr>
              <p:cNvPr id="88" name="TextBox 87"/>
              <p:cNvSpPr txBox="1"/>
              <p:nvPr/>
            </p:nvSpPr>
            <p:spPr>
              <a:xfrm>
                <a:off x="4854030" y="4494280"/>
                <a:ext cx="764373" cy="42995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algn="ctr" defTabSz="913949"/>
                <a:r>
                  <a:rPr lang="en-US" sz="800" dirty="0">
                    <a:solidFill>
                      <a:prstClr val="white"/>
                    </a:solidFill>
                    <a:latin typeface="Segoe UI Semilight"/>
                    <a:cs typeface="Segoe UI Semilight"/>
                  </a:rPr>
                  <a:t>Work </a:t>
                </a:r>
                <a:br>
                  <a:rPr lang="en-US" sz="800" dirty="0">
                    <a:solidFill>
                      <a:prstClr val="white"/>
                    </a:solidFill>
                    <a:latin typeface="Segoe UI Semilight"/>
                    <a:cs typeface="Segoe UI Semilight"/>
                  </a:rPr>
                </a:br>
                <a:r>
                  <a:rPr lang="en-US" sz="800" dirty="0">
                    <a:solidFill>
                      <a:prstClr val="white"/>
                    </a:solidFill>
                    <a:latin typeface="Segoe UI Semilight"/>
                    <a:cs typeface="Segoe UI Semilight"/>
                  </a:rPr>
                  <a:t>together </a:t>
                </a:r>
                <a:br>
                  <a:rPr lang="en-US" sz="800" dirty="0">
                    <a:solidFill>
                      <a:prstClr val="white"/>
                    </a:solidFill>
                    <a:latin typeface="Segoe UI Semilight"/>
                    <a:cs typeface="Segoe UI Semilight"/>
                  </a:rPr>
                </a:br>
                <a:r>
                  <a:rPr lang="en-US" sz="800" dirty="0">
                    <a:solidFill>
                      <a:prstClr val="white"/>
                    </a:solidFill>
                    <a:latin typeface="Segoe UI Semilight"/>
                    <a:cs typeface="Segoe UI Semilight"/>
                  </a:rPr>
                  <a:t>easily</a:t>
                </a:r>
              </a:p>
            </p:txBody>
          </p:sp>
          <p:sp>
            <p:nvSpPr>
              <p:cNvPr id="89" name="TextBox 88"/>
              <p:cNvSpPr txBox="1"/>
              <p:nvPr/>
            </p:nvSpPr>
            <p:spPr>
              <a:xfrm>
                <a:off x="5348521" y="3901047"/>
                <a:ext cx="741893" cy="506948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algn="ctr" defTabSz="913949"/>
                <a:r>
                  <a:rPr lang="en-US" sz="800" dirty="0">
                    <a:solidFill>
                      <a:prstClr val="white"/>
                    </a:solidFill>
                    <a:latin typeface="Segoe UI Semilight"/>
                    <a:cs typeface="Segoe UI Semilight"/>
                  </a:rPr>
                  <a:t>Get your</a:t>
                </a:r>
                <a:br>
                  <a:rPr lang="en-US" sz="800" dirty="0">
                    <a:solidFill>
                      <a:prstClr val="white"/>
                    </a:solidFill>
                    <a:latin typeface="Segoe UI Semilight"/>
                    <a:cs typeface="Segoe UI Semilight"/>
                  </a:rPr>
                </a:br>
                <a:r>
                  <a:rPr lang="en-US" sz="800" dirty="0">
                    <a:solidFill>
                      <a:prstClr val="white"/>
                    </a:solidFill>
                    <a:latin typeface="Segoe UI Semilight"/>
                    <a:cs typeface="Segoe UI Semilight"/>
                  </a:rPr>
                  <a:t>work done</a:t>
                </a:r>
              </a:p>
              <a:p>
                <a:pPr algn="ctr" defTabSz="913949"/>
                <a:r>
                  <a:rPr lang="en-US" sz="800" dirty="0">
                    <a:solidFill>
                      <a:prstClr val="white"/>
                    </a:solidFill>
                    <a:latin typeface="Segoe UI Semilight"/>
                    <a:cs typeface="Segoe UI Semilight"/>
                  </a:rPr>
                  <a:t>anywhere</a:t>
                </a:r>
              </a:p>
            </p:txBody>
          </p:sp>
          <p:sp>
            <p:nvSpPr>
              <p:cNvPr id="90" name="TextBox 89"/>
              <p:cNvSpPr txBox="1"/>
              <p:nvPr/>
            </p:nvSpPr>
            <p:spPr>
              <a:xfrm>
                <a:off x="3540159" y="3225930"/>
                <a:ext cx="764373" cy="42995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algn="ctr" defTabSz="913949"/>
                <a:r>
                  <a:rPr lang="en-US" sz="800" dirty="0">
                    <a:solidFill>
                      <a:prstClr val="white"/>
                    </a:solidFill>
                    <a:latin typeface="Segoe UI Semilight"/>
                    <a:cs typeface="Segoe UI Semilight"/>
                  </a:rPr>
                  <a:t>Understand </a:t>
                </a:r>
                <a:br>
                  <a:rPr lang="en-US" sz="800" dirty="0">
                    <a:solidFill>
                      <a:prstClr val="white"/>
                    </a:solidFill>
                    <a:latin typeface="Segoe UI Semilight"/>
                    <a:cs typeface="Segoe UI Semilight"/>
                  </a:rPr>
                </a:br>
                <a:r>
                  <a:rPr lang="en-US" sz="800" dirty="0">
                    <a:solidFill>
                      <a:prstClr val="white"/>
                    </a:solidFill>
                    <a:latin typeface="Segoe UI Semilight"/>
                    <a:cs typeface="Segoe UI Semilight"/>
                  </a:rPr>
                  <a:t>your </a:t>
                </a:r>
              </a:p>
              <a:p>
                <a:pPr algn="ctr" defTabSz="913949"/>
                <a:r>
                  <a:rPr lang="en-US" sz="800" dirty="0">
                    <a:solidFill>
                      <a:prstClr val="white"/>
                    </a:solidFill>
                    <a:latin typeface="Segoe UI Semilight"/>
                    <a:cs typeface="Segoe UI Semilight"/>
                  </a:rPr>
                  <a:t>customer </a:t>
                </a:r>
              </a:p>
            </p:txBody>
          </p:sp>
          <p:sp>
            <p:nvSpPr>
              <p:cNvPr id="91" name="TextBox 90"/>
              <p:cNvSpPr txBox="1"/>
              <p:nvPr/>
            </p:nvSpPr>
            <p:spPr>
              <a:xfrm>
                <a:off x="3499232" y="3659727"/>
                <a:ext cx="2646641" cy="225280"/>
              </a:xfrm>
              <a:prstGeom prst="rect">
                <a:avLst/>
              </a:prstGeom>
              <a:noFill/>
            </p:spPr>
            <p:txBody>
              <a:bodyPr wrap="square" bIns="0" rtlCol="0">
                <a:spAutoFit/>
              </a:bodyPr>
              <a:lstStyle/>
              <a:p>
                <a:pPr algn="ctr" defTabSz="544196"/>
                <a:r>
                  <a:rPr lang="en-US" sz="1100" dirty="0">
                    <a:solidFill>
                      <a:srgbClr val="3F3F3F"/>
                    </a:solidFill>
                    <a:latin typeface="Segoe UI Semibold"/>
                    <a:cs typeface="Segoe UI Semibold"/>
                  </a:rPr>
                  <a:t>ModernBiz</a:t>
                </a:r>
              </a:p>
            </p:txBody>
          </p:sp>
          <p:sp>
            <p:nvSpPr>
              <p:cNvPr id="96" name="TextBox 95"/>
              <p:cNvSpPr txBox="1"/>
              <p:nvPr/>
            </p:nvSpPr>
            <p:spPr>
              <a:xfrm>
                <a:off x="4819196" y="2705466"/>
                <a:ext cx="764373" cy="42995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algn="ctr" defTabSz="913949"/>
                <a:r>
                  <a:rPr lang="en-US" sz="800" dirty="0">
                    <a:solidFill>
                      <a:srgbClr val="4B0045"/>
                    </a:solidFill>
                    <a:latin typeface="Segoe UI Semilight"/>
                    <a:cs typeface="Segoe UI Semilight"/>
                  </a:rPr>
                  <a:t>Adapt to </a:t>
                </a:r>
                <a:br>
                  <a:rPr lang="en-US" sz="800" dirty="0">
                    <a:solidFill>
                      <a:srgbClr val="4B0045"/>
                    </a:solidFill>
                    <a:latin typeface="Segoe UI Semilight"/>
                    <a:cs typeface="Segoe UI Semilight"/>
                  </a:rPr>
                </a:br>
                <a:r>
                  <a:rPr lang="en-US" sz="800" dirty="0">
                    <a:solidFill>
                      <a:srgbClr val="4B0045"/>
                    </a:solidFill>
                    <a:latin typeface="Segoe UI Semilight"/>
                    <a:cs typeface="Segoe UI Semilight"/>
                  </a:rPr>
                  <a:t>change</a:t>
                </a:r>
              </a:p>
            </p:txBody>
          </p:sp>
          <p:sp>
            <p:nvSpPr>
              <p:cNvPr id="97" name="Block Arc 96"/>
              <p:cNvSpPr/>
              <p:nvPr/>
            </p:nvSpPr>
            <p:spPr bwMode="auto">
              <a:xfrm rot="5400000">
                <a:off x="3510740" y="2480785"/>
                <a:ext cx="2646642" cy="2646642"/>
              </a:xfrm>
              <a:prstGeom prst="blockArc">
                <a:avLst>
                  <a:gd name="adj1" fmla="val 13529147"/>
                  <a:gd name="adj2" fmla="val 16172180"/>
                  <a:gd name="adj3" fmla="val 26006"/>
                </a:avLst>
              </a:prstGeom>
              <a:solidFill>
                <a:srgbClr val="FD742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IN" sz="11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98" name="TextBox 97"/>
              <p:cNvSpPr txBox="1"/>
              <p:nvPr/>
            </p:nvSpPr>
            <p:spPr>
              <a:xfrm>
                <a:off x="5349893" y="3224060"/>
                <a:ext cx="824680" cy="42995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algn="ctr" defTabSz="913949"/>
                <a:r>
                  <a:rPr lang="en-US" sz="800" dirty="0">
                    <a:solidFill>
                      <a:srgbClr val="4B0045"/>
                    </a:solidFill>
                    <a:latin typeface="Segoe UI Semilight"/>
                    <a:cs typeface="Segoe UI Semilight"/>
                  </a:rPr>
                  <a:t>Get the </a:t>
                </a:r>
                <a:br>
                  <a:rPr lang="en-US" sz="800" dirty="0">
                    <a:solidFill>
                      <a:srgbClr val="4B0045"/>
                    </a:solidFill>
                    <a:latin typeface="Segoe UI Semilight"/>
                    <a:cs typeface="Segoe UI Semilight"/>
                  </a:rPr>
                </a:br>
                <a:r>
                  <a:rPr lang="en-US" sz="800" dirty="0">
                    <a:solidFill>
                      <a:srgbClr val="4B0045"/>
                    </a:solidFill>
                    <a:latin typeface="Segoe UI Semilight"/>
                    <a:cs typeface="Segoe UI Semilight"/>
                  </a:rPr>
                  <a:t>most out </a:t>
                </a:r>
                <a:br>
                  <a:rPr lang="en-US" sz="800" dirty="0">
                    <a:solidFill>
                      <a:srgbClr val="4B0045"/>
                    </a:solidFill>
                    <a:latin typeface="Segoe UI Semilight"/>
                    <a:cs typeface="Segoe UI Semilight"/>
                  </a:rPr>
                </a:br>
                <a:r>
                  <a:rPr lang="en-US" sz="800" dirty="0">
                    <a:solidFill>
                      <a:srgbClr val="4B0045"/>
                    </a:solidFill>
                    <a:latin typeface="Segoe UI Semilight"/>
                    <a:cs typeface="Segoe UI Semilight"/>
                  </a:rPr>
                  <a:t>of your</a:t>
                </a:r>
              </a:p>
              <a:p>
                <a:pPr algn="ctr" defTabSz="913949"/>
                <a:r>
                  <a:rPr lang="en-US" sz="800" dirty="0">
                    <a:solidFill>
                      <a:srgbClr val="4B0045"/>
                    </a:solidFill>
                    <a:latin typeface="Segoe UI Semilight"/>
                    <a:cs typeface="Segoe UI Semilight"/>
                  </a:rPr>
                  <a:t>technology</a:t>
                </a:r>
              </a:p>
            </p:txBody>
          </p:sp>
        </p:grpSp>
      </p:grpSp>
      <p:grpSp>
        <p:nvGrpSpPr>
          <p:cNvPr id="5" name="Group 4"/>
          <p:cNvGrpSpPr/>
          <p:nvPr/>
        </p:nvGrpSpPr>
        <p:grpSpPr>
          <a:xfrm>
            <a:off x="1385367" y="840736"/>
            <a:ext cx="632232" cy="632232"/>
            <a:chOff x="1385367" y="840736"/>
            <a:chExt cx="632232" cy="632232"/>
          </a:xfrm>
        </p:grpSpPr>
        <p:sp>
          <p:nvSpPr>
            <p:cNvPr id="2" name="Rectangle 1"/>
            <p:cNvSpPr/>
            <p:nvPr/>
          </p:nvSpPr>
          <p:spPr>
            <a:xfrm>
              <a:off x="1385367" y="840736"/>
              <a:ext cx="632232" cy="632232"/>
            </a:xfrm>
            <a:prstGeom prst="rect">
              <a:avLst/>
            </a:prstGeom>
            <a:solidFill>
              <a:srgbClr val="2741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Freeform 9"/>
            <p:cNvSpPr>
              <a:spLocks noEditPoints="1"/>
            </p:cNvSpPr>
            <p:nvPr/>
          </p:nvSpPr>
          <p:spPr bwMode="black">
            <a:xfrm>
              <a:off x="1385367" y="840736"/>
              <a:ext cx="629673" cy="632232"/>
            </a:xfrm>
            <a:custGeom>
              <a:avLst/>
              <a:gdLst>
                <a:gd name="T0" fmla="*/ 88 w 149"/>
                <a:gd name="T1" fmla="*/ 67 h 149"/>
                <a:gd name="T2" fmla="*/ 65 w 149"/>
                <a:gd name="T3" fmla="*/ 46 h 149"/>
                <a:gd name="T4" fmla="*/ 84 w 149"/>
                <a:gd name="T5" fmla="*/ 46 h 149"/>
                <a:gd name="T6" fmla="*/ 115 w 149"/>
                <a:gd name="T7" fmla="*/ 75 h 149"/>
                <a:gd name="T8" fmla="*/ 84 w 149"/>
                <a:gd name="T9" fmla="*/ 104 h 149"/>
                <a:gd name="T10" fmla="*/ 65 w 149"/>
                <a:gd name="T11" fmla="*/ 104 h 149"/>
                <a:gd name="T12" fmla="*/ 88 w 149"/>
                <a:gd name="T13" fmla="*/ 82 h 149"/>
                <a:gd name="T14" fmla="*/ 36 w 149"/>
                <a:gd name="T15" fmla="*/ 82 h 149"/>
                <a:gd name="T16" fmla="*/ 36 w 149"/>
                <a:gd name="T17" fmla="*/ 67 h 149"/>
                <a:gd name="T18" fmla="*/ 88 w 149"/>
                <a:gd name="T19" fmla="*/ 67 h 149"/>
                <a:gd name="T20" fmla="*/ 74 w 149"/>
                <a:gd name="T21" fmla="*/ 9 h 149"/>
                <a:gd name="T22" fmla="*/ 140 w 149"/>
                <a:gd name="T23" fmla="*/ 75 h 149"/>
                <a:gd name="T24" fmla="*/ 74 w 149"/>
                <a:gd name="T25" fmla="*/ 140 h 149"/>
                <a:gd name="T26" fmla="*/ 9 w 149"/>
                <a:gd name="T27" fmla="*/ 75 h 149"/>
                <a:gd name="T28" fmla="*/ 74 w 149"/>
                <a:gd name="T29" fmla="*/ 9 h 149"/>
                <a:gd name="T30" fmla="*/ 74 w 149"/>
                <a:gd name="T31" fmla="*/ 0 h 149"/>
                <a:gd name="T32" fmla="*/ 0 w 149"/>
                <a:gd name="T33" fmla="*/ 75 h 149"/>
                <a:gd name="T34" fmla="*/ 74 w 149"/>
                <a:gd name="T35" fmla="*/ 149 h 149"/>
                <a:gd name="T36" fmla="*/ 149 w 149"/>
                <a:gd name="T37" fmla="*/ 75 h 149"/>
                <a:gd name="T38" fmla="*/ 74 w 149"/>
                <a:gd name="T3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9" h="149">
                  <a:moveTo>
                    <a:pt x="88" y="67"/>
                  </a:moveTo>
                  <a:cubicBezTo>
                    <a:pt x="65" y="46"/>
                    <a:pt x="65" y="46"/>
                    <a:pt x="65" y="46"/>
                  </a:cubicBezTo>
                  <a:cubicBezTo>
                    <a:pt x="84" y="46"/>
                    <a:pt x="84" y="46"/>
                    <a:pt x="84" y="46"/>
                  </a:cubicBezTo>
                  <a:cubicBezTo>
                    <a:pt x="115" y="75"/>
                    <a:pt x="115" y="75"/>
                    <a:pt x="115" y="75"/>
                  </a:cubicBezTo>
                  <a:cubicBezTo>
                    <a:pt x="84" y="104"/>
                    <a:pt x="84" y="104"/>
                    <a:pt x="84" y="104"/>
                  </a:cubicBezTo>
                  <a:cubicBezTo>
                    <a:pt x="65" y="104"/>
                    <a:pt x="65" y="104"/>
                    <a:pt x="65" y="104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6" y="67"/>
                    <a:pt x="36" y="67"/>
                    <a:pt x="36" y="67"/>
                  </a:cubicBezTo>
                  <a:lnTo>
                    <a:pt x="88" y="67"/>
                  </a:lnTo>
                  <a:close/>
                  <a:moveTo>
                    <a:pt x="74" y="9"/>
                  </a:moveTo>
                  <a:cubicBezTo>
                    <a:pt x="110" y="9"/>
                    <a:pt x="140" y="39"/>
                    <a:pt x="140" y="75"/>
                  </a:cubicBezTo>
                  <a:cubicBezTo>
                    <a:pt x="140" y="111"/>
                    <a:pt x="110" y="140"/>
                    <a:pt x="74" y="140"/>
                  </a:cubicBezTo>
                  <a:cubicBezTo>
                    <a:pt x="38" y="140"/>
                    <a:pt x="9" y="111"/>
                    <a:pt x="9" y="75"/>
                  </a:cubicBezTo>
                  <a:cubicBezTo>
                    <a:pt x="9" y="39"/>
                    <a:pt x="38" y="9"/>
                    <a:pt x="74" y="9"/>
                  </a:cubicBezTo>
                  <a:moveTo>
                    <a:pt x="74" y="0"/>
                  </a:moveTo>
                  <a:cubicBezTo>
                    <a:pt x="33" y="0"/>
                    <a:pt x="0" y="33"/>
                    <a:pt x="0" y="75"/>
                  </a:cubicBezTo>
                  <a:cubicBezTo>
                    <a:pt x="0" y="116"/>
                    <a:pt x="33" y="149"/>
                    <a:pt x="74" y="149"/>
                  </a:cubicBezTo>
                  <a:cubicBezTo>
                    <a:pt x="116" y="149"/>
                    <a:pt x="149" y="116"/>
                    <a:pt x="149" y="75"/>
                  </a:cubicBezTo>
                  <a:cubicBezTo>
                    <a:pt x="149" y="33"/>
                    <a:pt x="116" y="0"/>
                    <a:pt x="74" y="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8" tIns="34293" rIns="68588" bIns="34293" numCol="1" anchor="t" anchorCtr="0" compatLnSpc="1">
              <a:prstTxWarp prst="textNoShape">
                <a:avLst/>
              </a:prstTxWarp>
            </a:bodyPr>
            <a:lstStyle/>
            <a:p>
              <a:endParaRPr lang="en-US" sz="1324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3301198" y="861926"/>
            <a:ext cx="632232" cy="632232"/>
            <a:chOff x="3301198" y="861926"/>
            <a:chExt cx="632232" cy="632232"/>
          </a:xfrm>
        </p:grpSpPr>
        <p:sp>
          <p:nvSpPr>
            <p:cNvPr id="28" name="Rectangle 27"/>
            <p:cNvSpPr/>
            <p:nvPr/>
          </p:nvSpPr>
          <p:spPr>
            <a:xfrm>
              <a:off x="3301198" y="861926"/>
              <a:ext cx="632232" cy="632232"/>
            </a:xfrm>
            <a:prstGeom prst="rect">
              <a:avLst/>
            </a:prstGeom>
            <a:solidFill>
              <a:srgbClr val="E0E0E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Freeform 9"/>
            <p:cNvSpPr>
              <a:spLocks noEditPoints="1"/>
            </p:cNvSpPr>
            <p:nvPr/>
          </p:nvSpPr>
          <p:spPr bwMode="black">
            <a:xfrm>
              <a:off x="3301198" y="861926"/>
              <a:ext cx="629673" cy="632232"/>
            </a:xfrm>
            <a:custGeom>
              <a:avLst/>
              <a:gdLst>
                <a:gd name="T0" fmla="*/ 88 w 149"/>
                <a:gd name="T1" fmla="*/ 67 h 149"/>
                <a:gd name="T2" fmla="*/ 65 w 149"/>
                <a:gd name="T3" fmla="*/ 46 h 149"/>
                <a:gd name="T4" fmla="*/ 84 w 149"/>
                <a:gd name="T5" fmla="*/ 46 h 149"/>
                <a:gd name="T6" fmla="*/ 115 w 149"/>
                <a:gd name="T7" fmla="*/ 75 h 149"/>
                <a:gd name="T8" fmla="*/ 84 w 149"/>
                <a:gd name="T9" fmla="*/ 104 h 149"/>
                <a:gd name="T10" fmla="*/ 65 w 149"/>
                <a:gd name="T11" fmla="*/ 104 h 149"/>
                <a:gd name="T12" fmla="*/ 88 w 149"/>
                <a:gd name="T13" fmla="*/ 82 h 149"/>
                <a:gd name="T14" fmla="*/ 36 w 149"/>
                <a:gd name="T15" fmla="*/ 82 h 149"/>
                <a:gd name="T16" fmla="*/ 36 w 149"/>
                <a:gd name="T17" fmla="*/ 67 h 149"/>
                <a:gd name="T18" fmla="*/ 88 w 149"/>
                <a:gd name="T19" fmla="*/ 67 h 149"/>
                <a:gd name="T20" fmla="*/ 74 w 149"/>
                <a:gd name="T21" fmla="*/ 9 h 149"/>
                <a:gd name="T22" fmla="*/ 140 w 149"/>
                <a:gd name="T23" fmla="*/ 75 h 149"/>
                <a:gd name="T24" fmla="*/ 74 w 149"/>
                <a:gd name="T25" fmla="*/ 140 h 149"/>
                <a:gd name="T26" fmla="*/ 9 w 149"/>
                <a:gd name="T27" fmla="*/ 75 h 149"/>
                <a:gd name="T28" fmla="*/ 74 w 149"/>
                <a:gd name="T29" fmla="*/ 9 h 149"/>
                <a:gd name="T30" fmla="*/ 74 w 149"/>
                <a:gd name="T31" fmla="*/ 0 h 149"/>
                <a:gd name="T32" fmla="*/ 0 w 149"/>
                <a:gd name="T33" fmla="*/ 75 h 149"/>
                <a:gd name="T34" fmla="*/ 74 w 149"/>
                <a:gd name="T35" fmla="*/ 149 h 149"/>
                <a:gd name="T36" fmla="*/ 149 w 149"/>
                <a:gd name="T37" fmla="*/ 75 h 149"/>
                <a:gd name="T38" fmla="*/ 74 w 149"/>
                <a:gd name="T3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9" h="149">
                  <a:moveTo>
                    <a:pt x="88" y="67"/>
                  </a:moveTo>
                  <a:cubicBezTo>
                    <a:pt x="65" y="46"/>
                    <a:pt x="65" y="46"/>
                    <a:pt x="65" y="46"/>
                  </a:cubicBezTo>
                  <a:cubicBezTo>
                    <a:pt x="84" y="46"/>
                    <a:pt x="84" y="46"/>
                    <a:pt x="84" y="46"/>
                  </a:cubicBezTo>
                  <a:cubicBezTo>
                    <a:pt x="115" y="75"/>
                    <a:pt x="115" y="75"/>
                    <a:pt x="115" y="75"/>
                  </a:cubicBezTo>
                  <a:cubicBezTo>
                    <a:pt x="84" y="104"/>
                    <a:pt x="84" y="104"/>
                    <a:pt x="84" y="104"/>
                  </a:cubicBezTo>
                  <a:cubicBezTo>
                    <a:pt x="65" y="104"/>
                    <a:pt x="65" y="104"/>
                    <a:pt x="65" y="104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6" y="67"/>
                    <a:pt x="36" y="67"/>
                    <a:pt x="36" y="67"/>
                  </a:cubicBezTo>
                  <a:lnTo>
                    <a:pt x="88" y="67"/>
                  </a:lnTo>
                  <a:close/>
                  <a:moveTo>
                    <a:pt x="74" y="9"/>
                  </a:moveTo>
                  <a:cubicBezTo>
                    <a:pt x="110" y="9"/>
                    <a:pt x="140" y="39"/>
                    <a:pt x="140" y="75"/>
                  </a:cubicBezTo>
                  <a:cubicBezTo>
                    <a:pt x="140" y="111"/>
                    <a:pt x="110" y="140"/>
                    <a:pt x="74" y="140"/>
                  </a:cubicBezTo>
                  <a:cubicBezTo>
                    <a:pt x="38" y="140"/>
                    <a:pt x="9" y="111"/>
                    <a:pt x="9" y="75"/>
                  </a:cubicBezTo>
                  <a:cubicBezTo>
                    <a:pt x="9" y="39"/>
                    <a:pt x="38" y="9"/>
                    <a:pt x="74" y="9"/>
                  </a:cubicBezTo>
                  <a:moveTo>
                    <a:pt x="74" y="0"/>
                  </a:moveTo>
                  <a:cubicBezTo>
                    <a:pt x="33" y="0"/>
                    <a:pt x="0" y="33"/>
                    <a:pt x="0" y="75"/>
                  </a:cubicBezTo>
                  <a:cubicBezTo>
                    <a:pt x="0" y="116"/>
                    <a:pt x="33" y="149"/>
                    <a:pt x="74" y="149"/>
                  </a:cubicBezTo>
                  <a:cubicBezTo>
                    <a:pt x="116" y="149"/>
                    <a:pt x="149" y="116"/>
                    <a:pt x="149" y="75"/>
                  </a:cubicBezTo>
                  <a:cubicBezTo>
                    <a:pt x="149" y="33"/>
                    <a:pt x="116" y="0"/>
                    <a:pt x="74" y="0"/>
                  </a:cubicBezTo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8" tIns="34293" rIns="68588" bIns="34293" numCol="1" anchor="t" anchorCtr="0" compatLnSpc="1">
              <a:prstTxWarp prst="textNoShape">
                <a:avLst/>
              </a:prstTxWarp>
            </a:bodyPr>
            <a:lstStyle/>
            <a:p>
              <a:endParaRPr lang="en-US" sz="1324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674601" y="2072376"/>
            <a:ext cx="411030" cy="411030"/>
            <a:chOff x="1385367" y="840736"/>
            <a:chExt cx="632232" cy="632232"/>
          </a:xfrm>
        </p:grpSpPr>
        <p:sp>
          <p:nvSpPr>
            <p:cNvPr id="33" name="Rectangle 32"/>
            <p:cNvSpPr/>
            <p:nvPr/>
          </p:nvSpPr>
          <p:spPr>
            <a:xfrm>
              <a:off x="1385367" y="840736"/>
              <a:ext cx="632232" cy="632232"/>
            </a:xfrm>
            <a:prstGeom prst="rect">
              <a:avLst/>
            </a:prstGeom>
            <a:solidFill>
              <a:srgbClr val="E0E0E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Freeform 9"/>
            <p:cNvSpPr>
              <a:spLocks noEditPoints="1"/>
            </p:cNvSpPr>
            <p:nvPr/>
          </p:nvSpPr>
          <p:spPr bwMode="black">
            <a:xfrm>
              <a:off x="1385367" y="840736"/>
              <a:ext cx="629673" cy="632232"/>
            </a:xfrm>
            <a:custGeom>
              <a:avLst/>
              <a:gdLst>
                <a:gd name="T0" fmla="*/ 88 w 149"/>
                <a:gd name="T1" fmla="*/ 67 h 149"/>
                <a:gd name="T2" fmla="*/ 65 w 149"/>
                <a:gd name="T3" fmla="*/ 46 h 149"/>
                <a:gd name="T4" fmla="*/ 84 w 149"/>
                <a:gd name="T5" fmla="*/ 46 h 149"/>
                <a:gd name="T6" fmla="*/ 115 w 149"/>
                <a:gd name="T7" fmla="*/ 75 h 149"/>
                <a:gd name="T8" fmla="*/ 84 w 149"/>
                <a:gd name="T9" fmla="*/ 104 h 149"/>
                <a:gd name="T10" fmla="*/ 65 w 149"/>
                <a:gd name="T11" fmla="*/ 104 h 149"/>
                <a:gd name="T12" fmla="*/ 88 w 149"/>
                <a:gd name="T13" fmla="*/ 82 h 149"/>
                <a:gd name="T14" fmla="*/ 36 w 149"/>
                <a:gd name="T15" fmla="*/ 82 h 149"/>
                <a:gd name="T16" fmla="*/ 36 w 149"/>
                <a:gd name="T17" fmla="*/ 67 h 149"/>
                <a:gd name="T18" fmla="*/ 88 w 149"/>
                <a:gd name="T19" fmla="*/ 67 h 149"/>
                <a:gd name="T20" fmla="*/ 74 w 149"/>
                <a:gd name="T21" fmla="*/ 9 h 149"/>
                <a:gd name="T22" fmla="*/ 140 w 149"/>
                <a:gd name="T23" fmla="*/ 75 h 149"/>
                <a:gd name="T24" fmla="*/ 74 w 149"/>
                <a:gd name="T25" fmla="*/ 140 h 149"/>
                <a:gd name="T26" fmla="*/ 9 w 149"/>
                <a:gd name="T27" fmla="*/ 75 h 149"/>
                <a:gd name="T28" fmla="*/ 74 w 149"/>
                <a:gd name="T29" fmla="*/ 9 h 149"/>
                <a:gd name="T30" fmla="*/ 74 w 149"/>
                <a:gd name="T31" fmla="*/ 0 h 149"/>
                <a:gd name="T32" fmla="*/ 0 w 149"/>
                <a:gd name="T33" fmla="*/ 75 h 149"/>
                <a:gd name="T34" fmla="*/ 74 w 149"/>
                <a:gd name="T35" fmla="*/ 149 h 149"/>
                <a:gd name="T36" fmla="*/ 149 w 149"/>
                <a:gd name="T37" fmla="*/ 75 h 149"/>
                <a:gd name="T38" fmla="*/ 74 w 149"/>
                <a:gd name="T3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9" h="149">
                  <a:moveTo>
                    <a:pt x="88" y="67"/>
                  </a:moveTo>
                  <a:cubicBezTo>
                    <a:pt x="65" y="46"/>
                    <a:pt x="65" y="46"/>
                    <a:pt x="65" y="46"/>
                  </a:cubicBezTo>
                  <a:cubicBezTo>
                    <a:pt x="84" y="46"/>
                    <a:pt x="84" y="46"/>
                    <a:pt x="84" y="46"/>
                  </a:cubicBezTo>
                  <a:cubicBezTo>
                    <a:pt x="115" y="75"/>
                    <a:pt x="115" y="75"/>
                    <a:pt x="115" y="75"/>
                  </a:cubicBezTo>
                  <a:cubicBezTo>
                    <a:pt x="84" y="104"/>
                    <a:pt x="84" y="104"/>
                    <a:pt x="84" y="104"/>
                  </a:cubicBezTo>
                  <a:cubicBezTo>
                    <a:pt x="65" y="104"/>
                    <a:pt x="65" y="104"/>
                    <a:pt x="65" y="104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6" y="67"/>
                    <a:pt x="36" y="67"/>
                    <a:pt x="36" y="67"/>
                  </a:cubicBezTo>
                  <a:lnTo>
                    <a:pt x="88" y="67"/>
                  </a:lnTo>
                  <a:close/>
                  <a:moveTo>
                    <a:pt x="74" y="9"/>
                  </a:moveTo>
                  <a:cubicBezTo>
                    <a:pt x="110" y="9"/>
                    <a:pt x="140" y="39"/>
                    <a:pt x="140" y="75"/>
                  </a:cubicBezTo>
                  <a:cubicBezTo>
                    <a:pt x="140" y="111"/>
                    <a:pt x="110" y="140"/>
                    <a:pt x="74" y="140"/>
                  </a:cubicBezTo>
                  <a:cubicBezTo>
                    <a:pt x="38" y="140"/>
                    <a:pt x="9" y="111"/>
                    <a:pt x="9" y="75"/>
                  </a:cubicBezTo>
                  <a:cubicBezTo>
                    <a:pt x="9" y="39"/>
                    <a:pt x="38" y="9"/>
                    <a:pt x="74" y="9"/>
                  </a:cubicBezTo>
                  <a:moveTo>
                    <a:pt x="74" y="0"/>
                  </a:moveTo>
                  <a:cubicBezTo>
                    <a:pt x="33" y="0"/>
                    <a:pt x="0" y="33"/>
                    <a:pt x="0" y="75"/>
                  </a:cubicBezTo>
                  <a:cubicBezTo>
                    <a:pt x="0" y="116"/>
                    <a:pt x="33" y="149"/>
                    <a:pt x="74" y="149"/>
                  </a:cubicBezTo>
                  <a:cubicBezTo>
                    <a:pt x="116" y="149"/>
                    <a:pt x="149" y="116"/>
                    <a:pt x="149" y="75"/>
                  </a:cubicBezTo>
                  <a:cubicBezTo>
                    <a:pt x="149" y="33"/>
                    <a:pt x="116" y="0"/>
                    <a:pt x="74" y="0"/>
                  </a:cubicBezTo>
                </a:path>
              </a:pathLst>
            </a:custGeom>
            <a:solidFill>
              <a:srgbClr val="4B00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8" tIns="34293" rIns="68588" bIns="34293" numCol="1" anchor="t" anchorCtr="0" compatLnSpc="1">
              <a:prstTxWarp prst="textNoShape">
                <a:avLst/>
              </a:prstTxWarp>
            </a:bodyPr>
            <a:lstStyle/>
            <a:p>
              <a:endParaRPr lang="en-US" sz="1324" dirty="0">
                <a:solidFill>
                  <a:srgbClr val="000000"/>
                </a:solidFill>
              </a:endParaRPr>
            </a:p>
          </p:txBody>
        </p:sp>
      </p:grpSp>
      <p:sp>
        <p:nvSpPr>
          <p:cNvPr id="35" name="Rectangle 34"/>
          <p:cNvSpPr/>
          <p:nvPr/>
        </p:nvSpPr>
        <p:spPr>
          <a:xfrm>
            <a:off x="880116" y="3322605"/>
            <a:ext cx="632232" cy="632232"/>
          </a:xfrm>
          <a:prstGeom prst="rect">
            <a:avLst/>
          </a:prstGeom>
          <a:solidFill>
            <a:srgbClr val="660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7" name="Group 36"/>
          <p:cNvGrpSpPr/>
          <p:nvPr/>
        </p:nvGrpSpPr>
        <p:grpSpPr>
          <a:xfrm>
            <a:off x="1809525" y="2072376"/>
            <a:ext cx="411030" cy="411030"/>
            <a:chOff x="1385367" y="840736"/>
            <a:chExt cx="632232" cy="632232"/>
          </a:xfrm>
        </p:grpSpPr>
        <p:sp>
          <p:nvSpPr>
            <p:cNvPr id="38" name="Rectangle 37"/>
            <p:cNvSpPr/>
            <p:nvPr/>
          </p:nvSpPr>
          <p:spPr>
            <a:xfrm>
              <a:off x="1385367" y="840736"/>
              <a:ext cx="632232" cy="632232"/>
            </a:xfrm>
            <a:prstGeom prst="rect">
              <a:avLst/>
            </a:prstGeom>
            <a:solidFill>
              <a:srgbClr val="6699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Freeform 9"/>
            <p:cNvSpPr>
              <a:spLocks noEditPoints="1"/>
            </p:cNvSpPr>
            <p:nvPr/>
          </p:nvSpPr>
          <p:spPr bwMode="black">
            <a:xfrm>
              <a:off x="1385367" y="840736"/>
              <a:ext cx="629673" cy="632232"/>
            </a:xfrm>
            <a:custGeom>
              <a:avLst/>
              <a:gdLst>
                <a:gd name="T0" fmla="*/ 88 w 149"/>
                <a:gd name="T1" fmla="*/ 67 h 149"/>
                <a:gd name="T2" fmla="*/ 65 w 149"/>
                <a:gd name="T3" fmla="*/ 46 h 149"/>
                <a:gd name="T4" fmla="*/ 84 w 149"/>
                <a:gd name="T5" fmla="*/ 46 h 149"/>
                <a:gd name="T6" fmla="*/ 115 w 149"/>
                <a:gd name="T7" fmla="*/ 75 h 149"/>
                <a:gd name="T8" fmla="*/ 84 w 149"/>
                <a:gd name="T9" fmla="*/ 104 h 149"/>
                <a:gd name="T10" fmla="*/ 65 w 149"/>
                <a:gd name="T11" fmla="*/ 104 h 149"/>
                <a:gd name="T12" fmla="*/ 88 w 149"/>
                <a:gd name="T13" fmla="*/ 82 h 149"/>
                <a:gd name="T14" fmla="*/ 36 w 149"/>
                <a:gd name="T15" fmla="*/ 82 h 149"/>
                <a:gd name="T16" fmla="*/ 36 w 149"/>
                <a:gd name="T17" fmla="*/ 67 h 149"/>
                <a:gd name="T18" fmla="*/ 88 w 149"/>
                <a:gd name="T19" fmla="*/ 67 h 149"/>
                <a:gd name="T20" fmla="*/ 74 w 149"/>
                <a:gd name="T21" fmla="*/ 9 h 149"/>
                <a:gd name="T22" fmla="*/ 140 w 149"/>
                <a:gd name="T23" fmla="*/ 75 h 149"/>
                <a:gd name="T24" fmla="*/ 74 w 149"/>
                <a:gd name="T25" fmla="*/ 140 h 149"/>
                <a:gd name="T26" fmla="*/ 9 w 149"/>
                <a:gd name="T27" fmla="*/ 75 h 149"/>
                <a:gd name="T28" fmla="*/ 74 w 149"/>
                <a:gd name="T29" fmla="*/ 9 h 149"/>
                <a:gd name="T30" fmla="*/ 74 w 149"/>
                <a:gd name="T31" fmla="*/ 0 h 149"/>
                <a:gd name="T32" fmla="*/ 0 w 149"/>
                <a:gd name="T33" fmla="*/ 75 h 149"/>
                <a:gd name="T34" fmla="*/ 74 w 149"/>
                <a:gd name="T35" fmla="*/ 149 h 149"/>
                <a:gd name="T36" fmla="*/ 149 w 149"/>
                <a:gd name="T37" fmla="*/ 75 h 149"/>
                <a:gd name="T38" fmla="*/ 74 w 149"/>
                <a:gd name="T3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9" h="149">
                  <a:moveTo>
                    <a:pt x="88" y="67"/>
                  </a:moveTo>
                  <a:cubicBezTo>
                    <a:pt x="65" y="46"/>
                    <a:pt x="65" y="46"/>
                    <a:pt x="65" y="46"/>
                  </a:cubicBezTo>
                  <a:cubicBezTo>
                    <a:pt x="84" y="46"/>
                    <a:pt x="84" y="46"/>
                    <a:pt x="84" y="46"/>
                  </a:cubicBezTo>
                  <a:cubicBezTo>
                    <a:pt x="115" y="75"/>
                    <a:pt x="115" y="75"/>
                    <a:pt x="115" y="75"/>
                  </a:cubicBezTo>
                  <a:cubicBezTo>
                    <a:pt x="84" y="104"/>
                    <a:pt x="84" y="104"/>
                    <a:pt x="84" y="104"/>
                  </a:cubicBezTo>
                  <a:cubicBezTo>
                    <a:pt x="65" y="104"/>
                    <a:pt x="65" y="104"/>
                    <a:pt x="65" y="104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6" y="67"/>
                    <a:pt x="36" y="67"/>
                    <a:pt x="36" y="67"/>
                  </a:cubicBezTo>
                  <a:lnTo>
                    <a:pt x="88" y="67"/>
                  </a:lnTo>
                  <a:close/>
                  <a:moveTo>
                    <a:pt x="74" y="9"/>
                  </a:moveTo>
                  <a:cubicBezTo>
                    <a:pt x="110" y="9"/>
                    <a:pt x="140" y="39"/>
                    <a:pt x="140" y="75"/>
                  </a:cubicBezTo>
                  <a:cubicBezTo>
                    <a:pt x="140" y="111"/>
                    <a:pt x="110" y="140"/>
                    <a:pt x="74" y="140"/>
                  </a:cubicBezTo>
                  <a:cubicBezTo>
                    <a:pt x="38" y="140"/>
                    <a:pt x="9" y="111"/>
                    <a:pt x="9" y="75"/>
                  </a:cubicBezTo>
                  <a:cubicBezTo>
                    <a:pt x="9" y="39"/>
                    <a:pt x="38" y="9"/>
                    <a:pt x="74" y="9"/>
                  </a:cubicBezTo>
                  <a:moveTo>
                    <a:pt x="74" y="0"/>
                  </a:moveTo>
                  <a:cubicBezTo>
                    <a:pt x="33" y="0"/>
                    <a:pt x="0" y="33"/>
                    <a:pt x="0" y="75"/>
                  </a:cubicBezTo>
                  <a:cubicBezTo>
                    <a:pt x="0" y="116"/>
                    <a:pt x="33" y="149"/>
                    <a:pt x="74" y="149"/>
                  </a:cubicBezTo>
                  <a:cubicBezTo>
                    <a:pt x="116" y="149"/>
                    <a:pt x="149" y="116"/>
                    <a:pt x="149" y="75"/>
                  </a:cubicBezTo>
                  <a:cubicBezTo>
                    <a:pt x="149" y="33"/>
                    <a:pt x="116" y="0"/>
                    <a:pt x="74" y="0"/>
                  </a:cubicBezTo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8" tIns="34293" rIns="68588" bIns="34293" numCol="1" anchor="t" anchorCtr="0" compatLnSpc="1">
              <a:prstTxWarp prst="textNoShape">
                <a:avLst/>
              </a:prstTxWarp>
            </a:bodyPr>
            <a:lstStyle/>
            <a:p>
              <a:endParaRPr lang="en-US" sz="1324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44" name="Group 143"/>
          <p:cNvGrpSpPr/>
          <p:nvPr/>
        </p:nvGrpSpPr>
        <p:grpSpPr>
          <a:xfrm>
            <a:off x="8475594" y="4620389"/>
            <a:ext cx="1354171" cy="1357298"/>
            <a:chOff x="3583878" y="2065992"/>
            <a:chExt cx="1354171" cy="1357298"/>
          </a:xfrm>
        </p:grpSpPr>
        <p:sp>
          <p:nvSpPr>
            <p:cNvPr id="145" name="Rectangle 144"/>
            <p:cNvSpPr/>
            <p:nvPr/>
          </p:nvSpPr>
          <p:spPr bwMode="auto">
            <a:xfrm>
              <a:off x="3583878" y="2065992"/>
              <a:ext cx="1354171" cy="1357298"/>
            </a:xfrm>
            <a:prstGeom prst="rect">
              <a:avLst/>
            </a:prstGeom>
            <a:solidFill>
              <a:srgbClr val="68217A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248694" tIns="124347" rIns="248694" bIns="19895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74320" marR="0" lvl="0" indent="0" defTabSz="1268069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4" b="0" i="0" u="none" strike="noStrike" kern="0" cap="none" spc="0" normalizeH="0" baseline="0" noProof="0" dirty="0" smtClean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146" name="Group 145"/>
            <p:cNvGrpSpPr/>
            <p:nvPr/>
          </p:nvGrpSpPr>
          <p:grpSpPr>
            <a:xfrm>
              <a:off x="3706812" y="2398733"/>
              <a:ext cx="1108302" cy="691815"/>
              <a:chOff x="8918575" y="2044700"/>
              <a:chExt cx="1508122" cy="941388"/>
            </a:xfrm>
            <a:solidFill>
              <a:srgbClr val="FFFFFF"/>
            </a:solidFill>
          </p:grpSpPr>
          <p:sp>
            <p:nvSpPr>
              <p:cNvPr id="147" name="Freeform 76"/>
              <p:cNvSpPr>
                <a:spLocks/>
              </p:cNvSpPr>
              <p:nvPr/>
            </p:nvSpPr>
            <p:spPr bwMode="auto">
              <a:xfrm>
                <a:off x="8926512" y="2044700"/>
                <a:ext cx="427038" cy="155575"/>
              </a:xfrm>
              <a:custGeom>
                <a:avLst/>
                <a:gdLst>
                  <a:gd name="T0" fmla="*/ 0 w 113"/>
                  <a:gd name="T1" fmla="*/ 41 h 41"/>
                  <a:gd name="T2" fmla="*/ 14 w 113"/>
                  <a:gd name="T3" fmla="*/ 37 h 41"/>
                  <a:gd name="T4" fmla="*/ 104 w 113"/>
                  <a:gd name="T5" fmla="*/ 37 h 41"/>
                  <a:gd name="T6" fmla="*/ 113 w 113"/>
                  <a:gd name="T7" fmla="*/ 39 h 41"/>
                  <a:gd name="T8" fmla="*/ 101 w 113"/>
                  <a:gd name="T9" fmla="*/ 14 h 41"/>
                  <a:gd name="T10" fmla="*/ 78 w 113"/>
                  <a:gd name="T11" fmla="*/ 0 h 41"/>
                  <a:gd name="T12" fmla="*/ 38 w 113"/>
                  <a:gd name="T13" fmla="*/ 0 h 41"/>
                  <a:gd name="T14" fmla="*/ 15 w 113"/>
                  <a:gd name="T15" fmla="*/ 14 h 41"/>
                  <a:gd name="T16" fmla="*/ 0 w 113"/>
                  <a:gd name="T17" fmla="*/ 41 h 41"/>
                  <a:gd name="T18" fmla="*/ 0 w 113"/>
                  <a:gd name="T19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3" h="41">
                    <a:moveTo>
                      <a:pt x="0" y="41"/>
                    </a:moveTo>
                    <a:cubicBezTo>
                      <a:pt x="4" y="38"/>
                      <a:pt x="9" y="37"/>
                      <a:pt x="14" y="37"/>
                    </a:cubicBezTo>
                    <a:cubicBezTo>
                      <a:pt x="104" y="37"/>
                      <a:pt x="104" y="37"/>
                      <a:pt x="104" y="37"/>
                    </a:cubicBezTo>
                    <a:cubicBezTo>
                      <a:pt x="106" y="37"/>
                      <a:pt x="110" y="38"/>
                      <a:pt x="113" y="39"/>
                    </a:cubicBezTo>
                    <a:cubicBezTo>
                      <a:pt x="101" y="14"/>
                      <a:pt x="101" y="14"/>
                      <a:pt x="101" y="14"/>
                    </a:cubicBezTo>
                    <a:cubicBezTo>
                      <a:pt x="97" y="6"/>
                      <a:pt x="86" y="0"/>
                      <a:pt x="78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29" y="0"/>
                      <a:pt x="19" y="6"/>
                      <a:pt x="15" y="14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4347" tIns="62174" rIns="124347" bIns="62174" numCol="1" anchor="t" anchorCtr="0" compatLnSpc="1">
                <a:prstTxWarp prst="textNoShape">
                  <a:avLst/>
                </a:prstTxWarp>
              </a:bodyPr>
              <a:lstStyle/>
              <a:p>
                <a:pPr marL="274320" marR="0" lvl="0" indent="0" defTabSz="62179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329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48" name="Freeform 77"/>
              <p:cNvSpPr>
                <a:spLocks noEditPoints="1"/>
              </p:cNvSpPr>
              <p:nvPr/>
            </p:nvSpPr>
            <p:spPr bwMode="auto">
              <a:xfrm>
                <a:off x="8918575" y="2216150"/>
                <a:ext cx="457200" cy="769938"/>
              </a:xfrm>
              <a:custGeom>
                <a:avLst/>
                <a:gdLst>
                  <a:gd name="T0" fmla="*/ 114 w 121"/>
                  <a:gd name="T1" fmla="*/ 2 h 203"/>
                  <a:gd name="T2" fmla="*/ 106 w 121"/>
                  <a:gd name="T3" fmla="*/ 0 h 203"/>
                  <a:gd name="T4" fmla="*/ 17 w 121"/>
                  <a:gd name="T5" fmla="*/ 0 h 203"/>
                  <a:gd name="T6" fmla="*/ 9 w 121"/>
                  <a:gd name="T7" fmla="*/ 2 h 203"/>
                  <a:gd name="T8" fmla="*/ 0 w 121"/>
                  <a:gd name="T9" fmla="*/ 16 h 203"/>
                  <a:gd name="T10" fmla="*/ 0 w 121"/>
                  <a:gd name="T11" fmla="*/ 187 h 203"/>
                  <a:gd name="T12" fmla="*/ 17 w 121"/>
                  <a:gd name="T13" fmla="*/ 203 h 203"/>
                  <a:gd name="T14" fmla="*/ 106 w 121"/>
                  <a:gd name="T15" fmla="*/ 203 h 203"/>
                  <a:gd name="T16" fmla="*/ 121 w 121"/>
                  <a:gd name="T17" fmla="*/ 187 h 203"/>
                  <a:gd name="T18" fmla="*/ 121 w 121"/>
                  <a:gd name="T19" fmla="*/ 16 h 203"/>
                  <a:gd name="T20" fmla="*/ 114 w 121"/>
                  <a:gd name="T21" fmla="*/ 2 h 203"/>
                  <a:gd name="T22" fmla="*/ 100 w 121"/>
                  <a:gd name="T23" fmla="*/ 169 h 203"/>
                  <a:gd name="T24" fmla="*/ 28 w 121"/>
                  <a:gd name="T25" fmla="*/ 169 h 203"/>
                  <a:gd name="T26" fmla="*/ 21 w 121"/>
                  <a:gd name="T27" fmla="*/ 162 h 203"/>
                  <a:gd name="T28" fmla="*/ 28 w 121"/>
                  <a:gd name="T29" fmla="*/ 156 h 203"/>
                  <a:gd name="T30" fmla="*/ 100 w 121"/>
                  <a:gd name="T31" fmla="*/ 156 h 203"/>
                  <a:gd name="T32" fmla="*/ 106 w 121"/>
                  <a:gd name="T33" fmla="*/ 162 h 203"/>
                  <a:gd name="T34" fmla="*/ 100 w 121"/>
                  <a:gd name="T35" fmla="*/ 169 h 203"/>
                  <a:gd name="T36" fmla="*/ 100 w 121"/>
                  <a:gd name="T37" fmla="*/ 140 h 203"/>
                  <a:gd name="T38" fmla="*/ 28 w 121"/>
                  <a:gd name="T39" fmla="*/ 140 h 203"/>
                  <a:gd name="T40" fmla="*/ 21 w 121"/>
                  <a:gd name="T41" fmla="*/ 134 h 203"/>
                  <a:gd name="T42" fmla="*/ 28 w 121"/>
                  <a:gd name="T43" fmla="*/ 127 h 203"/>
                  <a:gd name="T44" fmla="*/ 100 w 121"/>
                  <a:gd name="T45" fmla="*/ 127 h 203"/>
                  <a:gd name="T46" fmla="*/ 106 w 121"/>
                  <a:gd name="T47" fmla="*/ 134 h 203"/>
                  <a:gd name="T48" fmla="*/ 100 w 121"/>
                  <a:gd name="T49" fmla="*/ 140 h 203"/>
                  <a:gd name="T50" fmla="*/ 100 w 121"/>
                  <a:gd name="T51" fmla="*/ 111 h 203"/>
                  <a:gd name="T52" fmla="*/ 28 w 121"/>
                  <a:gd name="T53" fmla="*/ 111 h 203"/>
                  <a:gd name="T54" fmla="*/ 21 w 121"/>
                  <a:gd name="T55" fmla="*/ 105 h 203"/>
                  <a:gd name="T56" fmla="*/ 28 w 121"/>
                  <a:gd name="T57" fmla="*/ 99 h 203"/>
                  <a:gd name="T58" fmla="*/ 100 w 121"/>
                  <a:gd name="T59" fmla="*/ 99 h 203"/>
                  <a:gd name="T60" fmla="*/ 106 w 121"/>
                  <a:gd name="T61" fmla="*/ 105 h 203"/>
                  <a:gd name="T62" fmla="*/ 100 w 121"/>
                  <a:gd name="T63" fmla="*/ 111 h 203"/>
                  <a:gd name="T64" fmla="*/ 97 w 121"/>
                  <a:gd name="T65" fmla="*/ 37 h 203"/>
                  <a:gd name="T66" fmla="*/ 89 w 121"/>
                  <a:gd name="T67" fmla="*/ 29 h 203"/>
                  <a:gd name="T68" fmla="*/ 97 w 121"/>
                  <a:gd name="T69" fmla="*/ 20 h 203"/>
                  <a:gd name="T70" fmla="*/ 106 w 121"/>
                  <a:gd name="T71" fmla="*/ 29 h 203"/>
                  <a:gd name="T72" fmla="*/ 97 w 121"/>
                  <a:gd name="T73" fmla="*/ 37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21" h="203">
                    <a:moveTo>
                      <a:pt x="114" y="2"/>
                    </a:moveTo>
                    <a:cubicBezTo>
                      <a:pt x="111" y="1"/>
                      <a:pt x="109" y="0"/>
                      <a:pt x="106" y="0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4" y="0"/>
                      <a:pt x="11" y="1"/>
                      <a:pt x="9" y="2"/>
                    </a:cubicBezTo>
                    <a:cubicBezTo>
                      <a:pt x="4" y="4"/>
                      <a:pt x="0" y="9"/>
                      <a:pt x="0" y="16"/>
                    </a:cubicBezTo>
                    <a:cubicBezTo>
                      <a:pt x="0" y="187"/>
                      <a:pt x="0" y="187"/>
                      <a:pt x="0" y="187"/>
                    </a:cubicBezTo>
                    <a:cubicBezTo>
                      <a:pt x="0" y="195"/>
                      <a:pt x="8" y="203"/>
                      <a:pt x="17" y="203"/>
                    </a:cubicBezTo>
                    <a:cubicBezTo>
                      <a:pt x="106" y="203"/>
                      <a:pt x="106" y="203"/>
                      <a:pt x="106" y="203"/>
                    </a:cubicBezTo>
                    <a:cubicBezTo>
                      <a:pt x="115" y="203"/>
                      <a:pt x="121" y="195"/>
                      <a:pt x="121" y="187"/>
                    </a:cubicBezTo>
                    <a:cubicBezTo>
                      <a:pt x="121" y="16"/>
                      <a:pt x="121" y="16"/>
                      <a:pt x="121" y="16"/>
                    </a:cubicBezTo>
                    <a:cubicBezTo>
                      <a:pt x="121" y="9"/>
                      <a:pt x="118" y="4"/>
                      <a:pt x="114" y="2"/>
                    </a:cubicBezTo>
                    <a:moveTo>
                      <a:pt x="100" y="169"/>
                    </a:moveTo>
                    <a:cubicBezTo>
                      <a:pt x="28" y="169"/>
                      <a:pt x="28" y="169"/>
                      <a:pt x="28" y="169"/>
                    </a:cubicBezTo>
                    <a:cubicBezTo>
                      <a:pt x="24" y="169"/>
                      <a:pt x="21" y="166"/>
                      <a:pt x="21" y="162"/>
                    </a:cubicBezTo>
                    <a:cubicBezTo>
                      <a:pt x="21" y="158"/>
                      <a:pt x="24" y="156"/>
                      <a:pt x="28" y="156"/>
                    </a:cubicBezTo>
                    <a:cubicBezTo>
                      <a:pt x="100" y="156"/>
                      <a:pt x="100" y="156"/>
                      <a:pt x="100" y="156"/>
                    </a:cubicBezTo>
                    <a:cubicBezTo>
                      <a:pt x="103" y="156"/>
                      <a:pt x="106" y="158"/>
                      <a:pt x="106" y="162"/>
                    </a:cubicBezTo>
                    <a:cubicBezTo>
                      <a:pt x="106" y="166"/>
                      <a:pt x="103" y="169"/>
                      <a:pt x="100" y="169"/>
                    </a:cubicBezTo>
                    <a:moveTo>
                      <a:pt x="100" y="140"/>
                    </a:moveTo>
                    <a:cubicBezTo>
                      <a:pt x="28" y="140"/>
                      <a:pt x="28" y="140"/>
                      <a:pt x="28" y="140"/>
                    </a:cubicBezTo>
                    <a:cubicBezTo>
                      <a:pt x="24" y="140"/>
                      <a:pt x="21" y="137"/>
                      <a:pt x="21" y="134"/>
                    </a:cubicBezTo>
                    <a:cubicBezTo>
                      <a:pt x="21" y="130"/>
                      <a:pt x="24" y="127"/>
                      <a:pt x="28" y="127"/>
                    </a:cubicBezTo>
                    <a:cubicBezTo>
                      <a:pt x="100" y="127"/>
                      <a:pt x="100" y="127"/>
                      <a:pt x="100" y="127"/>
                    </a:cubicBezTo>
                    <a:cubicBezTo>
                      <a:pt x="103" y="127"/>
                      <a:pt x="106" y="130"/>
                      <a:pt x="106" y="134"/>
                    </a:cubicBezTo>
                    <a:cubicBezTo>
                      <a:pt x="106" y="137"/>
                      <a:pt x="103" y="140"/>
                      <a:pt x="100" y="140"/>
                    </a:cubicBezTo>
                    <a:moveTo>
                      <a:pt x="100" y="111"/>
                    </a:moveTo>
                    <a:cubicBezTo>
                      <a:pt x="28" y="111"/>
                      <a:pt x="28" y="111"/>
                      <a:pt x="28" y="111"/>
                    </a:cubicBezTo>
                    <a:cubicBezTo>
                      <a:pt x="24" y="111"/>
                      <a:pt x="21" y="109"/>
                      <a:pt x="21" y="105"/>
                    </a:cubicBezTo>
                    <a:cubicBezTo>
                      <a:pt x="21" y="102"/>
                      <a:pt x="24" y="99"/>
                      <a:pt x="28" y="99"/>
                    </a:cubicBezTo>
                    <a:cubicBezTo>
                      <a:pt x="100" y="99"/>
                      <a:pt x="100" y="99"/>
                      <a:pt x="100" y="99"/>
                    </a:cubicBezTo>
                    <a:cubicBezTo>
                      <a:pt x="103" y="99"/>
                      <a:pt x="106" y="102"/>
                      <a:pt x="106" y="105"/>
                    </a:cubicBezTo>
                    <a:cubicBezTo>
                      <a:pt x="106" y="109"/>
                      <a:pt x="103" y="111"/>
                      <a:pt x="100" y="111"/>
                    </a:cubicBezTo>
                    <a:moveTo>
                      <a:pt x="97" y="37"/>
                    </a:moveTo>
                    <a:cubicBezTo>
                      <a:pt x="93" y="37"/>
                      <a:pt x="89" y="34"/>
                      <a:pt x="89" y="29"/>
                    </a:cubicBezTo>
                    <a:cubicBezTo>
                      <a:pt x="89" y="24"/>
                      <a:pt x="93" y="20"/>
                      <a:pt x="97" y="20"/>
                    </a:cubicBezTo>
                    <a:cubicBezTo>
                      <a:pt x="102" y="20"/>
                      <a:pt x="106" y="24"/>
                      <a:pt x="106" y="29"/>
                    </a:cubicBezTo>
                    <a:cubicBezTo>
                      <a:pt x="106" y="34"/>
                      <a:pt x="102" y="37"/>
                      <a:pt x="97" y="3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4347" tIns="62174" rIns="124347" bIns="62174" numCol="1" anchor="t" anchorCtr="0" compatLnSpc="1">
                <a:prstTxWarp prst="textNoShape">
                  <a:avLst/>
                </a:prstTxWarp>
              </a:bodyPr>
              <a:lstStyle/>
              <a:p>
                <a:pPr marL="274320" marR="0" lvl="0" indent="0" defTabSz="62179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329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49" name="Freeform 78"/>
              <p:cNvSpPr>
                <a:spLocks/>
              </p:cNvSpPr>
              <p:nvPr/>
            </p:nvSpPr>
            <p:spPr bwMode="auto">
              <a:xfrm>
                <a:off x="9977437" y="2044700"/>
                <a:ext cx="427038" cy="155575"/>
              </a:xfrm>
              <a:custGeom>
                <a:avLst/>
                <a:gdLst>
                  <a:gd name="T0" fmla="*/ 0 w 113"/>
                  <a:gd name="T1" fmla="*/ 41 h 41"/>
                  <a:gd name="T2" fmla="*/ 13 w 113"/>
                  <a:gd name="T3" fmla="*/ 37 h 41"/>
                  <a:gd name="T4" fmla="*/ 103 w 113"/>
                  <a:gd name="T5" fmla="*/ 37 h 41"/>
                  <a:gd name="T6" fmla="*/ 113 w 113"/>
                  <a:gd name="T7" fmla="*/ 39 h 41"/>
                  <a:gd name="T8" fmla="*/ 100 w 113"/>
                  <a:gd name="T9" fmla="*/ 14 h 41"/>
                  <a:gd name="T10" fmla="*/ 77 w 113"/>
                  <a:gd name="T11" fmla="*/ 0 h 41"/>
                  <a:gd name="T12" fmla="*/ 37 w 113"/>
                  <a:gd name="T13" fmla="*/ 0 h 41"/>
                  <a:gd name="T14" fmla="*/ 14 w 113"/>
                  <a:gd name="T15" fmla="*/ 14 h 41"/>
                  <a:gd name="T16" fmla="*/ 0 w 113"/>
                  <a:gd name="T17" fmla="*/ 41 h 41"/>
                  <a:gd name="T18" fmla="*/ 0 w 113"/>
                  <a:gd name="T19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3" h="41">
                    <a:moveTo>
                      <a:pt x="0" y="41"/>
                    </a:moveTo>
                    <a:cubicBezTo>
                      <a:pt x="4" y="38"/>
                      <a:pt x="9" y="37"/>
                      <a:pt x="13" y="37"/>
                    </a:cubicBezTo>
                    <a:cubicBezTo>
                      <a:pt x="103" y="37"/>
                      <a:pt x="103" y="37"/>
                      <a:pt x="103" y="37"/>
                    </a:cubicBezTo>
                    <a:cubicBezTo>
                      <a:pt x="106" y="37"/>
                      <a:pt x="110" y="38"/>
                      <a:pt x="113" y="39"/>
                    </a:cubicBezTo>
                    <a:cubicBezTo>
                      <a:pt x="100" y="14"/>
                      <a:pt x="100" y="14"/>
                      <a:pt x="100" y="14"/>
                    </a:cubicBezTo>
                    <a:cubicBezTo>
                      <a:pt x="97" y="6"/>
                      <a:pt x="86" y="0"/>
                      <a:pt x="77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29" y="0"/>
                      <a:pt x="18" y="6"/>
                      <a:pt x="14" y="14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4347" tIns="62174" rIns="124347" bIns="62174" numCol="1" anchor="t" anchorCtr="0" compatLnSpc="1">
                <a:prstTxWarp prst="textNoShape">
                  <a:avLst/>
                </a:prstTxWarp>
              </a:bodyPr>
              <a:lstStyle/>
              <a:p>
                <a:pPr marL="274320" marR="0" lvl="0" indent="0" defTabSz="62179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329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50" name="Freeform 79"/>
              <p:cNvSpPr>
                <a:spLocks noEditPoints="1"/>
              </p:cNvSpPr>
              <p:nvPr/>
            </p:nvSpPr>
            <p:spPr bwMode="auto">
              <a:xfrm>
                <a:off x="9969497" y="2216150"/>
                <a:ext cx="457200" cy="769938"/>
              </a:xfrm>
              <a:custGeom>
                <a:avLst/>
                <a:gdLst>
                  <a:gd name="T0" fmla="*/ 113 w 121"/>
                  <a:gd name="T1" fmla="*/ 2 h 203"/>
                  <a:gd name="T2" fmla="*/ 106 w 121"/>
                  <a:gd name="T3" fmla="*/ 0 h 203"/>
                  <a:gd name="T4" fmla="*/ 16 w 121"/>
                  <a:gd name="T5" fmla="*/ 0 h 203"/>
                  <a:gd name="T6" fmla="*/ 9 w 121"/>
                  <a:gd name="T7" fmla="*/ 2 h 203"/>
                  <a:gd name="T8" fmla="*/ 0 w 121"/>
                  <a:gd name="T9" fmla="*/ 16 h 203"/>
                  <a:gd name="T10" fmla="*/ 0 w 121"/>
                  <a:gd name="T11" fmla="*/ 187 h 203"/>
                  <a:gd name="T12" fmla="*/ 16 w 121"/>
                  <a:gd name="T13" fmla="*/ 203 h 203"/>
                  <a:gd name="T14" fmla="*/ 106 w 121"/>
                  <a:gd name="T15" fmla="*/ 203 h 203"/>
                  <a:gd name="T16" fmla="*/ 121 w 121"/>
                  <a:gd name="T17" fmla="*/ 187 h 203"/>
                  <a:gd name="T18" fmla="*/ 121 w 121"/>
                  <a:gd name="T19" fmla="*/ 16 h 203"/>
                  <a:gd name="T20" fmla="*/ 113 w 121"/>
                  <a:gd name="T21" fmla="*/ 2 h 203"/>
                  <a:gd name="T22" fmla="*/ 100 w 121"/>
                  <a:gd name="T23" fmla="*/ 169 h 203"/>
                  <a:gd name="T24" fmla="*/ 28 w 121"/>
                  <a:gd name="T25" fmla="*/ 169 h 203"/>
                  <a:gd name="T26" fmla="*/ 21 w 121"/>
                  <a:gd name="T27" fmla="*/ 162 h 203"/>
                  <a:gd name="T28" fmla="*/ 28 w 121"/>
                  <a:gd name="T29" fmla="*/ 156 h 203"/>
                  <a:gd name="T30" fmla="*/ 100 w 121"/>
                  <a:gd name="T31" fmla="*/ 156 h 203"/>
                  <a:gd name="T32" fmla="*/ 106 w 121"/>
                  <a:gd name="T33" fmla="*/ 162 h 203"/>
                  <a:gd name="T34" fmla="*/ 100 w 121"/>
                  <a:gd name="T35" fmla="*/ 169 h 203"/>
                  <a:gd name="T36" fmla="*/ 100 w 121"/>
                  <a:gd name="T37" fmla="*/ 140 h 203"/>
                  <a:gd name="T38" fmla="*/ 28 w 121"/>
                  <a:gd name="T39" fmla="*/ 140 h 203"/>
                  <a:gd name="T40" fmla="*/ 21 w 121"/>
                  <a:gd name="T41" fmla="*/ 134 h 203"/>
                  <a:gd name="T42" fmla="*/ 28 w 121"/>
                  <a:gd name="T43" fmla="*/ 127 h 203"/>
                  <a:gd name="T44" fmla="*/ 100 w 121"/>
                  <a:gd name="T45" fmla="*/ 127 h 203"/>
                  <a:gd name="T46" fmla="*/ 106 w 121"/>
                  <a:gd name="T47" fmla="*/ 134 h 203"/>
                  <a:gd name="T48" fmla="*/ 100 w 121"/>
                  <a:gd name="T49" fmla="*/ 140 h 203"/>
                  <a:gd name="T50" fmla="*/ 100 w 121"/>
                  <a:gd name="T51" fmla="*/ 111 h 203"/>
                  <a:gd name="T52" fmla="*/ 28 w 121"/>
                  <a:gd name="T53" fmla="*/ 111 h 203"/>
                  <a:gd name="T54" fmla="*/ 21 w 121"/>
                  <a:gd name="T55" fmla="*/ 105 h 203"/>
                  <a:gd name="T56" fmla="*/ 28 w 121"/>
                  <a:gd name="T57" fmla="*/ 99 h 203"/>
                  <a:gd name="T58" fmla="*/ 100 w 121"/>
                  <a:gd name="T59" fmla="*/ 99 h 203"/>
                  <a:gd name="T60" fmla="*/ 106 w 121"/>
                  <a:gd name="T61" fmla="*/ 105 h 203"/>
                  <a:gd name="T62" fmla="*/ 100 w 121"/>
                  <a:gd name="T63" fmla="*/ 111 h 203"/>
                  <a:gd name="T64" fmla="*/ 97 w 121"/>
                  <a:gd name="T65" fmla="*/ 37 h 203"/>
                  <a:gd name="T66" fmla="*/ 89 w 121"/>
                  <a:gd name="T67" fmla="*/ 29 h 203"/>
                  <a:gd name="T68" fmla="*/ 97 w 121"/>
                  <a:gd name="T69" fmla="*/ 20 h 203"/>
                  <a:gd name="T70" fmla="*/ 106 w 121"/>
                  <a:gd name="T71" fmla="*/ 29 h 203"/>
                  <a:gd name="T72" fmla="*/ 97 w 121"/>
                  <a:gd name="T73" fmla="*/ 37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21" h="203">
                    <a:moveTo>
                      <a:pt x="113" y="2"/>
                    </a:moveTo>
                    <a:cubicBezTo>
                      <a:pt x="110" y="1"/>
                      <a:pt x="109" y="0"/>
                      <a:pt x="106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3" y="0"/>
                      <a:pt x="11" y="1"/>
                      <a:pt x="9" y="2"/>
                    </a:cubicBezTo>
                    <a:cubicBezTo>
                      <a:pt x="4" y="4"/>
                      <a:pt x="0" y="9"/>
                      <a:pt x="0" y="16"/>
                    </a:cubicBezTo>
                    <a:cubicBezTo>
                      <a:pt x="0" y="187"/>
                      <a:pt x="0" y="187"/>
                      <a:pt x="0" y="187"/>
                    </a:cubicBezTo>
                    <a:cubicBezTo>
                      <a:pt x="0" y="195"/>
                      <a:pt x="8" y="203"/>
                      <a:pt x="16" y="203"/>
                    </a:cubicBezTo>
                    <a:cubicBezTo>
                      <a:pt x="106" y="203"/>
                      <a:pt x="106" y="203"/>
                      <a:pt x="106" y="203"/>
                    </a:cubicBezTo>
                    <a:cubicBezTo>
                      <a:pt x="114" y="203"/>
                      <a:pt x="121" y="195"/>
                      <a:pt x="121" y="187"/>
                    </a:cubicBezTo>
                    <a:cubicBezTo>
                      <a:pt x="121" y="16"/>
                      <a:pt x="121" y="16"/>
                      <a:pt x="121" y="16"/>
                    </a:cubicBezTo>
                    <a:cubicBezTo>
                      <a:pt x="121" y="9"/>
                      <a:pt x="118" y="4"/>
                      <a:pt x="113" y="2"/>
                    </a:cubicBezTo>
                    <a:moveTo>
                      <a:pt x="100" y="169"/>
                    </a:moveTo>
                    <a:cubicBezTo>
                      <a:pt x="28" y="169"/>
                      <a:pt x="28" y="169"/>
                      <a:pt x="28" y="169"/>
                    </a:cubicBezTo>
                    <a:cubicBezTo>
                      <a:pt x="24" y="169"/>
                      <a:pt x="21" y="166"/>
                      <a:pt x="21" y="162"/>
                    </a:cubicBezTo>
                    <a:cubicBezTo>
                      <a:pt x="21" y="158"/>
                      <a:pt x="24" y="156"/>
                      <a:pt x="28" y="156"/>
                    </a:cubicBezTo>
                    <a:cubicBezTo>
                      <a:pt x="100" y="156"/>
                      <a:pt x="100" y="156"/>
                      <a:pt x="100" y="156"/>
                    </a:cubicBezTo>
                    <a:cubicBezTo>
                      <a:pt x="103" y="156"/>
                      <a:pt x="106" y="158"/>
                      <a:pt x="106" y="162"/>
                    </a:cubicBezTo>
                    <a:cubicBezTo>
                      <a:pt x="106" y="166"/>
                      <a:pt x="103" y="169"/>
                      <a:pt x="100" y="169"/>
                    </a:cubicBezTo>
                    <a:moveTo>
                      <a:pt x="100" y="140"/>
                    </a:moveTo>
                    <a:cubicBezTo>
                      <a:pt x="28" y="140"/>
                      <a:pt x="28" y="140"/>
                      <a:pt x="28" y="140"/>
                    </a:cubicBezTo>
                    <a:cubicBezTo>
                      <a:pt x="24" y="140"/>
                      <a:pt x="21" y="137"/>
                      <a:pt x="21" y="134"/>
                    </a:cubicBezTo>
                    <a:cubicBezTo>
                      <a:pt x="21" y="130"/>
                      <a:pt x="24" y="127"/>
                      <a:pt x="28" y="127"/>
                    </a:cubicBezTo>
                    <a:cubicBezTo>
                      <a:pt x="100" y="127"/>
                      <a:pt x="100" y="127"/>
                      <a:pt x="100" y="127"/>
                    </a:cubicBezTo>
                    <a:cubicBezTo>
                      <a:pt x="103" y="127"/>
                      <a:pt x="106" y="130"/>
                      <a:pt x="106" y="134"/>
                    </a:cubicBezTo>
                    <a:cubicBezTo>
                      <a:pt x="106" y="137"/>
                      <a:pt x="103" y="140"/>
                      <a:pt x="100" y="140"/>
                    </a:cubicBezTo>
                    <a:moveTo>
                      <a:pt x="100" y="111"/>
                    </a:moveTo>
                    <a:cubicBezTo>
                      <a:pt x="28" y="111"/>
                      <a:pt x="28" y="111"/>
                      <a:pt x="28" y="111"/>
                    </a:cubicBezTo>
                    <a:cubicBezTo>
                      <a:pt x="24" y="111"/>
                      <a:pt x="21" y="109"/>
                      <a:pt x="21" y="105"/>
                    </a:cubicBezTo>
                    <a:cubicBezTo>
                      <a:pt x="21" y="102"/>
                      <a:pt x="24" y="99"/>
                      <a:pt x="28" y="99"/>
                    </a:cubicBezTo>
                    <a:cubicBezTo>
                      <a:pt x="100" y="99"/>
                      <a:pt x="100" y="99"/>
                      <a:pt x="100" y="99"/>
                    </a:cubicBezTo>
                    <a:cubicBezTo>
                      <a:pt x="103" y="99"/>
                      <a:pt x="106" y="102"/>
                      <a:pt x="106" y="105"/>
                    </a:cubicBezTo>
                    <a:cubicBezTo>
                      <a:pt x="106" y="109"/>
                      <a:pt x="103" y="111"/>
                      <a:pt x="100" y="111"/>
                    </a:cubicBezTo>
                    <a:moveTo>
                      <a:pt x="97" y="37"/>
                    </a:moveTo>
                    <a:cubicBezTo>
                      <a:pt x="92" y="37"/>
                      <a:pt x="89" y="34"/>
                      <a:pt x="89" y="29"/>
                    </a:cubicBezTo>
                    <a:cubicBezTo>
                      <a:pt x="89" y="24"/>
                      <a:pt x="92" y="20"/>
                      <a:pt x="97" y="20"/>
                    </a:cubicBezTo>
                    <a:cubicBezTo>
                      <a:pt x="102" y="20"/>
                      <a:pt x="106" y="24"/>
                      <a:pt x="106" y="29"/>
                    </a:cubicBezTo>
                    <a:cubicBezTo>
                      <a:pt x="106" y="34"/>
                      <a:pt x="102" y="37"/>
                      <a:pt x="97" y="3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4347" tIns="62174" rIns="124347" bIns="62174" numCol="1" anchor="t" anchorCtr="0" compatLnSpc="1">
                <a:prstTxWarp prst="textNoShape">
                  <a:avLst/>
                </a:prstTxWarp>
              </a:bodyPr>
              <a:lstStyle/>
              <a:p>
                <a:pPr marL="274320" marR="0" lvl="0" indent="0" defTabSz="62179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329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51" name="Rectangle 80"/>
              <p:cNvSpPr>
                <a:spLocks noChangeArrowheads="1"/>
              </p:cNvSpPr>
              <p:nvPr/>
            </p:nvSpPr>
            <p:spPr bwMode="auto">
              <a:xfrm>
                <a:off x="9471025" y="2492375"/>
                <a:ext cx="22225" cy="4603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4347" tIns="62174" rIns="124347" bIns="62174" numCol="1" anchor="t" anchorCtr="0" compatLnSpc="1">
                <a:prstTxWarp prst="textNoShape">
                  <a:avLst/>
                </a:prstTxWarp>
              </a:bodyPr>
              <a:lstStyle/>
              <a:p>
                <a:pPr marL="274320" marR="0" lvl="0" indent="0" defTabSz="62179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329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52" name="Freeform 81"/>
              <p:cNvSpPr>
                <a:spLocks noEditPoints="1"/>
              </p:cNvSpPr>
              <p:nvPr/>
            </p:nvSpPr>
            <p:spPr bwMode="auto">
              <a:xfrm>
                <a:off x="9553571" y="2492376"/>
                <a:ext cx="261938" cy="46038"/>
              </a:xfrm>
              <a:custGeom>
                <a:avLst/>
                <a:gdLst>
                  <a:gd name="T0" fmla="*/ 165 w 165"/>
                  <a:gd name="T1" fmla="*/ 29 h 29"/>
                  <a:gd name="T2" fmla="*/ 136 w 165"/>
                  <a:gd name="T3" fmla="*/ 29 h 29"/>
                  <a:gd name="T4" fmla="*/ 136 w 165"/>
                  <a:gd name="T5" fmla="*/ 0 h 29"/>
                  <a:gd name="T6" fmla="*/ 165 w 165"/>
                  <a:gd name="T7" fmla="*/ 0 h 29"/>
                  <a:gd name="T8" fmla="*/ 165 w 165"/>
                  <a:gd name="T9" fmla="*/ 29 h 29"/>
                  <a:gd name="T10" fmla="*/ 98 w 165"/>
                  <a:gd name="T11" fmla="*/ 29 h 29"/>
                  <a:gd name="T12" fmla="*/ 69 w 165"/>
                  <a:gd name="T13" fmla="*/ 29 h 29"/>
                  <a:gd name="T14" fmla="*/ 69 w 165"/>
                  <a:gd name="T15" fmla="*/ 0 h 29"/>
                  <a:gd name="T16" fmla="*/ 98 w 165"/>
                  <a:gd name="T17" fmla="*/ 0 h 29"/>
                  <a:gd name="T18" fmla="*/ 98 w 165"/>
                  <a:gd name="T19" fmla="*/ 29 h 29"/>
                  <a:gd name="T20" fmla="*/ 31 w 165"/>
                  <a:gd name="T21" fmla="*/ 29 h 29"/>
                  <a:gd name="T22" fmla="*/ 0 w 165"/>
                  <a:gd name="T23" fmla="*/ 29 h 29"/>
                  <a:gd name="T24" fmla="*/ 0 w 165"/>
                  <a:gd name="T25" fmla="*/ 0 h 29"/>
                  <a:gd name="T26" fmla="*/ 31 w 165"/>
                  <a:gd name="T27" fmla="*/ 0 h 29"/>
                  <a:gd name="T28" fmla="*/ 31 w 165"/>
                  <a:gd name="T29" fmla="*/ 2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65" h="29">
                    <a:moveTo>
                      <a:pt x="165" y="29"/>
                    </a:moveTo>
                    <a:lnTo>
                      <a:pt x="136" y="29"/>
                    </a:lnTo>
                    <a:lnTo>
                      <a:pt x="136" y="0"/>
                    </a:lnTo>
                    <a:lnTo>
                      <a:pt x="165" y="0"/>
                    </a:lnTo>
                    <a:lnTo>
                      <a:pt x="165" y="29"/>
                    </a:lnTo>
                    <a:close/>
                    <a:moveTo>
                      <a:pt x="98" y="29"/>
                    </a:moveTo>
                    <a:lnTo>
                      <a:pt x="69" y="29"/>
                    </a:lnTo>
                    <a:lnTo>
                      <a:pt x="69" y="0"/>
                    </a:lnTo>
                    <a:lnTo>
                      <a:pt x="98" y="0"/>
                    </a:lnTo>
                    <a:lnTo>
                      <a:pt x="98" y="29"/>
                    </a:lnTo>
                    <a:close/>
                    <a:moveTo>
                      <a:pt x="31" y="29"/>
                    </a:moveTo>
                    <a:lnTo>
                      <a:pt x="0" y="29"/>
                    </a:lnTo>
                    <a:lnTo>
                      <a:pt x="0" y="0"/>
                    </a:lnTo>
                    <a:lnTo>
                      <a:pt x="31" y="0"/>
                    </a:lnTo>
                    <a:lnTo>
                      <a:pt x="31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4347" tIns="62174" rIns="124347" bIns="62174" numCol="1" anchor="t" anchorCtr="0" compatLnSpc="1">
                <a:prstTxWarp prst="textNoShape">
                  <a:avLst/>
                </a:prstTxWarp>
              </a:bodyPr>
              <a:lstStyle/>
              <a:p>
                <a:pPr marL="274320" marR="0" lvl="0" indent="0" defTabSz="62179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329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53" name="Rectangle 82"/>
              <p:cNvSpPr>
                <a:spLocks noChangeArrowheads="1"/>
              </p:cNvSpPr>
              <p:nvPr/>
            </p:nvSpPr>
            <p:spPr bwMode="auto">
              <a:xfrm>
                <a:off x="9875838" y="2492375"/>
                <a:ext cx="22225" cy="4603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4347" tIns="62174" rIns="124347" bIns="62174" numCol="1" anchor="t" anchorCtr="0" compatLnSpc="1">
                <a:prstTxWarp prst="textNoShape">
                  <a:avLst/>
                </a:prstTxWarp>
              </a:bodyPr>
              <a:lstStyle/>
              <a:p>
                <a:pPr marL="274320" marR="0" lvl="0" indent="0" defTabSz="62179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329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</p:grpSp>
      </p:grpSp>
      <p:grpSp>
        <p:nvGrpSpPr>
          <p:cNvPr id="154" name="Group 153"/>
          <p:cNvGrpSpPr/>
          <p:nvPr/>
        </p:nvGrpSpPr>
        <p:grpSpPr>
          <a:xfrm>
            <a:off x="8459159" y="3230520"/>
            <a:ext cx="1354171" cy="1357298"/>
            <a:chOff x="714202" y="4248829"/>
            <a:chExt cx="1354171" cy="1357298"/>
          </a:xfrm>
        </p:grpSpPr>
        <p:sp>
          <p:nvSpPr>
            <p:cNvPr id="155" name="Rectangle 154"/>
            <p:cNvSpPr/>
            <p:nvPr/>
          </p:nvSpPr>
          <p:spPr bwMode="auto">
            <a:xfrm>
              <a:off x="714202" y="4248829"/>
              <a:ext cx="1354171" cy="1357298"/>
            </a:xfrm>
            <a:prstGeom prst="rect">
              <a:avLst/>
            </a:prstGeom>
            <a:solidFill>
              <a:srgbClr val="6666F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248694" tIns="124347" rIns="248694" bIns="19895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74320" marR="0" lvl="0" indent="0" defTabSz="1268069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4" b="0" i="0" u="none" strike="noStrike" kern="0" cap="none" spc="0" normalizeH="0" baseline="0" noProof="0" dirty="0" smtClean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156" name="Group 155"/>
            <p:cNvGrpSpPr/>
            <p:nvPr/>
          </p:nvGrpSpPr>
          <p:grpSpPr>
            <a:xfrm>
              <a:off x="952388" y="4493913"/>
              <a:ext cx="893597" cy="867129"/>
              <a:chOff x="8824912" y="508000"/>
              <a:chExt cx="1125539" cy="1092200"/>
            </a:xfrm>
            <a:solidFill>
              <a:srgbClr val="FFFFFF"/>
            </a:solidFill>
          </p:grpSpPr>
          <p:sp>
            <p:nvSpPr>
              <p:cNvPr id="157" name="Freeform 27"/>
              <p:cNvSpPr>
                <a:spLocks noEditPoints="1"/>
              </p:cNvSpPr>
              <p:nvPr/>
            </p:nvSpPr>
            <p:spPr bwMode="auto">
              <a:xfrm>
                <a:off x="8997950" y="508000"/>
                <a:ext cx="496888" cy="835025"/>
              </a:xfrm>
              <a:custGeom>
                <a:avLst/>
                <a:gdLst>
                  <a:gd name="T0" fmla="*/ 237 w 295"/>
                  <a:gd name="T1" fmla="*/ 275 h 495"/>
                  <a:gd name="T2" fmla="*/ 242 w 295"/>
                  <a:gd name="T3" fmla="*/ 312 h 495"/>
                  <a:gd name="T4" fmla="*/ 255 w 295"/>
                  <a:gd name="T5" fmla="*/ 305 h 495"/>
                  <a:gd name="T6" fmla="*/ 272 w 295"/>
                  <a:gd name="T7" fmla="*/ 335 h 495"/>
                  <a:gd name="T8" fmla="*/ 277 w 295"/>
                  <a:gd name="T9" fmla="*/ 372 h 495"/>
                  <a:gd name="T10" fmla="*/ 289 w 295"/>
                  <a:gd name="T11" fmla="*/ 365 h 495"/>
                  <a:gd name="T12" fmla="*/ 35 w 295"/>
                  <a:gd name="T13" fmla="*/ 343 h 495"/>
                  <a:gd name="T14" fmla="*/ 5 w 295"/>
                  <a:gd name="T15" fmla="*/ 365 h 495"/>
                  <a:gd name="T16" fmla="*/ 17 w 295"/>
                  <a:gd name="T17" fmla="*/ 372 h 495"/>
                  <a:gd name="T18" fmla="*/ 70 w 295"/>
                  <a:gd name="T19" fmla="*/ 282 h 495"/>
                  <a:gd name="T20" fmla="*/ 40 w 295"/>
                  <a:gd name="T21" fmla="*/ 305 h 495"/>
                  <a:gd name="T22" fmla="*/ 52 w 295"/>
                  <a:gd name="T23" fmla="*/ 312 h 495"/>
                  <a:gd name="T24" fmla="*/ 220 w 295"/>
                  <a:gd name="T25" fmla="*/ 161 h 495"/>
                  <a:gd name="T26" fmla="*/ 251 w 295"/>
                  <a:gd name="T27" fmla="*/ 31 h 495"/>
                  <a:gd name="T28" fmla="*/ 74 w 295"/>
                  <a:gd name="T29" fmla="*/ 0 h 495"/>
                  <a:gd name="T30" fmla="*/ 44 w 295"/>
                  <a:gd name="T31" fmla="*/ 130 h 495"/>
                  <a:gd name="T32" fmla="*/ 62 w 295"/>
                  <a:gd name="T33" fmla="*/ 31 h 495"/>
                  <a:gd name="T34" fmla="*/ 220 w 295"/>
                  <a:gd name="T35" fmla="*/ 18 h 495"/>
                  <a:gd name="T36" fmla="*/ 233 w 295"/>
                  <a:gd name="T37" fmla="*/ 130 h 495"/>
                  <a:gd name="T38" fmla="*/ 74 w 295"/>
                  <a:gd name="T39" fmla="*/ 143 h 495"/>
                  <a:gd name="T40" fmla="*/ 62 w 295"/>
                  <a:gd name="T41" fmla="*/ 31 h 495"/>
                  <a:gd name="T42" fmla="*/ 7 w 295"/>
                  <a:gd name="T43" fmla="*/ 246 h 495"/>
                  <a:gd name="T44" fmla="*/ 295 w 295"/>
                  <a:gd name="T45" fmla="*/ 238 h 495"/>
                  <a:gd name="T46" fmla="*/ 290 w 295"/>
                  <a:gd name="T47" fmla="*/ 221 h 495"/>
                  <a:gd name="T48" fmla="*/ 240 w 295"/>
                  <a:gd name="T49" fmla="*/ 172 h 495"/>
                  <a:gd name="T50" fmla="*/ 41 w 295"/>
                  <a:gd name="T51" fmla="*/ 178 h 495"/>
                  <a:gd name="T52" fmla="*/ 0 w 295"/>
                  <a:gd name="T53" fmla="*/ 234 h 495"/>
                  <a:gd name="T54" fmla="*/ 7 w 295"/>
                  <a:gd name="T55" fmla="*/ 246 h 495"/>
                  <a:gd name="T56" fmla="*/ 130 w 295"/>
                  <a:gd name="T57" fmla="*/ 495 h 495"/>
                  <a:gd name="T58" fmla="*/ 95 w 295"/>
                  <a:gd name="T59" fmla="*/ 480 h 495"/>
                  <a:gd name="T60" fmla="*/ 95 w 295"/>
                  <a:gd name="T61" fmla="*/ 495 h 495"/>
                  <a:gd name="T62" fmla="*/ 165 w 295"/>
                  <a:gd name="T63" fmla="*/ 480 h 495"/>
                  <a:gd name="T64" fmla="*/ 199 w 295"/>
                  <a:gd name="T65" fmla="*/ 495 h 495"/>
                  <a:gd name="T66" fmla="*/ 199 w 295"/>
                  <a:gd name="T67" fmla="*/ 480 h 4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5" h="495">
                    <a:moveTo>
                      <a:pt x="255" y="305"/>
                    </a:moveTo>
                    <a:cubicBezTo>
                      <a:pt x="237" y="275"/>
                      <a:pt x="237" y="275"/>
                      <a:pt x="237" y="275"/>
                    </a:cubicBezTo>
                    <a:cubicBezTo>
                      <a:pt x="225" y="282"/>
                      <a:pt x="225" y="282"/>
                      <a:pt x="225" y="282"/>
                    </a:cubicBezTo>
                    <a:cubicBezTo>
                      <a:pt x="242" y="312"/>
                      <a:pt x="242" y="312"/>
                      <a:pt x="242" y="312"/>
                    </a:cubicBezTo>
                    <a:cubicBezTo>
                      <a:pt x="255" y="305"/>
                      <a:pt x="255" y="305"/>
                      <a:pt x="255" y="305"/>
                    </a:cubicBezTo>
                    <a:cubicBezTo>
                      <a:pt x="255" y="305"/>
                      <a:pt x="255" y="305"/>
                      <a:pt x="255" y="305"/>
                    </a:cubicBezTo>
                    <a:close/>
                    <a:moveTo>
                      <a:pt x="289" y="365"/>
                    </a:moveTo>
                    <a:cubicBezTo>
                      <a:pt x="272" y="335"/>
                      <a:pt x="272" y="335"/>
                      <a:pt x="272" y="335"/>
                    </a:cubicBezTo>
                    <a:cubicBezTo>
                      <a:pt x="259" y="343"/>
                      <a:pt x="259" y="343"/>
                      <a:pt x="259" y="343"/>
                    </a:cubicBezTo>
                    <a:cubicBezTo>
                      <a:pt x="277" y="372"/>
                      <a:pt x="277" y="372"/>
                      <a:pt x="277" y="372"/>
                    </a:cubicBezTo>
                    <a:cubicBezTo>
                      <a:pt x="289" y="365"/>
                      <a:pt x="289" y="365"/>
                      <a:pt x="289" y="365"/>
                    </a:cubicBezTo>
                    <a:cubicBezTo>
                      <a:pt x="289" y="365"/>
                      <a:pt x="289" y="365"/>
                      <a:pt x="289" y="365"/>
                    </a:cubicBezTo>
                    <a:close/>
                    <a:moveTo>
                      <a:pt x="17" y="372"/>
                    </a:moveTo>
                    <a:cubicBezTo>
                      <a:pt x="35" y="343"/>
                      <a:pt x="35" y="343"/>
                      <a:pt x="35" y="343"/>
                    </a:cubicBezTo>
                    <a:cubicBezTo>
                      <a:pt x="22" y="335"/>
                      <a:pt x="22" y="335"/>
                      <a:pt x="22" y="335"/>
                    </a:cubicBezTo>
                    <a:cubicBezTo>
                      <a:pt x="5" y="365"/>
                      <a:pt x="5" y="365"/>
                      <a:pt x="5" y="365"/>
                    </a:cubicBezTo>
                    <a:cubicBezTo>
                      <a:pt x="17" y="372"/>
                      <a:pt x="17" y="372"/>
                      <a:pt x="17" y="372"/>
                    </a:cubicBezTo>
                    <a:cubicBezTo>
                      <a:pt x="17" y="372"/>
                      <a:pt x="17" y="372"/>
                      <a:pt x="17" y="372"/>
                    </a:cubicBezTo>
                    <a:close/>
                    <a:moveTo>
                      <a:pt x="52" y="312"/>
                    </a:moveTo>
                    <a:cubicBezTo>
                      <a:pt x="70" y="282"/>
                      <a:pt x="70" y="282"/>
                      <a:pt x="70" y="282"/>
                    </a:cubicBezTo>
                    <a:cubicBezTo>
                      <a:pt x="57" y="275"/>
                      <a:pt x="57" y="275"/>
                      <a:pt x="57" y="275"/>
                    </a:cubicBezTo>
                    <a:cubicBezTo>
                      <a:pt x="40" y="305"/>
                      <a:pt x="40" y="305"/>
                      <a:pt x="40" y="305"/>
                    </a:cubicBezTo>
                    <a:cubicBezTo>
                      <a:pt x="52" y="312"/>
                      <a:pt x="52" y="312"/>
                      <a:pt x="52" y="312"/>
                    </a:cubicBezTo>
                    <a:cubicBezTo>
                      <a:pt x="52" y="312"/>
                      <a:pt x="52" y="312"/>
                      <a:pt x="52" y="312"/>
                    </a:cubicBezTo>
                    <a:close/>
                    <a:moveTo>
                      <a:pt x="74" y="161"/>
                    </a:moveTo>
                    <a:cubicBezTo>
                      <a:pt x="220" y="161"/>
                      <a:pt x="220" y="161"/>
                      <a:pt x="220" y="161"/>
                    </a:cubicBezTo>
                    <a:cubicBezTo>
                      <a:pt x="237" y="161"/>
                      <a:pt x="251" y="147"/>
                      <a:pt x="251" y="130"/>
                    </a:cubicBezTo>
                    <a:cubicBezTo>
                      <a:pt x="251" y="31"/>
                      <a:pt x="251" y="31"/>
                      <a:pt x="251" y="31"/>
                    </a:cubicBezTo>
                    <a:cubicBezTo>
                      <a:pt x="251" y="14"/>
                      <a:pt x="237" y="0"/>
                      <a:pt x="220" y="0"/>
                    </a:cubicBezTo>
                    <a:cubicBezTo>
                      <a:pt x="74" y="0"/>
                      <a:pt x="74" y="0"/>
                      <a:pt x="74" y="0"/>
                    </a:cubicBezTo>
                    <a:cubicBezTo>
                      <a:pt x="57" y="0"/>
                      <a:pt x="44" y="14"/>
                      <a:pt x="44" y="31"/>
                    </a:cubicBezTo>
                    <a:cubicBezTo>
                      <a:pt x="44" y="130"/>
                      <a:pt x="44" y="130"/>
                      <a:pt x="44" y="130"/>
                    </a:cubicBezTo>
                    <a:cubicBezTo>
                      <a:pt x="44" y="147"/>
                      <a:pt x="57" y="161"/>
                      <a:pt x="74" y="161"/>
                    </a:cubicBezTo>
                    <a:close/>
                    <a:moveTo>
                      <a:pt x="62" y="31"/>
                    </a:moveTo>
                    <a:cubicBezTo>
                      <a:pt x="62" y="23"/>
                      <a:pt x="67" y="18"/>
                      <a:pt x="74" y="18"/>
                    </a:cubicBezTo>
                    <a:cubicBezTo>
                      <a:pt x="220" y="18"/>
                      <a:pt x="220" y="18"/>
                      <a:pt x="220" y="18"/>
                    </a:cubicBezTo>
                    <a:cubicBezTo>
                      <a:pt x="227" y="18"/>
                      <a:pt x="233" y="23"/>
                      <a:pt x="233" y="31"/>
                    </a:cubicBezTo>
                    <a:cubicBezTo>
                      <a:pt x="233" y="130"/>
                      <a:pt x="233" y="130"/>
                      <a:pt x="233" y="130"/>
                    </a:cubicBezTo>
                    <a:cubicBezTo>
                      <a:pt x="233" y="137"/>
                      <a:pt x="227" y="143"/>
                      <a:pt x="220" y="143"/>
                    </a:cubicBezTo>
                    <a:cubicBezTo>
                      <a:pt x="74" y="143"/>
                      <a:pt x="74" y="143"/>
                      <a:pt x="74" y="143"/>
                    </a:cubicBezTo>
                    <a:cubicBezTo>
                      <a:pt x="67" y="143"/>
                      <a:pt x="62" y="137"/>
                      <a:pt x="62" y="130"/>
                    </a:cubicBezTo>
                    <a:cubicBezTo>
                      <a:pt x="62" y="31"/>
                      <a:pt x="62" y="31"/>
                      <a:pt x="62" y="31"/>
                    </a:cubicBezTo>
                    <a:cubicBezTo>
                      <a:pt x="62" y="31"/>
                      <a:pt x="62" y="31"/>
                      <a:pt x="62" y="31"/>
                    </a:cubicBezTo>
                    <a:close/>
                    <a:moveTo>
                      <a:pt x="7" y="246"/>
                    </a:moveTo>
                    <a:cubicBezTo>
                      <a:pt x="287" y="246"/>
                      <a:pt x="287" y="246"/>
                      <a:pt x="287" y="246"/>
                    </a:cubicBezTo>
                    <a:cubicBezTo>
                      <a:pt x="291" y="246"/>
                      <a:pt x="295" y="242"/>
                      <a:pt x="295" y="238"/>
                    </a:cubicBezTo>
                    <a:cubicBezTo>
                      <a:pt x="295" y="234"/>
                      <a:pt x="295" y="234"/>
                      <a:pt x="295" y="234"/>
                    </a:cubicBezTo>
                    <a:cubicBezTo>
                      <a:pt x="295" y="230"/>
                      <a:pt x="292" y="224"/>
                      <a:pt x="290" y="221"/>
                    </a:cubicBezTo>
                    <a:cubicBezTo>
                      <a:pt x="253" y="178"/>
                      <a:pt x="253" y="178"/>
                      <a:pt x="253" y="178"/>
                    </a:cubicBezTo>
                    <a:cubicBezTo>
                      <a:pt x="250" y="174"/>
                      <a:pt x="244" y="172"/>
                      <a:pt x="240" y="172"/>
                    </a:cubicBezTo>
                    <a:cubicBezTo>
                      <a:pt x="54" y="172"/>
                      <a:pt x="54" y="172"/>
                      <a:pt x="54" y="172"/>
                    </a:cubicBezTo>
                    <a:cubicBezTo>
                      <a:pt x="50" y="172"/>
                      <a:pt x="44" y="174"/>
                      <a:pt x="41" y="178"/>
                    </a:cubicBezTo>
                    <a:cubicBezTo>
                      <a:pt x="5" y="221"/>
                      <a:pt x="5" y="221"/>
                      <a:pt x="5" y="221"/>
                    </a:cubicBezTo>
                    <a:cubicBezTo>
                      <a:pt x="2" y="224"/>
                      <a:pt x="0" y="230"/>
                      <a:pt x="0" y="234"/>
                    </a:cubicBezTo>
                    <a:cubicBezTo>
                      <a:pt x="0" y="238"/>
                      <a:pt x="0" y="238"/>
                      <a:pt x="0" y="238"/>
                    </a:cubicBezTo>
                    <a:cubicBezTo>
                      <a:pt x="0" y="242"/>
                      <a:pt x="3" y="246"/>
                      <a:pt x="7" y="246"/>
                    </a:cubicBezTo>
                    <a:close/>
                    <a:moveTo>
                      <a:pt x="95" y="495"/>
                    </a:moveTo>
                    <a:cubicBezTo>
                      <a:pt x="130" y="495"/>
                      <a:pt x="130" y="495"/>
                      <a:pt x="130" y="495"/>
                    </a:cubicBezTo>
                    <a:cubicBezTo>
                      <a:pt x="130" y="480"/>
                      <a:pt x="130" y="480"/>
                      <a:pt x="130" y="480"/>
                    </a:cubicBezTo>
                    <a:cubicBezTo>
                      <a:pt x="95" y="480"/>
                      <a:pt x="95" y="480"/>
                      <a:pt x="95" y="480"/>
                    </a:cubicBezTo>
                    <a:cubicBezTo>
                      <a:pt x="95" y="495"/>
                      <a:pt x="95" y="495"/>
                      <a:pt x="95" y="495"/>
                    </a:cubicBezTo>
                    <a:cubicBezTo>
                      <a:pt x="95" y="495"/>
                      <a:pt x="95" y="495"/>
                      <a:pt x="95" y="495"/>
                    </a:cubicBezTo>
                    <a:close/>
                    <a:moveTo>
                      <a:pt x="199" y="480"/>
                    </a:moveTo>
                    <a:cubicBezTo>
                      <a:pt x="165" y="480"/>
                      <a:pt x="165" y="480"/>
                      <a:pt x="165" y="480"/>
                    </a:cubicBezTo>
                    <a:cubicBezTo>
                      <a:pt x="165" y="495"/>
                      <a:pt x="165" y="495"/>
                      <a:pt x="165" y="495"/>
                    </a:cubicBezTo>
                    <a:cubicBezTo>
                      <a:pt x="199" y="495"/>
                      <a:pt x="199" y="495"/>
                      <a:pt x="199" y="495"/>
                    </a:cubicBezTo>
                    <a:cubicBezTo>
                      <a:pt x="199" y="480"/>
                      <a:pt x="199" y="480"/>
                      <a:pt x="199" y="480"/>
                    </a:cubicBezTo>
                    <a:cubicBezTo>
                      <a:pt x="199" y="480"/>
                      <a:pt x="199" y="480"/>
                      <a:pt x="199" y="48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4347" tIns="62174" rIns="124347" bIns="62174" numCol="1" anchor="t" anchorCtr="0" compatLnSpc="1">
                <a:prstTxWarp prst="textNoShape">
                  <a:avLst/>
                </a:prstTxWarp>
              </a:bodyPr>
              <a:lstStyle/>
              <a:p>
                <a:pPr marL="274320" marR="0" lvl="0" indent="0" defTabSz="62179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329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58" name="Freeform 28"/>
              <p:cNvSpPr>
                <a:spLocks noEditPoints="1"/>
              </p:cNvSpPr>
              <p:nvPr/>
            </p:nvSpPr>
            <p:spPr bwMode="auto">
              <a:xfrm>
                <a:off x="9404350" y="1198563"/>
                <a:ext cx="342900" cy="266700"/>
              </a:xfrm>
              <a:custGeom>
                <a:avLst/>
                <a:gdLst>
                  <a:gd name="T0" fmla="*/ 173 w 203"/>
                  <a:gd name="T1" fmla="*/ 0 h 158"/>
                  <a:gd name="T2" fmla="*/ 31 w 203"/>
                  <a:gd name="T3" fmla="*/ 0 h 158"/>
                  <a:gd name="T4" fmla="*/ 0 w 203"/>
                  <a:gd name="T5" fmla="*/ 30 h 158"/>
                  <a:gd name="T6" fmla="*/ 0 w 203"/>
                  <a:gd name="T7" fmla="*/ 128 h 158"/>
                  <a:gd name="T8" fmla="*/ 31 w 203"/>
                  <a:gd name="T9" fmla="*/ 158 h 158"/>
                  <a:gd name="T10" fmla="*/ 173 w 203"/>
                  <a:gd name="T11" fmla="*/ 158 h 158"/>
                  <a:gd name="T12" fmla="*/ 203 w 203"/>
                  <a:gd name="T13" fmla="*/ 128 h 158"/>
                  <a:gd name="T14" fmla="*/ 203 w 203"/>
                  <a:gd name="T15" fmla="*/ 30 h 158"/>
                  <a:gd name="T16" fmla="*/ 173 w 203"/>
                  <a:gd name="T17" fmla="*/ 0 h 158"/>
                  <a:gd name="T18" fmla="*/ 186 w 203"/>
                  <a:gd name="T19" fmla="*/ 128 h 158"/>
                  <a:gd name="T20" fmla="*/ 173 w 203"/>
                  <a:gd name="T21" fmla="*/ 141 h 158"/>
                  <a:gd name="T22" fmla="*/ 31 w 203"/>
                  <a:gd name="T23" fmla="*/ 141 h 158"/>
                  <a:gd name="T24" fmla="*/ 18 w 203"/>
                  <a:gd name="T25" fmla="*/ 128 h 158"/>
                  <a:gd name="T26" fmla="*/ 18 w 203"/>
                  <a:gd name="T27" fmla="*/ 30 h 158"/>
                  <a:gd name="T28" fmla="*/ 31 w 203"/>
                  <a:gd name="T29" fmla="*/ 17 h 158"/>
                  <a:gd name="T30" fmla="*/ 173 w 203"/>
                  <a:gd name="T31" fmla="*/ 17 h 158"/>
                  <a:gd name="T32" fmla="*/ 186 w 203"/>
                  <a:gd name="T33" fmla="*/ 30 h 158"/>
                  <a:gd name="T34" fmla="*/ 186 w 203"/>
                  <a:gd name="T35" fmla="*/ 128 h 158"/>
                  <a:gd name="T36" fmla="*/ 186 w 203"/>
                  <a:gd name="T37" fmla="*/ 128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03" h="158">
                    <a:moveTo>
                      <a:pt x="173" y="0"/>
                    </a:moveTo>
                    <a:cubicBezTo>
                      <a:pt x="31" y="0"/>
                      <a:pt x="31" y="0"/>
                      <a:pt x="31" y="0"/>
                    </a:cubicBezTo>
                    <a:cubicBezTo>
                      <a:pt x="14" y="0"/>
                      <a:pt x="0" y="13"/>
                      <a:pt x="0" y="30"/>
                    </a:cubicBezTo>
                    <a:cubicBezTo>
                      <a:pt x="0" y="128"/>
                      <a:pt x="0" y="128"/>
                      <a:pt x="0" y="128"/>
                    </a:cubicBezTo>
                    <a:cubicBezTo>
                      <a:pt x="0" y="145"/>
                      <a:pt x="14" y="158"/>
                      <a:pt x="31" y="158"/>
                    </a:cubicBezTo>
                    <a:cubicBezTo>
                      <a:pt x="173" y="158"/>
                      <a:pt x="173" y="158"/>
                      <a:pt x="173" y="158"/>
                    </a:cubicBezTo>
                    <a:cubicBezTo>
                      <a:pt x="190" y="158"/>
                      <a:pt x="203" y="145"/>
                      <a:pt x="203" y="128"/>
                    </a:cubicBezTo>
                    <a:cubicBezTo>
                      <a:pt x="203" y="30"/>
                      <a:pt x="203" y="30"/>
                      <a:pt x="203" y="30"/>
                    </a:cubicBezTo>
                    <a:cubicBezTo>
                      <a:pt x="203" y="13"/>
                      <a:pt x="190" y="0"/>
                      <a:pt x="173" y="0"/>
                    </a:cubicBezTo>
                    <a:moveTo>
                      <a:pt x="186" y="128"/>
                    </a:moveTo>
                    <a:cubicBezTo>
                      <a:pt x="186" y="135"/>
                      <a:pt x="180" y="141"/>
                      <a:pt x="173" y="141"/>
                    </a:cubicBezTo>
                    <a:cubicBezTo>
                      <a:pt x="31" y="141"/>
                      <a:pt x="31" y="141"/>
                      <a:pt x="31" y="141"/>
                    </a:cubicBezTo>
                    <a:cubicBezTo>
                      <a:pt x="24" y="141"/>
                      <a:pt x="18" y="135"/>
                      <a:pt x="18" y="128"/>
                    </a:cubicBezTo>
                    <a:cubicBezTo>
                      <a:pt x="18" y="30"/>
                      <a:pt x="18" y="30"/>
                      <a:pt x="18" y="30"/>
                    </a:cubicBezTo>
                    <a:cubicBezTo>
                      <a:pt x="18" y="23"/>
                      <a:pt x="24" y="17"/>
                      <a:pt x="31" y="17"/>
                    </a:cubicBezTo>
                    <a:cubicBezTo>
                      <a:pt x="173" y="17"/>
                      <a:pt x="173" y="17"/>
                      <a:pt x="173" y="17"/>
                    </a:cubicBezTo>
                    <a:cubicBezTo>
                      <a:pt x="180" y="17"/>
                      <a:pt x="186" y="23"/>
                      <a:pt x="186" y="30"/>
                    </a:cubicBezTo>
                    <a:cubicBezTo>
                      <a:pt x="186" y="128"/>
                      <a:pt x="186" y="128"/>
                      <a:pt x="186" y="128"/>
                    </a:cubicBezTo>
                    <a:cubicBezTo>
                      <a:pt x="186" y="128"/>
                      <a:pt x="186" y="128"/>
                      <a:pt x="186" y="1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4347" tIns="62174" rIns="124347" bIns="62174" numCol="1" anchor="t" anchorCtr="0" compatLnSpc="1">
                <a:prstTxWarp prst="textNoShape">
                  <a:avLst/>
                </a:prstTxWarp>
              </a:bodyPr>
              <a:lstStyle/>
              <a:p>
                <a:pPr marL="274320" marR="0" lvl="0" indent="0" defTabSz="62179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329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59" name="Freeform 29"/>
              <p:cNvSpPr>
                <a:spLocks/>
              </p:cNvSpPr>
              <p:nvPr/>
            </p:nvSpPr>
            <p:spPr bwMode="auto">
              <a:xfrm>
                <a:off x="9483725" y="1484313"/>
                <a:ext cx="185738" cy="44450"/>
              </a:xfrm>
              <a:custGeom>
                <a:avLst/>
                <a:gdLst>
                  <a:gd name="T0" fmla="*/ 110 w 110"/>
                  <a:gd name="T1" fmla="*/ 24 h 27"/>
                  <a:gd name="T2" fmla="*/ 110 w 110"/>
                  <a:gd name="T3" fmla="*/ 22 h 27"/>
                  <a:gd name="T4" fmla="*/ 108 w 110"/>
                  <a:gd name="T5" fmla="*/ 18 h 27"/>
                  <a:gd name="T6" fmla="*/ 94 w 110"/>
                  <a:gd name="T7" fmla="*/ 2 h 27"/>
                  <a:gd name="T8" fmla="*/ 89 w 110"/>
                  <a:gd name="T9" fmla="*/ 0 h 27"/>
                  <a:gd name="T10" fmla="*/ 21 w 110"/>
                  <a:gd name="T11" fmla="*/ 0 h 27"/>
                  <a:gd name="T12" fmla="*/ 16 w 110"/>
                  <a:gd name="T13" fmla="*/ 2 h 27"/>
                  <a:gd name="T14" fmla="*/ 2 w 110"/>
                  <a:gd name="T15" fmla="*/ 18 h 27"/>
                  <a:gd name="T16" fmla="*/ 0 w 110"/>
                  <a:gd name="T17" fmla="*/ 22 h 27"/>
                  <a:gd name="T18" fmla="*/ 0 w 110"/>
                  <a:gd name="T19" fmla="*/ 24 h 27"/>
                  <a:gd name="T20" fmla="*/ 3 w 110"/>
                  <a:gd name="T21" fmla="*/ 27 h 27"/>
                  <a:gd name="T22" fmla="*/ 107 w 110"/>
                  <a:gd name="T23" fmla="*/ 27 h 27"/>
                  <a:gd name="T24" fmla="*/ 110 w 110"/>
                  <a:gd name="T25" fmla="*/ 2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0" h="27">
                    <a:moveTo>
                      <a:pt x="110" y="24"/>
                    </a:moveTo>
                    <a:cubicBezTo>
                      <a:pt x="110" y="22"/>
                      <a:pt x="110" y="22"/>
                      <a:pt x="110" y="22"/>
                    </a:cubicBezTo>
                    <a:cubicBezTo>
                      <a:pt x="110" y="22"/>
                      <a:pt x="109" y="20"/>
                      <a:pt x="108" y="18"/>
                    </a:cubicBezTo>
                    <a:cubicBezTo>
                      <a:pt x="94" y="2"/>
                      <a:pt x="94" y="2"/>
                      <a:pt x="94" y="2"/>
                    </a:cubicBezTo>
                    <a:cubicBezTo>
                      <a:pt x="93" y="1"/>
                      <a:pt x="91" y="0"/>
                      <a:pt x="89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19" y="0"/>
                      <a:pt x="17" y="1"/>
                      <a:pt x="16" y="2"/>
                    </a:cubicBezTo>
                    <a:cubicBezTo>
                      <a:pt x="2" y="18"/>
                      <a:pt x="2" y="18"/>
                      <a:pt x="2" y="18"/>
                    </a:cubicBezTo>
                    <a:cubicBezTo>
                      <a:pt x="1" y="20"/>
                      <a:pt x="0" y="22"/>
                      <a:pt x="0" y="22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5"/>
                      <a:pt x="1" y="27"/>
                      <a:pt x="3" y="27"/>
                    </a:cubicBezTo>
                    <a:cubicBezTo>
                      <a:pt x="107" y="27"/>
                      <a:pt x="107" y="27"/>
                      <a:pt x="107" y="27"/>
                    </a:cubicBezTo>
                    <a:cubicBezTo>
                      <a:pt x="109" y="27"/>
                      <a:pt x="110" y="25"/>
                      <a:pt x="110" y="2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4347" tIns="62174" rIns="124347" bIns="62174" numCol="1" anchor="t" anchorCtr="0" compatLnSpc="1">
                <a:prstTxWarp prst="textNoShape">
                  <a:avLst/>
                </a:prstTxWarp>
              </a:bodyPr>
              <a:lstStyle/>
              <a:p>
                <a:pPr marL="274320" marR="0" lvl="0" indent="0" defTabSz="62179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329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60" name="Freeform 30"/>
              <p:cNvSpPr>
                <a:spLocks noEditPoints="1"/>
              </p:cNvSpPr>
              <p:nvPr/>
            </p:nvSpPr>
            <p:spPr bwMode="auto">
              <a:xfrm>
                <a:off x="9783763" y="1198563"/>
                <a:ext cx="166688" cy="330200"/>
              </a:xfrm>
              <a:custGeom>
                <a:avLst/>
                <a:gdLst>
                  <a:gd name="T0" fmla="*/ 85 w 99"/>
                  <a:gd name="T1" fmla="*/ 0 h 196"/>
                  <a:gd name="T2" fmla="*/ 12 w 99"/>
                  <a:gd name="T3" fmla="*/ 0 h 196"/>
                  <a:gd name="T4" fmla="*/ 0 w 99"/>
                  <a:gd name="T5" fmla="*/ 12 h 196"/>
                  <a:gd name="T6" fmla="*/ 0 w 99"/>
                  <a:gd name="T7" fmla="*/ 183 h 196"/>
                  <a:gd name="T8" fmla="*/ 12 w 99"/>
                  <a:gd name="T9" fmla="*/ 196 h 196"/>
                  <a:gd name="T10" fmla="*/ 85 w 99"/>
                  <a:gd name="T11" fmla="*/ 196 h 196"/>
                  <a:gd name="T12" fmla="*/ 99 w 99"/>
                  <a:gd name="T13" fmla="*/ 183 h 196"/>
                  <a:gd name="T14" fmla="*/ 99 w 99"/>
                  <a:gd name="T15" fmla="*/ 12 h 196"/>
                  <a:gd name="T16" fmla="*/ 85 w 99"/>
                  <a:gd name="T17" fmla="*/ 0 h 196"/>
                  <a:gd name="T18" fmla="*/ 50 w 99"/>
                  <a:gd name="T19" fmla="*/ 183 h 196"/>
                  <a:gd name="T20" fmla="*/ 38 w 99"/>
                  <a:gd name="T21" fmla="*/ 171 h 196"/>
                  <a:gd name="T22" fmla="*/ 50 w 99"/>
                  <a:gd name="T23" fmla="*/ 159 h 196"/>
                  <a:gd name="T24" fmla="*/ 60 w 99"/>
                  <a:gd name="T25" fmla="*/ 171 h 196"/>
                  <a:gd name="T26" fmla="*/ 50 w 99"/>
                  <a:gd name="T27" fmla="*/ 183 h 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9" h="196">
                    <a:moveTo>
                      <a:pt x="85" y="0"/>
                    </a:moveTo>
                    <a:cubicBezTo>
                      <a:pt x="12" y="0"/>
                      <a:pt x="12" y="0"/>
                      <a:pt x="12" y="0"/>
                    </a:cubicBezTo>
                    <a:cubicBezTo>
                      <a:pt x="5" y="0"/>
                      <a:pt x="0" y="6"/>
                      <a:pt x="0" y="12"/>
                    </a:cubicBezTo>
                    <a:cubicBezTo>
                      <a:pt x="0" y="183"/>
                      <a:pt x="0" y="183"/>
                      <a:pt x="0" y="183"/>
                    </a:cubicBezTo>
                    <a:cubicBezTo>
                      <a:pt x="0" y="191"/>
                      <a:pt x="5" y="196"/>
                      <a:pt x="12" y="196"/>
                    </a:cubicBezTo>
                    <a:cubicBezTo>
                      <a:pt x="85" y="196"/>
                      <a:pt x="85" y="196"/>
                      <a:pt x="85" y="196"/>
                    </a:cubicBezTo>
                    <a:cubicBezTo>
                      <a:pt x="93" y="196"/>
                      <a:pt x="99" y="191"/>
                      <a:pt x="99" y="183"/>
                    </a:cubicBezTo>
                    <a:cubicBezTo>
                      <a:pt x="99" y="12"/>
                      <a:pt x="99" y="12"/>
                      <a:pt x="99" y="12"/>
                    </a:cubicBezTo>
                    <a:cubicBezTo>
                      <a:pt x="99" y="6"/>
                      <a:pt x="93" y="0"/>
                      <a:pt x="85" y="0"/>
                    </a:cubicBezTo>
                    <a:moveTo>
                      <a:pt x="50" y="183"/>
                    </a:moveTo>
                    <a:cubicBezTo>
                      <a:pt x="43" y="183"/>
                      <a:pt x="38" y="177"/>
                      <a:pt x="38" y="171"/>
                    </a:cubicBezTo>
                    <a:cubicBezTo>
                      <a:pt x="38" y="164"/>
                      <a:pt x="43" y="159"/>
                      <a:pt x="50" y="159"/>
                    </a:cubicBezTo>
                    <a:cubicBezTo>
                      <a:pt x="56" y="159"/>
                      <a:pt x="60" y="164"/>
                      <a:pt x="60" y="171"/>
                    </a:cubicBezTo>
                    <a:cubicBezTo>
                      <a:pt x="60" y="177"/>
                      <a:pt x="56" y="183"/>
                      <a:pt x="50" y="18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4347" tIns="62174" rIns="124347" bIns="62174" numCol="1" anchor="t" anchorCtr="0" compatLnSpc="1">
                <a:prstTxWarp prst="textNoShape">
                  <a:avLst/>
                </a:prstTxWarp>
              </a:bodyPr>
              <a:lstStyle/>
              <a:p>
                <a:pPr marL="274320" marR="0" lvl="0" indent="0" defTabSz="62179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329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61" name="Freeform 31"/>
              <p:cNvSpPr>
                <a:spLocks/>
              </p:cNvSpPr>
              <p:nvPr/>
            </p:nvSpPr>
            <p:spPr bwMode="auto">
              <a:xfrm>
                <a:off x="8828088" y="1182688"/>
                <a:ext cx="190500" cy="68263"/>
              </a:xfrm>
              <a:custGeom>
                <a:avLst/>
                <a:gdLst>
                  <a:gd name="T0" fmla="*/ 0 w 113"/>
                  <a:gd name="T1" fmla="*/ 41 h 41"/>
                  <a:gd name="T2" fmla="*/ 14 w 113"/>
                  <a:gd name="T3" fmla="*/ 37 h 41"/>
                  <a:gd name="T4" fmla="*/ 104 w 113"/>
                  <a:gd name="T5" fmla="*/ 37 h 41"/>
                  <a:gd name="T6" fmla="*/ 113 w 113"/>
                  <a:gd name="T7" fmla="*/ 39 h 41"/>
                  <a:gd name="T8" fmla="*/ 101 w 113"/>
                  <a:gd name="T9" fmla="*/ 14 h 41"/>
                  <a:gd name="T10" fmla="*/ 78 w 113"/>
                  <a:gd name="T11" fmla="*/ 0 h 41"/>
                  <a:gd name="T12" fmla="*/ 38 w 113"/>
                  <a:gd name="T13" fmla="*/ 0 h 41"/>
                  <a:gd name="T14" fmla="*/ 15 w 113"/>
                  <a:gd name="T15" fmla="*/ 14 h 41"/>
                  <a:gd name="T16" fmla="*/ 0 w 113"/>
                  <a:gd name="T17" fmla="*/ 41 h 41"/>
                  <a:gd name="T18" fmla="*/ 0 w 113"/>
                  <a:gd name="T19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3" h="41">
                    <a:moveTo>
                      <a:pt x="0" y="41"/>
                    </a:moveTo>
                    <a:cubicBezTo>
                      <a:pt x="4" y="38"/>
                      <a:pt x="9" y="37"/>
                      <a:pt x="14" y="37"/>
                    </a:cubicBezTo>
                    <a:cubicBezTo>
                      <a:pt x="104" y="37"/>
                      <a:pt x="104" y="37"/>
                      <a:pt x="104" y="37"/>
                    </a:cubicBezTo>
                    <a:cubicBezTo>
                      <a:pt x="106" y="37"/>
                      <a:pt x="110" y="38"/>
                      <a:pt x="113" y="39"/>
                    </a:cubicBezTo>
                    <a:cubicBezTo>
                      <a:pt x="101" y="14"/>
                      <a:pt x="101" y="14"/>
                      <a:pt x="101" y="14"/>
                    </a:cubicBezTo>
                    <a:cubicBezTo>
                      <a:pt x="97" y="7"/>
                      <a:pt x="86" y="0"/>
                      <a:pt x="78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29" y="0"/>
                      <a:pt x="19" y="7"/>
                      <a:pt x="15" y="14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4347" tIns="62174" rIns="124347" bIns="62174" numCol="1" anchor="t" anchorCtr="0" compatLnSpc="1">
                <a:prstTxWarp prst="textNoShape">
                  <a:avLst/>
                </a:prstTxWarp>
              </a:bodyPr>
              <a:lstStyle/>
              <a:p>
                <a:pPr marL="274320" marR="0" lvl="0" indent="0" defTabSz="62179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329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62" name="Freeform 32"/>
              <p:cNvSpPr>
                <a:spLocks noEditPoints="1"/>
              </p:cNvSpPr>
              <p:nvPr/>
            </p:nvSpPr>
            <p:spPr bwMode="auto">
              <a:xfrm>
                <a:off x="8824912" y="1257300"/>
                <a:ext cx="203200" cy="342900"/>
              </a:xfrm>
              <a:custGeom>
                <a:avLst/>
                <a:gdLst>
                  <a:gd name="T0" fmla="*/ 114 w 121"/>
                  <a:gd name="T1" fmla="*/ 2 h 203"/>
                  <a:gd name="T2" fmla="*/ 106 w 121"/>
                  <a:gd name="T3" fmla="*/ 0 h 203"/>
                  <a:gd name="T4" fmla="*/ 17 w 121"/>
                  <a:gd name="T5" fmla="*/ 0 h 203"/>
                  <a:gd name="T6" fmla="*/ 9 w 121"/>
                  <a:gd name="T7" fmla="*/ 2 h 203"/>
                  <a:gd name="T8" fmla="*/ 0 w 121"/>
                  <a:gd name="T9" fmla="*/ 16 h 203"/>
                  <a:gd name="T10" fmla="*/ 0 w 121"/>
                  <a:gd name="T11" fmla="*/ 187 h 203"/>
                  <a:gd name="T12" fmla="*/ 17 w 121"/>
                  <a:gd name="T13" fmla="*/ 203 h 203"/>
                  <a:gd name="T14" fmla="*/ 106 w 121"/>
                  <a:gd name="T15" fmla="*/ 203 h 203"/>
                  <a:gd name="T16" fmla="*/ 121 w 121"/>
                  <a:gd name="T17" fmla="*/ 187 h 203"/>
                  <a:gd name="T18" fmla="*/ 121 w 121"/>
                  <a:gd name="T19" fmla="*/ 16 h 203"/>
                  <a:gd name="T20" fmla="*/ 114 w 121"/>
                  <a:gd name="T21" fmla="*/ 2 h 203"/>
                  <a:gd name="T22" fmla="*/ 100 w 121"/>
                  <a:gd name="T23" fmla="*/ 169 h 203"/>
                  <a:gd name="T24" fmla="*/ 28 w 121"/>
                  <a:gd name="T25" fmla="*/ 169 h 203"/>
                  <a:gd name="T26" fmla="*/ 21 w 121"/>
                  <a:gd name="T27" fmla="*/ 162 h 203"/>
                  <a:gd name="T28" fmla="*/ 28 w 121"/>
                  <a:gd name="T29" fmla="*/ 156 h 203"/>
                  <a:gd name="T30" fmla="*/ 100 w 121"/>
                  <a:gd name="T31" fmla="*/ 156 h 203"/>
                  <a:gd name="T32" fmla="*/ 106 w 121"/>
                  <a:gd name="T33" fmla="*/ 162 h 203"/>
                  <a:gd name="T34" fmla="*/ 100 w 121"/>
                  <a:gd name="T35" fmla="*/ 169 h 203"/>
                  <a:gd name="T36" fmla="*/ 100 w 121"/>
                  <a:gd name="T37" fmla="*/ 140 h 203"/>
                  <a:gd name="T38" fmla="*/ 28 w 121"/>
                  <a:gd name="T39" fmla="*/ 140 h 203"/>
                  <a:gd name="T40" fmla="*/ 21 w 121"/>
                  <a:gd name="T41" fmla="*/ 134 h 203"/>
                  <a:gd name="T42" fmla="*/ 28 w 121"/>
                  <a:gd name="T43" fmla="*/ 128 h 203"/>
                  <a:gd name="T44" fmla="*/ 100 w 121"/>
                  <a:gd name="T45" fmla="*/ 128 h 203"/>
                  <a:gd name="T46" fmla="*/ 106 w 121"/>
                  <a:gd name="T47" fmla="*/ 134 h 203"/>
                  <a:gd name="T48" fmla="*/ 100 w 121"/>
                  <a:gd name="T49" fmla="*/ 140 h 203"/>
                  <a:gd name="T50" fmla="*/ 100 w 121"/>
                  <a:gd name="T51" fmla="*/ 112 h 203"/>
                  <a:gd name="T52" fmla="*/ 28 w 121"/>
                  <a:gd name="T53" fmla="*/ 112 h 203"/>
                  <a:gd name="T54" fmla="*/ 21 w 121"/>
                  <a:gd name="T55" fmla="*/ 105 h 203"/>
                  <a:gd name="T56" fmla="*/ 28 w 121"/>
                  <a:gd name="T57" fmla="*/ 100 h 203"/>
                  <a:gd name="T58" fmla="*/ 100 w 121"/>
                  <a:gd name="T59" fmla="*/ 100 h 203"/>
                  <a:gd name="T60" fmla="*/ 106 w 121"/>
                  <a:gd name="T61" fmla="*/ 105 h 203"/>
                  <a:gd name="T62" fmla="*/ 100 w 121"/>
                  <a:gd name="T63" fmla="*/ 112 h 203"/>
                  <a:gd name="T64" fmla="*/ 97 w 121"/>
                  <a:gd name="T65" fmla="*/ 38 h 203"/>
                  <a:gd name="T66" fmla="*/ 89 w 121"/>
                  <a:gd name="T67" fmla="*/ 29 h 203"/>
                  <a:gd name="T68" fmla="*/ 97 w 121"/>
                  <a:gd name="T69" fmla="*/ 21 h 203"/>
                  <a:gd name="T70" fmla="*/ 106 w 121"/>
                  <a:gd name="T71" fmla="*/ 29 h 203"/>
                  <a:gd name="T72" fmla="*/ 97 w 121"/>
                  <a:gd name="T73" fmla="*/ 38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21" h="203">
                    <a:moveTo>
                      <a:pt x="114" y="2"/>
                    </a:moveTo>
                    <a:cubicBezTo>
                      <a:pt x="111" y="1"/>
                      <a:pt x="109" y="0"/>
                      <a:pt x="106" y="0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4" y="0"/>
                      <a:pt x="11" y="1"/>
                      <a:pt x="9" y="2"/>
                    </a:cubicBezTo>
                    <a:cubicBezTo>
                      <a:pt x="4" y="5"/>
                      <a:pt x="0" y="9"/>
                      <a:pt x="0" y="16"/>
                    </a:cubicBezTo>
                    <a:cubicBezTo>
                      <a:pt x="0" y="187"/>
                      <a:pt x="0" y="187"/>
                      <a:pt x="0" y="187"/>
                    </a:cubicBezTo>
                    <a:cubicBezTo>
                      <a:pt x="0" y="195"/>
                      <a:pt x="8" y="203"/>
                      <a:pt x="17" y="203"/>
                    </a:cubicBezTo>
                    <a:cubicBezTo>
                      <a:pt x="106" y="203"/>
                      <a:pt x="106" y="203"/>
                      <a:pt x="106" y="203"/>
                    </a:cubicBezTo>
                    <a:cubicBezTo>
                      <a:pt x="115" y="203"/>
                      <a:pt x="121" y="195"/>
                      <a:pt x="121" y="187"/>
                    </a:cubicBezTo>
                    <a:cubicBezTo>
                      <a:pt x="121" y="16"/>
                      <a:pt x="121" y="16"/>
                      <a:pt x="121" y="16"/>
                    </a:cubicBezTo>
                    <a:cubicBezTo>
                      <a:pt x="121" y="9"/>
                      <a:pt x="118" y="5"/>
                      <a:pt x="114" y="2"/>
                    </a:cubicBezTo>
                    <a:moveTo>
                      <a:pt x="100" y="169"/>
                    </a:moveTo>
                    <a:cubicBezTo>
                      <a:pt x="28" y="169"/>
                      <a:pt x="28" y="169"/>
                      <a:pt x="28" y="169"/>
                    </a:cubicBezTo>
                    <a:cubicBezTo>
                      <a:pt x="24" y="169"/>
                      <a:pt x="21" y="166"/>
                      <a:pt x="21" y="162"/>
                    </a:cubicBezTo>
                    <a:cubicBezTo>
                      <a:pt x="21" y="159"/>
                      <a:pt x="24" y="156"/>
                      <a:pt x="28" y="156"/>
                    </a:cubicBezTo>
                    <a:cubicBezTo>
                      <a:pt x="100" y="156"/>
                      <a:pt x="100" y="156"/>
                      <a:pt x="100" y="156"/>
                    </a:cubicBezTo>
                    <a:cubicBezTo>
                      <a:pt x="103" y="156"/>
                      <a:pt x="106" y="159"/>
                      <a:pt x="106" y="162"/>
                    </a:cubicBezTo>
                    <a:cubicBezTo>
                      <a:pt x="106" y="166"/>
                      <a:pt x="103" y="169"/>
                      <a:pt x="100" y="169"/>
                    </a:cubicBezTo>
                    <a:moveTo>
                      <a:pt x="100" y="140"/>
                    </a:moveTo>
                    <a:cubicBezTo>
                      <a:pt x="28" y="140"/>
                      <a:pt x="28" y="140"/>
                      <a:pt x="28" y="140"/>
                    </a:cubicBezTo>
                    <a:cubicBezTo>
                      <a:pt x="24" y="140"/>
                      <a:pt x="21" y="137"/>
                      <a:pt x="21" y="134"/>
                    </a:cubicBezTo>
                    <a:cubicBezTo>
                      <a:pt x="21" y="131"/>
                      <a:pt x="24" y="128"/>
                      <a:pt x="28" y="128"/>
                    </a:cubicBezTo>
                    <a:cubicBezTo>
                      <a:pt x="100" y="128"/>
                      <a:pt x="100" y="128"/>
                      <a:pt x="100" y="128"/>
                    </a:cubicBezTo>
                    <a:cubicBezTo>
                      <a:pt x="103" y="128"/>
                      <a:pt x="106" y="131"/>
                      <a:pt x="106" y="134"/>
                    </a:cubicBezTo>
                    <a:cubicBezTo>
                      <a:pt x="106" y="137"/>
                      <a:pt x="103" y="140"/>
                      <a:pt x="100" y="140"/>
                    </a:cubicBezTo>
                    <a:moveTo>
                      <a:pt x="100" y="112"/>
                    </a:moveTo>
                    <a:cubicBezTo>
                      <a:pt x="28" y="112"/>
                      <a:pt x="28" y="112"/>
                      <a:pt x="28" y="112"/>
                    </a:cubicBezTo>
                    <a:cubicBezTo>
                      <a:pt x="24" y="112"/>
                      <a:pt x="21" y="109"/>
                      <a:pt x="21" y="105"/>
                    </a:cubicBezTo>
                    <a:cubicBezTo>
                      <a:pt x="21" y="102"/>
                      <a:pt x="24" y="100"/>
                      <a:pt x="28" y="100"/>
                    </a:cubicBezTo>
                    <a:cubicBezTo>
                      <a:pt x="100" y="100"/>
                      <a:pt x="100" y="100"/>
                      <a:pt x="100" y="100"/>
                    </a:cubicBezTo>
                    <a:cubicBezTo>
                      <a:pt x="103" y="100"/>
                      <a:pt x="106" y="102"/>
                      <a:pt x="106" y="105"/>
                    </a:cubicBezTo>
                    <a:cubicBezTo>
                      <a:pt x="106" y="109"/>
                      <a:pt x="103" y="112"/>
                      <a:pt x="100" y="112"/>
                    </a:cubicBezTo>
                    <a:moveTo>
                      <a:pt x="97" y="38"/>
                    </a:moveTo>
                    <a:cubicBezTo>
                      <a:pt x="93" y="38"/>
                      <a:pt x="89" y="34"/>
                      <a:pt x="89" y="29"/>
                    </a:cubicBezTo>
                    <a:cubicBezTo>
                      <a:pt x="89" y="24"/>
                      <a:pt x="93" y="21"/>
                      <a:pt x="97" y="21"/>
                    </a:cubicBezTo>
                    <a:cubicBezTo>
                      <a:pt x="102" y="21"/>
                      <a:pt x="106" y="24"/>
                      <a:pt x="106" y="29"/>
                    </a:cubicBezTo>
                    <a:cubicBezTo>
                      <a:pt x="106" y="34"/>
                      <a:pt x="102" y="38"/>
                      <a:pt x="97" y="3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4347" tIns="62174" rIns="124347" bIns="62174" numCol="1" anchor="t" anchorCtr="0" compatLnSpc="1">
                <a:prstTxWarp prst="textNoShape">
                  <a:avLst/>
                </a:prstTxWarp>
              </a:bodyPr>
              <a:lstStyle/>
              <a:p>
                <a:pPr marL="274320" marR="0" lvl="0" indent="0" defTabSz="62179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329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</p:grpSp>
      </p:grpSp>
      <p:grpSp>
        <p:nvGrpSpPr>
          <p:cNvPr id="163" name="Group 162"/>
          <p:cNvGrpSpPr/>
          <p:nvPr/>
        </p:nvGrpSpPr>
        <p:grpSpPr>
          <a:xfrm>
            <a:off x="8461202" y="1840651"/>
            <a:ext cx="1354171" cy="1357298"/>
            <a:chOff x="716245" y="2858960"/>
            <a:chExt cx="1354171" cy="1357298"/>
          </a:xfrm>
        </p:grpSpPr>
        <p:sp>
          <p:nvSpPr>
            <p:cNvPr id="164" name="Rectangle 163"/>
            <p:cNvSpPr/>
            <p:nvPr/>
          </p:nvSpPr>
          <p:spPr bwMode="auto">
            <a:xfrm>
              <a:off x="716245" y="2858960"/>
              <a:ext cx="1354171" cy="1357298"/>
            </a:xfrm>
            <a:prstGeom prst="rect">
              <a:avLst/>
            </a:prstGeom>
            <a:solidFill>
              <a:srgbClr val="9999F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248694" tIns="124347" rIns="248694" bIns="19895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74320" marR="0" lvl="0" indent="0" defTabSz="1268069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4" b="0" i="0" u="none" strike="noStrike" kern="0" cap="none" spc="0" normalizeH="0" baseline="0" noProof="0" dirty="0" smtClean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165" name="Group 164"/>
            <p:cNvGrpSpPr/>
            <p:nvPr/>
          </p:nvGrpSpPr>
          <p:grpSpPr>
            <a:xfrm>
              <a:off x="876005" y="3157610"/>
              <a:ext cx="1026955" cy="759998"/>
              <a:chOff x="-1395413" y="2554288"/>
              <a:chExt cx="1276350" cy="944562"/>
            </a:xfrm>
            <a:solidFill>
              <a:srgbClr val="FFFFFF"/>
            </a:solidFill>
          </p:grpSpPr>
          <p:sp>
            <p:nvSpPr>
              <p:cNvPr id="166" name="Freeform 16"/>
              <p:cNvSpPr>
                <a:spLocks noEditPoints="1"/>
              </p:cNvSpPr>
              <p:nvPr/>
            </p:nvSpPr>
            <p:spPr bwMode="auto">
              <a:xfrm>
                <a:off x="-1201738" y="2554288"/>
                <a:ext cx="1082675" cy="128587"/>
              </a:xfrm>
              <a:custGeom>
                <a:avLst/>
                <a:gdLst>
                  <a:gd name="T0" fmla="*/ 272 w 286"/>
                  <a:gd name="T1" fmla="*/ 0 h 34"/>
                  <a:gd name="T2" fmla="*/ 14 w 286"/>
                  <a:gd name="T3" fmla="*/ 0 h 34"/>
                  <a:gd name="T4" fmla="*/ 0 w 286"/>
                  <a:gd name="T5" fmla="*/ 14 h 34"/>
                  <a:gd name="T6" fmla="*/ 0 w 286"/>
                  <a:gd name="T7" fmla="*/ 32 h 34"/>
                  <a:gd name="T8" fmla="*/ 10 w 286"/>
                  <a:gd name="T9" fmla="*/ 28 h 34"/>
                  <a:gd name="T10" fmla="*/ 275 w 286"/>
                  <a:gd name="T11" fmla="*/ 28 h 34"/>
                  <a:gd name="T12" fmla="*/ 286 w 286"/>
                  <a:gd name="T13" fmla="*/ 34 h 34"/>
                  <a:gd name="T14" fmla="*/ 286 w 286"/>
                  <a:gd name="T15" fmla="*/ 14 h 34"/>
                  <a:gd name="T16" fmla="*/ 272 w 286"/>
                  <a:gd name="T17" fmla="*/ 0 h 34"/>
                  <a:gd name="T18" fmla="*/ 229 w 286"/>
                  <a:gd name="T19" fmla="*/ 20 h 34"/>
                  <a:gd name="T20" fmla="*/ 216 w 286"/>
                  <a:gd name="T21" fmla="*/ 20 h 34"/>
                  <a:gd name="T22" fmla="*/ 216 w 286"/>
                  <a:gd name="T23" fmla="*/ 18 h 34"/>
                  <a:gd name="T24" fmla="*/ 229 w 286"/>
                  <a:gd name="T25" fmla="*/ 18 h 34"/>
                  <a:gd name="T26" fmla="*/ 229 w 286"/>
                  <a:gd name="T27" fmla="*/ 20 h 34"/>
                  <a:gd name="T28" fmla="*/ 246 w 286"/>
                  <a:gd name="T29" fmla="*/ 20 h 34"/>
                  <a:gd name="T30" fmla="*/ 236 w 286"/>
                  <a:gd name="T31" fmla="*/ 20 h 34"/>
                  <a:gd name="T32" fmla="*/ 236 w 286"/>
                  <a:gd name="T33" fmla="*/ 10 h 34"/>
                  <a:gd name="T34" fmla="*/ 246 w 286"/>
                  <a:gd name="T35" fmla="*/ 10 h 34"/>
                  <a:gd name="T36" fmla="*/ 246 w 286"/>
                  <a:gd name="T37" fmla="*/ 20 h 34"/>
                  <a:gd name="T38" fmla="*/ 269 w 286"/>
                  <a:gd name="T39" fmla="*/ 20 h 34"/>
                  <a:gd name="T40" fmla="*/ 266 w 286"/>
                  <a:gd name="T41" fmla="*/ 20 h 34"/>
                  <a:gd name="T42" fmla="*/ 264 w 286"/>
                  <a:gd name="T43" fmla="*/ 18 h 34"/>
                  <a:gd name="T44" fmla="*/ 262 w 286"/>
                  <a:gd name="T45" fmla="*/ 16 h 34"/>
                  <a:gd name="T46" fmla="*/ 259 w 286"/>
                  <a:gd name="T47" fmla="*/ 20 h 34"/>
                  <a:gd name="T48" fmla="*/ 259 w 286"/>
                  <a:gd name="T49" fmla="*/ 20 h 34"/>
                  <a:gd name="T50" fmla="*/ 255 w 286"/>
                  <a:gd name="T51" fmla="*/ 20 h 34"/>
                  <a:gd name="T52" fmla="*/ 260 w 286"/>
                  <a:gd name="T53" fmla="*/ 15 h 34"/>
                  <a:gd name="T54" fmla="*/ 255 w 286"/>
                  <a:gd name="T55" fmla="*/ 9 h 34"/>
                  <a:gd name="T56" fmla="*/ 259 w 286"/>
                  <a:gd name="T57" fmla="*/ 9 h 34"/>
                  <a:gd name="T58" fmla="*/ 262 w 286"/>
                  <a:gd name="T59" fmla="*/ 13 h 34"/>
                  <a:gd name="T60" fmla="*/ 266 w 286"/>
                  <a:gd name="T61" fmla="*/ 9 h 34"/>
                  <a:gd name="T62" fmla="*/ 269 w 286"/>
                  <a:gd name="T63" fmla="*/ 9 h 34"/>
                  <a:gd name="T64" fmla="*/ 264 w 286"/>
                  <a:gd name="T65" fmla="*/ 15 h 34"/>
                  <a:gd name="T66" fmla="*/ 269 w 286"/>
                  <a:gd name="T67" fmla="*/ 20 h 34"/>
                  <a:gd name="T68" fmla="*/ 245 w 286"/>
                  <a:gd name="T69" fmla="*/ 11 h 34"/>
                  <a:gd name="T70" fmla="*/ 238 w 286"/>
                  <a:gd name="T71" fmla="*/ 11 h 34"/>
                  <a:gd name="T72" fmla="*/ 238 w 286"/>
                  <a:gd name="T73" fmla="*/ 18 h 34"/>
                  <a:gd name="T74" fmla="*/ 245 w 286"/>
                  <a:gd name="T75" fmla="*/ 18 h 34"/>
                  <a:gd name="T76" fmla="*/ 245 w 286"/>
                  <a:gd name="T77" fmla="*/ 1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86" h="34">
                    <a:moveTo>
                      <a:pt x="272" y="0"/>
                    </a:moveTo>
                    <a:cubicBezTo>
                      <a:pt x="14" y="0"/>
                      <a:pt x="14" y="0"/>
                      <a:pt x="14" y="0"/>
                    </a:cubicBezTo>
                    <a:cubicBezTo>
                      <a:pt x="6" y="0"/>
                      <a:pt x="0" y="7"/>
                      <a:pt x="0" y="14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3" y="30"/>
                      <a:pt x="6" y="28"/>
                      <a:pt x="10" y="28"/>
                    </a:cubicBezTo>
                    <a:cubicBezTo>
                      <a:pt x="275" y="28"/>
                      <a:pt x="275" y="28"/>
                      <a:pt x="275" y="28"/>
                    </a:cubicBezTo>
                    <a:cubicBezTo>
                      <a:pt x="279" y="28"/>
                      <a:pt x="283" y="30"/>
                      <a:pt x="286" y="34"/>
                    </a:cubicBezTo>
                    <a:cubicBezTo>
                      <a:pt x="286" y="14"/>
                      <a:pt x="286" y="14"/>
                      <a:pt x="286" y="14"/>
                    </a:cubicBezTo>
                    <a:cubicBezTo>
                      <a:pt x="286" y="7"/>
                      <a:pt x="280" y="0"/>
                      <a:pt x="272" y="0"/>
                    </a:cubicBezTo>
                    <a:close/>
                    <a:moveTo>
                      <a:pt x="229" y="20"/>
                    </a:moveTo>
                    <a:cubicBezTo>
                      <a:pt x="216" y="20"/>
                      <a:pt x="216" y="20"/>
                      <a:pt x="216" y="20"/>
                    </a:cubicBezTo>
                    <a:cubicBezTo>
                      <a:pt x="216" y="18"/>
                      <a:pt x="216" y="18"/>
                      <a:pt x="216" y="18"/>
                    </a:cubicBezTo>
                    <a:cubicBezTo>
                      <a:pt x="229" y="18"/>
                      <a:pt x="229" y="18"/>
                      <a:pt x="229" y="18"/>
                    </a:cubicBezTo>
                    <a:lnTo>
                      <a:pt x="229" y="20"/>
                    </a:lnTo>
                    <a:close/>
                    <a:moveTo>
                      <a:pt x="246" y="20"/>
                    </a:moveTo>
                    <a:cubicBezTo>
                      <a:pt x="236" y="20"/>
                      <a:pt x="236" y="20"/>
                      <a:pt x="236" y="20"/>
                    </a:cubicBezTo>
                    <a:cubicBezTo>
                      <a:pt x="236" y="10"/>
                      <a:pt x="236" y="10"/>
                      <a:pt x="236" y="10"/>
                    </a:cubicBezTo>
                    <a:cubicBezTo>
                      <a:pt x="246" y="10"/>
                      <a:pt x="246" y="10"/>
                      <a:pt x="246" y="10"/>
                    </a:cubicBezTo>
                    <a:lnTo>
                      <a:pt x="246" y="20"/>
                    </a:lnTo>
                    <a:close/>
                    <a:moveTo>
                      <a:pt x="269" y="20"/>
                    </a:moveTo>
                    <a:cubicBezTo>
                      <a:pt x="266" y="20"/>
                      <a:pt x="266" y="20"/>
                      <a:pt x="266" y="20"/>
                    </a:cubicBezTo>
                    <a:cubicBezTo>
                      <a:pt x="264" y="18"/>
                      <a:pt x="264" y="18"/>
                      <a:pt x="264" y="18"/>
                    </a:cubicBezTo>
                    <a:cubicBezTo>
                      <a:pt x="262" y="16"/>
                      <a:pt x="262" y="16"/>
                      <a:pt x="262" y="16"/>
                    </a:cubicBezTo>
                    <a:cubicBezTo>
                      <a:pt x="259" y="20"/>
                      <a:pt x="259" y="20"/>
                      <a:pt x="259" y="20"/>
                    </a:cubicBezTo>
                    <a:cubicBezTo>
                      <a:pt x="259" y="20"/>
                      <a:pt x="259" y="20"/>
                      <a:pt x="259" y="20"/>
                    </a:cubicBezTo>
                    <a:cubicBezTo>
                      <a:pt x="255" y="20"/>
                      <a:pt x="255" y="20"/>
                      <a:pt x="255" y="20"/>
                    </a:cubicBezTo>
                    <a:cubicBezTo>
                      <a:pt x="260" y="15"/>
                      <a:pt x="260" y="15"/>
                      <a:pt x="260" y="15"/>
                    </a:cubicBezTo>
                    <a:cubicBezTo>
                      <a:pt x="255" y="9"/>
                      <a:pt x="255" y="9"/>
                      <a:pt x="255" y="9"/>
                    </a:cubicBezTo>
                    <a:cubicBezTo>
                      <a:pt x="259" y="9"/>
                      <a:pt x="259" y="9"/>
                      <a:pt x="259" y="9"/>
                    </a:cubicBezTo>
                    <a:cubicBezTo>
                      <a:pt x="262" y="13"/>
                      <a:pt x="262" y="13"/>
                      <a:pt x="262" y="13"/>
                    </a:cubicBezTo>
                    <a:cubicBezTo>
                      <a:pt x="266" y="9"/>
                      <a:pt x="266" y="9"/>
                      <a:pt x="266" y="9"/>
                    </a:cubicBezTo>
                    <a:cubicBezTo>
                      <a:pt x="269" y="9"/>
                      <a:pt x="269" y="9"/>
                      <a:pt x="269" y="9"/>
                    </a:cubicBezTo>
                    <a:cubicBezTo>
                      <a:pt x="264" y="15"/>
                      <a:pt x="264" y="15"/>
                      <a:pt x="264" y="15"/>
                    </a:cubicBezTo>
                    <a:lnTo>
                      <a:pt x="269" y="20"/>
                    </a:lnTo>
                    <a:close/>
                    <a:moveTo>
                      <a:pt x="245" y="11"/>
                    </a:moveTo>
                    <a:cubicBezTo>
                      <a:pt x="238" y="11"/>
                      <a:pt x="238" y="11"/>
                      <a:pt x="238" y="11"/>
                    </a:cubicBezTo>
                    <a:cubicBezTo>
                      <a:pt x="238" y="18"/>
                      <a:pt x="238" y="18"/>
                      <a:pt x="238" y="18"/>
                    </a:cubicBezTo>
                    <a:cubicBezTo>
                      <a:pt x="245" y="18"/>
                      <a:pt x="245" y="18"/>
                      <a:pt x="245" y="18"/>
                    </a:cubicBezTo>
                    <a:lnTo>
                      <a:pt x="245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4347" tIns="62174" rIns="124347" bIns="62174" numCol="1" anchor="t" anchorCtr="0" compatLnSpc="1">
                <a:prstTxWarp prst="textNoShape">
                  <a:avLst/>
                </a:prstTxWarp>
              </a:bodyPr>
              <a:lstStyle/>
              <a:p>
                <a:pPr marL="274320" marR="0" lvl="0" indent="0" defTabSz="62179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329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67" name="Freeform 17"/>
              <p:cNvSpPr>
                <a:spLocks noEditPoints="1"/>
              </p:cNvSpPr>
              <p:nvPr/>
            </p:nvSpPr>
            <p:spPr bwMode="auto">
              <a:xfrm>
                <a:off x="-720726" y="2914650"/>
                <a:ext cx="331788" cy="333375"/>
              </a:xfrm>
              <a:custGeom>
                <a:avLst/>
                <a:gdLst>
                  <a:gd name="T0" fmla="*/ 77 w 88"/>
                  <a:gd name="T1" fmla="*/ 58 h 88"/>
                  <a:gd name="T2" fmla="*/ 87 w 88"/>
                  <a:gd name="T3" fmla="*/ 50 h 88"/>
                  <a:gd name="T4" fmla="*/ 87 w 88"/>
                  <a:gd name="T5" fmla="*/ 38 h 88"/>
                  <a:gd name="T6" fmla="*/ 77 w 88"/>
                  <a:gd name="T7" fmla="*/ 31 h 88"/>
                  <a:gd name="T8" fmla="*/ 79 w 88"/>
                  <a:gd name="T9" fmla="*/ 18 h 88"/>
                  <a:gd name="T10" fmla="*/ 70 w 88"/>
                  <a:gd name="T11" fmla="*/ 9 h 88"/>
                  <a:gd name="T12" fmla="*/ 57 w 88"/>
                  <a:gd name="T13" fmla="*/ 11 h 88"/>
                  <a:gd name="T14" fmla="*/ 50 w 88"/>
                  <a:gd name="T15" fmla="*/ 1 h 88"/>
                  <a:gd name="T16" fmla="*/ 37 w 88"/>
                  <a:gd name="T17" fmla="*/ 1 h 88"/>
                  <a:gd name="T18" fmla="*/ 30 w 88"/>
                  <a:gd name="T19" fmla="*/ 11 h 88"/>
                  <a:gd name="T20" fmla="*/ 17 w 88"/>
                  <a:gd name="T21" fmla="*/ 9 h 88"/>
                  <a:gd name="T22" fmla="*/ 8 w 88"/>
                  <a:gd name="T23" fmla="*/ 18 h 88"/>
                  <a:gd name="T24" fmla="*/ 10 w 88"/>
                  <a:gd name="T25" fmla="*/ 31 h 88"/>
                  <a:gd name="T26" fmla="*/ 0 w 88"/>
                  <a:gd name="T27" fmla="*/ 38 h 88"/>
                  <a:gd name="T28" fmla="*/ 0 w 88"/>
                  <a:gd name="T29" fmla="*/ 50 h 88"/>
                  <a:gd name="T30" fmla="*/ 10 w 88"/>
                  <a:gd name="T31" fmla="*/ 58 h 88"/>
                  <a:gd name="T32" fmla="*/ 8 w 88"/>
                  <a:gd name="T33" fmla="*/ 70 h 88"/>
                  <a:gd name="T34" fmla="*/ 17 w 88"/>
                  <a:gd name="T35" fmla="*/ 79 h 88"/>
                  <a:gd name="T36" fmla="*/ 30 w 88"/>
                  <a:gd name="T37" fmla="*/ 77 h 88"/>
                  <a:gd name="T38" fmla="*/ 37 w 88"/>
                  <a:gd name="T39" fmla="*/ 88 h 88"/>
                  <a:gd name="T40" fmla="*/ 50 w 88"/>
                  <a:gd name="T41" fmla="*/ 88 h 88"/>
                  <a:gd name="T42" fmla="*/ 58 w 88"/>
                  <a:gd name="T43" fmla="*/ 77 h 88"/>
                  <a:gd name="T44" fmla="*/ 70 w 88"/>
                  <a:gd name="T45" fmla="*/ 79 h 88"/>
                  <a:gd name="T46" fmla="*/ 79 w 88"/>
                  <a:gd name="T47" fmla="*/ 71 h 88"/>
                  <a:gd name="T48" fmla="*/ 77 w 88"/>
                  <a:gd name="T49" fmla="*/ 58 h 88"/>
                  <a:gd name="T50" fmla="*/ 33 w 88"/>
                  <a:gd name="T51" fmla="*/ 69 h 88"/>
                  <a:gd name="T52" fmla="*/ 19 w 88"/>
                  <a:gd name="T53" fmla="*/ 34 h 88"/>
                  <a:gd name="T54" fmla="*/ 54 w 88"/>
                  <a:gd name="T55" fmla="*/ 20 h 88"/>
                  <a:gd name="T56" fmla="*/ 68 w 88"/>
                  <a:gd name="T57" fmla="*/ 55 h 88"/>
                  <a:gd name="T58" fmla="*/ 33 w 88"/>
                  <a:gd name="T59" fmla="*/ 69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88" h="88">
                    <a:moveTo>
                      <a:pt x="77" y="58"/>
                    </a:moveTo>
                    <a:cubicBezTo>
                      <a:pt x="78" y="53"/>
                      <a:pt x="83" y="50"/>
                      <a:pt x="87" y="50"/>
                    </a:cubicBezTo>
                    <a:cubicBezTo>
                      <a:pt x="88" y="46"/>
                      <a:pt x="88" y="42"/>
                      <a:pt x="87" y="38"/>
                    </a:cubicBezTo>
                    <a:cubicBezTo>
                      <a:pt x="83" y="38"/>
                      <a:pt x="78" y="35"/>
                      <a:pt x="77" y="31"/>
                    </a:cubicBezTo>
                    <a:cubicBezTo>
                      <a:pt x="75" y="26"/>
                      <a:pt x="76" y="21"/>
                      <a:pt x="79" y="18"/>
                    </a:cubicBezTo>
                    <a:cubicBezTo>
                      <a:pt x="76" y="15"/>
                      <a:pt x="74" y="12"/>
                      <a:pt x="70" y="9"/>
                    </a:cubicBezTo>
                    <a:cubicBezTo>
                      <a:pt x="67" y="12"/>
                      <a:pt x="62" y="13"/>
                      <a:pt x="57" y="11"/>
                    </a:cubicBezTo>
                    <a:cubicBezTo>
                      <a:pt x="53" y="9"/>
                      <a:pt x="50" y="5"/>
                      <a:pt x="50" y="1"/>
                    </a:cubicBezTo>
                    <a:cubicBezTo>
                      <a:pt x="46" y="0"/>
                      <a:pt x="41" y="0"/>
                      <a:pt x="37" y="1"/>
                    </a:cubicBezTo>
                    <a:cubicBezTo>
                      <a:pt x="37" y="5"/>
                      <a:pt x="34" y="9"/>
                      <a:pt x="30" y="11"/>
                    </a:cubicBezTo>
                    <a:cubicBezTo>
                      <a:pt x="25" y="13"/>
                      <a:pt x="20" y="12"/>
                      <a:pt x="17" y="9"/>
                    </a:cubicBezTo>
                    <a:cubicBezTo>
                      <a:pt x="14" y="12"/>
                      <a:pt x="11" y="15"/>
                      <a:pt x="8" y="18"/>
                    </a:cubicBezTo>
                    <a:cubicBezTo>
                      <a:pt x="11" y="21"/>
                      <a:pt x="12" y="26"/>
                      <a:pt x="10" y="31"/>
                    </a:cubicBezTo>
                    <a:cubicBezTo>
                      <a:pt x="9" y="35"/>
                      <a:pt x="5" y="38"/>
                      <a:pt x="0" y="38"/>
                    </a:cubicBezTo>
                    <a:cubicBezTo>
                      <a:pt x="0" y="42"/>
                      <a:pt x="0" y="46"/>
                      <a:pt x="0" y="50"/>
                    </a:cubicBezTo>
                    <a:cubicBezTo>
                      <a:pt x="4" y="50"/>
                      <a:pt x="9" y="53"/>
                      <a:pt x="10" y="58"/>
                    </a:cubicBezTo>
                    <a:cubicBezTo>
                      <a:pt x="12" y="62"/>
                      <a:pt x="11" y="67"/>
                      <a:pt x="8" y="70"/>
                    </a:cubicBezTo>
                    <a:cubicBezTo>
                      <a:pt x="11" y="74"/>
                      <a:pt x="14" y="76"/>
                      <a:pt x="17" y="79"/>
                    </a:cubicBezTo>
                    <a:cubicBezTo>
                      <a:pt x="20" y="76"/>
                      <a:pt x="25" y="75"/>
                      <a:pt x="30" y="77"/>
                    </a:cubicBezTo>
                    <a:cubicBezTo>
                      <a:pt x="34" y="79"/>
                      <a:pt x="37" y="83"/>
                      <a:pt x="37" y="88"/>
                    </a:cubicBezTo>
                    <a:cubicBezTo>
                      <a:pt x="41" y="88"/>
                      <a:pt x="46" y="88"/>
                      <a:pt x="50" y="88"/>
                    </a:cubicBezTo>
                    <a:cubicBezTo>
                      <a:pt x="50" y="83"/>
                      <a:pt x="53" y="79"/>
                      <a:pt x="58" y="77"/>
                    </a:cubicBezTo>
                    <a:cubicBezTo>
                      <a:pt x="62" y="75"/>
                      <a:pt x="67" y="76"/>
                      <a:pt x="70" y="79"/>
                    </a:cubicBezTo>
                    <a:cubicBezTo>
                      <a:pt x="73" y="76"/>
                      <a:pt x="76" y="74"/>
                      <a:pt x="79" y="71"/>
                    </a:cubicBezTo>
                    <a:cubicBezTo>
                      <a:pt x="76" y="67"/>
                      <a:pt x="75" y="62"/>
                      <a:pt x="77" y="58"/>
                    </a:cubicBezTo>
                    <a:close/>
                    <a:moveTo>
                      <a:pt x="33" y="69"/>
                    </a:moveTo>
                    <a:cubicBezTo>
                      <a:pt x="20" y="63"/>
                      <a:pt x="13" y="47"/>
                      <a:pt x="19" y="34"/>
                    </a:cubicBezTo>
                    <a:cubicBezTo>
                      <a:pt x="25" y="20"/>
                      <a:pt x="40" y="14"/>
                      <a:pt x="54" y="20"/>
                    </a:cubicBezTo>
                    <a:cubicBezTo>
                      <a:pt x="67" y="25"/>
                      <a:pt x="74" y="41"/>
                      <a:pt x="68" y="55"/>
                    </a:cubicBezTo>
                    <a:cubicBezTo>
                      <a:pt x="62" y="68"/>
                      <a:pt x="47" y="74"/>
                      <a:pt x="33" y="6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4347" tIns="62174" rIns="124347" bIns="62174" numCol="1" anchor="t" anchorCtr="0" compatLnSpc="1">
                <a:prstTxWarp prst="textNoShape">
                  <a:avLst/>
                </a:prstTxWarp>
              </a:bodyPr>
              <a:lstStyle/>
              <a:p>
                <a:pPr marL="274320" marR="0" lvl="0" indent="0" defTabSz="62179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329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68" name="Freeform 18"/>
              <p:cNvSpPr>
                <a:spLocks noEditPoints="1"/>
              </p:cNvSpPr>
              <p:nvPr/>
            </p:nvSpPr>
            <p:spPr bwMode="auto">
              <a:xfrm>
                <a:off x="-635001" y="3001963"/>
                <a:ext cx="155575" cy="158750"/>
              </a:xfrm>
              <a:custGeom>
                <a:avLst/>
                <a:gdLst>
                  <a:gd name="T0" fmla="*/ 28 w 41"/>
                  <a:gd name="T1" fmla="*/ 4 h 42"/>
                  <a:gd name="T2" fmla="*/ 4 w 41"/>
                  <a:gd name="T3" fmla="*/ 14 h 42"/>
                  <a:gd name="T4" fmla="*/ 13 w 41"/>
                  <a:gd name="T5" fmla="*/ 38 h 42"/>
                  <a:gd name="T6" fmla="*/ 37 w 41"/>
                  <a:gd name="T7" fmla="*/ 28 h 42"/>
                  <a:gd name="T8" fmla="*/ 28 w 41"/>
                  <a:gd name="T9" fmla="*/ 4 h 42"/>
                  <a:gd name="T10" fmla="*/ 17 w 41"/>
                  <a:gd name="T11" fmla="*/ 30 h 42"/>
                  <a:gd name="T12" fmla="*/ 12 w 41"/>
                  <a:gd name="T13" fmla="*/ 17 h 42"/>
                  <a:gd name="T14" fmla="*/ 24 w 41"/>
                  <a:gd name="T15" fmla="*/ 13 h 42"/>
                  <a:gd name="T16" fmla="*/ 29 w 41"/>
                  <a:gd name="T17" fmla="*/ 25 h 42"/>
                  <a:gd name="T18" fmla="*/ 17 w 41"/>
                  <a:gd name="T19" fmla="*/ 3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" h="42">
                    <a:moveTo>
                      <a:pt x="28" y="4"/>
                    </a:moveTo>
                    <a:cubicBezTo>
                      <a:pt x="18" y="0"/>
                      <a:pt x="8" y="5"/>
                      <a:pt x="4" y="14"/>
                    </a:cubicBezTo>
                    <a:cubicBezTo>
                      <a:pt x="0" y="23"/>
                      <a:pt x="4" y="34"/>
                      <a:pt x="13" y="38"/>
                    </a:cubicBezTo>
                    <a:cubicBezTo>
                      <a:pt x="23" y="42"/>
                      <a:pt x="33" y="38"/>
                      <a:pt x="37" y="28"/>
                    </a:cubicBezTo>
                    <a:cubicBezTo>
                      <a:pt x="41" y="19"/>
                      <a:pt x="37" y="8"/>
                      <a:pt x="28" y="4"/>
                    </a:cubicBezTo>
                    <a:close/>
                    <a:moveTo>
                      <a:pt x="17" y="30"/>
                    </a:moveTo>
                    <a:cubicBezTo>
                      <a:pt x="12" y="28"/>
                      <a:pt x="10" y="22"/>
                      <a:pt x="12" y="17"/>
                    </a:cubicBezTo>
                    <a:cubicBezTo>
                      <a:pt x="14" y="13"/>
                      <a:pt x="19" y="10"/>
                      <a:pt x="24" y="13"/>
                    </a:cubicBezTo>
                    <a:cubicBezTo>
                      <a:pt x="29" y="15"/>
                      <a:pt x="31" y="20"/>
                      <a:pt x="29" y="25"/>
                    </a:cubicBezTo>
                    <a:cubicBezTo>
                      <a:pt x="27" y="30"/>
                      <a:pt x="22" y="32"/>
                      <a:pt x="17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4347" tIns="62174" rIns="124347" bIns="62174" numCol="1" anchor="t" anchorCtr="0" compatLnSpc="1">
                <a:prstTxWarp prst="textNoShape">
                  <a:avLst/>
                </a:prstTxWarp>
              </a:bodyPr>
              <a:lstStyle/>
              <a:p>
                <a:pPr marL="274320" marR="0" lvl="0" indent="0" defTabSz="62179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329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69" name="Freeform 19"/>
              <p:cNvSpPr>
                <a:spLocks noEditPoints="1"/>
              </p:cNvSpPr>
              <p:nvPr/>
            </p:nvSpPr>
            <p:spPr bwMode="auto">
              <a:xfrm>
                <a:off x="-917576" y="2827338"/>
                <a:ext cx="219075" cy="220662"/>
              </a:xfrm>
              <a:custGeom>
                <a:avLst/>
                <a:gdLst>
                  <a:gd name="T0" fmla="*/ 51 w 58"/>
                  <a:gd name="T1" fmla="*/ 38 h 58"/>
                  <a:gd name="T2" fmla="*/ 58 w 58"/>
                  <a:gd name="T3" fmla="*/ 32 h 58"/>
                  <a:gd name="T4" fmla="*/ 58 w 58"/>
                  <a:gd name="T5" fmla="*/ 25 h 58"/>
                  <a:gd name="T6" fmla="*/ 51 w 58"/>
                  <a:gd name="T7" fmla="*/ 20 h 58"/>
                  <a:gd name="T8" fmla="*/ 52 w 58"/>
                  <a:gd name="T9" fmla="*/ 11 h 58"/>
                  <a:gd name="T10" fmla="*/ 47 w 58"/>
                  <a:gd name="T11" fmla="*/ 6 h 58"/>
                  <a:gd name="T12" fmla="*/ 38 w 58"/>
                  <a:gd name="T13" fmla="*/ 7 h 58"/>
                  <a:gd name="T14" fmla="*/ 33 w 58"/>
                  <a:gd name="T15" fmla="*/ 0 h 58"/>
                  <a:gd name="T16" fmla="*/ 25 w 58"/>
                  <a:gd name="T17" fmla="*/ 0 h 58"/>
                  <a:gd name="T18" fmla="*/ 20 w 58"/>
                  <a:gd name="T19" fmla="*/ 7 h 58"/>
                  <a:gd name="T20" fmla="*/ 12 w 58"/>
                  <a:gd name="T21" fmla="*/ 6 h 58"/>
                  <a:gd name="T22" fmla="*/ 6 w 58"/>
                  <a:gd name="T23" fmla="*/ 11 h 58"/>
                  <a:gd name="T24" fmla="*/ 7 w 58"/>
                  <a:gd name="T25" fmla="*/ 20 h 58"/>
                  <a:gd name="T26" fmla="*/ 1 w 58"/>
                  <a:gd name="T27" fmla="*/ 25 h 58"/>
                  <a:gd name="T28" fmla="*/ 1 w 58"/>
                  <a:gd name="T29" fmla="*/ 32 h 58"/>
                  <a:gd name="T30" fmla="*/ 7 w 58"/>
                  <a:gd name="T31" fmla="*/ 38 h 58"/>
                  <a:gd name="T32" fmla="*/ 6 w 58"/>
                  <a:gd name="T33" fmla="*/ 46 h 58"/>
                  <a:gd name="T34" fmla="*/ 12 w 58"/>
                  <a:gd name="T35" fmla="*/ 51 h 58"/>
                  <a:gd name="T36" fmla="*/ 20 w 58"/>
                  <a:gd name="T37" fmla="*/ 50 h 58"/>
                  <a:gd name="T38" fmla="*/ 25 w 58"/>
                  <a:gd name="T39" fmla="*/ 57 h 58"/>
                  <a:gd name="T40" fmla="*/ 33 w 58"/>
                  <a:gd name="T41" fmla="*/ 57 h 58"/>
                  <a:gd name="T42" fmla="*/ 38 w 58"/>
                  <a:gd name="T43" fmla="*/ 50 h 58"/>
                  <a:gd name="T44" fmla="*/ 47 w 58"/>
                  <a:gd name="T45" fmla="*/ 51 h 58"/>
                  <a:gd name="T46" fmla="*/ 52 w 58"/>
                  <a:gd name="T47" fmla="*/ 46 h 58"/>
                  <a:gd name="T48" fmla="*/ 51 w 58"/>
                  <a:gd name="T49" fmla="*/ 38 h 58"/>
                  <a:gd name="T50" fmla="*/ 22 w 58"/>
                  <a:gd name="T51" fmla="*/ 45 h 58"/>
                  <a:gd name="T52" fmla="*/ 13 w 58"/>
                  <a:gd name="T53" fmla="*/ 22 h 58"/>
                  <a:gd name="T54" fmla="*/ 36 w 58"/>
                  <a:gd name="T55" fmla="*/ 13 h 58"/>
                  <a:gd name="T56" fmla="*/ 45 w 58"/>
                  <a:gd name="T57" fmla="*/ 35 h 58"/>
                  <a:gd name="T58" fmla="*/ 22 w 58"/>
                  <a:gd name="T59" fmla="*/ 45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58" h="58">
                    <a:moveTo>
                      <a:pt x="51" y="38"/>
                    </a:moveTo>
                    <a:cubicBezTo>
                      <a:pt x="52" y="35"/>
                      <a:pt x="55" y="33"/>
                      <a:pt x="58" y="32"/>
                    </a:cubicBezTo>
                    <a:cubicBezTo>
                      <a:pt x="58" y="30"/>
                      <a:pt x="58" y="27"/>
                      <a:pt x="58" y="25"/>
                    </a:cubicBezTo>
                    <a:cubicBezTo>
                      <a:pt x="55" y="25"/>
                      <a:pt x="52" y="23"/>
                      <a:pt x="51" y="20"/>
                    </a:cubicBezTo>
                    <a:cubicBezTo>
                      <a:pt x="50" y="17"/>
                      <a:pt x="50" y="14"/>
                      <a:pt x="52" y="11"/>
                    </a:cubicBezTo>
                    <a:cubicBezTo>
                      <a:pt x="51" y="9"/>
                      <a:pt x="49" y="7"/>
                      <a:pt x="47" y="6"/>
                    </a:cubicBezTo>
                    <a:cubicBezTo>
                      <a:pt x="45" y="8"/>
                      <a:pt x="41" y="8"/>
                      <a:pt x="38" y="7"/>
                    </a:cubicBezTo>
                    <a:cubicBezTo>
                      <a:pt x="35" y="6"/>
                      <a:pt x="34" y="3"/>
                      <a:pt x="33" y="0"/>
                    </a:cubicBezTo>
                    <a:cubicBezTo>
                      <a:pt x="31" y="0"/>
                      <a:pt x="28" y="0"/>
                      <a:pt x="25" y="0"/>
                    </a:cubicBezTo>
                    <a:cubicBezTo>
                      <a:pt x="25" y="3"/>
                      <a:pt x="23" y="6"/>
                      <a:pt x="20" y="7"/>
                    </a:cubicBezTo>
                    <a:cubicBezTo>
                      <a:pt x="17" y="8"/>
                      <a:pt x="14" y="8"/>
                      <a:pt x="12" y="6"/>
                    </a:cubicBezTo>
                    <a:cubicBezTo>
                      <a:pt x="10" y="7"/>
                      <a:pt x="8" y="9"/>
                      <a:pt x="6" y="11"/>
                    </a:cubicBezTo>
                    <a:cubicBezTo>
                      <a:pt x="8" y="14"/>
                      <a:pt x="9" y="17"/>
                      <a:pt x="7" y="20"/>
                    </a:cubicBezTo>
                    <a:cubicBezTo>
                      <a:pt x="6" y="23"/>
                      <a:pt x="4" y="25"/>
                      <a:pt x="1" y="25"/>
                    </a:cubicBezTo>
                    <a:cubicBezTo>
                      <a:pt x="0" y="27"/>
                      <a:pt x="0" y="30"/>
                      <a:pt x="1" y="32"/>
                    </a:cubicBezTo>
                    <a:cubicBezTo>
                      <a:pt x="4" y="33"/>
                      <a:pt x="6" y="35"/>
                      <a:pt x="7" y="38"/>
                    </a:cubicBezTo>
                    <a:cubicBezTo>
                      <a:pt x="9" y="40"/>
                      <a:pt x="8" y="44"/>
                      <a:pt x="6" y="46"/>
                    </a:cubicBezTo>
                    <a:cubicBezTo>
                      <a:pt x="8" y="48"/>
                      <a:pt x="10" y="50"/>
                      <a:pt x="12" y="51"/>
                    </a:cubicBezTo>
                    <a:cubicBezTo>
                      <a:pt x="14" y="50"/>
                      <a:pt x="17" y="49"/>
                      <a:pt x="20" y="50"/>
                    </a:cubicBezTo>
                    <a:cubicBezTo>
                      <a:pt x="23" y="51"/>
                      <a:pt x="25" y="54"/>
                      <a:pt x="25" y="57"/>
                    </a:cubicBezTo>
                    <a:cubicBezTo>
                      <a:pt x="28" y="58"/>
                      <a:pt x="31" y="58"/>
                      <a:pt x="33" y="57"/>
                    </a:cubicBezTo>
                    <a:cubicBezTo>
                      <a:pt x="34" y="54"/>
                      <a:pt x="35" y="51"/>
                      <a:pt x="38" y="50"/>
                    </a:cubicBezTo>
                    <a:cubicBezTo>
                      <a:pt x="41" y="49"/>
                      <a:pt x="45" y="50"/>
                      <a:pt x="47" y="51"/>
                    </a:cubicBezTo>
                    <a:cubicBezTo>
                      <a:pt x="49" y="50"/>
                      <a:pt x="51" y="48"/>
                      <a:pt x="52" y="46"/>
                    </a:cubicBezTo>
                    <a:cubicBezTo>
                      <a:pt x="50" y="44"/>
                      <a:pt x="50" y="40"/>
                      <a:pt x="51" y="38"/>
                    </a:cubicBezTo>
                    <a:close/>
                    <a:moveTo>
                      <a:pt x="22" y="45"/>
                    </a:moveTo>
                    <a:cubicBezTo>
                      <a:pt x="14" y="41"/>
                      <a:pt x="9" y="31"/>
                      <a:pt x="13" y="22"/>
                    </a:cubicBezTo>
                    <a:cubicBezTo>
                      <a:pt x="17" y="13"/>
                      <a:pt x="27" y="9"/>
                      <a:pt x="36" y="13"/>
                    </a:cubicBezTo>
                    <a:cubicBezTo>
                      <a:pt x="45" y="16"/>
                      <a:pt x="49" y="27"/>
                      <a:pt x="45" y="35"/>
                    </a:cubicBezTo>
                    <a:cubicBezTo>
                      <a:pt x="42" y="44"/>
                      <a:pt x="31" y="48"/>
                      <a:pt x="22" y="4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4347" tIns="62174" rIns="124347" bIns="62174" numCol="1" anchor="t" anchorCtr="0" compatLnSpc="1">
                <a:prstTxWarp prst="textNoShape">
                  <a:avLst/>
                </a:prstTxWarp>
              </a:bodyPr>
              <a:lstStyle/>
              <a:p>
                <a:pPr marL="274320" marR="0" lvl="0" indent="0" defTabSz="62179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329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70" name="Freeform 20"/>
              <p:cNvSpPr>
                <a:spLocks noEditPoints="1"/>
              </p:cNvSpPr>
              <p:nvPr/>
            </p:nvSpPr>
            <p:spPr bwMode="auto">
              <a:xfrm>
                <a:off x="-857251" y="2884488"/>
                <a:ext cx="101600" cy="103187"/>
              </a:xfrm>
              <a:custGeom>
                <a:avLst/>
                <a:gdLst>
                  <a:gd name="T0" fmla="*/ 18 w 27"/>
                  <a:gd name="T1" fmla="*/ 3 h 27"/>
                  <a:gd name="T2" fmla="*/ 2 w 27"/>
                  <a:gd name="T3" fmla="*/ 9 h 27"/>
                  <a:gd name="T4" fmla="*/ 9 w 27"/>
                  <a:gd name="T5" fmla="*/ 25 h 27"/>
                  <a:gd name="T6" fmla="*/ 24 w 27"/>
                  <a:gd name="T7" fmla="*/ 18 h 27"/>
                  <a:gd name="T8" fmla="*/ 18 w 27"/>
                  <a:gd name="T9" fmla="*/ 3 h 27"/>
                  <a:gd name="T10" fmla="*/ 11 w 27"/>
                  <a:gd name="T11" fmla="*/ 19 h 27"/>
                  <a:gd name="T12" fmla="*/ 8 w 27"/>
                  <a:gd name="T13" fmla="*/ 11 h 27"/>
                  <a:gd name="T14" fmla="*/ 16 w 27"/>
                  <a:gd name="T15" fmla="*/ 8 h 27"/>
                  <a:gd name="T16" fmla="*/ 19 w 27"/>
                  <a:gd name="T17" fmla="*/ 16 h 27"/>
                  <a:gd name="T18" fmla="*/ 11 w 27"/>
                  <a:gd name="T19" fmla="*/ 19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7" h="27">
                    <a:moveTo>
                      <a:pt x="18" y="3"/>
                    </a:moveTo>
                    <a:cubicBezTo>
                      <a:pt x="12" y="0"/>
                      <a:pt x="5" y="3"/>
                      <a:pt x="2" y="9"/>
                    </a:cubicBezTo>
                    <a:cubicBezTo>
                      <a:pt x="0" y="15"/>
                      <a:pt x="2" y="22"/>
                      <a:pt x="9" y="25"/>
                    </a:cubicBezTo>
                    <a:cubicBezTo>
                      <a:pt x="15" y="27"/>
                      <a:pt x="22" y="24"/>
                      <a:pt x="24" y="18"/>
                    </a:cubicBezTo>
                    <a:cubicBezTo>
                      <a:pt x="27" y="12"/>
                      <a:pt x="24" y="5"/>
                      <a:pt x="18" y="3"/>
                    </a:cubicBezTo>
                    <a:close/>
                    <a:moveTo>
                      <a:pt x="11" y="19"/>
                    </a:moveTo>
                    <a:cubicBezTo>
                      <a:pt x="8" y="18"/>
                      <a:pt x="6" y="14"/>
                      <a:pt x="8" y="11"/>
                    </a:cubicBezTo>
                    <a:cubicBezTo>
                      <a:pt x="9" y="8"/>
                      <a:pt x="12" y="7"/>
                      <a:pt x="16" y="8"/>
                    </a:cubicBezTo>
                    <a:cubicBezTo>
                      <a:pt x="19" y="9"/>
                      <a:pt x="20" y="13"/>
                      <a:pt x="19" y="16"/>
                    </a:cubicBezTo>
                    <a:cubicBezTo>
                      <a:pt x="18" y="19"/>
                      <a:pt x="14" y="21"/>
                      <a:pt x="11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4347" tIns="62174" rIns="124347" bIns="62174" numCol="1" anchor="t" anchorCtr="0" compatLnSpc="1">
                <a:prstTxWarp prst="textNoShape">
                  <a:avLst/>
                </a:prstTxWarp>
              </a:bodyPr>
              <a:lstStyle/>
              <a:p>
                <a:pPr marL="274320" marR="0" lvl="0" indent="0" defTabSz="62179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329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71" name="Freeform 21"/>
              <p:cNvSpPr>
                <a:spLocks noEditPoints="1"/>
              </p:cNvSpPr>
              <p:nvPr/>
            </p:nvSpPr>
            <p:spPr bwMode="auto">
              <a:xfrm>
                <a:off x="-1395413" y="3067050"/>
                <a:ext cx="431800" cy="431800"/>
              </a:xfrm>
              <a:custGeom>
                <a:avLst/>
                <a:gdLst>
                  <a:gd name="T0" fmla="*/ 0 w 272"/>
                  <a:gd name="T1" fmla="*/ 0 h 272"/>
                  <a:gd name="T2" fmla="*/ 0 w 272"/>
                  <a:gd name="T3" fmla="*/ 272 h 272"/>
                  <a:gd name="T4" fmla="*/ 272 w 272"/>
                  <a:gd name="T5" fmla="*/ 272 h 272"/>
                  <a:gd name="T6" fmla="*/ 272 w 272"/>
                  <a:gd name="T7" fmla="*/ 0 h 272"/>
                  <a:gd name="T8" fmla="*/ 0 w 272"/>
                  <a:gd name="T9" fmla="*/ 0 h 272"/>
                  <a:gd name="T10" fmla="*/ 243 w 272"/>
                  <a:gd name="T11" fmla="*/ 243 h 272"/>
                  <a:gd name="T12" fmla="*/ 29 w 272"/>
                  <a:gd name="T13" fmla="*/ 243 h 272"/>
                  <a:gd name="T14" fmla="*/ 29 w 272"/>
                  <a:gd name="T15" fmla="*/ 28 h 272"/>
                  <a:gd name="T16" fmla="*/ 243 w 272"/>
                  <a:gd name="T17" fmla="*/ 28 h 272"/>
                  <a:gd name="T18" fmla="*/ 243 w 272"/>
                  <a:gd name="T19" fmla="*/ 243 h 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72" h="272">
                    <a:moveTo>
                      <a:pt x="0" y="0"/>
                    </a:moveTo>
                    <a:lnTo>
                      <a:pt x="0" y="272"/>
                    </a:lnTo>
                    <a:lnTo>
                      <a:pt x="272" y="272"/>
                    </a:lnTo>
                    <a:lnTo>
                      <a:pt x="272" y="0"/>
                    </a:lnTo>
                    <a:lnTo>
                      <a:pt x="0" y="0"/>
                    </a:lnTo>
                    <a:close/>
                    <a:moveTo>
                      <a:pt x="243" y="243"/>
                    </a:moveTo>
                    <a:lnTo>
                      <a:pt x="29" y="243"/>
                    </a:lnTo>
                    <a:lnTo>
                      <a:pt x="29" y="28"/>
                    </a:lnTo>
                    <a:lnTo>
                      <a:pt x="243" y="28"/>
                    </a:lnTo>
                    <a:lnTo>
                      <a:pt x="243" y="24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4347" tIns="62174" rIns="124347" bIns="62174" numCol="1" anchor="t" anchorCtr="0" compatLnSpc="1">
                <a:prstTxWarp prst="textNoShape">
                  <a:avLst/>
                </a:prstTxWarp>
              </a:bodyPr>
              <a:lstStyle/>
              <a:p>
                <a:pPr marL="274320" marR="0" lvl="0" indent="0" defTabSz="62179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329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72" name="Freeform 22"/>
              <p:cNvSpPr>
                <a:spLocks/>
              </p:cNvSpPr>
              <p:nvPr/>
            </p:nvSpPr>
            <p:spPr bwMode="auto">
              <a:xfrm>
                <a:off x="-1201738" y="2695575"/>
                <a:ext cx="1082675" cy="701675"/>
              </a:xfrm>
              <a:custGeom>
                <a:avLst/>
                <a:gdLst>
                  <a:gd name="T0" fmla="*/ 272 w 286"/>
                  <a:gd name="T1" fmla="*/ 0 h 185"/>
                  <a:gd name="T2" fmla="*/ 14 w 286"/>
                  <a:gd name="T3" fmla="*/ 0 h 185"/>
                  <a:gd name="T4" fmla="*/ 0 w 286"/>
                  <a:gd name="T5" fmla="*/ 14 h 185"/>
                  <a:gd name="T6" fmla="*/ 0 w 286"/>
                  <a:gd name="T7" fmla="*/ 90 h 185"/>
                  <a:gd name="T8" fmla="*/ 14 w 286"/>
                  <a:gd name="T9" fmla="*/ 90 h 185"/>
                  <a:gd name="T10" fmla="*/ 14 w 286"/>
                  <a:gd name="T11" fmla="*/ 14 h 185"/>
                  <a:gd name="T12" fmla="*/ 14 w 286"/>
                  <a:gd name="T13" fmla="*/ 14 h 185"/>
                  <a:gd name="T14" fmla="*/ 272 w 286"/>
                  <a:gd name="T15" fmla="*/ 14 h 185"/>
                  <a:gd name="T16" fmla="*/ 272 w 286"/>
                  <a:gd name="T17" fmla="*/ 14 h 185"/>
                  <a:gd name="T18" fmla="*/ 272 w 286"/>
                  <a:gd name="T19" fmla="*/ 171 h 185"/>
                  <a:gd name="T20" fmla="*/ 272 w 286"/>
                  <a:gd name="T21" fmla="*/ 171 h 185"/>
                  <a:gd name="T22" fmla="*/ 272 w 286"/>
                  <a:gd name="T23" fmla="*/ 171 h 185"/>
                  <a:gd name="T24" fmla="*/ 71 w 286"/>
                  <a:gd name="T25" fmla="*/ 171 h 185"/>
                  <a:gd name="T26" fmla="*/ 71 w 286"/>
                  <a:gd name="T27" fmla="*/ 185 h 185"/>
                  <a:gd name="T28" fmla="*/ 272 w 286"/>
                  <a:gd name="T29" fmla="*/ 185 h 185"/>
                  <a:gd name="T30" fmla="*/ 286 w 286"/>
                  <a:gd name="T31" fmla="*/ 171 h 185"/>
                  <a:gd name="T32" fmla="*/ 286 w 286"/>
                  <a:gd name="T33" fmla="*/ 14 h 185"/>
                  <a:gd name="T34" fmla="*/ 272 w 286"/>
                  <a:gd name="T35" fmla="*/ 0 h 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86" h="185">
                    <a:moveTo>
                      <a:pt x="272" y="0"/>
                    </a:moveTo>
                    <a:cubicBezTo>
                      <a:pt x="14" y="0"/>
                      <a:pt x="14" y="0"/>
                      <a:pt x="14" y="0"/>
                    </a:cubicBezTo>
                    <a:cubicBezTo>
                      <a:pt x="6" y="0"/>
                      <a:pt x="0" y="6"/>
                      <a:pt x="0" y="14"/>
                    </a:cubicBezTo>
                    <a:cubicBezTo>
                      <a:pt x="0" y="90"/>
                      <a:pt x="0" y="90"/>
                      <a:pt x="0" y="90"/>
                    </a:cubicBezTo>
                    <a:cubicBezTo>
                      <a:pt x="14" y="90"/>
                      <a:pt x="14" y="90"/>
                      <a:pt x="14" y="90"/>
                    </a:cubicBezTo>
                    <a:cubicBezTo>
                      <a:pt x="14" y="14"/>
                      <a:pt x="14" y="14"/>
                      <a:pt x="14" y="14"/>
                    </a:cubicBezTo>
                    <a:cubicBezTo>
                      <a:pt x="14" y="14"/>
                      <a:pt x="14" y="14"/>
                      <a:pt x="14" y="14"/>
                    </a:cubicBezTo>
                    <a:cubicBezTo>
                      <a:pt x="272" y="14"/>
                      <a:pt x="272" y="14"/>
                      <a:pt x="272" y="14"/>
                    </a:cubicBezTo>
                    <a:cubicBezTo>
                      <a:pt x="272" y="14"/>
                      <a:pt x="272" y="14"/>
                      <a:pt x="272" y="14"/>
                    </a:cubicBezTo>
                    <a:cubicBezTo>
                      <a:pt x="272" y="171"/>
                      <a:pt x="272" y="171"/>
                      <a:pt x="272" y="171"/>
                    </a:cubicBezTo>
                    <a:cubicBezTo>
                      <a:pt x="272" y="171"/>
                      <a:pt x="272" y="171"/>
                      <a:pt x="272" y="171"/>
                    </a:cubicBezTo>
                    <a:cubicBezTo>
                      <a:pt x="272" y="171"/>
                      <a:pt x="272" y="171"/>
                      <a:pt x="272" y="171"/>
                    </a:cubicBezTo>
                    <a:cubicBezTo>
                      <a:pt x="71" y="171"/>
                      <a:pt x="71" y="171"/>
                      <a:pt x="71" y="171"/>
                    </a:cubicBezTo>
                    <a:cubicBezTo>
                      <a:pt x="71" y="185"/>
                      <a:pt x="71" y="185"/>
                      <a:pt x="71" y="185"/>
                    </a:cubicBezTo>
                    <a:cubicBezTo>
                      <a:pt x="272" y="185"/>
                      <a:pt x="272" y="185"/>
                      <a:pt x="272" y="185"/>
                    </a:cubicBezTo>
                    <a:cubicBezTo>
                      <a:pt x="280" y="185"/>
                      <a:pt x="286" y="179"/>
                      <a:pt x="286" y="171"/>
                    </a:cubicBezTo>
                    <a:cubicBezTo>
                      <a:pt x="286" y="14"/>
                      <a:pt x="286" y="14"/>
                      <a:pt x="286" y="14"/>
                    </a:cubicBezTo>
                    <a:cubicBezTo>
                      <a:pt x="286" y="6"/>
                      <a:pt x="280" y="0"/>
                      <a:pt x="27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4347" tIns="62174" rIns="124347" bIns="62174" numCol="1" anchor="t" anchorCtr="0" compatLnSpc="1">
                <a:prstTxWarp prst="textNoShape">
                  <a:avLst/>
                </a:prstTxWarp>
              </a:bodyPr>
              <a:lstStyle/>
              <a:p>
                <a:pPr marL="274320" marR="0" lvl="0" indent="0" defTabSz="62179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329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73" name="Freeform 23"/>
              <p:cNvSpPr>
                <a:spLocks/>
              </p:cNvSpPr>
              <p:nvPr/>
            </p:nvSpPr>
            <p:spPr bwMode="auto">
              <a:xfrm>
                <a:off x="-1322388" y="3149600"/>
                <a:ext cx="301625" cy="277812"/>
              </a:xfrm>
              <a:custGeom>
                <a:avLst/>
                <a:gdLst>
                  <a:gd name="T0" fmla="*/ 100 w 190"/>
                  <a:gd name="T1" fmla="*/ 175 h 175"/>
                  <a:gd name="T2" fmla="*/ 190 w 190"/>
                  <a:gd name="T3" fmla="*/ 0 h 175"/>
                  <a:gd name="T4" fmla="*/ 145 w 190"/>
                  <a:gd name="T5" fmla="*/ 0 h 175"/>
                  <a:gd name="T6" fmla="*/ 81 w 190"/>
                  <a:gd name="T7" fmla="*/ 129 h 175"/>
                  <a:gd name="T8" fmla="*/ 50 w 190"/>
                  <a:gd name="T9" fmla="*/ 82 h 175"/>
                  <a:gd name="T10" fmla="*/ 0 w 190"/>
                  <a:gd name="T11" fmla="*/ 82 h 175"/>
                  <a:gd name="T12" fmla="*/ 71 w 190"/>
                  <a:gd name="T13" fmla="*/ 175 h 175"/>
                  <a:gd name="T14" fmla="*/ 100 w 190"/>
                  <a:gd name="T15" fmla="*/ 175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0" h="175">
                    <a:moveTo>
                      <a:pt x="100" y="175"/>
                    </a:moveTo>
                    <a:lnTo>
                      <a:pt x="190" y="0"/>
                    </a:lnTo>
                    <a:lnTo>
                      <a:pt x="145" y="0"/>
                    </a:lnTo>
                    <a:lnTo>
                      <a:pt x="81" y="129"/>
                    </a:lnTo>
                    <a:lnTo>
                      <a:pt x="50" y="82"/>
                    </a:lnTo>
                    <a:lnTo>
                      <a:pt x="0" y="82"/>
                    </a:lnTo>
                    <a:lnTo>
                      <a:pt x="71" y="175"/>
                    </a:lnTo>
                    <a:lnTo>
                      <a:pt x="100" y="17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4347" tIns="62174" rIns="124347" bIns="62174" numCol="1" anchor="t" anchorCtr="0" compatLnSpc="1">
                <a:prstTxWarp prst="textNoShape">
                  <a:avLst/>
                </a:prstTxWarp>
              </a:bodyPr>
              <a:lstStyle/>
              <a:p>
                <a:pPr marL="274320" marR="0" lvl="0" indent="0" defTabSz="62179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329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</p:grpSp>
      </p:grpSp>
      <p:grpSp>
        <p:nvGrpSpPr>
          <p:cNvPr id="174" name="Group 173"/>
          <p:cNvGrpSpPr/>
          <p:nvPr/>
        </p:nvGrpSpPr>
        <p:grpSpPr>
          <a:xfrm>
            <a:off x="8459159" y="461817"/>
            <a:ext cx="1354171" cy="1357298"/>
            <a:chOff x="714202" y="1480126"/>
            <a:chExt cx="1354171" cy="1357298"/>
          </a:xfrm>
        </p:grpSpPr>
        <p:sp>
          <p:nvSpPr>
            <p:cNvPr id="175" name="Rectangle 174"/>
            <p:cNvSpPr/>
            <p:nvPr/>
          </p:nvSpPr>
          <p:spPr bwMode="auto">
            <a:xfrm>
              <a:off x="714202" y="1480126"/>
              <a:ext cx="1354171" cy="1357298"/>
            </a:xfrm>
            <a:prstGeom prst="rect">
              <a:avLst/>
            </a:prstGeom>
            <a:solidFill>
              <a:srgbClr val="0066F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248694" tIns="124347" rIns="248694" bIns="19895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74320" marR="0" lvl="0" indent="0" defTabSz="1268069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4" b="0" i="0" u="none" strike="noStrike" kern="0" cap="none" spc="0" normalizeH="0" baseline="0" noProof="0" dirty="0" smtClean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176" name="Group 175"/>
            <p:cNvGrpSpPr/>
            <p:nvPr/>
          </p:nvGrpSpPr>
          <p:grpSpPr>
            <a:xfrm>
              <a:off x="860244" y="1715108"/>
              <a:ext cx="1062085" cy="879592"/>
              <a:chOff x="-1246188" y="1052513"/>
              <a:chExt cx="1487488" cy="1231901"/>
            </a:xfrm>
            <a:solidFill>
              <a:srgbClr val="FFFFFF"/>
            </a:solidFill>
          </p:grpSpPr>
          <p:sp>
            <p:nvSpPr>
              <p:cNvPr id="177" name="Freeform 5"/>
              <p:cNvSpPr>
                <a:spLocks/>
              </p:cNvSpPr>
              <p:nvPr/>
            </p:nvSpPr>
            <p:spPr bwMode="auto">
              <a:xfrm>
                <a:off x="-876300" y="1052513"/>
                <a:ext cx="396875" cy="147638"/>
              </a:xfrm>
              <a:custGeom>
                <a:avLst/>
                <a:gdLst>
                  <a:gd name="T0" fmla="*/ 0 w 105"/>
                  <a:gd name="T1" fmla="*/ 39 h 39"/>
                  <a:gd name="T2" fmla="*/ 13 w 105"/>
                  <a:gd name="T3" fmla="*/ 35 h 39"/>
                  <a:gd name="T4" fmla="*/ 96 w 105"/>
                  <a:gd name="T5" fmla="*/ 35 h 39"/>
                  <a:gd name="T6" fmla="*/ 105 w 105"/>
                  <a:gd name="T7" fmla="*/ 37 h 39"/>
                  <a:gd name="T8" fmla="*/ 94 w 105"/>
                  <a:gd name="T9" fmla="*/ 14 h 39"/>
                  <a:gd name="T10" fmla="*/ 72 w 105"/>
                  <a:gd name="T11" fmla="*/ 0 h 39"/>
                  <a:gd name="T12" fmla="*/ 35 w 105"/>
                  <a:gd name="T13" fmla="*/ 0 h 39"/>
                  <a:gd name="T14" fmla="*/ 14 w 105"/>
                  <a:gd name="T15" fmla="*/ 14 h 39"/>
                  <a:gd name="T16" fmla="*/ 0 w 105"/>
                  <a:gd name="T17" fmla="*/ 39 h 39"/>
                  <a:gd name="T18" fmla="*/ 0 w 105"/>
                  <a:gd name="T19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5" h="39">
                    <a:moveTo>
                      <a:pt x="0" y="39"/>
                    </a:moveTo>
                    <a:cubicBezTo>
                      <a:pt x="4" y="36"/>
                      <a:pt x="8" y="35"/>
                      <a:pt x="13" y="35"/>
                    </a:cubicBezTo>
                    <a:cubicBezTo>
                      <a:pt x="96" y="35"/>
                      <a:pt x="96" y="35"/>
                      <a:pt x="96" y="35"/>
                    </a:cubicBezTo>
                    <a:cubicBezTo>
                      <a:pt x="99" y="35"/>
                      <a:pt x="102" y="36"/>
                      <a:pt x="105" y="37"/>
                    </a:cubicBezTo>
                    <a:cubicBezTo>
                      <a:pt x="94" y="14"/>
                      <a:pt x="94" y="14"/>
                      <a:pt x="94" y="14"/>
                    </a:cubicBezTo>
                    <a:cubicBezTo>
                      <a:pt x="90" y="7"/>
                      <a:pt x="80" y="0"/>
                      <a:pt x="72" y="0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27" y="0"/>
                      <a:pt x="17" y="7"/>
                      <a:pt x="14" y="14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39"/>
                      <a:pt x="0" y="39"/>
                      <a:pt x="0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4347" tIns="62174" rIns="124347" bIns="62174" numCol="1" anchor="t" anchorCtr="0" compatLnSpc="1">
                <a:prstTxWarp prst="textNoShape">
                  <a:avLst/>
                </a:prstTxWarp>
              </a:bodyPr>
              <a:lstStyle/>
              <a:p>
                <a:pPr marL="274320" marR="0" lvl="0" indent="0" defTabSz="62179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329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78" name="Freeform 6"/>
              <p:cNvSpPr>
                <a:spLocks noEditPoints="1"/>
              </p:cNvSpPr>
              <p:nvPr/>
            </p:nvSpPr>
            <p:spPr bwMode="auto">
              <a:xfrm>
                <a:off x="-260350" y="1395413"/>
                <a:ext cx="501650" cy="508000"/>
              </a:xfrm>
              <a:custGeom>
                <a:avLst/>
                <a:gdLst>
                  <a:gd name="T0" fmla="*/ 0 w 316"/>
                  <a:gd name="T1" fmla="*/ 0 h 320"/>
                  <a:gd name="T2" fmla="*/ 0 w 316"/>
                  <a:gd name="T3" fmla="*/ 320 h 320"/>
                  <a:gd name="T4" fmla="*/ 78 w 316"/>
                  <a:gd name="T5" fmla="*/ 320 h 320"/>
                  <a:gd name="T6" fmla="*/ 78 w 316"/>
                  <a:gd name="T7" fmla="*/ 227 h 320"/>
                  <a:gd name="T8" fmla="*/ 240 w 316"/>
                  <a:gd name="T9" fmla="*/ 227 h 320"/>
                  <a:gd name="T10" fmla="*/ 240 w 316"/>
                  <a:gd name="T11" fmla="*/ 320 h 320"/>
                  <a:gd name="T12" fmla="*/ 316 w 316"/>
                  <a:gd name="T13" fmla="*/ 320 h 320"/>
                  <a:gd name="T14" fmla="*/ 316 w 316"/>
                  <a:gd name="T15" fmla="*/ 0 h 320"/>
                  <a:gd name="T16" fmla="*/ 0 w 316"/>
                  <a:gd name="T17" fmla="*/ 0 h 320"/>
                  <a:gd name="T18" fmla="*/ 0 w 316"/>
                  <a:gd name="T19" fmla="*/ 0 h 320"/>
                  <a:gd name="T20" fmla="*/ 0 w 316"/>
                  <a:gd name="T21" fmla="*/ 0 h 320"/>
                  <a:gd name="T22" fmla="*/ 264 w 316"/>
                  <a:gd name="T23" fmla="*/ 136 h 320"/>
                  <a:gd name="T24" fmla="*/ 45 w 316"/>
                  <a:gd name="T25" fmla="*/ 136 h 320"/>
                  <a:gd name="T26" fmla="*/ 45 w 316"/>
                  <a:gd name="T27" fmla="*/ 17 h 320"/>
                  <a:gd name="T28" fmla="*/ 264 w 316"/>
                  <a:gd name="T29" fmla="*/ 17 h 320"/>
                  <a:gd name="T30" fmla="*/ 264 w 316"/>
                  <a:gd name="T31" fmla="*/ 136 h 320"/>
                  <a:gd name="T32" fmla="*/ 264 w 316"/>
                  <a:gd name="T33" fmla="*/ 136 h 320"/>
                  <a:gd name="T34" fmla="*/ 264 w 316"/>
                  <a:gd name="T35" fmla="*/ 136 h 320"/>
                  <a:gd name="T36" fmla="*/ 112 w 316"/>
                  <a:gd name="T37" fmla="*/ 251 h 320"/>
                  <a:gd name="T38" fmla="*/ 164 w 316"/>
                  <a:gd name="T39" fmla="*/ 251 h 320"/>
                  <a:gd name="T40" fmla="*/ 164 w 316"/>
                  <a:gd name="T41" fmla="*/ 320 h 320"/>
                  <a:gd name="T42" fmla="*/ 112 w 316"/>
                  <a:gd name="T43" fmla="*/ 320 h 320"/>
                  <a:gd name="T44" fmla="*/ 112 w 316"/>
                  <a:gd name="T45" fmla="*/ 251 h 320"/>
                  <a:gd name="T46" fmla="*/ 112 w 316"/>
                  <a:gd name="T47" fmla="*/ 251 h 320"/>
                  <a:gd name="T48" fmla="*/ 112 w 316"/>
                  <a:gd name="T49" fmla="*/ 251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16" h="320">
                    <a:moveTo>
                      <a:pt x="0" y="0"/>
                    </a:moveTo>
                    <a:lnTo>
                      <a:pt x="0" y="320"/>
                    </a:lnTo>
                    <a:lnTo>
                      <a:pt x="78" y="320"/>
                    </a:lnTo>
                    <a:lnTo>
                      <a:pt x="78" y="227"/>
                    </a:lnTo>
                    <a:lnTo>
                      <a:pt x="240" y="227"/>
                    </a:lnTo>
                    <a:lnTo>
                      <a:pt x="240" y="320"/>
                    </a:lnTo>
                    <a:lnTo>
                      <a:pt x="316" y="320"/>
                    </a:lnTo>
                    <a:lnTo>
                      <a:pt x="316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  <a:moveTo>
                      <a:pt x="264" y="136"/>
                    </a:moveTo>
                    <a:lnTo>
                      <a:pt x="45" y="136"/>
                    </a:lnTo>
                    <a:lnTo>
                      <a:pt x="45" y="17"/>
                    </a:lnTo>
                    <a:lnTo>
                      <a:pt x="264" y="17"/>
                    </a:lnTo>
                    <a:lnTo>
                      <a:pt x="264" y="136"/>
                    </a:lnTo>
                    <a:lnTo>
                      <a:pt x="264" y="136"/>
                    </a:lnTo>
                    <a:lnTo>
                      <a:pt x="264" y="136"/>
                    </a:lnTo>
                    <a:close/>
                    <a:moveTo>
                      <a:pt x="112" y="251"/>
                    </a:moveTo>
                    <a:lnTo>
                      <a:pt x="164" y="251"/>
                    </a:lnTo>
                    <a:lnTo>
                      <a:pt x="164" y="320"/>
                    </a:lnTo>
                    <a:lnTo>
                      <a:pt x="112" y="320"/>
                    </a:lnTo>
                    <a:lnTo>
                      <a:pt x="112" y="251"/>
                    </a:lnTo>
                    <a:lnTo>
                      <a:pt x="112" y="251"/>
                    </a:lnTo>
                    <a:lnTo>
                      <a:pt x="112" y="25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4347" tIns="62174" rIns="124347" bIns="62174" numCol="1" anchor="t" anchorCtr="0" compatLnSpc="1">
                <a:prstTxWarp prst="textNoShape">
                  <a:avLst/>
                </a:prstTxWarp>
              </a:bodyPr>
              <a:lstStyle/>
              <a:p>
                <a:pPr marL="274320" marR="0" lvl="0" indent="0" defTabSz="62179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329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79" name="Freeform 7"/>
              <p:cNvSpPr>
                <a:spLocks noEditPoints="1"/>
              </p:cNvSpPr>
              <p:nvPr/>
            </p:nvSpPr>
            <p:spPr bwMode="auto">
              <a:xfrm>
                <a:off x="-1246188" y="1600201"/>
                <a:ext cx="714375" cy="684213"/>
              </a:xfrm>
              <a:custGeom>
                <a:avLst/>
                <a:gdLst>
                  <a:gd name="T0" fmla="*/ 113 w 189"/>
                  <a:gd name="T1" fmla="*/ 139 h 181"/>
                  <a:gd name="T2" fmla="*/ 162 w 189"/>
                  <a:gd name="T3" fmla="*/ 119 h 181"/>
                  <a:gd name="T4" fmla="*/ 162 w 189"/>
                  <a:gd name="T5" fmla="*/ 20 h 181"/>
                  <a:gd name="T6" fmla="*/ 113 w 189"/>
                  <a:gd name="T7" fmla="*/ 0 h 181"/>
                  <a:gd name="T8" fmla="*/ 63 w 189"/>
                  <a:gd name="T9" fmla="*/ 20 h 181"/>
                  <a:gd name="T10" fmla="*/ 52 w 189"/>
                  <a:gd name="T11" fmla="*/ 104 h 181"/>
                  <a:gd name="T12" fmla="*/ 7 w 189"/>
                  <a:gd name="T13" fmla="*/ 150 h 181"/>
                  <a:gd name="T14" fmla="*/ 7 w 189"/>
                  <a:gd name="T15" fmla="*/ 175 h 181"/>
                  <a:gd name="T16" fmla="*/ 20 w 189"/>
                  <a:gd name="T17" fmla="*/ 181 h 181"/>
                  <a:gd name="T18" fmla="*/ 32 w 189"/>
                  <a:gd name="T19" fmla="*/ 175 h 181"/>
                  <a:gd name="T20" fmla="*/ 78 w 189"/>
                  <a:gd name="T21" fmla="*/ 130 h 181"/>
                  <a:gd name="T22" fmla="*/ 113 w 189"/>
                  <a:gd name="T23" fmla="*/ 139 h 181"/>
                  <a:gd name="T24" fmla="*/ 79 w 189"/>
                  <a:gd name="T25" fmla="*/ 36 h 181"/>
                  <a:gd name="T26" fmla="*/ 113 w 189"/>
                  <a:gd name="T27" fmla="*/ 23 h 181"/>
                  <a:gd name="T28" fmla="*/ 146 w 189"/>
                  <a:gd name="T29" fmla="*/ 36 h 181"/>
                  <a:gd name="T30" fmla="*/ 146 w 189"/>
                  <a:gd name="T31" fmla="*/ 103 h 181"/>
                  <a:gd name="T32" fmla="*/ 113 w 189"/>
                  <a:gd name="T33" fmla="*/ 117 h 181"/>
                  <a:gd name="T34" fmla="*/ 79 w 189"/>
                  <a:gd name="T35" fmla="*/ 103 h 181"/>
                  <a:gd name="T36" fmla="*/ 79 w 189"/>
                  <a:gd name="T37" fmla="*/ 36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89" h="181">
                    <a:moveTo>
                      <a:pt x="113" y="139"/>
                    </a:moveTo>
                    <a:cubicBezTo>
                      <a:pt x="130" y="139"/>
                      <a:pt x="148" y="132"/>
                      <a:pt x="162" y="119"/>
                    </a:cubicBezTo>
                    <a:cubicBezTo>
                      <a:pt x="189" y="92"/>
                      <a:pt x="189" y="48"/>
                      <a:pt x="162" y="20"/>
                    </a:cubicBezTo>
                    <a:cubicBezTo>
                      <a:pt x="148" y="7"/>
                      <a:pt x="130" y="0"/>
                      <a:pt x="113" y="0"/>
                    </a:cubicBezTo>
                    <a:cubicBezTo>
                      <a:pt x="95" y="0"/>
                      <a:pt x="77" y="7"/>
                      <a:pt x="63" y="20"/>
                    </a:cubicBezTo>
                    <a:cubicBezTo>
                      <a:pt x="41" y="43"/>
                      <a:pt x="37" y="78"/>
                      <a:pt x="52" y="104"/>
                    </a:cubicBezTo>
                    <a:cubicBezTo>
                      <a:pt x="7" y="150"/>
                      <a:pt x="7" y="150"/>
                      <a:pt x="7" y="150"/>
                    </a:cubicBezTo>
                    <a:cubicBezTo>
                      <a:pt x="0" y="157"/>
                      <a:pt x="0" y="168"/>
                      <a:pt x="7" y="175"/>
                    </a:cubicBezTo>
                    <a:cubicBezTo>
                      <a:pt x="10" y="179"/>
                      <a:pt x="15" y="181"/>
                      <a:pt x="20" y="181"/>
                    </a:cubicBezTo>
                    <a:cubicBezTo>
                      <a:pt x="24" y="181"/>
                      <a:pt x="29" y="179"/>
                      <a:pt x="32" y="175"/>
                    </a:cubicBezTo>
                    <a:cubicBezTo>
                      <a:pt x="78" y="130"/>
                      <a:pt x="78" y="130"/>
                      <a:pt x="78" y="130"/>
                    </a:cubicBezTo>
                    <a:cubicBezTo>
                      <a:pt x="89" y="136"/>
                      <a:pt x="101" y="139"/>
                      <a:pt x="113" y="139"/>
                    </a:cubicBezTo>
                    <a:close/>
                    <a:moveTo>
                      <a:pt x="79" y="36"/>
                    </a:moveTo>
                    <a:cubicBezTo>
                      <a:pt x="89" y="27"/>
                      <a:pt x="101" y="23"/>
                      <a:pt x="113" y="23"/>
                    </a:cubicBezTo>
                    <a:cubicBezTo>
                      <a:pt x="125" y="23"/>
                      <a:pt x="137" y="27"/>
                      <a:pt x="146" y="36"/>
                    </a:cubicBezTo>
                    <a:cubicBezTo>
                      <a:pt x="164" y="55"/>
                      <a:pt x="164" y="84"/>
                      <a:pt x="146" y="103"/>
                    </a:cubicBezTo>
                    <a:cubicBezTo>
                      <a:pt x="137" y="112"/>
                      <a:pt x="125" y="117"/>
                      <a:pt x="113" y="117"/>
                    </a:cubicBezTo>
                    <a:cubicBezTo>
                      <a:pt x="101" y="117"/>
                      <a:pt x="89" y="112"/>
                      <a:pt x="79" y="103"/>
                    </a:cubicBezTo>
                    <a:cubicBezTo>
                      <a:pt x="61" y="84"/>
                      <a:pt x="61" y="55"/>
                      <a:pt x="79" y="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4347" tIns="62174" rIns="124347" bIns="62174" numCol="1" anchor="t" anchorCtr="0" compatLnSpc="1">
                <a:prstTxWarp prst="textNoShape">
                  <a:avLst/>
                </a:prstTxWarp>
              </a:bodyPr>
              <a:lstStyle/>
              <a:p>
                <a:pPr marL="274320" marR="0" lvl="0" indent="0" defTabSz="62179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329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80" name="Freeform 8"/>
              <p:cNvSpPr>
                <a:spLocks noEditPoints="1"/>
              </p:cNvSpPr>
              <p:nvPr/>
            </p:nvSpPr>
            <p:spPr bwMode="auto">
              <a:xfrm>
                <a:off x="-884238" y="1211263"/>
                <a:ext cx="427038" cy="714375"/>
              </a:xfrm>
              <a:custGeom>
                <a:avLst/>
                <a:gdLst>
                  <a:gd name="T0" fmla="*/ 106 w 113"/>
                  <a:gd name="T1" fmla="*/ 2 h 189"/>
                  <a:gd name="T2" fmla="*/ 99 w 113"/>
                  <a:gd name="T3" fmla="*/ 0 h 189"/>
                  <a:gd name="T4" fmla="*/ 16 w 113"/>
                  <a:gd name="T5" fmla="*/ 0 h 189"/>
                  <a:gd name="T6" fmla="*/ 8 w 113"/>
                  <a:gd name="T7" fmla="*/ 2 h 189"/>
                  <a:gd name="T8" fmla="*/ 0 w 113"/>
                  <a:gd name="T9" fmla="*/ 15 h 189"/>
                  <a:gd name="T10" fmla="*/ 0 w 113"/>
                  <a:gd name="T11" fmla="*/ 93 h 189"/>
                  <a:gd name="T12" fmla="*/ 17 w 113"/>
                  <a:gd name="T13" fmla="*/ 91 h 189"/>
                  <a:gd name="T14" fmla="*/ 33 w 113"/>
                  <a:gd name="T15" fmla="*/ 93 h 189"/>
                  <a:gd name="T16" fmla="*/ 93 w 113"/>
                  <a:gd name="T17" fmla="*/ 93 h 189"/>
                  <a:gd name="T18" fmla="*/ 99 w 113"/>
                  <a:gd name="T19" fmla="*/ 98 h 189"/>
                  <a:gd name="T20" fmla="*/ 93 w 113"/>
                  <a:gd name="T21" fmla="*/ 104 h 189"/>
                  <a:gd name="T22" fmla="*/ 61 w 113"/>
                  <a:gd name="T23" fmla="*/ 104 h 189"/>
                  <a:gd name="T24" fmla="*/ 74 w 113"/>
                  <a:gd name="T25" fmla="*/ 115 h 189"/>
                  <a:gd name="T26" fmla="*/ 78 w 113"/>
                  <a:gd name="T27" fmla="*/ 119 h 189"/>
                  <a:gd name="T28" fmla="*/ 93 w 113"/>
                  <a:gd name="T29" fmla="*/ 119 h 189"/>
                  <a:gd name="T30" fmla="*/ 99 w 113"/>
                  <a:gd name="T31" fmla="*/ 125 h 189"/>
                  <a:gd name="T32" fmla="*/ 93 w 113"/>
                  <a:gd name="T33" fmla="*/ 130 h 189"/>
                  <a:gd name="T34" fmla="*/ 86 w 113"/>
                  <a:gd name="T35" fmla="*/ 130 h 189"/>
                  <a:gd name="T36" fmla="*/ 93 w 113"/>
                  <a:gd name="T37" fmla="*/ 145 h 189"/>
                  <a:gd name="T38" fmla="*/ 93 w 113"/>
                  <a:gd name="T39" fmla="*/ 145 h 189"/>
                  <a:gd name="T40" fmla="*/ 99 w 113"/>
                  <a:gd name="T41" fmla="*/ 151 h 189"/>
                  <a:gd name="T42" fmla="*/ 96 w 113"/>
                  <a:gd name="T43" fmla="*/ 156 h 189"/>
                  <a:gd name="T44" fmla="*/ 98 w 113"/>
                  <a:gd name="T45" fmla="*/ 173 h 189"/>
                  <a:gd name="T46" fmla="*/ 96 w 113"/>
                  <a:gd name="T47" fmla="*/ 189 h 189"/>
                  <a:gd name="T48" fmla="*/ 99 w 113"/>
                  <a:gd name="T49" fmla="*/ 189 h 189"/>
                  <a:gd name="T50" fmla="*/ 113 w 113"/>
                  <a:gd name="T51" fmla="*/ 174 h 189"/>
                  <a:gd name="T52" fmla="*/ 113 w 113"/>
                  <a:gd name="T53" fmla="*/ 15 h 189"/>
                  <a:gd name="T54" fmla="*/ 106 w 113"/>
                  <a:gd name="T55" fmla="*/ 2 h 189"/>
                  <a:gd name="T56" fmla="*/ 91 w 113"/>
                  <a:gd name="T57" fmla="*/ 35 h 189"/>
                  <a:gd name="T58" fmla="*/ 83 w 113"/>
                  <a:gd name="T59" fmla="*/ 27 h 189"/>
                  <a:gd name="T60" fmla="*/ 91 w 113"/>
                  <a:gd name="T61" fmla="*/ 20 h 189"/>
                  <a:gd name="T62" fmla="*/ 99 w 113"/>
                  <a:gd name="T63" fmla="*/ 27 h 189"/>
                  <a:gd name="T64" fmla="*/ 91 w 113"/>
                  <a:gd name="T65" fmla="*/ 35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13" h="189">
                    <a:moveTo>
                      <a:pt x="106" y="2"/>
                    </a:moveTo>
                    <a:cubicBezTo>
                      <a:pt x="103" y="1"/>
                      <a:pt x="101" y="0"/>
                      <a:pt x="99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3" y="0"/>
                      <a:pt x="10" y="1"/>
                      <a:pt x="8" y="2"/>
                    </a:cubicBezTo>
                    <a:cubicBezTo>
                      <a:pt x="4" y="5"/>
                      <a:pt x="0" y="9"/>
                      <a:pt x="0" y="15"/>
                    </a:cubicBezTo>
                    <a:cubicBezTo>
                      <a:pt x="0" y="47"/>
                      <a:pt x="0" y="72"/>
                      <a:pt x="0" y="93"/>
                    </a:cubicBezTo>
                    <a:cubicBezTo>
                      <a:pt x="6" y="92"/>
                      <a:pt x="11" y="91"/>
                      <a:pt x="17" y="91"/>
                    </a:cubicBezTo>
                    <a:cubicBezTo>
                      <a:pt x="22" y="91"/>
                      <a:pt x="28" y="92"/>
                      <a:pt x="33" y="93"/>
                    </a:cubicBezTo>
                    <a:cubicBezTo>
                      <a:pt x="93" y="93"/>
                      <a:pt x="93" y="93"/>
                      <a:pt x="93" y="93"/>
                    </a:cubicBezTo>
                    <a:cubicBezTo>
                      <a:pt x="96" y="93"/>
                      <a:pt x="99" y="95"/>
                      <a:pt x="99" y="98"/>
                    </a:cubicBezTo>
                    <a:cubicBezTo>
                      <a:pt x="99" y="102"/>
                      <a:pt x="96" y="104"/>
                      <a:pt x="93" y="104"/>
                    </a:cubicBezTo>
                    <a:cubicBezTo>
                      <a:pt x="80" y="104"/>
                      <a:pt x="69" y="104"/>
                      <a:pt x="61" y="104"/>
                    </a:cubicBezTo>
                    <a:cubicBezTo>
                      <a:pt x="66" y="107"/>
                      <a:pt x="70" y="111"/>
                      <a:pt x="74" y="115"/>
                    </a:cubicBezTo>
                    <a:cubicBezTo>
                      <a:pt x="76" y="116"/>
                      <a:pt x="77" y="118"/>
                      <a:pt x="78" y="119"/>
                    </a:cubicBezTo>
                    <a:cubicBezTo>
                      <a:pt x="93" y="119"/>
                      <a:pt x="93" y="119"/>
                      <a:pt x="93" y="119"/>
                    </a:cubicBezTo>
                    <a:cubicBezTo>
                      <a:pt x="96" y="119"/>
                      <a:pt x="99" y="122"/>
                      <a:pt x="99" y="125"/>
                    </a:cubicBezTo>
                    <a:cubicBezTo>
                      <a:pt x="99" y="128"/>
                      <a:pt x="96" y="130"/>
                      <a:pt x="93" y="130"/>
                    </a:cubicBezTo>
                    <a:cubicBezTo>
                      <a:pt x="91" y="130"/>
                      <a:pt x="89" y="130"/>
                      <a:pt x="86" y="130"/>
                    </a:cubicBezTo>
                    <a:cubicBezTo>
                      <a:pt x="89" y="135"/>
                      <a:pt x="91" y="140"/>
                      <a:pt x="93" y="145"/>
                    </a:cubicBezTo>
                    <a:cubicBezTo>
                      <a:pt x="93" y="145"/>
                      <a:pt x="93" y="145"/>
                      <a:pt x="93" y="145"/>
                    </a:cubicBezTo>
                    <a:cubicBezTo>
                      <a:pt x="96" y="145"/>
                      <a:pt x="99" y="148"/>
                      <a:pt x="99" y="151"/>
                    </a:cubicBezTo>
                    <a:cubicBezTo>
                      <a:pt x="99" y="153"/>
                      <a:pt x="98" y="155"/>
                      <a:pt x="96" y="156"/>
                    </a:cubicBezTo>
                    <a:cubicBezTo>
                      <a:pt x="98" y="162"/>
                      <a:pt x="98" y="167"/>
                      <a:pt x="98" y="173"/>
                    </a:cubicBezTo>
                    <a:cubicBezTo>
                      <a:pt x="98" y="178"/>
                      <a:pt x="98" y="184"/>
                      <a:pt x="96" y="189"/>
                    </a:cubicBezTo>
                    <a:cubicBezTo>
                      <a:pt x="99" y="189"/>
                      <a:pt x="99" y="189"/>
                      <a:pt x="99" y="189"/>
                    </a:cubicBezTo>
                    <a:cubicBezTo>
                      <a:pt x="107" y="189"/>
                      <a:pt x="113" y="182"/>
                      <a:pt x="113" y="174"/>
                    </a:cubicBezTo>
                    <a:cubicBezTo>
                      <a:pt x="113" y="15"/>
                      <a:pt x="113" y="15"/>
                      <a:pt x="113" y="15"/>
                    </a:cubicBezTo>
                    <a:cubicBezTo>
                      <a:pt x="113" y="9"/>
                      <a:pt x="110" y="5"/>
                      <a:pt x="106" y="2"/>
                    </a:cubicBezTo>
                    <a:close/>
                    <a:moveTo>
                      <a:pt x="91" y="35"/>
                    </a:moveTo>
                    <a:cubicBezTo>
                      <a:pt x="86" y="35"/>
                      <a:pt x="83" y="32"/>
                      <a:pt x="83" y="27"/>
                    </a:cubicBezTo>
                    <a:cubicBezTo>
                      <a:pt x="83" y="23"/>
                      <a:pt x="86" y="20"/>
                      <a:pt x="91" y="20"/>
                    </a:cubicBezTo>
                    <a:cubicBezTo>
                      <a:pt x="95" y="20"/>
                      <a:pt x="99" y="23"/>
                      <a:pt x="99" y="27"/>
                    </a:cubicBezTo>
                    <a:cubicBezTo>
                      <a:pt x="99" y="32"/>
                      <a:pt x="95" y="35"/>
                      <a:pt x="91" y="3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4347" tIns="62174" rIns="124347" bIns="62174" numCol="1" anchor="t" anchorCtr="0" compatLnSpc="1">
                <a:prstTxWarp prst="textNoShape">
                  <a:avLst/>
                </a:prstTxWarp>
              </a:bodyPr>
              <a:lstStyle/>
              <a:p>
                <a:pPr marL="274320" marR="0" lvl="0" indent="0" defTabSz="62179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329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81" name="Freeform 9"/>
              <p:cNvSpPr>
                <a:spLocks/>
              </p:cNvSpPr>
              <p:nvPr/>
            </p:nvSpPr>
            <p:spPr bwMode="auto">
              <a:xfrm>
                <a:off x="-744538" y="1703388"/>
                <a:ext cx="163513" cy="55563"/>
              </a:xfrm>
              <a:custGeom>
                <a:avLst/>
                <a:gdLst>
                  <a:gd name="T0" fmla="*/ 13 w 43"/>
                  <a:gd name="T1" fmla="*/ 9 h 15"/>
                  <a:gd name="T2" fmla="*/ 18 w 43"/>
                  <a:gd name="T3" fmla="*/ 15 h 15"/>
                  <a:gd name="T4" fmla="*/ 43 w 43"/>
                  <a:gd name="T5" fmla="*/ 15 h 15"/>
                  <a:gd name="T6" fmla="*/ 35 w 43"/>
                  <a:gd name="T7" fmla="*/ 0 h 15"/>
                  <a:gd name="T8" fmla="*/ 0 w 43"/>
                  <a:gd name="T9" fmla="*/ 0 h 15"/>
                  <a:gd name="T10" fmla="*/ 13 w 43"/>
                  <a:gd name="T11" fmla="*/ 9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15">
                    <a:moveTo>
                      <a:pt x="13" y="9"/>
                    </a:moveTo>
                    <a:cubicBezTo>
                      <a:pt x="15" y="11"/>
                      <a:pt x="16" y="13"/>
                      <a:pt x="18" y="15"/>
                    </a:cubicBezTo>
                    <a:cubicBezTo>
                      <a:pt x="30" y="15"/>
                      <a:pt x="38" y="15"/>
                      <a:pt x="43" y="15"/>
                    </a:cubicBezTo>
                    <a:cubicBezTo>
                      <a:pt x="41" y="10"/>
                      <a:pt x="38" y="5"/>
                      <a:pt x="35" y="0"/>
                    </a:cubicBezTo>
                    <a:cubicBezTo>
                      <a:pt x="18" y="0"/>
                      <a:pt x="7" y="0"/>
                      <a:pt x="0" y="0"/>
                    </a:cubicBezTo>
                    <a:cubicBezTo>
                      <a:pt x="5" y="3"/>
                      <a:pt x="9" y="6"/>
                      <a:pt x="13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4347" tIns="62174" rIns="124347" bIns="62174" numCol="1" anchor="t" anchorCtr="0" compatLnSpc="1">
                <a:prstTxWarp prst="textNoShape">
                  <a:avLst/>
                </a:prstTxWarp>
              </a:bodyPr>
              <a:lstStyle/>
              <a:p>
                <a:pPr marL="274320" marR="0" lvl="0" indent="0" defTabSz="62179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329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82" name="Freeform 10"/>
              <p:cNvSpPr>
                <a:spLocks/>
              </p:cNvSpPr>
              <p:nvPr/>
            </p:nvSpPr>
            <p:spPr bwMode="auto">
              <a:xfrm>
                <a:off x="-884238" y="1733551"/>
                <a:ext cx="200025" cy="192088"/>
              </a:xfrm>
              <a:custGeom>
                <a:avLst/>
                <a:gdLst>
                  <a:gd name="T0" fmla="*/ 26 w 53"/>
                  <a:gd name="T1" fmla="*/ 7 h 51"/>
                  <a:gd name="T2" fmla="*/ 38 w 53"/>
                  <a:gd name="T3" fmla="*/ 7 h 51"/>
                  <a:gd name="T4" fmla="*/ 17 w 53"/>
                  <a:gd name="T5" fmla="*/ 0 h 51"/>
                  <a:gd name="T6" fmla="*/ 0 w 53"/>
                  <a:gd name="T7" fmla="*/ 3 h 51"/>
                  <a:gd name="T8" fmla="*/ 0 w 53"/>
                  <a:gd name="T9" fmla="*/ 36 h 51"/>
                  <a:gd name="T10" fmla="*/ 16 w 53"/>
                  <a:gd name="T11" fmla="*/ 51 h 51"/>
                  <a:gd name="T12" fmla="*/ 48 w 53"/>
                  <a:gd name="T13" fmla="*/ 51 h 51"/>
                  <a:gd name="T14" fmla="*/ 48 w 53"/>
                  <a:gd name="T15" fmla="*/ 19 h 51"/>
                  <a:gd name="T16" fmla="*/ 26 w 53"/>
                  <a:gd name="T17" fmla="*/ 19 h 51"/>
                  <a:gd name="T18" fmla="*/ 20 w 53"/>
                  <a:gd name="T19" fmla="*/ 13 h 51"/>
                  <a:gd name="T20" fmla="*/ 26 w 53"/>
                  <a:gd name="T21" fmla="*/ 7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3" h="51">
                    <a:moveTo>
                      <a:pt x="26" y="7"/>
                    </a:moveTo>
                    <a:cubicBezTo>
                      <a:pt x="31" y="7"/>
                      <a:pt x="35" y="7"/>
                      <a:pt x="38" y="7"/>
                    </a:cubicBezTo>
                    <a:cubicBezTo>
                      <a:pt x="32" y="2"/>
                      <a:pt x="25" y="0"/>
                      <a:pt x="17" y="0"/>
                    </a:cubicBezTo>
                    <a:cubicBezTo>
                      <a:pt x="11" y="0"/>
                      <a:pt x="5" y="1"/>
                      <a:pt x="0" y="3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0" y="44"/>
                      <a:pt x="8" y="51"/>
                      <a:pt x="16" y="51"/>
                    </a:cubicBezTo>
                    <a:cubicBezTo>
                      <a:pt x="28" y="51"/>
                      <a:pt x="39" y="51"/>
                      <a:pt x="48" y="51"/>
                    </a:cubicBezTo>
                    <a:cubicBezTo>
                      <a:pt x="53" y="41"/>
                      <a:pt x="53" y="29"/>
                      <a:pt x="48" y="19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3" y="19"/>
                      <a:pt x="20" y="17"/>
                      <a:pt x="20" y="13"/>
                    </a:cubicBezTo>
                    <a:cubicBezTo>
                      <a:pt x="20" y="10"/>
                      <a:pt x="23" y="7"/>
                      <a:pt x="26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4347" tIns="62174" rIns="124347" bIns="62174" numCol="1" anchor="t" anchorCtr="0" compatLnSpc="1">
                <a:prstTxWarp prst="textNoShape">
                  <a:avLst/>
                </a:prstTxWarp>
              </a:bodyPr>
              <a:lstStyle/>
              <a:p>
                <a:pPr marL="274320" marR="0" lvl="0" indent="0" defTabSz="62179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329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83" name="Freeform 11"/>
              <p:cNvSpPr>
                <a:spLocks/>
              </p:cNvSpPr>
              <p:nvPr/>
            </p:nvSpPr>
            <p:spPr bwMode="auto">
              <a:xfrm>
                <a:off x="-654050" y="1804988"/>
                <a:ext cx="98425" cy="120650"/>
              </a:xfrm>
              <a:custGeom>
                <a:avLst/>
                <a:gdLst>
                  <a:gd name="T0" fmla="*/ 23 w 26"/>
                  <a:gd name="T1" fmla="*/ 0 h 32"/>
                  <a:gd name="T2" fmla="*/ 0 w 26"/>
                  <a:gd name="T3" fmla="*/ 0 h 32"/>
                  <a:gd name="T4" fmla="*/ 0 w 26"/>
                  <a:gd name="T5" fmla="*/ 32 h 32"/>
                  <a:gd name="T6" fmla="*/ 23 w 26"/>
                  <a:gd name="T7" fmla="*/ 32 h 32"/>
                  <a:gd name="T8" fmla="*/ 23 w 26"/>
                  <a:gd name="T9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32">
                    <a:moveTo>
                      <a:pt x="23" y="0"/>
                    </a:moveTo>
                    <a:cubicBezTo>
                      <a:pt x="14" y="0"/>
                      <a:pt x="7" y="0"/>
                      <a:pt x="0" y="0"/>
                    </a:cubicBezTo>
                    <a:cubicBezTo>
                      <a:pt x="4" y="11"/>
                      <a:pt x="3" y="22"/>
                      <a:pt x="0" y="32"/>
                    </a:cubicBezTo>
                    <a:cubicBezTo>
                      <a:pt x="10" y="32"/>
                      <a:pt x="18" y="32"/>
                      <a:pt x="23" y="32"/>
                    </a:cubicBezTo>
                    <a:cubicBezTo>
                      <a:pt x="26" y="22"/>
                      <a:pt x="26" y="11"/>
                      <a:pt x="2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4347" tIns="62174" rIns="124347" bIns="62174" numCol="1" anchor="t" anchorCtr="0" compatLnSpc="1">
                <a:prstTxWarp prst="textNoShape">
                  <a:avLst/>
                </a:prstTxWarp>
              </a:bodyPr>
              <a:lstStyle/>
              <a:p>
                <a:pPr marL="274320" marR="0" lvl="0" indent="0" defTabSz="62179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329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84" name="Freeform 12"/>
              <p:cNvSpPr>
                <a:spLocks/>
              </p:cNvSpPr>
              <p:nvPr/>
            </p:nvSpPr>
            <p:spPr bwMode="auto">
              <a:xfrm>
                <a:off x="-884238" y="1600201"/>
                <a:ext cx="230188" cy="95250"/>
              </a:xfrm>
              <a:custGeom>
                <a:avLst/>
                <a:gdLst>
                  <a:gd name="T0" fmla="*/ 17 w 61"/>
                  <a:gd name="T1" fmla="*/ 23 h 25"/>
                  <a:gd name="T2" fmla="*/ 20 w 61"/>
                  <a:gd name="T3" fmla="*/ 23 h 25"/>
                  <a:gd name="T4" fmla="*/ 20 w 61"/>
                  <a:gd name="T5" fmla="*/ 22 h 25"/>
                  <a:gd name="T6" fmla="*/ 26 w 61"/>
                  <a:gd name="T7" fmla="*/ 16 h 25"/>
                  <a:gd name="T8" fmla="*/ 61 w 61"/>
                  <a:gd name="T9" fmla="*/ 16 h 25"/>
                  <a:gd name="T10" fmla="*/ 29 w 61"/>
                  <a:gd name="T11" fmla="*/ 1 h 25"/>
                  <a:gd name="T12" fmla="*/ 26 w 61"/>
                  <a:gd name="T13" fmla="*/ 1 h 25"/>
                  <a:gd name="T14" fmla="*/ 23 w 61"/>
                  <a:gd name="T15" fmla="*/ 0 h 25"/>
                  <a:gd name="T16" fmla="*/ 17 w 61"/>
                  <a:gd name="T17" fmla="*/ 0 h 25"/>
                  <a:gd name="T18" fmla="*/ 0 w 61"/>
                  <a:gd name="T19" fmla="*/ 2 h 25"/>
                  <a:gd name="T20" fmla="*/ 0 w 61"/>
                  <a:gd name="T21" fmla="*/ 25 h 25"/>
                  <a:gd name="T22" fmla="*/ 17 w 61"/>
                  <a:gd name="T23" fmla="*/ 2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25">
                    <a:moveTo>
                      <a:pt x="17" y="23"/>
                    </a:moveTo>
                    <a:cubicBezTo>
                      <a:pt x="18" y="23"/>
                      <a:pt x="19" y="23"/>
                      <a:pt x="20" y="23"/>
                    </a:cubicBezTo>
                    <a:cubicBezTo>
                      <a:pt x="20" y="23"/>
                      <a:pt x="20" y="22"/>
                      <a:pt x="20" y="22"/>
                    </a:cubicBezTo>
                    <a:cubicBezTo>
                      <a:pt x="20" y="19"/>
                      <a:pt x="23" y="16"/>
                      <a:pt x="26" y="16"/>
                    </a:cubicBezTo>
                    <a:cubicBezTo>
                      <a:pt x="41" y="16"/>
                      <a:pt x="52" y="16"/>
                      <a:pt x="61" y="16"/>
                    </a:cubicBezTo>
                    <a:cubicBezTo>
                      <a:pt x="51" y="8"/>
                      <a:pt x="40" y="3"/>
                      <a:pt x="29" y="1"/>
                    </a:cubicBezTo>
                    <a:cubicBezTo>
                      <a:pt x="26" y="1"/>
                      <a:pt x="26" y="1"/>
                      <a:pt x="26" y="1"/>
                    </a:cubicBezTo>
                    <a:cubicBezTo>
                      <a:pt x="25" y="1"/>
                      <a:pt x="24" y="1"/>
                      <a:pt x="23" y="0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11" y="0"/>
                      <a:pt x="6" y="1"/>
                      <a:pt x="0" y="2"/>
                    </a:cubicBezTo>
                    <a:cubicBezTo>
                      <a:pt x="0" y="11"/>
                      <a:pt x="0" y="19"/>
                      <a:pt x="0" y="25"/>
                    </a:cubicBezTo>
                    <a:cubicBezTo>
                      <a:pt x="6" y="24"/>
                      <a:pt x="11" y="23"/>
                      <a:pt x="17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4347" tIns="62174" rIns="124347" bIns="62174" numCol="1" anchor="t" anchorCtr="0" compatLnSpc="1">
                <a:prstTxWarp prst="textNoShape">
                  <a:avLst/>
                </a:prstTxWarp>
              </a:bodyPr>
              <a:lstStyle/>
              <a:p>
                <a:pPr marL="274320" marR="0" lvl="0" indent="0" defTabSz="62179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329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</p:grpSp>
      </p:grpSp>
      <p:grpSp>
        <p:nvGrpSpPr>
          <p:cNvPr id="92" name="Group 91"/>
          <p:cNvGrpSpPr/>
          <p:nvPr/>
        </p:nvGrpSpPr>
        <p:grpSpPr>
          <a:xfrm>
            <a:off x="2229632" y="2899299"/>
            <a:ext cx="411030" cy="411030"/>
            <a:chOff x="1385367" y="840736"/>
            <a:chExt cx="632232" cy="632232"/>
          </a:xfrm>
        </p:grpSpPr>
        <p:sp>
          <p:nvSpPr>
            <p:cNvPr id="93" name="Rectangle 92"/>
            <p:cNvSpPr/>
            <p:nvPr/>
          </p:nvSpPr>
          <p:spPr>
            <a:xfrm>
              <a:off x="1385367" y="840736"/>
              <a:ext cx="632232" cy="632232"/>
            </a:xfrm>
            <a:prstGeom prst="rect">
              <a:avLst/>
            </a:prstGeom>
            <a:solidFill>
              <a:srgbClr val="00F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" name="Freeform 9"/>
            <p:cNvSpPr>
              <a:spLocks noEditPoints="1"/>
            </p:cNvSpPr>
            <p:nvPr/>
          </p:nvSpPr>
          <p:spPr bwMode="black">
            <a:xfrm>
              <a:off x="1385367" y="840736"/>
              <a:ext cx="629673" cy="632232"/>
            </a:xfrm>
            <a:custGeom>
              <a:avLst/>
              <a:gdLst>
                <a:gd name="T0" fmla="*/ 88 w 149"/>
                <a:gd name="T1" fmla="*/ 67 h 149"/>
                <a:gd name="T2" fmla="*/ 65 w 149"/>
                <a:gd name="T3" fmla="*/ 46 h 149"/>
                <a:gd name="T4" fmla="*/ 84 w 149"/>
                <a:gd name="T5" fmla="*/ 46 h 149"/>
                <a:gd name="T6" fmla="*/ 115 w 149"/>
                <a:gd name="T7" fmla="*/ 75 h 149"/>
                <a:gd name="T8" fmla="*/ 84 w 149"/>
                <a:gd name="T9" fmla="*/ 104 h 149"/>
                <a:gd name="T10" fmla="*/ 65 w 149"/>
                <a:gd name="T11" fmla="*/ 104 h 149"/>
                <a:gd name="T12" fmla="*/ 88 w 149"/>
                <a:gd name="T13" fmla="*/ 82 h 149"/>
                <a:gd name="T14" fmla="*/ 36 w 149"/>
                <a:gd name="T15" fmla="*/ 82 h 149"/>
                <a:gd name="T16" fmla="*/ 36 w 149"/>
                <a:gd name="T17" fmla="*/ 67 h 149"/>
                <a:gd name="T18" fmla="*/ 88 w 149"/>
                <a:gd name="T19" fmla="*/ 67 h 149"/>
                <a:gd name="T20" fmla="*/ 74 w 149"/>
                <a:gd name="T21" fmla="*/ 9 h 149"/>
                <a:gd name="T22" fmla="*/ 140 w 149"/>
                <a:gd name="T23" fmla="*/ 75 h 149"/>
                <a:gd name="T24" fmla="*/ 74 w 149"/>
                <a:gd name="T25" fmla="*/ 140 h 149"/>
                <a:gd name="T26" fmla="*/ 9 w 149"/>
                <a:gd name="T27" fmla="*/ 75 h 149"/>
                <a:gd name="T28" fmla="*/ 74 w 149"/>
                <a:gd name="T29" fmla="*/ 9 h 149"/>
                <a:gd name="T30" fmla="*/ 74 w 149"/>
                <a:gd name="T31" fmla="*/ 0 h 149"/>
                <a:gd name="T32" fmla="*/ 0 w 149"/>
                <a:gd name="T33" fmla="*/ 75 h 149"/>
                <a:gd name="T34" fmla="*/ 74 w 149"/>
                <a:gd name="T35" fmla="*/ 149 h 149"/>
                <a:gd name="T36" fmla="*/ 149 w 149"/>
                <a:gd name="T37" fmla="*/ 75 h 149"/>
                <a:gd name="T38" fmla="*/ 74 w 149"/>
                <a:gd name="T3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9" h="149">
                  <a:moveTo>
                    <a:pt x="88" y="67"/>
                  </a:moveTo>
                  <a:cubicBezTo>
                    <a:pt x="65" y="46"/>
                    <a:pt x="65" y="46"/>
                    <a:pt x="65" y="46"/>
                  </a:cubicBezTo>
                  <a:cubicBezTo>
                    <a:pt x="84" y="46"/>
                    <a:pt x="84" y="46"/>
                    <a:pt x="84" y="46"/>
                  </a:cubicBezTo>
                  <a:cubicBezTo>
                    <a:pt x="115" y="75"/>
                    <a:pt x="115" y="75"/>
                    <a:pt x="115" y="75"/>
                  </a:cubicBezTo>
                  <a:cubicBezTo>
                    <a:pt x="84" y="104"/>
                    <a:pt x="84" y="104"/>
                    <a:pt x="84" y="104"/>
                  </a:cubicBezTo>
                  <a:cubicBezTo>
                    <a:pt x="65" y="104"/>
                    <a:pt x="65" y="104"/>
                    <a:pt x="65" y="104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6" y="67"/>
                    <a:pt x="36" y="67"/>
                    <a:pt x="36" y="67"/>
                  </a:cubicBezTo>
                  <a:lnTo>
                    <a:pt x="88" y="67"/>
                  </a:lnTo>
                  <a:close/>
                  <a:moveTo>
                    <a:pt x="74" y="9"/>
                  </a:moveTo>
                  <a:cubicBezTo>
                    <a:pt x="110" y="9"/>
                    <a:pt x="140" y="39"/>
                    <a:pt x="140" y="75"/>
                  </a:cubicBezTo>
                  <a:cubicBezTo>
                    <a:pt x="140" y="111"/>
                    <a:pt x="110" y="140"/>
                    <a:pt x="74" y="140"/>
                  </a:cubicBezTo>
                  <a:cubicBezTo>
                    <a:pt x="38" y="140"/>
                    <a:pt x="9" y="111"/>
                    <a:pt x="9" y="75"/>
                  </a:cubicBezTo>
                  <a:cubicBezTo>
                    <a:pt x="9" y="39"/>
                    <a:pt x="38" y="9"/>
                    <a:pt x="74" y="9"/>
                  </a:cubicBezTo>
                  <a:moveTo>
                    <a:pt x="74" y="0"/>
                  </a:moveTo>
                  <a:cubicBezTo>
                    <a:pt x="33" y="0"/>
                    <a:pt x="0" y="33"/>
                    <a:pt x="0" y="75"/>
                  </a:cubicBezTo>
                  <a:cubicBezTo>
                    <a:pt x="0" y="116"/>
                    <a:pt x="33" y="149"/>
                    <a:pt x="74" y="149"/>
                  </a:cubicBezTo>
                  <a:cubicBezTo>
                    <a:pt x="116" y="149"/>
                    <a:pt x="149" y="116"/>
                    <a:pt x="149" y="75"/>
                  </a:cubicBezTo>
                  <a:cubicBezTo>
                    <a:pt x="149" y="33"/>
                    <a:pt x="116" y="0"/>
                    <a:pt x="74" y="0"/>
                  </a:cubicBezTo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8" tIns="34293" rIns="68588" bIns="34293" numCol="1" anchor="t" anchorCtr="0" compatLnSpc="1">
              <a:prstTxWarp prst="textNoShape">
                <a:avLst/>
              </a:prstTxWarp>
            </a:bodyPr>
            <a:lstStyle/>
            <a:p>
              <a:endParaRPr lang="en-US" sz="1324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99" name="Group 98"/>
          <p:cNvGrpSpPr/>
          <p:nvPr/>
        </p:nvGrpSpPr>
        <p:grpSpPr>
          <a:xfrm>
            <a:off x="1710301" y="4861945"/>
            <a:ext cx="411030" cy="411030"/>
            <a:chOff x="1385367" y="840736"/>
            <a:chExt cx="632232" cy="632232"/>
          </a:xfrm>
        </p:grpSpPr>
        <p:sp>
          <p:nvSpPr>
            <p:cNvPr id="100" name="Rectangle 99"/>
            <p:cNvSpPr/>
            <p:nvPr/>
          </p:nvSpPr>
          <p:spPr>
            <a:xfrm>
              <a:off x="1385367" y="840736"/>
              <a:ext cx="632232" cy="632232"/>
            </a:xfrm>
            <a:prstGeom prst="rect">
              <a:avLst/>
            </a:prstGeom>
            <a:solidFill>
              <a:srgbClr val="00CC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" name="Freeform 9"/>
            <p:cNvSpPr>
              <a:spLocks noEditPoints="1"/>
            </p:cNvSpPr>
            <p:nvPr/>
          </p:nvSpPr>
          <p:spPr bwMode="black">
            <a:xfrm>
              <a:off x="1385367" y="840736"/>
              <a:ext cx="629673" cy="632232"/>
            </a:xfrm>
            <a:custGeom>
              <a:avLst/>
              <a:gdLst>
                <a:gd name="T0" fmla="*/ 88 w 149"/>
                <a:gd name="T1" fmla="*/ 67 h 149"/>
                <a:gd name="T2" fmla="*/ 65 w 149"/>
                <a:gd name="T3" fmla="*/ 46 h 149"/>
                <a:gd name="T4" fmla="*/ 84 w 149"/>
                <a:gd name="T5" fmla="*/ 46 h 149"/>
                <a:gd name="T6" fmla="*/ 115 w 149"/>
                <a:gd name="T7" fmla="*/ 75 h 149"/>
                <a:gd name="T8" fmla="*/ 84 w 149"/>
                <a:gd name="T9" fmla="*/ 104 h 149"/>
                <a:gd name="T10" fmla="*/ 65 w 149"/>
                <a:gd name="T11" fmla="*/ 104 h 149"/>
                <a:gd name="T12" fmla="*/ 88 w 149"/>
                <a:gd name="T13" fmla="*/ 82 h 149"/>
                <a:gd name="T14" fmla="*/ 36 w 149"/>
                <a:gd name="T15" fmla="*/ 82 h 149"/>
                <a:gd name="T16" fmla="*/ 36 w 149"/>
                <a:gd name="T17" fmla="*/ 67 h 149"/>
                <a:gd name="T18" fmla="*/ 88 w 149"/>
                <a:gd name="T19" fmla="*/ 67 h 149"/>
                <a:gd name="T20" fmla="*/ 74 w 149"/>
                <a:gd name="T21" fmla="*/ 9 h 149"/>
                <a:gd name="T22" fmla="*/ 140 w 149"/>
                <a:gd name="T23" fmla="*/ 75 h 149"/>
                <a:gd name="T24" fmla="*/ 74 w 149"/>
                <a:gd name="T25" fmla="*/ 140 h 149"/>
                <a:gd name="T26" fmla="*/ 9 w 149"/>
                <a:gd name="T27" fmla="*/ 75 h 149"/>
                <a:gd name="T28" fmla="*/ 74 w 149"/>
                <a:gd name="T29" fmla="*/ 9 h 149"/>
                <a:gd name="T30" fmla="*/ 74 w 149"/>
                <a:gd name="T31" fmla="*/ 0 h 149"/>
                <a:gd name="T32" fmla="*/ 0 w 149"/>
                <a:gd name="T33" fmla="*/ 75 h 149"/>
                <a:gd name="T34" fmla="*/ 74 w 149"/>
                <a:gd name="T35" fmla="*/ 149 h 149"/>
                <a:gd name="T36" fmla="*/ 149 w 149"/>
                <a:gd name="T37" fmla="*/ 75 h 149"/>
                <a:gd name="T38" fmla="*/ 74 w 149"/>
                <a:gd name="T3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9" h="149">
                  <a:moveTo>
                    <a:pt x="88" y="67"/>
                  </a:moveTo>
                  <a:cubicBezTo>
                    <a:pt x="65" y="46"/>
                    <a:pt x="65" y="46"/>
                    <a:pt x="65" y="46"/>
                  </a:cubicBezTo>
                  <a:cubicBezTo>
                    <a:pt x="84" y="46"/>
                    <a:pt x="84" y="46"/>
                    <a:pt x="84" y="46"/>
                  </a:cubicBezTo>
                  <a:cubicBezTo>
                    <a:pt x="115" y="75"/>
                    <a:pt x="115" y="75"/>
                    <a:pt x="115" y="75"/>
                  </a:cubicBezTo>
                  <a:cubicBezTo>
                    <a:pt x="84" y="104"/>
                    <a:pt x="84" y="104"/>
                    <a:pt x="84" y="104"/>
                  </a:cubicBezTo>
                  <a:cubicBezTo>
                    <a:pt x="65" y="104"/>
                    <a:pt x="65" y="104"/>
                    <a:pt x="65" y="104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6" y="67"/>
                    <a:pt x="36" y="67"/>
                    <a:pt x="36" y="67"/>
                  </a:cubicBezTo>
                  <a:lnTo>
                    <a:pt x="88" y="67"/>
                  </a:lnTo>
                  <a:close/>
                  <a:moveTo>
                    <a:pt x="74" y="9"/>
                  </a:moveTo>
                  <a:cubicBezTo>
                    <a:pt x="110" y="9"/>
                    <a:pt x="140" y="39"/>
                    <a:pt x="140" y="75"/>
                  </a:cubicBezTo>
                  <a:cubicBezTo>
                    <a:pt x="140" y="111"/>
                    <a:pt x="110" y="140"/>
                    <a:pt x="74" y="140"/>
                  </a:cubicBezTo>
                  <a:cubicBezTo>
                    <a:pt x="38" y="140"/>
                    <a:pt x="9" y="111"/>
                    <a:pt x="9" y="75"/>
                  </a:cubicBezTo>
                  <a:cubicBezTo>
                    <a:pt x="9" y="39"/>
                    <a:pt x="38" y="9"/>
                    <a:pt x="74" y="9"/>
                  </a:cubicBezTo>
                  <a:moveTo>
                    <a:pt x="74" y="0"/>
                  </a:moveTo>
                  <a:cubicBezTo>
                    <a:pt x="33" y="0"/>
                    <a:pt x="0" y="33"/>
                    <a:pt x="0" y="75"/>
                  </a:cubicBezTo>
                  <a:cubicBezTo>
                    <a:pt x="0" y="116"/>
                    <a:pt x="33" y="149"/>
                    <a:pt x="74" y="149"/>
                  </a:cubicBezTo>
                  <a:cubicBezTo>
                    <a:pt x="116" y="149"/>
                    <a:pt x="149" y="116"/>
                    <a:pt x="149" y="75"/>
                  </a:cubicBezTo>
                  <a:cubicBezTo>
                    <a:pt x="149" y="33"/>
                    <a:pt x="116" y="0"/>
                    <a:pt x="74" y="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8" tIns="34293" rIns="68588" bIns="34293" numCol="1" anchor="t" anchorCtr="0" compatLnSpc="1">
              <a:prstTxWarp prst="textNoShape">
                <a:avLst/>
              </a:prstTxWarp>
            </a:bodyPr>
            <a:lstStyle/>
            <a:p>
              <a:endParaRPr lang="en-US" sz="1324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02" name="Group 101"/>
          <p:cNvGrpSpPr/>
          <p:nvPr/>
        </p:nvGrpSpPr>
        <p:grpSpPr>
          <a:xfrm>
            <a:off x="2737270" y="1661348"/>
            <a:ext cx="411030" cy="411030"/>
            <a:chOff x="1385367" y="840736"/>
            <a:chExt cx="632232" cy="632232"/>
          </a:xfrm>
        </p:grpSpPr>
        <p:sp>
          <p:nvSpPr>
            <p:cNvPr id="103" name="Rectangle 102"/>
            <p:cNvSpPr/>
            <p:nvPr/>
          </p:nvSpPr>
          <p:spPr>
            <a:xfrm>
              <a:off x="1385367" y="840736"/>
              <a:ext cx="632232" cy="632232"/>
            </a:xfrm>
            <a:prstGeom prst="rect">
              <a:avLst/>
            </a:prstGeom>
            <a:solidFill>
              <a:srgbClr val="40E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" name="Freeform 9"/>
            <p:cNvSpPr>
              <a:spLocks noEditPoints="1"/>
            </p:cNvSpPr>
            <p:nvPr/>
          </p:nvSpPr>
          <p:spPr bwMode="black">
            <a:xfrm>
              <a:off x="1385367" y="840736"/>
              <a:ext cx="629673" cy="632232"/>
            </a:xfrm>
            <a:custGeom>
              <a:avLst/>
              <a:gdLst>
                <a:gd name="T0" fmla="*/ 88 w 149"/>
                <a:gd name="T1" fmla="*/ 67 h 149"/>
                <a:gd name="T2" fmla="*/ 65 w 149"/>
                <a:gd name="T3" fmla="*/ 46 h 149"/>
                <a:gd name="T4" fmla="*/ 84 w 149"/>
                <a:gd name="T5" fmla="*/ 46 h 149"/>
                <a:gd name="T6" fmla="*/ 115 w 149"/>
                <a:gd name="T7" fmla="*/ 75 h 149"/>
                <a:gd name="T8" fmla="*/ 84 w 149"/>
                <a:gd name="T9" fmla="*/ 104 h 149"/>
                <a:gd name="T10" fmla="*/ 65 w 149"/>
                <a:gd name="T11" fmla="*/ 104 h 149"/>
                <a:gd name="T12" fmla="*/ 88 w 149"/>
                <a:gd name="T13" fmla="*/ 82 h 149"/>
                <a:gd name="T14" fmla="*/ 36 w 149"/>
                <a:gd name="T15" fmla="*/ 82 h 149"/>
                <a:gd name="T16" fmla="*/ 36 w 149"/>
                <a:gd name="T17" fmla="*/ 67 h 149"/>
                <a:gd name="T18" fmla="*/ 88 w 149"/>
                <a:gd name="T19" fmla="*/ 67 h 149"/>
                <a:gd name="T20" fmla="*/ 74 w 149"/>
                <a:gd name="T21" fmla="*/ 9 h 149"/>
                <a:gd name="T22" fmla="*/ 140 w 149"/>
                <a:gd name="T23" fmla="*/ 75 h 149"/>
                <a:gd name="T24" fmla="*/ 74 w 149"/>
                <a:gd name="T25" fmla="*/ 140 h 149"/>
                <a:gd name="T26" fmla="*/ 9 w 149"/>
                <a:gd name="T27" fmla="*/ 75 h 149"/>
                <a:gd name="T28" fmla="*/ 74 w 149"/>
                <a:gd name="T29" fmla="*/ 9 h 149"/>
                <a:gd name="T30" fmla="*/ 74 w 149"/>
                <a:gd name="T31" fmla="*/ 0 h 149"/>
                <a:gd name="T32" fmla="*/ 0 w 149"/>
                <a:gd name="T33" fmla="*/ 75 h 149"/>
                <a:gd name="T34" fmla="*/ 74 w 149"/>
                <a:gd name="T35" fmla="*/ 149 h 149"/>
                <a:gd name="T36" fmla="*/ 149 w 149"/>
                <a:gd name="T37" fmla="*/ 75 h 149"/>
                <a:gd name="T38" fmla="*/ 74 w 149"/>
                <a:gd name="T3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9" h="149">
                  <a:moveTo>
                    <a:pt x="88" y="67"/>
                  </a:moveTo>
                  <a:cubicBezTo>
                    <a:pt x="65" y="46"/>
                    <a:pt x="65" y="46"/>
                    <a:pt x="65" y="46"/>
                  </a:cubicBezTo>
                  <a:cubicBezTo>
                    <a:pt x="84" y="46"/>
                    <a:pt x="84" y="46"/>
                    <a:pt x="84" y="46"/>
                  </a:cubicBezTo>
                  <a:cubicBezTo>
                    <a:pt x="115" y="75"/>
                    <a:pt x="115" y="75"/>
                    <a:pt x="115" y="75"/>
                  </a:cubicBezTo>
                  <a:cubicBezTo>
                    <a:pt x="84" y="104"/>
                    <a:pt x="84" y="104"/>
                    <a:pt x="84" y="104"/>
                  </a:cubicBezTo>
                  <a:cubicBezTo>
                    <a:pt x="65" y="104"/>
                    <a:pt x="65" y="104"/>
                    <a:pt x="65" y="104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6" y="67"/>
                    <a:pt x="36" y="67"/>
                    <a:pt x="36" y="67"/>
                  </a:cubicBezTo>
                  <a:lnTo>
                    <a:pt x="88" y="67"/>
                  </a:lnTo>
                  <a:close/>
                  <a:moveTo>
                    <a:pt x="74" y="9"/>
                  </a:moveTo>
                  <a:cubicBezTo>
                    <a:pt x="110" y="9"/>
                    <a:pt x="140" y="39"/>
                    <a:pt x="140" y="75"/>
                  </a:cubicBezTo>
                  <a:cubicBezTo>
                    <a:pt x="140" y="111"/>
                    <a:pt x="110" y="140"/>
                    <a:pt x="74" y="140"/>
                  </a:cubicBezTo>
                  <a:cubicBezTo>
                    <a:pt x="38" y="140"/>
                    <a:pt x="9" y="111"/>
                    <a:pt x="9" y="75"/>
                  </a:cubicBezTo>
                  <a:cubicBezTo>
                    <a:pt x="9" y="39"/>
                    <a:pt x="38" y="9"/>
                    <a:pt x="74" y="9"/>
                  </a:cubicBezTo>
                  <a:moveTo>
                    <a:pt x="74" y="0"/>
                  </a:moveTo>
                  <a:cubicBezTo>
                    <a:pt x="33" y="0"/>
                    <a:pt x="0" y="33"/>
                    <a:pt x="0" y="75"/>
                  </a:cubicBezTo>
                  <a:cubicBezTo>
                    <a:pt x="0" y="116"/>
                    <a:pt x="33" y="149"/>
                    <a:pt x="74" y="149"/>
                  </a:cubicBezTo>
                  <a:cubicBezTo>
                    <a:pt x="116" y="149"/>
                    <a:pt x="149" y="116"/>
                    <a:pt x="149" y="75"/>
                  </a:cubicBezTo>
                  <a:cubicBezTo>
                    <a:pt x="149" y="33"/>
                    <a:pt x="116" y="0"/>
                    <a:pt x="74" y="0"/>
                  </a:cubicBezTo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8" tIns="34293" rIns="68588" bIns="34293" numCol="1" anchor="t" anchorCtr="0" compatLnSpc="1">
              <a:prstTxWarp prst="textNoShape">
                <a:avLst/>
              </a:prstTxWarp>
            </a:bodyPr>
            <a:lstStyle/>
            <a:p>
              <a:endParaRPr lang="en-US" sz="1324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05" name="Group 104"/>
          <p:cNvGrpSpPr/>
          <p:nvPr/>
        </p:nvGrpSpPr>
        <p:grpSpPr>
          <a:xfrm>
            <a:off x="2935240" y="4414874"/>
            <a:ext cx="411030" cy="411030"/>
            <a:chOff x="1385367" y="840736"/>
            <a:chExt cx="632232" cy="632232"/>
          </a:xfrm>
        </p:grpSpPr>
        <p:sp>
          <p:nvSpPr>
            <p:cNvPr id="106" name="Rectangle 105"/>
            <p:cNvSpPr/>
            <p:nvPr/>
          </p:nvSpPr>
          <p:spPr>
            <a:xfrm>
              <a:off x="1385367" y="840736"/>
              <a:ext cx="632232" cy="632232"/>
            </a:xfrm>
            <a:prstGeom prst="rect">
              <a:avLst/>
            </a:prstGeom>
            <a:solidFill>
              <a:srgbClr val="FEA8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7" name="Freeform 9"/>
            <p:cNvSpPr>
              <a:spLocks noEditPoints="1"/>
            </p:cNvSpPr>
            <p:nvPr/>
          </p:nvSpPr>
          <p:spPr bwMode="black">
            <a:xfrm>
              <a:off x="1385367" y="840736"/>
              <a:ext cx="629673" cy="632232"/>
            </a:xfrm>
            <a:custGeom>
              <a:avLst/>
              <a:gdLst>
                <a:gd name="T0" fmla="*/ 88 w 149"/>
                <a:gd name="T1" fmla="*/ 67 h 149"/>
                <a:gd name="T2" fmla="*/ 65 w 149"/>
                <a:gd name="T3" fmla="*/ 46 h 149"/>
                <a:gd name="T4" fmla="*/ 84 w 149"/>
                <a:gd name="T5" fmla="*/ 46 h 149"/>
                <a:gd name="T6" fmla="*/ 115 w 149"/>
                <a:gd name="T7" fmla="*/ 75 h 149"/>
                <a:gd name="T8" fmla="*/ 84 w 149"/>
                <a:gd name="T9" fmla="*/ 104 h 149"/>
                <a:gd name="T10" fmla="*/ 65 w 149"/>
                <a:gd name="T11" fmla="*/ 104 h 149"/>
                <a:gd name="T12" fmla="*/ 88 w 149"/>
                <a:gd name="T13" fmla="*/ 82 h 149"/>
                <a:gd name="T14" fmla="*/ 36 w 149"/>
                <a:gd name="T15" fmla="*/ 82 h 149"/>
                <a:gd name="T16" fmla="*/ 36 w 149"/>
                <a:gd name="T17" fmla="*/ 67 h 149"/>
                <a:gd name="T18" fmla="*/ 88 w 149"/>
                <a:gd name="T19" fmla="*/ 67 h 149"/>
                <a:gd name="T20" fmla="*/ 74 w 149"/>
                <a:gd name="T21" fmla="*/ 9 h 149"/>
                <a:gd name="T22" fmla="*/ 140 w 149"/>
                <a:gd name="T23" fmla="*/ 75 h 149"/>
                <a:gd name="T24" fmla="*/ 74 w 149"/>
                <a:gd name="T25" fmla="*/ 140 h 149"/>
                <a:gd name="T26" fmla="*/ 9 w 149"/>
                <a:gd name="T27" fmla="*/ 75 h 149"/>
                <a:gd name="T28" fmla="*/ 74 w 149"/>
                <a:gd name="T29" fmla="*/ 9 h 149"/>
                <a:gd name="T30" fmla="*/ 74 w 149"/>
                <a:gd name="T31" fmla="*/ 0 h 149"/>
                <a:gd name="T32" fmla="*/ 0 w 149"/>
                <a:gd name="T33" fmla="*/ 75 h 149"/>
                <a:gd name="T34" fmla="*/ 74 w 149"/>
                <a:gd name="T35" fmla="*/ 149 h 149"/>
                <a:gd name="T36" fmla="*/ 149 w 149"/>
                <a:gd name="T37" fmla="*/ 75 h 149"/>
                <a:gd name="T38" fmla="*/ 74 w 149"/>
                <a:gd name="T3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9" h="149">
                  <a:moveTo>
                    <a:pt x="88" y="67"/>
                  </a:moveTo>
                  <a:cubicBezTo>
                    <a:pt x="65" y="46"/>
                    <a:pt x="65" y="46"/>
                    <a:pt x="65" y="46"/>
                  </a:cubicBezTo>
                  <a:cubicBezTo>
                    <a:pt x="84" y="46"/>
                    <a:pt x="84" y="46"/>
                    <a:pt x="84" y="46"/>
                  </a:cubicBezTo>
                  <a:cubicBezTo>
                    <a:pt x="115" y="75"/>
                    <a:pt x="115" y="75"/>
                    <a:pt x="115" y="75"/>
                  </a:cubicBezTo>
                  <a:cubicBezTo>
                    <a:pt x="84" y="104"/>
                    <a:pt x="84" y="104"/>
                    <a:pt x="84" y="104"/>
                  </a:cubicBezTo>
                  <a:cubicBezTo>
                    <a:pt x="65" y="104"/>
                    <a:pt x="65" y="104"/>
                    <a:pt x="65" y="104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6" y="67"/>
                    <a:pt x="36" y="67"/>
                    <a:pt x="36" y="67"/>
                  </a:cubicBezTo>
                  <a:lnTo>
                    <a:pt x="88" y="67"/>
                  </a:lnTo>
                  <a:close/>
                  <a:moveTo>
                    <a:pt x="74" y="9"/>
                  </a:moveTo>
                  <a:cubicBezTo>
                    <a:pt x="110" y="9"/>
                    <a:pt x="140" y="39"/>
                    <a:pt x="140" y="75"/>
                  </a:cubicBezTo>
                  <a:cubicBezTo>
                    <a:pt x="140" y="111"/>
                    <a:pt x="110" y="140"/>
                    <a:pt x="74" y="140"/>
                  </a:cubicBezTo>
                  <a:cubicBezTo>
                    <a:pt x="38" y="140"/>
                    <a:pt x="9" y="111"/>
                    <a:pt x="9" y="75"/>
                  </a:cubicBezTo>
                  <a:cubicBezTo>
                    <a:pt x="9" y="39"/>
                    <a:pt x="38" y="9"/>
                    <a:pt x="74" y="9"/>
                  </a:cubicBezTo>
                  <a:moveTo>
                    <a:pt x="74" y="0"/>
                  </a:moveTo>
                  <a:cubicBezTo>
                    <a:pt x="33" y="0"/>
                    <a:pt x="0" y="33"/>
                    <a:pt x="0" y="75"/>
                  </a:cubicBezTo>
                  <a:cubicBezTo>
                    <a:pt x="0" y="116"/>
                    <a:pt x="33" y="149"/>
                    <a:pt x="74" y="149"/>
                  </a:cubicBezTo>
                  <a:cubicBezTo>
                    <a:pt x="116" y="149"/>
                    <a:pt x="149" y="116"/>
                    <a:pt x="149" y="75"/>
                  </a:cubicBezTo>
                  <a:cubicBezTo>
                    <a:pt x="149" y="33"/>
                    <a:pt x="116" y="0"/>
                    <a:pt x="74" y="0"/>
                  </a:cubicBezTo>
                </a:path>
              </a:pathLst>
            </a:custGeom>
            <a:solidFill>
              <a:srgbClr val="4B00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8" tIns="34293" rIns="68588" bIns="34293" numCol="1" anchor="t" anchorCtr="0" compatLnSpc="1">
              <a:prstTxWarp prst="textNoShape">
                <a:avLst/>
              </a:prstTxWarp>
            </a:bodyPr>
            <a:lstStyle/>
            <a:p>
              <a:endParaRPr lang="en-US" sz="1324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08" name="Group 107"/>
          <p:cNvGrpSpPr/>
          <p:nvPr/>
        </p:nvGrpSpPr>
        <p:grpSpPr>
          <a:xfrm>
            <a:off x="2897320" y="5566657"/>
            <a:ext cx="411030" cy="411030"/>
            <a:chOff x="1385367" y="840736"/>
            <a:chExt cx="632232" cy="632232"/>
          </a:xfrm>
        </p:grpSpPr>
        <p:sp>
          <p:nvSpPr>
            <p:cNvPr id="109" name="Rectangle 108"/>
            <p:cNvSpPr/>
            <p:nvPr/>
          </p:nvSpPr>
          <p:spPr>
            <a:xfrm>
              <a:off x="1385367" y="840736"/>
              <a:ext cx="632232" cy="632232"/>
            </a:xfrm>
            <a:prstGeom prst="rect">
              <a:avLst/>
            </a:prstGeom>
            <a:solidFill>
              <a:srgbClr val="3399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0" name="Freeform 9"/>
            <p:cNvSpPr>
              <a:spLocks noEditPoints="1"/>
            </p:cNvSpPr>
            <p:nvPr/>
          </p:nvSpPr>
          <p:spPr bwMode="black">
            <a:xfrm>
              <a:off x="1385367" y="840736"/>
              <a:ext cx="629673" cy="632232"/>
            </a:xfrm>
            <a:custGeom>
              <a:avLst/>
              <a:gdLst>
                <a:gd name="T0" fmla="*/ 88 w 149"/>
                <a:gd name="T1" fmla="*/ 67 h 149"/>
                <a:gd name="T2" fmla="*/ 65 w 149"/>
                <a:gd name="T3" fmla="*/ 46 h 149"/>
                <a:gd name="T4" fmla="*/ 84 w 149"/>
                <a:gd name="T5" fmla="*/ 46 h 149"/>
                <a:gd name="T6" fmla="*/ 115 w 149"/>
                <a:gd name="T7" fmla="*/ 75 h 149"/>
                <a:gd name="T8" fmla="*/ 84 w 149"/>
                <a:gd name="T9" fmla="*/ 104 h 149"/>
                <a:gd name="T10" fmla="*/ 65 w 149"/>
                <a:gd name="T11" fmla="*/ 104 h 149"/>
                <a:gd name="T12" fmla="*/ 88 w 149"/>
                <a:gd name="T13" fmla="*/ 82 h 149"/>
                <a:gd name="T14" fmla="*/ 36 w 149"/>
                <a:gd name="T15" fmla="*/ 82 h 149"/>
                <a:gd name="T16" fmla="*/ 36 w 149"/>
                <a:gd name="T17" fmla="*/ 67 h 149"/>
                <a:gd name="T18" fmla="*/ 88 w 149"/>
                <a:gd name="T19" fmla="*/ 67 h 149"/>
                <a:gd name="T20" fmla="*/ 74 w 149"/>
                <a:gd name="T21" fmla="*/ 9 h 149"/>
                <a:gd name="T22" fmla="*/ 140 w 149"/>
                <a:gd name="T23" fmla="*/ 75 h 149"/>
                <a:gd name="T24" fmla="*/ 74 w 149"/>
                <a:gd name="T25" fmla="*/ 140 h 149"/>
                <a:gd name="T26" fmla="*/ 9 w 149"/>
                <a:gd name="T27" fmla="*/ 75 h 149"/>
                <a:gd name="T28" fmla="*/ 74 w 149"/>
                <a:gd name="T29" fmla="*/ 9 h 149"/>
                <a:gd name="T30" fmla="*/ 74 w 149"/>
                <a:gd name="T31" fmla="*/ 0 h 149"/>
                <a:gd name="T32" fmla="*/ 0 w 149"/>
                <a:gd name="T33" fmla="*/ 75 h 149"/>
                <a:gd name="T34" fmla="*/ 74 w 149"/>
                <a:gd name="T35" fmla="*/ 149 h 149"/>
                <a:gd name="T36" fmla="*/ 149 w 149"/>
                <a:gd name="T37" fmla="*/ 75 h 149"/>
                <a:gd name="T38" fmla="*/ 74 w 149"/>
                <a:gd name="T3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9" h="149">
                  <a:moveTo>
                    <a:pt x="88" y="67"/>
                  </a:moveTo>
                  <a:cubicBezTo>
                    <a:pt x="65" y="46"/>
                    <a:pt x="65" y="46"/>
                    <a:pt x="65" y="46"/>
                  </a:cubicBezTo>
                  <a:cubicBezTo>
                    <a:pt x="84" y="46"/>
                    <a:pt x="84" y="46"/>
                    <a:pt x="84" y="46"/>
                  </a:cubicBezTo>
                  <a:cubicBezTo>
                    <a:pt x="115" y="75"/>
                    <a:pt x="115" y="75"/>
                    <a:pt x="115" y="75"/>
                  </a:cubicBezTo>
                  <a:cubicBezTo>
                    <a:pt x="84" y="104"/>
                    <a:pt x="84" y="104"/>
                    <a:pt x="84" y="104"/>
                  </a:cubicBezTo>
                  <a:cubicBezTo>
                    <a:pt x="65" y="104"/>
                    <a:pt x="65" y="104"/>
                    <a:pt x="65" y="104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6" y="67"/>
                    <a:pt x="36" y="67"/>
                    <a:pt x="36" y="67"/>
                  </a:cubicBezTo>
                  <a:lnTo>
                    <a:pt x="88" y="67"/>
                  </a:lnTo>
                  <a:close/>
                  <a:moveTo>
                    <a:pt x="74" y="9"/>
                  </a:moveTo>
                  <a:cubicBezTo>
                    <a:pt x="110" y="9"/>
                    <a:pt x="140" y="39"/>
                    <a:pt x="140" y="75"/>
                  </a:cubicBezTo>
                  <a:cubicBezTo>
                    <a:pt x="140" y="111"/>
                    <a:pt x="110" y="140"/>
                    <a:pt x="74" y="140"/>
                  </a:cubicBezTo>
                  <a:cubicBezTo>
                    <a:pt x="38" y="140"/>
                    <a:pt x="9" y="111"/>
                    <a:pt x="9" y="75"/>
                  </a:cubicBezTo>
                  <a:cubicBezTo>
                    <a:pt x="9" y="39"/>
                    <a:pt x="38" y="9"/>
                    <a:pt x="74" y="9"/>
                  </a:cubicBezTo>
                  <a:moveTo>
                    <a:pt x="74" y="0"/>
                  </a:moveTo>
                  <a:cubicBezTo>
                    <a:pt x="33" y="0"/>
                    <a:pt x="0" y="33"/>
                    <a:pt x="0" y="75"/>
                  </a:cubicBezTo>
                  <a:cubicBezTo>
                    <a:pt x="0" y="116"/>
                    <a:pt x="33" y="149"/>
                    <a:pt x="74" y="149"/>
                  </a:cubicBezTo>
                  <a:cubicBezTo>
                    <a:pt x="116" y="149"/>
                    <a:pt x="149" y="116"/>
                    <a:pt x="149" y="75"/>
                  </a:cubicBezTo>
                  <a:cubicBezTo>
                    <a:pt x="149" y="33"/>
                    <a:pt x="116" y="0"/>
                    <a:pt x="74" y="0"/>
                  </a:cubicBezTo>
                </a:path>
              </a:pathLst>
            </a:custGeom>
            <a:solidFill>
              <a:srgbClr val="4B00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8" tIns="34293" rIns="68588" bIns="34293" numCol="1" anchor="t" anchorCtr="0" compatLnSpc="1">
              <a:prstTxWarp prst="textNoShape">
                <a:avLst/>
              </a:prstTxWarp>
            </a:bodyPr>
            <a:lstStyle/>
            <a:p>
              <a:endParaRPr lang="en-US" sz="1324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11" name="Group 110"/>
          <p:cNvGrpSpPr/>
          <p:nvPr/>
        </p:nvGrpSpPr>
        <p:grpSpPr>
          <a:xfrm>
            <a:off x="5642684" y="1304352"/>
            <a:ext cx="632232" cy="632232"/>
            <a:chOff x="3301198" y="861926"/>
            <a:chExt cx="632232" cy="632232"/>
          </a:xfrm>
        </p:grpSpPr>
        <p:sp>
          <p:nvSpPr>
            <p:cNvPr id="112" name="Rectangle 111"/>
            <p:cNvSpPr/>
            <p:nvPr/>
          </p:nvSpPr>
          <p:spPr>
            <a:xfrm>
              <a:off x="3301198" y="861926"/>
              <a:ext cx="632232" cy="632232"/>
            </a:xfrm>
            <a:prstGeom prst="rect">
              <a:avLst/>
            </a:prstGeom>
            <a:solidFill>
              <a:srgbClr val="00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3" name="Freeform 9"/>
            <p:cNvSpPr>
              <a:spLocks noEditPoints="1"/>
            </p:cNvSpPr>
            <p:nvPr/>
          </p:nvSpPr>
          <p:spPr bwMode="black">
            <a:xfrm>
              <a:off x="3301198" y="861926"/>
              <a:ext cx="629673" cy="632232"/>
            </a:xfrm>
            <a:custGeom>
              <a:avLst/>
              <a:gdLst>
                <a:gd name="T0" fmla="*/ 88 w 149"/>
                <a:gd name="T1" fmla="*/ 67 h 149"/>
                <a:gd name="T2" fmla="*/ 65 w 149"/>
                <a:gd name="T3" fmla="*/ 46 h 149"/>
                <a:gd name="T4" fmla="*/ 84 w 149"/>
                <a:gd name="T5" fmla="*/ 46 h 149"/>
                <a:gd name="T6" fmla="*/ 115 w 149"/>
                <a:gd name="T7" fmla="*/ 75 h 149"/>
                <a:gd name="T8" fmla="*/ 84 w 149"/>
                <a:gd name="T9" fmla="*/ 104 h 149"/>
                <a:gd name="T10" fmla="*/ 65 w 149"/>
                <a:gd name="T11" fmla="*/ 104 h 149"/>
                <a:gd name="T12" fmla="*/ 88 w 149"/>
                <a:gd name="T13" fmla="*/ 82 h 149"/>
                <a:gd name="T14" fmla="*/ 36 w 149"/>
                <a:gd name="T15" fmla="*/ 82 h 149"/>
                <a:gd name="T16" fmla="*/ 36 w 149"/>
                <a:gd name="T17" fmla="*/ 67 h 149"/>
                <a:gd name="T18" fmla="*/ 88 w 149"/>
                <a:gd name="T19" fmla="*/ 67 h 149"/>
                <a:gd name="T20" fmla="*/ 74 w 149"/>
                <a:gd name="T21" fmla="*/ 9 h 149"/>
                <a:gd name="T22" fmla="*/ 140 w 149"/>
                <a:gd name="T23" fmla="*/ 75 h 149"/>
                <a:gd name="T24" fmla="*/ 74 w 149"/>
                <a:gd name="T25" fmla="*/ 140 h 149"/>
                <a:gd name="T26" fmla="*/ 9 w 149"/>
                <a:gd name="T27" fmla="*/ 75 h 149"/>
                <a:gd name="T28" fmla="*/ 74 w 149"/>
                <a:gd name="T29" fmla="*/ 9 h 149"/>
                <a:gd name="T30" fmla="*/ 74 w 149"/>
                <a:gd name="T31" fmla="*/ 0 h 149"/>
                <a:gd name="T32" fmla="*/ 0 w 149"/>
                <a:gd name="T33" fmla="*/ 75 h 149"/>
                <a:gd name="T34" fmla="*/ 74 w 149"/>
                <a:gd name="T35" fmla="*/ 149 h 149"/>
                <a:gd name="T36" fmla="*/ 149 w 149"/>
                <a:gd name="T37" fmla="*/ 75 h 149"/>
                <a:gd name="T38" fmla="*/ 74 w 149"/>
                <a:gd name="T3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9" h="149">
                  <a:moveTo>
                    <a:pt x="88" y="67"/>
                  </a:moveTo>
                  <a:cubicBezTo>
                    <a:pt x="65" y="46"/>
                    <a:pt x="65" y="46"/>
                    <a:pt x="65" y="46"/>
                  </a:cubicBezTo>
                  <a:cubicBezTo>
                    <a:pt x="84" y="46"/>
                    <a:pt x="84" y="46"/>
                    <a:pt x="84" y="46"/>
                  </a:cubicBezTo>
                  <a:cubicBezTo>
                    <a:pt x="115" y="75"/>
                    <a:pt x="115" y="75"/>
                    <a:pt x="115" y="75"/>
                  </a:cubicBezTo>
                  <a:cubicBezTo>
                    <a:pt x="84" y="104"/>
                    <a:pt x="84" y="104"/>
                    <a:pt x="84" y="104"/>
                  </a:cubicBezTo>
                  <a:cubicBezTo>
                    <a:pt x="65" y="104"/>
                    <a:pt x="65" y="104"/>
                    <a:pt x="65" y="104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6" y="67"/>
                    <a:pt x="36" y="67"/>
                    <a:pt x="36" y="67"/>
                  </a:cubicBezTo>
                  <a:lnTo>
                    <a:pt x="88" y="67"/>
                  </a:lnTo>
                  <a:close/>
                  <a:moveTo>
                    <a:pt x="74" y="9"/>
                  </a:moveTo>
                  <a:cubicBezTo>
                    <a:pt x="110" y="9"/>
                    <a:pt x="140" y="39"/>
                    <a:pt x="140" y="75"/>
                  </a:cubicBezTo>
                  <a:cubicBezTo>
                    <a:pt x="140" y="111"/>
                    <a:pt x="110" y="140"/>
                    <a:pt x="74" y="140"/>
                  </a:cubicBezTo>
                  <a:cubicBezTo>
                    <a:pt x="38" y="140"/>
                    <a:pt x="9" y="111"/>
                    <a:pt x="9" y="75"/>
                  </a:cubicBezTo>
                  <a:cubicBezTo>
                    <a:pt x="9" y="39"/>
                    <a:pt x="38" y="9"/>
                    <a:pt x="74" y="9"/>
                  </a:cubicBezTo>
                  <a:moveTo>
                    <a:pt x="74" y="0"/>
                  </a:moveTo>
                  <a:cubicBezTo>
                    <a:pt x="33" y="0"/>
                    <a:pt x="0" y="33"/>
                    <a:pt x="0" y="75"/>
                  </a:cubicBezTo>
                  <a:cubicBezTo>
                    <a:pt x="0" y="116"/>
                    <a:pt x="33" y="149"/>
                    <a:pt x="74" y="149"/>
                  </a:cubicBezTo>
                  <a:cubicBezTo>
                    <a:pt x="116" y="149"/>
                    <a:pt x="149" y="116"/>
                    <a:pt x="149" y="75"/>
                  </a:cubicBezTo>
                  <a:cubicBezTo>
                    <a:pt x="149" y="33"/>
                    <a:pt x="116" y="0"/>
                    <a:pt x="74" y="0"/>
                  </a:cubicBezTo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8" tIns="34293" rIns="68588" bIns="34293" numCol="1" anchor="t" anchorCtr="0" compatLnSpc="1">
              <a:prstTxWarp prst="textNoShape">
                <a:avLst/>
              </a:prstTxWarp>
            </a:bodyPr>
            <a:lstStyle/>
            <a:p>
              <a:endParaRPr lang="en-US" sz="1324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569641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2" name="Group 221"/>
          <p:cNvGrpSpPr/>
          <p:nvPr/>
        </p:nvGrpSpPr>
        <p:grpSpPr>
          <a:xfrm>
            <a:off x="2884451" y="5128945"/>
            <a:ext cx="331535" cy="1123814"/>
            <a:chOff x="1832234" y="2661196"/>
            <a:chExt cx="788255" cy="2154699"/>
          </a:xfrm>
        </p:grpSpPr>
        <p:cxnSp>
          <p:nvCxnSpPr>
            <p:cNvPr id="223" name="Straight Arrow Connector 222"/>
            <p:cNvCxnSpPr/>
            <p:nvPr>
              <p:custDataLst>
                <p:tags r:id="rId9"/>
              </p:custDataLst>
            </p:nvPr>
          </p:nvCxnSpPr>
          <p:spPr>
            <a:xfrm>
              <a:off x="1832234" y="3725643"/>
              <a:ext cx="725191" cy="0"/>
            </a:xfrm>
            <a:prstGeom prst="straightConnector1">
              <a:avLst/>
            </a:prstGeom>
            <a:solidFill>
              <a:schemeClr val="bg1"/>
            </a:solidFill>
            <a:ln w="28575" cap="rnd">
              <a:solidFill>
                <a:schemeClr val="accent5"/>
              </a:solidFill>
              <a:prstDash val="sysDot"/>
              <a:headEnd type="none" w="lg" len="me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4" name="Straight Arrow Connector 223"/>
            <p:cNvCxnSpPr/>
            <p:nvPr>
              <p:custDataLst>
                <p:tags r:id="rId10"/>
              </p:custDataLst>
            </p:nvPr>
          </p:nvCxnSpPr>
          <p:spPr>
            <a:xfrm>
              <a:off x="1832234" y="2661196"/>
              <a:ext cx="756723" cy="623390"/>
            </a:xfrm>
            <a:prstGeom prst="straightConnector1">
              <a:avLst/>
            </a:prstGeom>
            <a:solidFill>
              <a:schemeClr val="bg1"/>
            </a:solidFill>
            <a:ln w="28575" cap="rnd">
              <a:solidFill>
                <a:schemeClr val="accent5"/>
              </a:solidFill>
              <a:prstDash val="sysDot"/>
              <a:headEnd type="none" w="lg" len="me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5" name="Straight Arrow Connector 224"/>
            <p:cNvCxnSpPr/>
            <p:nvPr>
              <p:custDataLst>
                <p:tags r:id="rId11"/>
              </p:custDataLst>
            </p:nvPr>
          </p:nvCxnSpPr>
          <p:spPr>
            <a:xfrm flipV="1">
              <a:off x="1832234" y="4125502"/>
              <a:ext cx="788255" cy="690393"/>
            </a:xfrm>
            <a:prstGeom prst="straightConnector1">
              <a:avLst/>
            </a:prstGeom>
            <a:solidFill>
              <a:schemeClr val="bg1"/>
            </a:solidFill>
            <a:ln w="28575" cap="rnd">
              <a:solidFill>
                <a:schemeClr val="accent5"/>
              </a:solidFill>
              <a:prstDash val="sysDot"/>
              <a:headEnd type="none" w="lg" len="me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0" name="Group 229"/>
          <p:cNvGrpSpPr/>
          <p:nvPr/>
        </p:nvGrpSpPr>
        <p:grpSpPr>
          <a:xfrm flipH="1">
            <a:off x="4207138" y="5147072"/>
            <a:ext cx="331535" cy="1123814"/>
            <a:chOff x="1832234" y="2661196"/>
            <a:chExt cx="788255" cy="2154699"/>
          </a:xfrm>
        </p:grpSpPr>
        <p:cxnSp>
          <p:nvCxnSpPr>
            <p:cNvPr id="231" name="Straight Arrow Connector 230"/>
            <p:cNvCxnSpPr/>
            <p:nvPr>
              <p:custDataLst>
                <p:tags r:id="rId6"/>
              </p:custDataLst>
            </p:nvPr>
          </p:nvCxnSpPr>
          <p:spPr>
            <a:xfrm>
              <a:off x="1832234" y="3725643"/>
              <a:ext cx="725191" cy="0"/>
            </a:xfrm>
            <a:prstGeom prst="straightConnector1">
              <a:avLst/>
            </a:prstGeom>
            <a:solidFill>
              <a:schemeClr val="bg1"/>
            </a:solidFill>
            <a:ln w="28575" cap="rnd">
              <a:solidFill>
                <a:schemeClr val="accent5"/>
              </a:solidFill>
              <a:prstDash val="sysDot"/>
              <a:headEnd type="none" w="lg" len="me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2" name="Straight Arrow Connector 231"/>
            <p:cNvCxnSpPr/>
            <p:nvPr>
              <p:custDataLst>
                <p:tags r:id="rId7"/>
              </p:custDataLst>
            </p:nvPr>
          </p:nvCxnSpPr>
          <p:spPr>
            <a:xfrm>
              <a:off x="1832234" y="2661196"/>
              <a:ext cx="756723" cy="623390"/>
            </a:xfrm>
            <a:prstGeom prst="straightConnector1">
              <a:avLst/>
            </a:prstGeom>
            <a:solidFill>
              <a:schemeClr val="bg1"/>
            </a:solidFill>
            <a:ln w="28575" cap="rnd">
              <a:solidFill>
                <a:schemeClr val="accent5"/>
              </a:solidFill>
              <a:prstDash val="sysDot"/>
              <a:headEnd type="none" w="lg" len="me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3" name="Straight Arrow Connector 232"/>
            <p:cNvCxnSpPr/>
            <p:nvPr>
              <p:custDataLst>
                <p:tags r:id="rId8"/>
              </p:custDataLst>
            </p:nvPr>
          </p:nvCxnSpPr>
          <p:spPr>
            <a:xfrm flipV="1">
              <a:off x="1832234" y="4125502"/>
              <a:ext cx="788255" cy="690393"/>
            </a:xfrm>
            <a:prstGeom prst="straightConnector1">
              <a:avLst/>
            </a:prstGeom>
            <a:solidFill>
              <a:schemeClr val="bg1"/>
            </a:solidFill>
            <a:ln w="28575" cap="rnd">
              <a:solidFill>
                <a:schemeClr val="accent5"/>
              </a:solidFill>
              <a:prstDash val="sysDot"/>
              <a:headEnd type="none" w="lg" len="me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2" name="Flowchart: Magnetic Disk 241"/>
          <p:cNvSpPr/>
          <p:nvPr/>
        </p:nvSpPr>
        <p:spPr bwMode="auto">
          <a:xfrm>
            <a:off x="4133351" y="3796849"/>
            <a:ext cx="652954" cy="969904"/>
          </a:xfrm>
          <a:prstGeom prst="flowChartMagneticDisk">
            <a:avLst/>
          </a:prstGeom>
          <a:solidFill>
            <a:srgbClr val="00B050"/>
          </a:solidFill>
          <a:ln w="12700" cap="flat" cmpd="sng" algn="ctr">
            <a:solidFill>
              <a:srgbClr val="FFFFF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09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$</a:t>
            </a:r>
          </a:p>
        </p:txBody>
      </p:sp>
      <p:grpSp>
        <p:nvGrpSpPr>
          <p:cNvPr id="269" name="Group 268"/>
          <p:cNvGrpSpPr/>
          <p:nvPr/>
        </p:nvGrpSpPr>
        <p:grpSpPr>
          <a:xfrm>
            <a:off x="6413614" y="1279505"/>
            <a:ext cx="3126525" cy="2743200"/>
            <a:chOff x="6413614" y="1279505"/>
            <a:chExt cx="3126525" cy="2743200"/>
          </a:xfrm>
        </p:grpSpPr>
        <p:grpSp>
          <p:nvGrpSpPr>
            <p:cNvPr id="248" name="Group 247"/>
            <p:cNvGrpSpPr/>
            <p:nvPr/>
          </p:nvGrpSpPr>
          <p:grpSpPr>
            <a:xfrm>
              <a:off x="6413614" y="1279505"/>
              <a:ext cx="3126525" cy="2743200"/>
              <a:chOff x="6413614" y="1279505"/>
              <a:chExt cx="3126525" cy="2743200"/>
            </a:xfrm>
          </p:grpSpPr>
          <p:sp>
            <p:nvSpPr>
              <p:cNvPr id="20" name="Rectangle 19"/>
              <p:cNvSpPr/>
              <p:nvPr/>
            </p:nvSpPr>
            <p:spPr>
              <a:xfrm>
                <a:off x="6413614" y="1279505"/>
                <a:ext cx="3122757" cy="2743200"/>
              </a:xfrm>
              <a:prstGeom prst="rect">
                <a:avLst/>
              </a:prstGeom>
              <a:solidFill>
                <a:srgbClr val="CCFF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" name="Rectangle 20"/>
              <p:cNvSpPr/>
              <p:nvPr/>
            </p:nvSpPr>
            <p:spPr>
              <a:xfrm>
                <a:off x="7038943" y="1279505"/>
                <a:ext cx="2501196" cy="2743200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" name="Oval 16"/>
              <p:cNvSpPr/>
              <p:nvPr/>
            </p:nvSpPr>
            <p:spPr>
              <a:xfrm>
                <a:off x="6813417" y="1279505"/>
                <a:ext cx="2722954" cy="2722954"/>
              </a:xfrm>
              <a:prstGeom prst="ellipse">
                <a:avLst/>
              </a:prstGeom>
              <a:solidFill>
                <a:srgbClr val="0099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7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786698" y="1968466"/>
                <a:ext cx="2701465" cy="18017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59" name="Flowchart: Magnetic Disk 158"/>
              <p:cNvSpPr/>
              <p:nvPr/>
            </p:nvSpPr>
            <p:spPr bwMode="auto">
              <a:xfrm>
                <a:off x="7432008" y="1512873"/>
                <a:ext cx="472045" cy="701180"/>
              </a:xfrm>
              <a:prstGeom prst="flowChartMagneticDisk">
                <a:avLst/>
              </a:prstGeom>
              <a:solidFill>
                <a:srgbClr val="002060"/>
              </a:solidFill>
              <a:ln w="12700">
                <a:solidFill>
                  <a:srgbClr val="0099FF"/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2800" b="1" dirty="0" smtClean="0">
                    <a:ln>
                      <a:solidFill>
                        <a:schemeClr val="bg1">
                          <a:alpha val="0"/>
                        </a:schemeClr>
                      </a:solidFill>
                    </a:ln>
                    <a:solidFill>
                      <a:srgbClr val="0099FF"/>
                    </a:solidFill>
                    <a:latin typeface="Segoe UI" pitchFamily="34" charset="0"/>
                    <a:ea typeface="Segoe UI" pitchFamily="34" charset="0"/>
                    <a:cs typeface="Segoe UI" pitchFamily="34" charset="0"/>
                  </a:rPr>
                  <a:t>$</a:t>
                </a:r>
              </a:p>
            </p:txBody>
          </p:sp>
          <p:grpSp>
            <p:nvGrpSpPr>
              <p:cNvPr id="160" name="Group 159"/>
              <p:cNvGrpSpPr/>
              <p:nvPr>
                <p:custDataLst>
                  <p:tags r:id="rId2"/>
                </p:custDataLst>
              </p:nvPr>
            </p:nvGrpSpPr>
            <p:grpSpPr>
              <a:xfrm>
                <a:off x="6983976" y="2437755"/>
                <a:ext cx="646405" cy="447185"/>
                <a:chOff x="9592033" y="1524016"/>
                <a:chExt cx="1183492" cy="720867"/>
              </a:xfrm>
              <a:solidFill>
                <a:schemeClr val="accent5"/>
              </a:solidFill>
            </p:grpSpPr>
            <p:sp>
              <p:nvSpPr>
                <p:cNvPr id="161" name="Freeform 26"/>
                <p:cNvSpPr>
                  <a:spLocks/>
                </p:cNvSpPr>
                <p:nvPr/>
              </p:nvSpPr>
              <p:spPr bwMode="black">
                <a:xfrm>
                  <a:off x="9736601" y="1620390"/>
                  <a:ext cx="857738" cy="624493"/>
                </a:xfrm>
                <a:custGeom>
                  <a:avLst/>
                  <a:gdLst>
                    <a:gd name="T0" fmla="*/ 183 w 188"/>
                    <a:gd name="T1" fmla="*/ 84 h 137"/>
                    <a:gd name="T2" fmla="*/ 104 w 188"/>
                    <a:gd name="T3" fmla="*/ 27 h 137"/>
                    <a:gd name="T4" fmla="*/ 86 w 188"/>
                    <a:gd name="T5" fmla="*/ 19 h 137"/>
                    <a:gd name="T6" fmla="*/ 59 w 188"/>
                    <a:gd name="T7" fmla="*/ 34 h 137"/>
                    <a:gd name="T8" fmla="*/ 56 w 188"/>
                    <a:gd name="T9" fmla="*/ 36 h 137"/>
                    <a:gd name="T10" fmla="*/ 43 w 188"/>
                    <a:gd name="T11" fmla="*/ 38 h 137"/>
                    <a:gd name="T12" fmla="*/ 43 w 188"/>
                    <a:gd name="T13" fmla="*/ 38 h 137"/>
                    <a:gd name="T14" fmla="*/ 26 w 188"/>
                    <a:gd name="T15" fmla="*/ 27 h 137"/>
                    <a:gd name="T16" fmla="*/ 24 w 188"/>
                    <a:gd name="T17" fmla="*/ 14 h 137"/>
                    <a:gd name="T18" fmla="*/ 31 w 188"/>
                    <a:gd name="T19" fmla="*/ 0 h 137"/>
                    <a:gd name="T20" fmla="*/ 21 w 188"/>
                    <a:gd name="T21" fmla="*/ 0 h 137"/>
                    <a:gd name="T22" fmla="*/ 1 w 188"/>
                    <a:gd name="T23" fmla="*/ 79 h 137"/>
                    <a:gd name="T24" fmla="*/ 4 w 188"/>
                    <a:gd name="T25" fmla="*/ 80 h 137"/>
                    <a:gd name="T26" fmla="*/ 16 w 188"/>
                    <a:gd name="T27" fmla="*/ 70 h 137"/>
                    <a:gd name="T28" fmla="*/ 22 w 188"/>
                    <a:gd name="T29" fmla="*/ 70 h 137"/>
                    <a:gd name="T30" fmla="*/ 32 w 188"/>
                    <a:gd name="T31" fmla="*/ 74 h 137"/>
                    <a:gd name="T32" fmla="*/ 43 w 188"/>
                    <a:gd name="T33" fmla="*/ 72 h 137"/>
                    <a:gd name="T34" fmla="*/ 44 w 188"/>
                    <a:gd name="T35" fmla="*/ 72 h 137"/>
                    <a:gd name="T36" fmla="*/ 53 w 188"/>
                    <a:gd name="T37" fmla="*/ 76 h 137"/>
                    <a:gd name="T38" fmla="*/ 65 w 188"/>
                    <a:gd name="T39" fmla="*/ 74 h 137"/>
                    <a:gd name="T40" fmla="*/ 67 w 188"/>
                    <a:gd name="T41" fmla="*/ 74 h 137"/>
                    <a:gd name="T42" fmla="*/ 80 w 188"/>
                    <a:gd name="T43" fmla="*/ 88 h 137"/>
                    <a:gd name="T44" fmla="*/ 83 w 188"/>
                    <a:gd name="T45" fmla="*/ 88 h 137"/>
                    <a:gd name="T46" fmla="*/ 85 w 188"/>
                    <a:gd name="T47" fmla="*/ 89 h 137"/>
                    <a:gd name="T48" fmla="*/ 99 w 188"/>
                    <a:gd name="T49" fmla="*/ 108 h 137"/>
                    <a:gd name="T50" fmla="*/ 99 w 188"/>
                    <a:gd name="T51" fmla="*/ 110 h 137"/>
                    <a:gd name="T52" fmla="*/ 96 w 188"/>
                    <a:gd name="T53" fmla="*/ 124 h 137"/>
                    <a:gd name="T54" fmla="*/ 114 w 188"/>
                    <a:gd name="T55" fmla="*/ 137 h 137"/>
                    <a:gd name="T56" fmla="*/ 123 w 188"/>
                    <a:gd name="T57" fmla="*/ 132 h 137"/>
                    <a:gd name="T58" fmla="*/ 124 w 188"/>
                    <a:gd name="T59" fmla="*/ 124 h 137"/>
                    <a:gd name="T60" fmla="*/ 108 w 188"/>
                    <a:gd name="T61" fmla="*/ 112 h 137"/>
                    <a:gd name="T62" fmla="*/ 107 w 188"/>
                    <a:gd name="T63" fmla="*/ 109 h 137"/>
                    <a:gd name="T64" fmla="*/ 110 w 188"/>
                    <a:gd name="T65" fmla="*/ 109 h 137"/>
                    <a:gd name="T66" fmla="*/ 136 w 188"/>
                    <a:gd name="T67" fmla="*/ 127 h 137"/>
                    <a:gd name="T68" fmla="*/ 145 w 188"/>
                    <a:gd name="T69" fmla="*/ 123 h 137"/>
                    <a:gd name="T70" fmla="*/ 147 w 188"/>
                    <a:gd name="T71" fmla="*/ 114 h 137"/>
                    <a:gd name="T72" fmla="*/ 117 w 188"/>
                    <a:gd name="T73" fmla="*/ 93 h 137"/>
                    <a:gd name="T74" fmla="*/ 117 w 188"/>
                    <a:gd name="T75" fmla="*/ 90 h 137"/>
                    <a:gd name="T76" fmla="*/ 120 w 188"/>
                    <a:gd name="T77" fmla="*/ 89 h 137"/>
                    <a:gd name="T78" fmla="*/ 156 w 188"/>
                    <a:gd name="T79" fmla="*/ 116 h 137"/>
                    <a:gd name="T80" fmla="*/ 165 w 188"/>
                    <a:gd name="T81" fmla="*/ 111 h 137"/>
                    <a:gd name="T82" fmla="*/ 167 w 188"/>
                    <a:gd name="T83" fmla="*/ 102 h 137"/>
                    <a:gd name="T84" fmla="*/ 137 w 188"/>
                    <a:gd name="T85" fmla="*/ 81 h 137"/>
                    <a:gd name="T86" fmla="*/ 136 w 188"/>
                    <a:gd name="T87" fmla="*/ 78 h 137"/>
                    <a:gd name="T88" fmla="*/ 139 w 188"/>
                    <a:gd name="T89" fmla="*/ 77 h 137"/>
                    <a:gd name="T90" fmla="*/ 176 w 188"/>
                    <a:gd name="T91" fmla="*/ 104 h 137"/>
                    <a:gd name="T92" fmla="*/ 185 w 188"/>
                    <a:gd name="T93" fmla="*/ 99 h 137"/>
                    <a:gd name="T94" fmla="*/ 183 w 188"/>
                    <a:gd name="T95" fmla="*/ 84 h 1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188" h="137">
                      <a:moveTo>
                        <a:pt x="183" y="84"/>
                      </a:moveTo>
                      <a:cubicBezTo>
                        <a:pt x="104" y="27"/>
                        <a:pt x="104" y="27"/>
                        <a:pt x="104" y="27"/>
                      </a:cubicBezTo>
                      <a:cubicBezTo>
                        <a:pt x="86" y="19"/>
                        <a:pt x="86" y="19"/>
                        <a:pt x="86" y="19"/>
                      </a:cubicBezTo>
                      <a:cubicBezTo>
                        <a:pt x="59" y="34"/>
                        <a:pt x="59" y="34"/>
                        <a:pt x="59" y="34"/>
                      </a:cubicBezTo>
                      <a:cubicBezTo>
                        <a:pt x="56" y="36"/>
                        <a:pt x="56" y="36"/>
                        <a:pt x="56" y="36"/>
                      </a:cubicBezTo>
                      <a:cubicBezTo>
                        <a:pt x="52" y="38"/>
                        <a:pt x="47" y="39"/>
                        <a:pt x="43" y="38"/>
                      </a:cubicBezTo>
                      <a:cubicBezTo>
                        <a:pt x="43" y="38"/>
                        <a:pt x="43" y="38"/>
                        <a:pt x="43" y="38"/>
                      </a:cubicBezTo>
                      <a:cubicBezTo>
                        <a:pt x="36" y="38"/>
                        <a:pt x="30" y="34"/>
                        <a:pt x="26" y="27"/>
                      </a:cubicBezTo>
                      <a:cubicBezTo>
                        <a:pt x="24" y="23"/>
                        <a:pt x="23" y="19"/>
                        <a:pt x="24" y="14"/>
                      </a:cubicBezTo>
                      <a:cubicBezTo>
                        <a:pt x="24" y="9"/>
                        <a:pt x="27" y="4"/>
                        <a:pt x="31" y="0"/>
                      </a:cubicBezTo>
                      <a:cubicBezTo>
                        <a:pt x="25" y="0"/>
                        <a:pt x="21" y="0"/>
                        <a:pt x="21" y="0"/>
                      </a:cubicBezTo>
                      <a:cubicBezTo>
                        <a:pt x="21" y="0"/>
                        <a:pt x="0" y="40"/>
                        <a:pt x="1" y="79"/>
                      </a:cubicBezTo>
                      <a:cubicBezTo>
                        <a:pt x="4" y="80"/>
                        <a:pt x="4" y="80"/>
                        <a:pt x="4" y="80"/>
                      </a:cubicBezTo>
                      <a:cubicBezTo>
                        <a:pt x="6" y="75"/>
                        <a:pt x="10" y="72"/>
                        <a:pt x="16" y="70"/>
                      </a:cubicBezTo>
                      <a:cubicBezTo>
                        <a:pt x="18" y="70"/>
                        <a:pt x="20" y="70"/>
                        <a:pt x="22" y="70"/>
                      </a:cubicBezTo>
                      <a:cubicBezTo>
                        <a:pt x="25" y="70"/>
                        <a:pt x="29" y="72"/>
                        <a:pt x="32" y="74"/>
                      </a:cubicBezTo>
                      <a:cubicBezTo>
                        <a:pt x="35" y="72"/>
                        <a:pt x="39" y="71"/>
                        <a:pt x="43" y="72"/>
                      </a:cubicBezTo>
                      <a:cubicBezTo>
                        <a:pt x="43" y="72"/>
                        <a:pt x="44" y="72"/>
                        <a:pt x="44" y="72"/>
                      </a:cubicBezTo>
                      <a:cubicBezTo>
                        <a:pt x="48" y="72"/>
                        <a:pt x="51" y="74"/>
                        <a:pt x="53" y="76"/>
                      </a:cubicBezTo>
                      <a:cubicBezTo>
                        <a:pt x="56" y="74"/>
                        <a:pt x="60" y="73"/>
                        <a:pt x="65" y="74"/>
                      </a:cubicBezTo>
                      <a:cubicBezTo>
                        <a:pt x="65" y="74"/>
                        <a:pt x="66" y="74"/>
                        <a:pt x="67" y="74"/>
                      </a:cubicBezTo>
                      <a:cubicBezTo>
                        <a:pt x="74" y="76"/>
                        <a:pt x="79" y="81"/>
                        <a:pt x="80" y="88"/>
                      </a:cubicBezTo>
                      <a:cubicBezTo>
                        <a:pt x="81" y="88"/>
                        <a:pt x="82" y="88"/>
                        <a:pt x="83" y="88"/>
                      </a:cubicBezTo>
                      <a:cubicBezTo>
                        <a:pt x="84" y="88"/>
                        <a:pt x="84" y="88"/>
                        <a:pt x="85" y="89"/>
                      </a:cubicBezTo>
                      <a:cubicBezTo>
                        <a:pt x="94" y="91"/>
                        <a:pt x="100" y="99"/>
                        <a:pt x="99" y="108"/>
                      </a:cubicBezTo>
                      <a:cubicBezTo>
                        <a:pt x="99" y="109"/>
                        <a:pt x="99" y="110"/>
                        <a:pt x="99" y="110"/>
                      </a:cubicBezTo>
                      <a:cubicBezTo>
                        <a:pt x="96" y="124"/>
                        <a:pt x="96" y="124"/>
                        <a:pt x="96" y="124"/>
                      </a:cubicBezTo>
                      <a:cubicBezTo>
                        <a:pt x="114" y="137"/>
                        <a:pt x="114" y="137"/>
                        <a:pt x="114" y="137"/>
                      </a:cubicBezTo>
                      <a:cubicBezTo>
                        <a:pt x="117" y="137"/>
                        <a:pt x="120" y="135"/>
                        <a:pt x="123" y="132"/>
                      </a:cubicBezTo>
                      <a:cubicBezTo>
                        <a:pt x="124" y="130"/>
                        <a:pt x="125" y="127"/>
                        <a:pt x="124" y="124"/>
                      </a:cubicBezTo>
                      <a:cubicBezTo>
                        <a:pt x="108" y="112"/>
                        <a:pt x="108" y="112"/>
                        <a:pt x="108" y="112"/>
                      </a:cubicBezTo>
                      <a:cubicBezTo>
                        <a:pt x="107" y="111"/>
                        <a:pt x="107" y="110"/>
                        <a:pt x="107" y="109"/>
                      </a:cubicBezTo>
                      <a:cubicBezTo>
                        <a:pt x="108" y="108"/>
                        <a:pt x="109" y="108"/>
                        <a:pt x="110" y="109"/>
                      </a:cubicBezTo>
                      <a:cubicBezTo>
                        <a:pt x="136" y="127"/>
                        <a:pt x="136" y="127"/>
                        <a:pt x="136" y="127"/>
                      </a:cubicBezTo>
                      <a:cubicBezTo>
                        <a:pt x="140" y="127"/>
                        <a:pt x="143" y="126"/>
                        <a:pt x="145" y="123"/>
                      </a:cubicBezTo>
                      <a:cubicBezTo>
                        <a:pt x="147" y="120"/>
                        <a:pt x="147" y="117"/>
                        <a:pt x="147" y="114"/>
                      </a:cubicBezTo>
                      <a:cubicBezTo>
                        <a:pt x="117" y="93"/>
                        <a:pt x="117" y="93"/>
                        <a:pt x="117" y="93"/>
                      </a:cubicBezTo>
                      <a:cubicBezTo>
                        <a:pt x="116" y="92"/>
                        <a:pt x="116" y="91"/>
                        <a:pt x="117" y="90"/>
                      </a:cubicBezTo>
                      <a:cubicBezTo>
                        <a:pt x="117" y="89"/>
                        <a:pt x="119" y="89"/>
                        <a:pt x="120" y="89"/>
                      </a:cubicBezTo>
                      <a:cubicBezTo>
                        <a:pt x="156" y="116"/>
                        <a:pt x="156" y="116"/>
                        <a:pt x="156" y="116"/>
                      </a:cubicBezTo>
                      <a:cubicBezTo>
                        <a:pt x="159" y="116"/>
                        <a:pt x="163" y="114"/>
                        <a:pt x="165" y="111"/>
                      </a:cubicBezTo>
                      <a:cubicBezTo>
                        <a:pt x="167" y="108"/>
                        <a:pt x="167" y="105"/>
                        <a:pt x="167" y="102"/>
                      </a:cubicBezTo>
                      <a:cubicBezTo>
                        <a:pt x="137" y="81"/>
                        <a:pt x="137" y="81"/>
                        <a:pt x="137" y="81"/>
                      </a:cubicBezTo>
                      <a:cubicBezTo>
                        <a:pt x="136" y="80"/>
                        <a:pt x="136" y="79"/>
                        <a:pt x="136" y="78"/>
                      </a:cubicBezTo>
                      <a:cubicBezTo>
                        <a:pt x="137" y="77"/>
                        <a:pt x="138" y="76"/>
                        <a:pt x="139" y="77"/>
                      </a:cubicBezTo>
                      <a:cubicBezTo>
                        <a:pt x="176" y="104"/>
                        <a:pt x="176" y="104"/>
                        <a:pt x="176" y="104"/>
                      </a:cubicBezTo>
                      <a:cubicBezTo>
                        <a:pt x="180" y="104"/>
                        <a:pt x="183" y="102"/>
                        <a:pt x="185" y="99"/>
                      </a:cubicBezTo>
                      <a:cubicBezTo>
                        <a:pt x="188" y="94"/>
                        <a:pt x="187" y="87"/>
                        <a:pt x="183" y="84"/>
                      </a:cubicBezTo>
                      <a:close/>
                    </a:path>
                  </a:pathLst>
                </a:custGeom>
                <a:solidFill>
                  <a:srgbClr val="002060"/>
                </a:solidFill>
                <a:ln>
                  <a:noFill/>
                </a:ln>
              </p:spPr>
              <p:txBody>
                <a:bodyPr lIns="137160" tIns="137160" rIns="137160" bIns="91440"/>
                <a:lstStyle/>
                <a:p>
                  <a:pPr>
                    <a:defRPr/>
                  </a:pPr>
                  <a:endParaRPr lang="en-US" sz="1600" dirty="0">
                    <a:solidFill>
                      <a:srgbClr val="FFFFFF"/>
                    </a:solidFill>
                    <a:latin typeface="Segoe UI" pitchFamily="34" charset="0"/>
                    <a:cs typeface="Segoe UI"/>
                  </a:endParaRPr>
                </a:p>
              </p:txBody>
            </p:sp>
            <p:sp>
              <p:nvSpPr>
                <p:cNvPr id="162" name="Freeform 27"/>
                <p:cNvSpPr>
                  <a:spLocks/>
                </p:cNvSpPr>
                <p:nvPr/>
              </p:nvSpPr>
              <p:spPr bwMode="black">
                <a:xfrm>
                  <a:off x="9869598" y="1524016"/>
                  <a:ext cx="797985" cy="456805"/>
                </a:xfrm>
                <a:custGeom>
                  <a:avLst/>
                  <a:gdLst>
                    <a:gd name="T0" fmla="*/ 127 w 175"/>
                    <a:gd name="T1" fmla="*/ 31 h 100"/>
                    <a:gd name="T2" fmla="*/ 119 w 175"/>
                    <a:gd name="T3" fmla="*/ 28 h 100"/>
                    <a:gd name="T4" fmla="*/ 62 w 175"/>
                    <a:gd name="T5" fmla="*/ 2 h 100"/>
                    <a:gd name="T6" fmla="*/ 49 w 175"/>
                    <a:gd name="T7" fmla="*/ 3 h 100"/>
                    <a:gd name="T8" fmla="*/ 26 w 175"/>
                    <a:gd name="T9" fmla="*/ 16 h 100"/>
                    <a:gd name="T10" fmla="*/ 9 w 175"/>
                    <a:gd name="T11" fmla="*/ 25 h 100"/>
                    <a:gd name="T12" fmla="*/ 4 w 175"/>
                    <a:gd name="T13" fmla="*/ 45 h 100"/>
                    <a:gd name="T14" fmla="*/ 15 w 175"/>
                    <a:gd name="T15" fmla="*/ 52 h 100"/>
                    <a:gd name="T16" fmla="*/ 23 w 175"/>
                    <a:gd name="T17" fmla="*/ 50 h 100"/>
                    <a:gd name="T18" fmla="*/ 23 w 175"/>
                    <a:gd name="T19" fmla="*/ 50 h 100"/>
                    <a:gd name="T20" fmla="*/ 57 w 175"/>
                    <a:gd name="T21" fmla="*/ 32 h 100"/>
                    <a:gd name="T22" fmla="*/ 79 w 175"/>
                    <a:gd name="T23" fmla="*/ 42 h 100"/>
                    <a:gd name="T24" fmla="*/ 109 w 175"/>
                    <a:gd name="T25" fmla="*/ 64 h 100"/>
                    <a:gd name="T26" fmla="*/ 158 w 175"/>
                    <a:gd name="T27" fmla="*/ 99 h 100"/>
                    <a:gd name="T28" fmla="*/ 159 w 175"/>
                    <a:gd name="T29" fmla="*/ 100 h 100"/>
                    <a:gd name="T30" fmla="*/ 173 w 175"/>
                    <a:gd name="T31" fmla="*/ 97 h 100"/>
                    <a:gd name="T32" fmla="*/ 154 w 175"/>
                    <a:gd name="T33" fmla="*/ 29 h 100"/>
                    <a:gd name="T34" fmla="*/ 127 w 175"/>
                    <a:gd name="T35" fmla="*/ 31 h 1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75" h="100">
                      <a:moveTo>
                        <a:pt x="127" y="31"/>
                      </a:moveTo>
                      <a:cubicBezTo>
                        <a:pt x="125" y="31"/>
                        <a:pt x="122" y="30"/>
                        <a:pt x="119" y="28"/>
                      </a:cubicBezTo>
                      <a:cubicBezTo>
                        <a:pt x="62" y="2"/>
                        <a:pt x="62" y="2"/>
                        <a:pt x="62" y="2"/>
                      </a:cubicBezTo>
                      <a:cubicBezTo>
                        <a:pt x="58" y="0"/>
                        <a:pt x="53" y="1"/>
                        <a:pt x="49" y="3"/>
                      </a:cubicBezTo>
                      <a:cubicBezTo>
                        <a:pt x="26" y="16"/>
                        <a:pt x="26" y="16"/>
                        <a:pt x="26" y="16"/>
                      </a:cubicBezTo>
                      <a:cubicBezTo>
                        <a:pt x="9" y="25"/>
                        <a:pt x="9" y="25"/>
                        <a:pt x="9" y="25"/>
                      </a:cubicBezTo>
                      <a:cubicBezTo>
                        <a:pt x="2" y="29"/>
                        <a:pt x="0" y="38"/>
                        <a:pt x="4" y="45"/>
                      </a:cubicBezTo>
                      <a:cubicBezTo>
                        <a:pt x="6" y="49"/>
                        <a:pt x="10" y="52"/>
                        <a:pt x="15" y="52"/>
                      </a:cubicBezTo>
                      <a:cubicBezTo>
                        <a:pt x="18" y="52"/>
                        <a:pt x="21" y="52"/>
                        <a:pt x="23" y="50"/>
                      </a:cubicBezTo>
                      <a:cubicBezTo>
                        <a:pt x="23" y="50"/>
                        <a:pt x="23" y="50"/>
                        <a:pt x="23" y="50"/>
                      </a:cubicBezTo>
                      <a:cubicBezTo>
                        <a:pt x="57" y="32"/>
                        <a:pt x="57" y="32"/>
                        <a:pt x="57" y="32"/>
                      </a:cubicBezTo>
                      <a:cubicBezTo>
                        <a:pt x="79" y="42"/>
                        <a:pt x="79" y="42"/>
                        <a:pt x="79" y="42"/>
                      </a:cubicBezTo>
                      <a:cubicBezTo>
                        <a:pt x="109" y="64"/>
                        <a:pt x="109" y="64"/>
                        <a:pt x="109" y="64"/>
                      </a:cubicBezTo>
                      <a:cubicBezTo>
                        <a:pt x="158" y="99"/>
                        <a:pt x="158" y="99"/>
                        <a:pt x="158" y="99"/>
                      </a:cubicBezTo>
                      <a:cubicBezTo>
                        <a:pt x="158" y="99"/>
                        <a:pt x="159" y="100"/>
                        <a:pt x="159" y="100"/>
                      </a:cubicBezTo>
                      <a:cubicBezTo>
                        <a:pt x="173" y="97"/>
                        <a:pt x="173" y="97"/>
                        <a:pt x="173" y="97"/>
                      </a:cubicBezTo>
                      <a:cubicBezTo>
                        <a:pt x="175" y="51"/>
                        <a:pt x="154" y="29"/>
                        <a:pt x="154" y="29"/>
                      </a:cubicBezTo>
                      <a:cubicBezTo>
                        <a:pt x="154" y="29"/>
                        <a:pt x="133" y="33"/>
                        <a:pt x="127" y="31"/>
                      </a:cubicBezTo>
                      <a:close/>
                    </a:path>
                  </a:pathLst>
                </a:custGeom>
                <a:solidFill>
                  <a:srgbClr val="002060"/>
                </a:solidFill>
                <a:ln>
                  <a:noFill/>
                </a:ln>
              </p:spPr>
              <p:txBody>
                <a:bodyPr lIns="137160" tIns="137160" rIns="137160" bIns="91440"/>
                <a:lstStyle/>
                <a:p>
                  <a:pPr>
                    <a:defRPr/>
                  </a:pPr>
                  <a:endParaRPr lang="en-US" sz="1600" dirty="0">
                    <a:solidFill>
                      <a:srgbClr val="FFFFFF"/>
                    </a:solidFill>
                    <a:latin typeface="Segoe UI" pitchFamily="34" charset="0"/>
                    <a:cs typeface="Segoe UI"/>
                  </a:endParaRPr>
                </a:p>
              </p:txBody>
            </p:sp>
            <p:sp>
              <p:nvSpPr>
                <p:cNvPr id="163" name="Freeform 28"/>
                <p:cNvSpPr>
                  <a:spLocks/>
                </p:cNvSpPr>
                <p:nvPr/>
              </p:nvSpPr>
              <p:spPr bwMode="black">
                <a:xfrm>
                  <a:off x="9773224" y="1967331"/>
                  <a:ext cx="387428" cy="267916"/>
                </a:xfrm>
                <a:custGeom>
                  <a:avLst/>
                  <a:gdLst>
                    <a:gd name="T0" fmla="*/ 76 w 85"/>
                    <a:gd name="T1" fmla="*/ 20 h 59"/>
                    <a:gd name="T2" fmla="*/ 64 w 85"/>
                    <a:gd name="T3" fmla="*/ 25 h 59"/>
                    <a:gd name="T4" fmla="*/ 65 w 85"/>
                    <a:gd name="T5" fmla="*/ 18 h 59"/>
                    <a:gd name="T6" fmla="*/ 57 w 85"/>
                    <a:gd name="T7" fmla="*/ 5 h 59"/>
                    <a:gd name="T8" fmla="*/ 44 w 85"/>
                    <a:gd name="T9" fmla="*/ 13 h 59"/>
                    <a:gd name="T10" fmla="*/ 44 w 85"/>
                    <a:gd name="T11" fmla="*/ 14 h 59"/>
                    <a:gd name="T12" fmla="*/ 35 w 85"/>
                    <a:gd name="T13" fmla="*/ 3 h 59"/>
                    <a:gd name="T14" fmla="*/ 23 w 85"/>
                    <a:gd name="T15" fmla="*/ 10 h 59"/>
                    <a:gd name="T16" fmla="*/ 23 w 85"/>
                    <a:gd name="T17" fmla="*/ 10 h 59"/>
                    <a:gd name="T18" fmla="*/ 10 w 85"/>
                    <a:gd name="T19" fmla="*/ 1 h 59"/>
                    <a:gd name="T20" fmla="*/ 1 w 85"/>
                    <a:gd name="T21" fmla="*/ 14 h 59"/>
                    <a:gd name="T22" fmla="*/ 4 w 85"/>
                    <a:gd name="T23" fmla="*/ 28 h 59"/>
                    <a:gd name="T24" fmla="*/ 14 w 85"/>
                    <a:gd name="T25" fmla="*/ 36 h 59"/>
                    <a:gd name="T26" fmla="*/ 17 w 85"/>
                    <a:gd name="T27" fmla="*/ 36 h 59"/>
                    <a:gd name="T28" fmla="*/ 19 w 85"/>
                    <a:gd name="T29" fmla="*/ 35 h 59"/>
                    <a:gd name="T30" fmla="*/ 27 w 85"/>
                    <a:gd name="T31" fmla="*/ 43 h 59"/>
                    <a:gd name="T32" fmla="*/ 28 w 85"/>
                    <a:gd name="T33" fmla="*/ 43 h 59"/>
                    <a:gd name="T34" fmla="*/ 39 w 85"/>
                    <a:gd name="T35" fmla="*/ 38 h 59"/>
                    <a:gd name="T36" fmla="*/ 38 w 85"/>
                    <a:gd name="T37" fmla="*/ 39 h 59"/>
                    <a:gd name="T38" fmla="*/ 47 w 85"/>
                    <a:gd name="T39" fmla="*/ 52 h 59"/>
                    <a:gd name="T40" fmla="*/ 48 w 85"/>
                    <a:gd name="T41" fmla="*/ 52 h 59"/>
                    <a:gd name="T42" fmla="*/ 58 w 85"/>
                    <a:gd name="T43" fmla="*/ 47 h 59"/>
                    <a:gd name="T44" fmla="*/ 67 w 85"/>
                    <a:gd name="T45" fmla="*/ 59 h 59"/>
                    <a:gd name="T46" fmla="*/ 68 w 85"/>
                    <a:gd name="T47" fmla="*/ 59 h 59"/>
                    <a:gd name="T48" fmla="*/ 80 w 85"/>
                    <a:gd name="T49" fmla="*/ 50 h 59"/>
                    <a:gd name="T50" fmla="*/ 84 w 85"/>
                    <a:gd name="T51" fmla="*/ 33 h 59"/>
                    <a:gd name="T52" fmla="*/ 76 w 85"/>
                    <a:gd name="T53" fmla="*/ 20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85" h="59">
                      <a:moveTo>
                        <a:pt x="76" y="20"/>
                      </a:moveTo>
                      <a:cubicBezTo>
                        <a:pt x="71" y="19"/>
                        <a:pt x="66" y="21"/>
                        <a:pt x="64" y="25"/>
                      </a:cubicBezTo>
                      <a:cubicBezTo>
                        <a:pt x="65" y="18"/>
                        <a:pt x="65" y="18"/>
                        <a:pt x="65" y="18"/>
                      </a:cubicBezTo>
                      <a:cubicBezTo>
                        <a:pt x="67" y="12"/>
                        <a:pt x="63" y="6"/>
                        <a:pt x="57" y="5"/>
                      </a:cubicBezTo>
                      <a:cubicBezTo>
                        <a:pt x="51" y="4"/>
                        <a:pt x="45" y="7"/>
                        <a:pt x="44" y="13"/>
                      </a:cubicBezTo>
                      <a:cubicBezTo>
                        <a:pt x="44" y="14"/>
                        <a:pt x="44" y="14"/>
                        <a:pt x="44" y="14"/>
                      </a:cubicBezTo>
                      <a:cubicBezTo>
                        <a:pt x="44" y="9"/>
                        <a:pt x="40" y="4"/>
                        <a:pt x="35" y="3"/>
                      </a:cubicBezTo>
                      <a:cubicBezTo>
                        <a:pt x="30" y="2"/>
                        <a:pt x="24" y="5"/>
                        <a:pt x="23" y="10"/>
                      </a:cubicBezTo>
                      <a:cubicBezTo>
                        <a:pt x="23" y="10"/>
                        <a:pt x="23" y="10"/>
                        <a:pt x="23" y="10"/>
                      </a:cubicBezTo>
                      <a:cubicBezTo>
                        <a:pt x="21" y="4"/>
                        <a:pt x="15" y="0"/>
                        <a:pt x="10" y="1"/>
                      </a:cubicBezTo>
                      <a:cubicBezTo>
                        <a:pt x="4" y="3"/>
                        <a:pt x="0" y="8"/>
                        <a:pt x="1" y="14"/>
                      </a:cubicBezTo>
                      <a:cubicBezTo>
                        <a:pt x="4" y="28"/>
                        <a:pt x="4" y="28"/>
                        <a:pt x="4" y="28"/>
                      </a:cubicBezTo>
                      <a:cubicBezTo>
                        <a:pt x="5" y="32"/>
                        <a:pt x="9" y="36"/>
                        <a:pt x="14" y="36"/>
                      </a:cubicBezTo>
                      <a:cubicBezTo>
                        <a:pt x="15" y="36"/>
                        <a:pt x="16" y="36"/>
                        <a:pt x="17" y="36"/>
                      </a:cubicBezTo>
                      <a:cubicBezTo>
                        <a:pt x="18" y="36"/>
                        <a:pt x="18" y="36"/>
                        <a:pt x="19" y="35"/>
                      </a:cubicBezTo>
                      <a:cubicBezTo>
                        <a:pt x="20" y="39"/>
                        <a:pt x="23" y="42"/>
                        <a:pt x="27" y="43"/>
                      </a:cubicBezTo>
                      <a:cubicBezTo>
                        <a:pt x="28" y="43"/>
                        <a:pt x="28" y="43"/>
                        <a:pt x="28" y="43"/>
                      </a:cubicBezTo>
                      <a:cubicBezTo>
                        <a:pt x="32" y="43"/>
                        <a:pt x="36" y="41"/>
                        <a:pt x="39" y="38"/>
                      </a:cubicBezTo>
                      <a:cubicBezTo>
                        <a:pt x="38" y="39"/>
                        <a:pt x="38" y="39"/>
                        <a:pt x="38" y="39"/>
                      </a:cubicBezTo>
                      <a:cubicBezTo>
                        <a:pt x="37" y="44"/>
                        <a:pt x="41" y="50"/>
                        <a:pt x="47" y="52"/>
                      </a:cubicBezTo>
                      <a:cubicBezTo>
                        <a:pt x="47" y="52"/>
                        <a:pt x="47" y="52"/>
                        <a:pt x="48" y="52"/>
                      </a:cubicBezTo>
                      <a:cubicBezTo>
                        <a:pt x="52" y="52"/>
                        <a:pt x="56" y="50"/>
                        <a:pt x="58" y="47"/>
                      </a:cubicBezTo>
                      <a:cubicBezTo>
                        <a:pt x="58" y="52"/>
                        <a:pt x="61" y="57"/>
                        <a:pt x="67" y="59"/>
                      </a:cubicBezTo>
                      <a:cubicBezTo>
                        <a:pt x="67" y="59"/>
                        <a:pt x="67" y="59"/>
                        <a:pt x="68" y="59"/>
                      </a:cubicBezTo>
                      <a:cubicBezTo>
                        <a:pt x="73" y="59"/>
                        <a:pt x="78" y="56"/>
                        <a:pt x="80" y="50"/>
                      </a:cubicBezTo>
                      <a:cubicBezTo>
                        <a:pt x="84" y="33"/>
                        <a:pt x="84" y="33"/>
                        <a:pt x="84" y="33"/>
                      </a:cubicBezTo>
                      <a:cubicBezTo>
                        <a:pt x="85" y="27"/>
                        <a:pt x="81" y="21"/>
                        <a:pt x="76" y="20"/>
                      </a:cubicBezTo>
                      <a:close/>
                    </a:path>
                  </a:pathLst>
                </a:custGeom>
                <a:solidFill>
                  <a:srgbClr val="002060"/>
                </a:solidFill>
                <a:ln>
                  <a:noFill/>
                </a:ln>
              </p:spPr>
              <p:txBody>
                <a:bodyPr lIns="137160" tIns="137160" rIns="137160" bIns="91440"/>
                <a:lstStyle/>
                <a:p>
                  <a:pPr>
                    <a:defRPr/>
                  </a:pPr>
                  <a:endParaRPr lang="en-US" sz="1600" dirty="0">
                    <a:solidFill>
                      <a:srgbClr val="FFFFFF"/>
                    </a:solidFill>
                    <a:latin typeface="Segoe UI" pitchFamily="34" charset="0"/>
                    <a:cs typeface="Segoe UI"/>
                  </a:endParaRPr>
                </a:p>
              </p:txBody>
            </p:sp>
            <p:sp>
              <p:nvSpPr>
                <p:cNvPr id="164" name="Freeform 29"/>
                <p:cNvSpPr>
                  <a:spLocks/>
                </p:cNvSpPr>
                <p:nvPr/>
              </p:nvSpPr>
              <p:spPr bwMode="black">
                <a:xfrm>
                  <a:off x="10588557" y="1597259"/>
                  <a:ext cx="186968" cy="387418"/>
                </a:xfrm>
                <a:custGeom>
                  <a:avLst/>
                  <a:gdLst>
                    <a:gd name="T0" fmla="*/ 41 w 41"/>
                    <a:gd name="T1" fmla="*/ 77 h 85"/>
                    <a:gd name="T2" fmla="*/ 33 w 41"/>
                    <a:gd name="T3" fmla="*/ 7 h 85"/>
                    <a:gd name="T4" fmla="*/ 24 w 41"/>
                    <a:gd name="T5" fmla="*/ 1 h 85"/>
                    <a:gd name="T6" fmla="*/ 0 w 41"/>
                    <a:gd name="T7" fmla="*/ 7 h 85"/>
                    <a:gd name="T8" fmla="*/ 22 w 41"/>
                    <a:gd name="T9" fmla="*/ 85 h 85"/>
                    <a:gd name="T10" fmla="*/ 33 w 41"/>
                    <a:gd name="T11" fmla="*/ 85 h 85"/>
                    <a:gd name="T12" fmla="*/ 41 w 41"/>
                    <a:gd name="T13" fmla="*/ 77 h 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1" h="85">
                      <a:moveTo>
                        <a:pt x="41" y="77"/>
                      </a:moveTo>
                      <a:cubicBezTo>
                        <a:pt x="33" y="7"/>
                        <a:pt x="33" y="7"/>
                        <a:pt x="33" y="7"/>
                      </a:cubicBezTo>
                      <a:cubicBezTo>
                        <a:pt x="32" y="2"/>
                        <a:pt x="28" y="0"/>
                        <a:pt x="24" y="1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7"/>
                        <a:pt x="25" y="32"/>
                        <a:pt x="22" y="85"/>
                      </a:cubicBezTo>
                      <a:cubicBezTo>
                        <a:pt x="33" y="85"/>
                        <a:pt x="33" y="85"/>
                        <a:pt x="33" y="85"/>
                      </a:cubicBezTo>
                      <a:cubicBezTo>
                        <a:pt x="38" y="85"/>
                        <a:pt x="41" y="81"/>
                        <a:pt x="41" y="77"/>
                      </a:cubicBezTo>
                      <a:close/>
                    </a:path>
                  </a:pathLst>
                </a:custGeom>
                <a:solidFill>
                  <a:srgbClr val="002060"/>
                </a:solidFill>
                <a:ln>
                  <a:noFill/>
                </a:ln>
              </p:spPr>
              <p:txBody>
                <a:bodyPr lIns="137160" tIns="137160" rIns="137160" bIns="91440"/>
                <a:lstStyle/>
                <a:p>
                  <a:pPr>
                    <a:defRPr/>
                  </a:pPr>
                  <a:endParaRPr lang="en-US" sz="1600" dirty="0">
                    <a:solidFill>
                      <a:srgbClr val="FFFFFF"/>
                    </a:solidFill>
                    <a:latin typeface="Segoe UI" pitchFamily="34" charset="0"/>
                    <a:cs typeface="Segoe UI"/>
                  </a:endParaRPr>
                </a:p>
              </p:txBody>
            </p:sp>
            <p:sp>
              <p:nvSpPr>
                <p:cNvPr id="165" name="Freeform 30"/>
                <p:cNvSpPr>
                  <a:spLocks/>
                </p:cNvSpPr>
                <p:nvPr/>
              </p:nvSpPr>
              <p:spPr bwMode="black">
                <a:xfrm>
                  <a:off x="9592033" y="1556786"/>
                  <a:ext cx="213953" cy="427894"/>
                </a:xfrm>
                <a:custGeom>
                  <a:avLst/>
                  <a:gdLst>
                    <a:gd name="T0" fmla="*/ 47 w 47"/>
                    <a:gd name="T1" fmla="*/ 9 h 94"/>
                    <a:gd name="T2" fmla="*/ 35 w 47"/>
                    <a:gd name="T3" fmla="*/ 2 h 94"/>
                    <a:gd name="T4" fmla="*/ 25 w 47"/>
                    <a:gd name="T5" fmla="*/ 6 h 94"/>
                    <a:gd name="T6" fmla="*/ 2 w 47"/>
                    <a:gd name="T7" fmla="*/ 81 h 94"/>
                    <a:gd name="T8" fmla="*/ 7 w 47"/>
                    <a:gd name="T9" fmla="*/ 90 h 94"/>
                    <a:gd name="T10" fmla="*/ 26 w 47"/>
                    <a:gd name="T11" fmla="*/ 94 h 94"/>
                    <a:gd name="T12" fmla="*/ 47 w 47"/>
                    <a:gd name="T13" fmla="*/ 9 h 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7" h="94">
                      <a:moveTo>
                        <a:pt x="47" y="9"/>
                      </a:moveTo>
                      <a:cubicBezTo>
                        <a:pt x="35" y="2"/>
                        <a:pt x="35" y="2"/>
                        <a:pt x="35" y="2"/>
                      </a:cubicBezTo>
                      <a:cubicBezTo>
                        <a:pt x="31" y="0"/>
                        <a:pt x="27" y="2"/>
                        <a:pt x="25" y="6"/>
                      </a:cubicBezTo>
                      <a:cubicBezTo>
                        <a:pt x="2" y="81"/>
                        <a:pt x="2" y="81"/>
                        <a:pt x="2" y="81"/>
                      </a:cubicBezTo>
                      <a:cubicBezTo>
                        <a:pt x="0" y="86"/>
                        <a:pt x="3" y="90"/>
                        <a:pt x="7" y="90"/>
                      </a:cubicBezTo>
                      <a:cubicBezTo>
                        <a:pt x="26" y="94"/>
                        <a:pt x="26" y="94"/>
                        <a:pt x="26" y="94"/>
                      </a:cubicBezTo>
                      <a:cubicBezTo>
                        <a:pt x="24" y="52"/>
                        <a:pt x="47" y="9"/>
                        <a:pt x="47" y="9"/>
                      </a:cubicBezTo>
                      <a:close/>
                    </a:path>
                  </a:pathLst>
                </a:custGeom>
                <a:solidFill>
                  <a:srgbClr val="002060"/>
                </a:solidFill>
                <a:ln>
                  <a:noFill/>
                </a:ln>
              </p:spPr>
              <p:txBody>
                <a:bodyPr lIns="137160" tIns="137160" rIns="137160" bIns="91440"/>
                <a:lstStyle/>
                <a:p>
                  <a:pPr>
                    <a:defRPr/>
                  </a:pPr>
                  <a:endParaRPr lang="en-US" sz="1600" dirty="0">
                    <a:solidFill>
                      <a:srgbClr val="FFFFFF"/>
                    </a:solidFill>
                    <a:latin typeface="Segoe UI" pitchFamily="34" charset="0"/>
                    <a:cs typeface="Segoe UI"/>
                  </a:endParaRPr>
                </a:p>
              </p:txBody>
            </p:sp>
          </p:grpSp>
          <p:sp>
            <p:nvSpPr>
              <p:cNvPr id="166" name="Freeform 165"/>
              <p:cNvSpPr/>
              <p:nvPr>
                <p:custDataLst>
                  <p:tags r:id="rId3"/>
                </p:custDataLst>
              </p:nvPr>
            </p:nvSpPr>
            <p:spPr>
              <a:xfrm>
                <a:off x="8740211" y="2328281"/>
                <a:ext cx="547201" cy="509533"/>
              </a:xfrm>
              <a:custGeom>
                <a:avLst/>
                <a:gdLst/>
                <a:ahLst/>
                <a:cxnLst/>
                <a:rect l="l" t="t" r="r" b="b"/>
                <a:pathLst>
                  <a:path w="5259936" h="4591663">
                    <a:moveTo>
                      <a:pt x="0" y="3512322"/>
                    </a:moveTo>
                    <a:lnTo>
                      <a:pt x="653753" y="3512322"/>
                    </a:lnTo>
                    <a:lnTo>
                      <a:pt x="653753" y="4591662"/>
                    </a:lnTo>
                    <a:lnTo>
                      <a:pt x="0" y="4591662"/>
                    </a:lnTo>
                    <a:close/>
                    <a:moveTo>
                      <a:pt x="921237" y="3443955"/>
                    </a:moveTo>
                    <a:lnTo>
                      <a:pt x="1574990" y="3443955"/>
                    </a:lnTo>
                    <a:lnTo>
                      <a:pt x="1574990" y="4591662"/>
                    </a:lnTo>
                    <a:lnTo>
                      <a:pt x="921237" y="4591662"/>
                    </a:lnTo>
                    <a:close/>
                    <a:moveTo>
                      <a:pt x="1842474" y="3187583"/>
                    </a:moveTo>
                    <a:lnTo>
                      <a:pt x="2496227" y="3187583"/>
                    </a:lnTo>
                    <a:lnTo>
                      <a:pt x="2496227" y="4591663"/>
                    </a:lnTo>
                    <a:lnTo>
                      <a:pt x="1842474" y="4591663"/>
                    </a:lnTo>
                    <a:close/>
                    <a:moveTo>
                      <a:pt x="2763711" y="2820112"/>
                    </a:moveTo>
                    <a:lnTo>
                      <a:pt x="3417464" y="2820112"/>
                    </a:lnTo>
                    <a:lnTo>
                      <a:pt x="3417464" y="4591663"/>
                    </a:lnTo>
                    <a:lnTo>
                      <a:pt x="2763711" y="4591663"/>
                    </a:lnTo>
                    <a:close/>
                    <a:moveTo>
                      <a:pt x="3684948" y="2187724"/>
                    </a:moveTo>
                    <a:lnTo>
                      <a:pt x="4338701" y="2187724"/>
                    </a:lnTo>
                    <a:lnTo>
                      <a:pt x="4338701" y="4591663"/>
                    </a:lnTo>
                    <a:lnTo>
                      <a:pt x="3684948" y="4591663"/>
                    </a:lnTo>
                    <a:close/>
                    <a:moveTo>
                      <a:pt x="4606183" y="1828800"/>
                    </a:moveTo>
                    <a:lnTo>
                      <a:pt x="5259936" y="1828800"/>
                    </a:lnTo>
                    <a:lnTo>
                      <a:pt x="5259936" y="4591663"/>
                    </a:lnTo>
                    <a:lnTo>
                      <a:pt x="4606183" y="4591663"/>
                    </a:lnTo>
                    <a:close/>
                    <a:moveTo>
                      <a:pt x="5123203" y="0"/>
                    </a:moveTo>
                    <a:lnTo>
                      <a:pt x="4730097" y="1683522"/>
                    </a:lnTo>
                    <a:lnTo>
                      <a:pt x="4379719" y="1401510"/>
                    </a:lnTo>
                    <a:cubicBezTo>
                      <a:pt x="2644923" y="2999574"/>
                      <a:pt x="1602336" y="3273040"/>
                      <a:pt x="12818" y="3161944"/>
                    </a:cubicBezTo>
                    <a:cubicBezTo>
                      <a:pt x="1397236" y="3099275"/>
                      <a:pt x="2559465" y="2498221"/>
                      <a:pt x="3832788" y="922946"/>
                    </a:cubicBezTo>
                    <a:lnTo>
                      <a:pt x="3490957" y="632389"/>
                    </a:lnTo>
                    <a:close/>
                  </a:path>
                </a:pathLst>
              </a:custGeom>
              <a:solidFill>
                <a:srgbClr val="002060"/>
              </a:solidFill>
              <a:ln w="25400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latin typeface="Segoe UI" pitchFamily="34" charset="0"/>
                </a:endParaRPr>
              </a:p>
            </p:txBody>
          </p:sp>
          <p:sp>
            <p:nvSpPr>
              <p:cNvPr id="167" name="Freeform 18"/>
              <p:cNvSpPr>
                <a:spLocks noChangeAspect="1" noEditPoints="1"/>
              </p:cNvSpPr>
              <p:nvPr>
                <p:custDataLst>
                  <p:tags r:id="rId4"/>
                </p:custDataLst>
              </p:nvPr>
            </p:nvSpPr>
            <p:spPr bwMode="gray">
              <a:xfrm>
                <a:off x="8484772" y="1561839"/>
                <a:ext cx="494472" cy="603250"/>
              </a:xfrm>
              <a:custGeom>
                <a:avLst/>
                <a:gdLst>
                  <a:gd name="T0" fmla="*/ 129 w 246"/>
                  <a:gd name="T1" fmla="*/ 192 h 300"/>
                  <a:gd name="T2" fmla="*/ 43 w 246"/>
                  <a:gd name="T3" fmla="*/ 202 h 300"/>
                  <a:gd name="T4" fmla="*/ 129 w 246"/>
                  <a:gd name="T5" fmla="*/ 126 h 300"/>
                  <a:gd name="T6" fmla="*/ 43 w 246"/>
                  <a:gd name="T7" fmla="*/ 135 h 300"/>
                  <a:gd name="T8" fmla="*/ 129 w 246"/>
                  <a:gd name="T9" fmla="*/ 126 h 300"/>
                  <a:gd name="T10" fmla="*/ 215 w 246"/>
                  <a:gd name="T11" fmla="*/ 101 h 300"/>
                  <a:gd name="T12" fmla="*/ 219 w 246"/>
                  <a:gd name="T13" fmla="*/ 90 h 300"/>
                  <a:gd name="T14" fmla="*/ 208 w 246"/>
                  <a:gd name="T15" fmla="*/ 111 h 300"/>
                  <a:gd name="T16" fmla="*/ 43 w 246"/>
                  <a:gd name="T17" fmla="*/ 92 h 300"/>
                  <a:gd name="T18" fmla="*/ 117 w 246"/>
                  <a:gd name="T19" fmla="*/ 102 h 300"/>
                  <a:gd name="T20" fmla="*/ 43 w 246"/>
                  <a:gd name="T21" fmla="*/ 235 h 300"/>
                  <a:gd name="T22" fmla="*/ 117 w 246"/>
                  <a:gd name="T23" fmla="*/ 226 h 300"/>
                  <a:gd name="T24" fmla="*/ 43 w 246"/>
                  <a:gd name="T25" fmla="*/ 235 h 300"/>
                  <a:gd name="T26" fmla="*/ 11 w 246"/>
                  <a:gd name="T27" fmla="*/ 287 h 300"/>
                  <a:gd name="T28" fmla="*/ 35 w 246"/>
                  <a:gd name="T29" fmla="*/ 36 h 300"/>
                  <a:gd name="T30" fmla="*/ 0 w 246"/>
                  <a:gd name="T31" fmla="*/ 22 h 300"/>
                  <a:gd name="T32" fmla="*/ 219 w 246"/>
                  <a:gd name="T33" fmla="*/ 300 h 300"/>
                  <a:gd name="T34" fmla="*/ 208 w 246"/>
                  <a:gd name="T35" fmla="*/ 173 h 300"/>
                  <a:gd name="T36" fmla="*/ 117 w 246"/>
                  <a:gd name="T37" fmla="*/ 159 h 300"/>
                  <a:gd name="T38" fmla="*/ 43 w 246"/>
                  <a:gd name="T39" fmla="*/ 169 h 300"/>
                  <a:gd name="T40" fmla="*/ 117 w 246"/>
                  <a:gd name="T41" fmla="*/ 159 h 300"/>
                  <a:gd name="T42" fmla="*/ 57 w 246"/>
                  <a:gd name="T43" fmla="*/ 22 h 300"/>
                  <a:gd name="T44" fmla="*/ 86 w 246"/>
                  <a:gd name="T45" fmla="*/ 20 h 300"/>
                  <a:gd name="T46" fmla="*/ 110 w 246"/>
                  <a:gd name="T47" fmla="*/ 0 h 300"/>
                  <a:gd name="T48" fmla="*/ 133 w 246"/>
                  <a:gd name="T49" fmla="*/ 20 h 300"/>
                  <a:gd name="T50" fmla="*/ 162 w 246"/>
                  <a:gd name="T51" fmla="*/ 22 h 300"/>
                  <a:gd name="T52" fmla="*/ 179 w 246"/>
                  <a:gd name="T53" fmla="*/ 43 h 300"/>
                  <a:gd name="T54" fmla="*/ 41 w 246"/>
                  <a:gd name="T55" fmla="*/ 36 h 300"/>
                  <a:gd name="T56" fmla="*/ 110 w 246"/>
                  <a:gd name="T57" fmla="*/ 20 h 300"/>
                  <a:gd name="T58" fmla="*/ 110 w 246"/>
                  <a:gd name="T59" fmla="*/ 11 h 300"/>
                  <a:gd name="T60" fmla="*/ 190 w 246"/>
                  <a:gd name="T61" fmla="*/ 269 h 300"/>
                  <a:gd name="T62" fmla="*/ 29 w 246"/>
                  <a:gd name="T63" fmla="*/ 59 h 300"/>
                  <a:gd name="T64" fmla="*/ 190 w 246"/>
                  <a:gd name="T65" fmla="*/ 71 h 300"/>
                  <a:gd name="T66" fmla="*/ 200 w 246"/>
                  <a:gd name="T67" fmla="*/ 49 h 300"/>
                  <a:gd name="T68" fmla="*/ 19 w 246"/>
                  <a:gd name="T69" fmla="*/ 278 h 300"/>
                  <a:gd name="T70" fmla="*/ 200 w 246"/>
                  <a:gd name="T71" fmla="*/ 185 h 300"/>
                  <a:gd name="T72" fmla="*/ 190 w 246"/>
                  <a:gd name="T73" fmla="*/ 269 h 300"/>
                  <a:gd name="T74" fmla="*/ 190 w 246"/>
                  <a:gd name="T75" fmla="*/ 133 h 300"/>
                  <a:gd name="T76" fmla="*/ 200 w 246"/>
                  <a:gd name="T77" fmla="*/ 124 h 300"/>
                  <a:gd name="T78" fmla="*/ 215 w 246"/>
                  <a:gd name="T79" fmla="*/ 35 h 300"/>
                  <a:gd name="T80" fmla="*/ 219 w 246"/>
                  <a:gd name="T81" fmla="*/ 22 h 300"/>
                  <a:gd name="T82" fmla="*/ 184 w 246"/>
                  <a:gd name="T83" fmla="*/ 36 h 300"/>
                  <a:gd name="T84" fmla="*/ 208 w 246"/>
                  <a:gd name="T85" fmla="*/ 44 h 300"/>
                  <a:gd name="T86" fmla="*/ 246 w 246"/>
                  <a:gd name="T87" fmla="*/ 41 h 300"/>
                  <a:gd name="T88" fmla="*/ 155 w 246"/>
                  <a:gd name="T89" fmla="*/ 134 h 300"/>
                  <a:gd name="T90" fmla="*/ 156 w 246"/>
                  <a:gd name="T91" fmla="*/ 92 h 300"/>
                  <a:gd name="T92" fmla="*/ 218 w 246"/>
                  <a:gd name="T93" fmla="*/ 41 h 300"/>
                  <a:gd name="T94" fmla="*/ 246 w 246"/>
                  <a:gd name="T95" fmla="*/ 107 h 300"/>
                  <a:gd name="T96" fmla="*/ 155 w 246"/>
                  <a:gd name="T97" fmla="*/ 201 h 300"/>
                  <a:gd name="T98" fmla="*/ 156 w 246"/>
                  <a:gd name="T99" fmla="*/ 159 h 300"/>
                  <a:gd name="T100" fmla="*/ 218 w 246"/>
                  <a:gd name="T101" fmla="*/ 107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46" h="300">
                    <a:moveTo>
                      <a:pt x="43" y="192"/>
                    </a:moveTo>
                    <a:cubicBezTo>
                      <a:pt x="129" y="192"/>
                      <a:pt x="129" y="192"/>
                      <a:pt x="129" y="192"/>
                    </a:cubicBezTo>
                    <a:cubicBezTo>
                      <a:pt x="129" y="202"/>
                      <a:pt x="129" y="202"/>
                      <a:pt x="129" y="202"/>
                    </a:cubicBezTo>
                    <a:cubicBezTo>
                      <a:pt x="43" y="202"/>
                      <a:pt x="43" y="202"/>
                      <a:pt x="43" y="202"/>
                    </a:cubicBezTo>
                    <a:lnTo>
                      <a:pt x="43" y="192"/>
                    </a:lnTo>
                    <a:close/>
                    <a:moveTo>
                      <a:pt x="129" y="126"/>
                    </a:moveTo>
                    <a:cubicBezTo>
                      <a:pt x="43" y="126"/>
                      <a:pt x="43" y="126"/>
                      <a:pt x="43" y="126"/>
                    </a:cubicBezTo>
                    <a:cubicBezTo>
                      <a:pt x="43" y="135"/>
                      <a:pt x="43" y="135"/>
                      <a:pt x="43" y="135"/>
                    </a:cubicBezTo>
                    <a:cubicBezTo>
                      <a:pt x="129" y="135"/>
                      <a:pt x="129" y="135"/>
                      <a:pt x="129" y="135"/>
                    </a:cubicBezTo>
                    <a:lnTo>
                      <a:pt x="129" y="126"/>
                    </a:lnTo>
                    <a:close/>
                    <a:moveTo>
                      <a:pt x="208" y="111"/>
                    </a:moveTo>
                    <a:cubicBezTo>
                      <a:pt x="215" y="101"/>
                      <a:pt x="215" y="101"/>
                      <a:pt x="215" y="101"/>
                    </a:cubicBezTo>
                    <a:cubicBezTo>
                      <a:pt x="219" y="101"/>
                      <a:pt x="219" y="101"/>
                      <a:pt x="219" y="101"/>
                    </a:cubicBezTo>
                    <a:cubicBezTo>
                      <a:pt x="219" y="90"/>
                      <a:pt x="219" y="90"/>
                      <a:pt x="219" y="90"/>
                    </a:cubicBezTo>
                    <a:cubicBezTo>
                      <a:pt x="208" y="106"/>
                      <a:pt x="208" y="106"/>
                      <a:pt x="208" y="106"/>
                    </a:cubicBezTo>
                    <a:lnTo>
                      <a:pt x="208" y="111"/>
                    </a:lnTo>
                    <a:close/>
                    <a:moveTo>
                      <a:pt x="117" y="92"/>
                    </a:moveTo>
                    <a:cubicBezTo>
                      <a:pt x="43" y="92"/>
                      <a:pt x="43" y="92"/>
                      <a:pt x="43" y="92"/>
                    </a:cubicBezTo>
                    <a:cubicBezTo>
                      <a:pt x="43" y="102"/>
                      <a:pt x="43" y="102"/>
                      <a:pt x="43" y="102"/>
                    </a:cubicBezTo>
                    <a:cubicBezTo>
                      <a:pt x="117" y="102"/>
                      <a:pt x="117" y="102"/>
                      <a:pt x="117" y="102"/>
                    </a:cubicBezTo>
                    <a:lnTo>
                      <a:pt x="117" y="92"/>
                    </a:lnTo>
                    <a:close/>
                    <a:moveTo>
                      <a:pt x="43" y="235"/>
                    </a:moveTo>
                    <a:cubicBezTo>
                      <a:pt x="117" y="235"/>
                      <a:pt x="117" y="235"/>
                      <a:pt x="117" y="235"/>
                    </a:cubicBezTo>
                    <a:cubicBezTo>
                      <a:pt x="117" y="226"/>
                      <a:pt x="117" y="226"/>
                      <a:pt x="117" y="226"/>
                    </a:cubicBezTo>
                    <a:cubicBezTo>
                      <a:pt x="43" y="226"/>
                      <a:pt x="43" y="226"/>
                      <a:pt x="43" y="226"/>
                    </a:cubicBezTo>
                    <a:lnTo>
                      <a:pt x="43" y="235"/>
                    </a:lnTo>
                    <a:close/>
                    <a:moveTo>
                      <a:pt x="208" y="287"/>
                    </a:moveTo>
                    <a:cubicBezTo>
                      <a:pt x="11" y="287"/>
                      <a:pt x="11" y="287"/>
                      <a:pt x="11" y="287"/>
                    </a:cubicBezTo>
                    <a:cubicBezTo>
                      <a:pt x="11" y="36"/>
                      <a:pt x="11" y="36"/>
                      <a:pt x="11" y="36"/>
                    </a:cubicBezTo>
                    <a:cubicBezTo>
                      <a:pt x="35" y="36"/>
                      <a:pt x="35" y="36"/>
                      <a:pt x="35" y="36"/>
                    </a:cubicBezTo>
                    <a:cubicBezTo>
                      <a:pt x="37" y="31"/>
                      <a:pt x="40" y="26"/>
                      <a:pt x="44" y="22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0" y="300"/>
                      <a:pt x="0" y="300"/>
                      <a:pt x="0" y="300"/>
                    </a:cubicBezTo>
                    <a:cubicBezTo>
                      <a:pt x="219" y="300"/>
                      <a:pt x="219" y="300"/>
                      <a:pt x="219" y="300"/>
                    </a:cubicBezTo>
                    <a:cubicBezTo>
                      <a:pt x="219" y="157"/>
                      <a:pt x="219" y="157"/>
                      <a:pt x="219" y="157"/>
                    </a:cubicBezTo>
                    <a:cubicBezTo>
                      <a:pt x="208" y="173"/>
                      <a:pt x="208" y="173"/>
                      <a:pt x="208" y="173"/>
                    </a:cubicBezTo>
                    <a:lnTo>
                      <a:pt x="208" y="287"/>
                    </a:lnTo>
                    <a:close/>
                    <a:moveTo>
                      <a:pt x="117" y="159"/>
                    </a:moveTo>
                    <a:cubicBezTo>
                      <a:pt x="43" y="159"/>
                      <a:pt x="43" y="159"/>
                      <a:pt x="43" y="159"/>
                    </a:cubicBezTo>
                    <a:cubicBezTo>
                      <a:pt x="43" y="169"/>
                      <a:pt x="43" y="169"/>
                      <a:pt x="43" y="169"/>
                    </a:cubicBezTo>
                    <a:cubicBezTo>
                      <a:pt x="117" y="169"/>
                      <a:pt x="117" y="169"/>
                      <a:pt x="117" y="169"/>
                    </a:cubicBezTo>
                    <a:lnTo>
                      <a:pt x="117" y="159"/>
                    </a:lnTo>
                    <a:close/>
                    <a:moveTo>
                      <a:pt x="41" y="36"/>
                    </a:moveTo>
                    <a:cubicBezTo>
                      <a:pt x="43" y="29"/>
                      <a:pt x="50" y="25"/>
                      <a:pt x="57" y="22"/>
                    </a:cubicBezTo>
                    <a:cubicBezTo>
                      <a:pt x="63" y="21"/>
                      <a:pt x="71" y="20"/>
                      <a:pt x="77" y="20"/>
                    </a:cubicBezTo>
                    <a:cubicBezTo>
                      <a:pt x="80" y="20"/>
                      <a:pt x="83" y="20"/>
                      <a:pt x="86" y="20"/>
                    </a:cubicBezTo>
                    <a:cubicBezTo>
                      <a:pt x="87" y="20"/>
                      <a:pt x="88" y="20"/>
                      <a:pt x="89" y="20"/>
                    </a:cubicBezTo>
                    <a:cubicBezTo>
                      <a:pt x="89" y="9"/>
                      <a:pt x="98" y="0"/>
                      <a:pt x="110" y="0"/>
                    </a:cubicBezTo>
                    <a:cubicBezTo>
                      <a:pt x="121" y="0"/>
                      <a:pt x="130" y="9"/>
                      <a:pt x="130" y="20"/>
                    </a:cubicBezTo>
                    <a:cubicBezTo>
                      <a:pt x="131" y="20"/>
                      <a:pt x="132" y="20"/>
                      <a:pt x="133" y="20"/>
                    </a:cubicBezTo>
                    <a:cubicBezTo>
                      <a:pt x="136" y="20"/>
                      <a:pt x="139" y="20"/>
                      <a:pt x="142" y="20"/>
                    </a:cubicBezTo>
                    <a:cubicBezTo>
                      <a:pt x="149" y="20"/>
                      <a:pt x="156" y="21"/>
                      <a:pt x="162" y="22"/>
                    </a:cubicBezTo>
                    <a:cubicBezTo>
                      <a:pt x="170" y="25"/>
                      <a:pt x="176" y="29"/>
                      <a:pt x="178" y="36"/>
                    </a:cubicBezTo>
                    <a:cubicBezTo>
                      <a:pt x="179" y="38"/>
                      <a:pt x="179" y="41"/>
                      <a:pt x="179" y="43"/>
                    </a:cubicBezTo>
                    <a:cubicBezTo>
                      <a:pt x="145" y="43"/>
                      <a:pt x="74" y="43"/>
                      <a:pt x="40" y="43"/>
                    </a:cubicBezTo>
                    <a:cubicBezTo>
                      <a:pt x="40" y="41"/>
                      <a:pt x="41" y="38"/>
                      <a:pt x="41" y="36"/>
                    </a:cubicBezTo>
                    <a:close/>
                    <a:moveTo>
                      <a:pt x="99" y="20"/>
                    </a:moveTo>
                    <a:cubicBezTo>
                      <a:pt x="103" y="20"/>
                      <a:pt x="106" y="20"/>
                      <a:pt x="110" y="20"/>
                    </a:cubicBezTo>
                    <a:cubicBezTo>
                      <a:pt x="113" y="20"/>
                      <a:pt x="116" y="20"/>
                      <a:pt x="120" y="20"/>
                    </a:cubicBezTo>
                    <a:cubicBezTo>
                      <a:pt x="119" y="15"/>
                      <a:pt x="115" y="11"/>
                      <a:pt x="110" y="11"/>
                    </a:cubicBezTo>
                    <a:cubicBezTo>
                      <a:pt x="104" y="11"/>
                      <a:pt x="100" y="15"/>
                      <a:pt x="99" y="20"/>
                    </a:cubicBezTo>
                    <a:close/>
                    <a:moveTo>
                      <a:pt x="190" y="269"/>
                    </a:moveTo>
                    <a:cubicBezTo>
                      <a:pt x="29" y="269"/>
                      <a:pt x="29" y="269"/>
                      <a:pt x="29" y="269"/>
                    </a:cubicBezTo>
                    <a:cubicBezTo>
                      <a:pt x="29" y="59"/>
                      <a:pt x="29" y="59"/>
                      <a:pt x="29" y="59"/>
                    </a:cubicBezTo>
                    <a:cubicBezTo>
                      <a:pt x="190" y="59"/>
                      <a:pt x="190" y="59"/>
                      <a:pt x="190" y="59"/>
                    </a:cubicBezTo>
                    <a:cubicBezTo>
                      <a:pt x="190" y="71"/>
                      <a:pt x="190" y="71"/>
                      <a:pt x="190" y="71"/>
                    </a:cubicBezTo>
                    <a:cubicBezTo>
                      <a:pt x="200" y="57"/>
                      <a:pt x="200" y="57"/>
                      <a:pt x="200" y="57"/>
                    </a:cubicBezTo>
                    <a:cubicBezTo>
                      <a:pt x="200" y="49"/>
                      <a:pt x="200" y="49"/>
                      <a:pt x="200" y="49"/>
                    </a:cubicBezTo>
                    <a:cubicBezTo>
                      <a:pt x="19" y="49"/>
                      <a:pt x="19" y="49"/>
                      <a:pt x="19" y="49"/>
                    </a:cubicBezTo>
                    <a:cubicBezTo>
                      <a:pt x="19" y="278"/>
                      <a:pt x="19" y="278"/>
                      <a:pt x="19" y="278"/>
                    </a:cubicBezTo>
                    <a:cubicBezTo>
                      <a:pt x="200" y="278"/>
                      <a:pt x="200" y="278"/>
                      <a:pt x="200" y="278"/>
                    </a:cubicBezTo>
                    <a:cubicBezTo>
                      <a:pt x="200" y="185"/>
                      <a:pt x="200" y="185"/>
                      <a:pt x="200" y="185"/>
                    </a:cubicBezTo>
                    <a:cubicBezTo>
                      <a:pt x="190" y="199"/>
                      <a:pt x="190" y="199"/>
                      <a:pt x="190" y="199"/>
                    </a:cubicBezTo>
                    <a:lnTo>
                      <a:pt x="190" y="269"/>
                    </a:lnTo>
                    <a:close/>
                    <a:moveTo>
                      <a:pt x="200" y="119"/>
                    </a:moveTo>
                    <a:cubicBezTo>
                      <a:pt x="190" y="133"/>
                      <a:pt x="190" y="133"/>
                      <a:pt x="190" y="133"/>
                    </a:cubicBezTo>
                    <a:cubicBezTo>
                      <a:pt x="190" y="138"/>
                      <a:pt x="190" y="138"/>
                      <a:pt x="190" y="138"/>
                    </a:cubicBezTo>
                    <a:cubicBezTo>
                      <a:pt x="200" y="124"/>
                      <a:pt x="200" y="124"/>
                      <a:pt x="200" y="124"/>
                    </a:cubicBezTo>
                    <a:lnTo>
                      <a:pt x="200" y="119"/>
                    </a:lnTo>
                    <a:close/>
                    <a:moveTo>
                      <a:pt x="215" y="35"/>
                    </a:moveTo>
                    <a:cubicBezTo>
                      <a:pt x="219" y="35"/>
                      <a:pt x="219" y="35"/>
                      <a:pt x="219" y="35"/>
                    </a:cubicBezTo>
                    <a:cubicBezTo>
                      <a:pt x="219" y="22"/>
                      <a:pt x="219" y="22"/>
                      <a:pt x="219" y="22"/>
                    </a:cubicBezTo>
                    <a:cubicBezTo>
                      <a:pt x="175" y="22"/>
                      <a:pt x="175" y="22"/>
                      <a:pt x="175" y="22"/>
                    </a:cubicBezTo>
                    <a:cubicBezTo>
                      <a:pt x="179" y="26"/>
                      <a:pt x="182" y="30"/>
                      <a:pt x="184" y="36"/>
                    </a:cubicBezTo>
                    <a:cubicBezTo>
                      <a:pt x="208" y="36"/>
                      <a:pt x="208" y="36"/>
                      <a:pt x="208" y="36"/>
                    </a:cubicBezTo>
                    <a:cubicBezTo>
                      <a:pt x="208" y="44"/>
                      <a:pt x="208" y="44"/>
                      <a:pt x="208" y="44"/>
                    </a:cubicBezTo>
                    <a:lnTo>
                      <a:pt x="215" y="35"/>
                    </a:lnTo>
                    <a:close/>
                    <a:moveTo>
                      <a:pt x="246" y="41"/>
                    </a:moveTo>
                    <a:cubicBezTo>
                      <a:pt x="182" y="134"/>
                      <a:pt x="182" y="134"/>
                      <a:pt x="182" y="134"/>
                    </a:cubicBezTo>
                    <a:cubicBezTo>
                      <a:pt x="155" y="134"/>
                      <a:pt x="155" y="134"/>
                      <a:pt x="155" y="134"/>
                    </a:cubicBezTo>
                    <a:cubicBezTo>
                      <a:pt x="129" y="92"/>
                      <a:pt x="129" y="92"/>
                      <a:pt x="129" y="92"/>
                    </a:cubicBezTo>
                    <a:cubicBezTo>
                      <a:pt x="156" y="92"/>
                      <a:pt x="156" y="92"/>
                      <a:pt x="156" y="92"/>
                    </a:cubicBezTo>
                    <a:cubicBezTo>
                      <a:pt x="169" y="113"/>
                      <a:pt x="169" y="113"/>
                      <a:pt x="169" y="113"/>
                    </a:cubicBezTo>
                    <a:cubicBezTo>
                      <a:pt x="218" y="41"/>
                      <a:pt x="218" y="41"/>
                      <a:pt x="218" y="41"/>
                    </a:cubicBezTo>
                    <a:lnTo>
                      <a:pt x="246" y="41"/>
                    </a:lnTo>
                    <a:close/>
                    <a:moveTo>
                      <a:pt x="246" y="107"/>
                    </a:moveTo>
                    <a:cubicBezTo>
                      <a:pt x="182" y="201"/>
                      <a:pt x="182" y="201"/>
                      <a:pt x="182" y="201"/>
                    </a:cubicBezTo>
                    <a:cubicBezTo>
                      <a:pt x="155" y="201"/>
                      <a:pt x="155" y="201"/>
                      <a:pt x="155" y="201"/>
                    </a:cubicBezTo>
                    <a:cubicBezTo>
                      <a:pt x="129" y="159"/>
                      <a:pt x="129" y="159"/>
                      <a:pt x="129" y="159"/>
                    </a:cubicBezTo>
                    <a:cubicBezTo>
                      <a:pt x="156" y="159"/>
                      <a:pt x="156" y="159"/>
                      <a:pt x="156" y="159"/>
                    </a:cubicBezTo>
                    <a:cubicBezTo>
                      <a:pt x="169" y="180"/>
                      <a:pt x="169" y="180"/>
                      <a:pt x="169" y="180"/>
                    </a:cubicBezTo>
                    <a:cubicBezTo>
                      <a:pt x="218" y="107"/>
                      <a:pt x="218" y="107"/>
                      <a:pt x="218" y="107"/>
                    </a:cubicBezTo>
                    <a:lnTo>
                      <a:pt x="246" y="107"/>
                    </a:lnTo>
                    <a:close/>
                  </a:path>
                </a:pathLst>
              </a:custGeom>
              <a:solidFill>
                <a:srgbClr val="002060"/>
              </a:solidFill>
              <a:ln>
                <a:noFill/>
              </a:ln>
            </p:spPr>
            <p:txBody>
              <a:bodyPr vert="horz" wrap="square" lIns="82305" tIns="41153" rIns="82305" bIns="4115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68" name="Freeform 111"/>
              <p:cNvSpPr>
                <a:spLocks noEditPoints="1"/>
              </p:cNvSpPr>
              <p:nvPr>
                <p:custDataLst>
                  <p:tags r:id="rId5"/>
                </p:custDataLst>
              </p:nvPr>
            </p:nvSpPr>
            <p:spPr bwMode="black">
              <a:xfrm>
                <a:off x="7457744" y="3097773"/>
                <a:ext cx="443004" cy="621991"/>
              </a:xfrm>
              <a:custGeom>
                <a:avLst/>
                <a:gdLst>
                  <a:gd name="T0" fmla="*/ 42 w 52"/>
                  <a:gd name="T1" fmla="*/ 37 h 72"/>
                  <a:gd name="T2" fmla="*/ 35 w 52"/>
                  <a:gd name="T3" fmla="*/ 32 h 72"/>
                  <a:gd name="T4" fmla="*/ 40 w 52"/>
                  <a:gd name="T5" fmla="*/ 27 h 72"/>
                  <a:gd name="T6" fmla="*/ 47 w 52"/>
                  <a:gd name="T7" fmla="*/ 32 h 72"/>
                  <a:gd name="T8" fmla="*/ 42 w 52"/>
                  <a:gd name="T9" fmla="*/ 52 h 72"/>
                  <a:gd name="T10" fmla="*/ 35 w 52"/>
                  <a:gd name="T11" fmla="*/ 47 h 72"/>
                  <a:gd name="T12" fmla="*/ 40 w 52"/>
                  <a:gd name="T13" fmla="*/ 42 h 72"/>
                  <a:gd name="T14" fmla="*/ 47 w 52"/>
                  <a:gd name="T15" fmla="*/ 46 h 72"/>
                  <a:gd name="T16" fmla="*/ 47 w 52"/>
                  <a:gd name="T17" fmla="*/ 61 h 72"/>
                  <a:gd name="T18" fmla="*/ 40 w 52"/>
                  <a:gd name="T19" fmla="*/ 66 h 72"/>
                  <a:gd name="T20" fmla="*/ 35 w 52"/>
                  <a:gd name="T21" fmla="*/ 61 h 72"/>
                  <a:gd name="T22" fmla="*/ 42 w 52"/>
                  <a:gd name="T23" fmla="*/ 56 h 72"/>
                  <a:gd name="T24" fmla="*/ 32 w 52"/>
                  <a:gd name="T25" fmla="*/ 32 h 72"/>
                  <a:gd name="T26" fmla="*/ 25 w 52"/>
                  <a:gd name="T27" fmla="*/ 37 h 72"/>
                  <a:gd name="T28" fmla="*/ 20 w 52"/>
                  <a:gd name="T29" fmla="*/ 32 h 72"/>
                  <a:gd name="T30" fmla="*/ 27 w 52"/>
                  <a:gd name="T31" fmla="*/ 27 h 72"/>
                  <a:gd name="T32" fmla="*/ 32 w 52"/>
                  <a:gd name="T33" fmla="*/ 47 h 72"/>
                  <a:gd name="T34" fmla="*/ 25 w 52"/>
                  <a:gd name="T35" fmla="*/ 52 h 72"/>
                  <a:gd name="T36" fmla="*/ 20 w 52"/>
                  <a:gd name="T37" fmla="*/ 46 h 72"/>
                  <a:gd name="T38" fmla="*/ 27 w 52"/>
                  <a:gd name="T39" fmla="*/ 42 h 72"/>
                  <a:gd name="T40" fmla="*/ 32 w 52"/>
                  <a:gd name="T41" fmla="*/ 47 h 72"/>
                  <a:gd name="T42" fmla="*/ 27 w 52"/>
                  <a:gd name="T43" fmla="*/ 66 h 72"/>
                  <a:gd name="T44" fmla="*/ 20 w 52"/>
                  <a:gd name="T45" fmla="*/ 61 h 72"/>
                  <a:gd name="T46" fmla="*/ 25 w 52"/>
                  <a:gd name="T47" fmla="*/ 56 h 72"/>
                  <a:gd name="T48" fmla="*/ 32 w 52"/>
                  <a:gd name="T49" fmla="*/ 61 h 72"/>
                  <a:gd name="T50" fmla="*/ 12 w 52"/>
                  <a:gd name="T51" fmla="*/ 37 h 72"/>
                  <a:gd name="T52" fmla="*/ 5 w 52"/>
                  <a:gd name="T53" fmla="*/ 32 h 72"/>
                  <a:gd name="T54" fmla="*/ 10 w 52"/>
                  <a:gd name="T55" fmla="*/ 27 h 72"/>
                  <a:gd name="T56" fmla="*/ 17 w 52"/>
                  <a:gd name="T57" fmla="*/ 32 h 72"/>
                  <a:gd name="T58" fmla="*/ 12 w 52"/>
                  <a:gd name="T59" fmla="*/ 52 h 72"/>
                  <a:gd name="T60" fmla="*/ 5 w 52"/>
                  <a:gd name="T61" fmla="*/ 47 h 72"/>
                  <a:gd name="T62" fmla="*/ 10 w 52"/>
                  <a:gd name="T63" fmla="*/ 42 h 72"/>
                  <a:gd name="T64" fmla="*/ 17 w 52"/>
                  <a:gd name="T65" fmla="*/ 46 h 72"/>
                  <a:gd name="T66" fmla="*/ 17 w 52"/>
                  <a:gd name="T67" fmla="*/ 61 h 72"/>
                  <a:gd name="T68" fmla="*/ 10 w 52"/>
                  <a:gd name="T69" fmla="*/ 66 h 72"/>
                  <a:gd name="T70" fmla="*/ 5 w 52"/>
                  <a:gd name="T71" fmla="*/ 61 h 72"/>
                  <a:gd name="T72" fmla="*/ 12 w 52"/>
                  <a:gd name="T73" fmla="*/ 56 h 72"/>
                  <a:gd name="T74" fmla="*/ 6 w 52"/>
                  <a:gd name="T75" fmla="*/ 11 h 72"/>
                  <a:gd name="T76" fmla="*/ 42 w 52"/>
                  <a:gd name="T77" fmla="*/ 7 h 72"/>
                  <a:gd name="T78" fmla="*/ 46 w 52"/>
                  <a:gd name="T79" fmla="*/ 16 h 72"/>
                  <a:gd name="T80" fmla="*/ 10 w 52"/>
                  <a:gd name="T81" fmla="*/ 20 h 72"/>
                  <a:gd name="T82" fmla="*/ 6 w 52"/>
                  <a:gd name="T83" fmla="*/ 11 h 72"/>
                  <a:gd name="T84" fmla="*/ 0 w 52"/>
                  <a:gd name="T85" fmla="*/ 5 h 72"/>
                  <a:gd name="T86" fmla="*/ 5 w 52"/>
                  <a:gd name="T87" fmla="*/ 72 h 72"/>
                  <a:gd name="T88" fmla="*/ 52 w 52"/>
                  <a:gd name="T89" fmla="*/ 67 h 72"/>
                  <a:gd name="T90" fmla="*/ 47 w 52"/>
                  <a:gd name="T91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52" h="72">
                    <a:moveTo>
                      <a:pt x="47" y="32"/>
                    </a:moveTo>
                    <a:cubicBezTo>
                      <a:pt x="47" y="35"/>
                      <a:pt x="45" y="37"/>
                      <a:pt x="42" y="37"/>
                    </a:cubicBezTo>
                    <a:cubicBezTo>
                      <a:pt x="40" y="37"/>
                      <a:pt x="40" y="37"/>
                      <a:pt x="40" y="37"/>
                    </a:cubicBezTo>
                    <a:cubicBezTo>
                      <a:pt x="38" y="37"/>
                      <a:pt x="35" y="35"/>
                      <a:pt x="35" y="32"/>
                    </a:cubicBezTo>
                    <a:cubicBezTo>
                      <a:pt x="35" y="32"/>
                      <a:pt x="35" y="32"/>
                      <a:pt x="35" y="32"/>
                    </a:cubicBezTo>
                    <a:cubicBezTo>
                      <a:pt x="35" y="29"/>
                      <a:pt x="38" y="27"/>
                      <a:pt x="40" y="27"/>
                    </a:cubicBezTo>
                    <a:cubicBezTo>
                      <a:pt x="42" y="27"/>
                      <a:pt x="42" y="27"/>
                      <a:pt x="42" y="27"/>
                    </a:cubicBezTo>
                    <a:cubicBezTo>
                      <a:pt x="45" y="27"/>
                      <a:pt x="47" y="29"/>
                      <a:pt x="47" y="32"/>
                    </a:cubicBezTo>
                    <a:close/>
                    <a:moveTo>
                      <a:pt x="47" y="47"/>
                    </a:moveTo>
                    <a:cubicBezTo>
                      <a:pt x="47" y="49"/>
                      <a:pt x="45" y="52"/>
                      <a:pt x="42" y="52"/>
                    </a:cubicBezTo>
                    <a:cubicBezTo>
                      <a:pt x="40" y="52"/>
                      <a:pt x="40" y="52"/>
                      <a:pt x="40" y="52"/>
                    </a:cubicBezTo>
                    <a:cubicBezTo>
                      <a:pt x="38" y="52"/>
                      <a:pt x="35" y="49"/>
                      <a:pt x="35" y="47"/>
                    </a:cubicBezTo>
                    <a:cubicBezTo>
                      <a:pt x="35" y="46"/>
                      <a:pt x="35" y="46"/>
                      <a:pt x="35" y="46"/>
                    </a:cubicBezTo>
                    <a:cubicBezTo>
                      <a:pt x="35" y="44"/>
                      <a:pt x="38" y="42"/>
                      <a:pt x="40" y="42"/>
                    </a:cubicBezTo>
                    <a:cubicBezTo>
                      <a:pt x="42" y="42"/>
                      <a:pt x="42" y="42"/>
                      <a:pt x="42" y="42"/>
                    </a:cubicBezTo>
                    <a:cubicBezTo>
                      <a:pt x="45" y="42"/>
                      <a:pt x="47" y="44"/>
                      <a:pt x="47" y="46"/>
                    </a:cubicBezTo>
                    <a:lnTo>
                      <a:pt x="47" y="47"/>
                    </a:lnTo>
                    <a:close/>
                    <a:moveTo>
                      <a:pt x="47" y="61"/>
                    </a:moveTo>
                    <a:cubicBezTo>
                      <a:pt x="47" y="64"/>
                      <a:pt x="45" y="66"/>
                      <a:pt x="42" y="66"/>
                    </a:cubicBezTo>
                    <a:cubicBezTo>
                      <a:pt x="40" y="66"/>
                      <a:pt x="40" y="66"/>
                      <a:pt x="40" y="66"/>
                    </a:cubicBezTo>
                    <a:cubicBezTo>
                      <a:pt x="38" y="66"/>
                      <a:pt x="35" y="64"/>
                      <a:pt x="35" y="61"/>
                    </a:cubicBezTo>
                    <a:cubicBezTo>
                      <a:pt x="35" y="61"/>
                      <a:pt x="35" y="61"/>
                      <a:pt x="35" y="61"/>
                    </a:cubicBezTo>
                    <a:cubicBezTo>
                      <a:pt x="35" y="58"/>
                      <a:pt x="38" y="56"/>
                      <a:pt x="40" y="56"/>
                    </a:cubicBezTo>
                    <a:cubicBezTo>
                      <a:pt x="42" y="56"/>
                      <a:pt x="42" y="56"/>
                      <a:pt x="42" y="56"/>
                    </a:cubicBezTo>
                    <a:cubicBezTo>
                      <a:pt x="45" y="56"/>
                      <a:pt x="47" y="58"/>
                      <a:pt x="47" y="61"/>
                    </a:cubicBezTo>
                    <a:close/>
                    <a:moveTo>
                      <a:pt x="32" y="32"/>
                    </a:moveTo>
                    <a:cubicBezTo>
                      <a:pt x="32" y="35"/>
                      <a:pt x="30" y="37"/>
                      <a:pt x="27" y="37"/>
                    </a:cubicBezTo>
                    <a:cubicBezTo>
                      <a:pt x="25" y="37"/>
                      <a:pt x="25" y="37"/>
                      <a:pt x="25" y="37"/>
                    </a:cubicBezTo>
                    <a:cubicBezTo>
                      <a:pt x="23" y="37"/>
                      <a:pt x="20" y="35"/>
                      <a:pt x="20" y="32"/>
                    </a:cubicBezTo>
                    <a:cubicBezTo>
                      <a:pt x="20" y="32"/>
                      <a:pt x="20" y="32"/>
                      <a:pt x="20" y="32"/>
                    </a:cubicBezTo>
                    <a:cubicBezTo>
                      <a:pt x="20" y="29"/>
                      <a:pt x="23" y="27"/>
                      <a:pt x="25" y="27"/>
                    </a:cubicBezTo>
                    <a:cubicBezTo>
                      <a:pt x="27" y="27"/>
                      <a:pt x="27" y="27"/>
                      <a:pt x="27" y="27"/>
                    </a:cubicBezTo>
                    <a:cubicBezTo>
                      <a:pt x="30" y="27"/>
                      <a:pt x="32" y="29"/>
                      <a:pt x="32" y="32"/>
                    </a:cubicBezTo>
                    <a:close/>
                    <a:moveTo>
                      <a:pt x="32" y="47"/>
                    </a:moveTo>
                    <a:cubicBezTo>
                      <a:pt x="32" y="49"/>
                      <a:pt x="30" y="52"/>
                      <a:pt x="27" y="52"/>
                    </a:cubicBezTo>
                    <a:cubicBezTo>
                      <a:pt x="25" y="52"/>
                      <a:pt x="25" y="52"/>
                      <a:pt x="25" y="52"/>
                    </a:cubicBezTo>
                    <a:cubicBezTo>
                      <a:pt x="23" y="52"/>
                      <a:pt x="20" y="49"/>
                      <a:pt x="20" y="47"/>
                    </a:cubicBezTo>
                    <a:cubicBezTo>
                      <a:pt x="20" y="46"/>
                      <a:pt x="20" y="46"/>
                      <a:pt x="20" y="46"/>
                    </a:cubicBezTo>
                    <a:cubicBezTo>
                      <a:pt x="20" y="44"/>
                      <a:pt x="23" y="42"/>
                      <a:pt x="25" y="42"/>
                    </a:cubicBezTo>
                    <a:cubicBezTo>
                      <a:pt x="27" y="42"/>
                      <a:pt x="27" y="42"/>
                      <a:pt x="27" y="42"/>
                    </a:cubicBezTo>
                    <a:cubicBezTo>
                      <a:pt x="30" y="42"/>
                      <a:pt x="32" y="44"/>
                      <a:pt x="32" y="46"/>
                    </a:cubicBezTo>
                    <a:lnTo>
                      <a:pt x="32" y="47"/>
                    </a:lnTo>
                    <a:close/>
                    <a:moveTo>
                      <a:pt x="32" y="61"/>
                    </a:moveTo>
                    <a:cubicBezTo>
                      <a:pt x="32" y="64"/>
                      <a:pt x="30" y="66"/>
                      <a:pt x="27" y="66"/>
                    </a:cubicBezTo>
                    <a:cubicBezTo>
                      <a:pt x="25" y="66"/>
                      <a:pt x="25" y="66"/>
                      <a:pt x="25" y="66"/>
                    </a:cubicBezTo>
                    <a:cubicBezTo>
                      <a:pt x="23" y="66"/>
                      <a:pt x="20" y="64"/>
                      <a:pt x="20" y="61"/>
                    </a:cubicBezTo>
                    <a:cubicBezTo>
                      <a:pt x="20" y="61"/>
                      <a:pt x="20" y="61"/>
                      <a:pt x="20" y="61"/>
                    </a:cubicBezTo>
                    <a:cubicBezTo>
                      <a:pt x="20" y="58"/>
                      <a:pt x="23" y="56"/>
                      <a:pt x="25" y="56"/>
                    </a:cubicBezTo>
                    <a:cubicBezTo>
                      <a:pt x="27" y="56"/>
                      <a:pt x="27" y="56"/>
                      <a:pt x="27" y="56"/>
                    </a:cubicBezTo>
                    <a:cubicBezTo>
                      <a:pt x="30" y="56"/>
                      <a:pt x="32" y="58"/>
                      <a:pt x="32" y="61"/>
                    </a:cubicBezTo>
                    <a:close/>
                    <a:moveTo>
                      <a:pt x="17" y="32"/>
                    </a:moveTo>
                    <a:cubicBezTo>
                      <a:pt x="17" y="35"/>
                      <a:pt x="15" y="37"/>
                      <a:pt x="12" y="37"/>
                    </a:cubicBezTo>
                    <a:cubicBezTo>
                      <a:pt x="10" y="37"/>
                      <a:pt x="10" y="37"/>
                      <a:pt x="10" y="37"/>
                    </a:cubicBezTo>
                    <a:cubicBezTo>
                      <a:pt x="7" y="37"/>
                      <a:pt x="5" y="35"/>
                      <a:pt x="5" y="32"/>
                    </a:cubicBezTo>
                    <a:cubicBezTo>
                      <a:pt x="5" y="32"/>
                      <a:pt x="5" y="32"/>
                      <a:pt x="5" y="32"/>
                    </a:cubicBezTo>
                    <a:cubicBezTo>
                      <a:pt x="5" y="29"/>
                      <a:pt x="7" y="27"/>
                      <a:pt x="10" y="27"/>
                    </a:cubicBezTo>
                    <a:cubicBezTo>
                      <a:pt x="12" y="27"/>
                      <a:pt x="12" y="27"/>
                      <a:pt x="12" y="27"/>
                    </a:cubicBezTo>
                    <a:cubicBezTo>
                      <a:pt x="15" y="27"/>
                      <a:pt x="17" y="29"/>
                      <a:pt x="17" y="32"/>
                    </a:cubicBezTo>
                    <a:close/>
                    <a:moveTo>
                      <a:pt x="17" y="47"/>
                    </a:moveTo>
                    <a:cubicBezTo>
                      <a:pt x="17" y="49"/>
                      <a:pt x="15" y="52"/>
                      <a:pt x="12" y="52"/>
                    </a:cubicBezTo>
                    <a:cubicBezTo>
                      <a:pt x="10" y="52"/>
                      <a:pt x="10" y="52"/>
                      <a:pt x="10" y="52"/>
                    </a:cubicBezTo>
                    <a:cubicBezTo>
                      <a:pt x="7" y="52"/>
                      <a:pt x="5" y="49"/>
                      <a:pt x="5" y="47"/>
                    </a:cubicBezTo>
                    <a:cubicBezTo>
                      <a:pt x="5" y="46"/>
                      <a:pt x="5" y="46"/>
                      <a:pt x="5" y="46"/>
                    </a:cubicBezTo>
                    <a:cubicBezTo>
                      <a:pt x="5" y="44"/>
                      <a:pt x="7" y="42"/>
                      <a:pt x="10" y="42"/>
                    </a:cubicBezTo>
                    <a:cubicBezTo>
                      <a:pt x="12" y="42"/>
                      <a:pt x="12" y="42"/>
                      <a:pt x="12" y="42"/>
                    </a:cubicBezTo>
                    <a:cubicBezTo>
                      <a:pt x="15" y="42"/>
                      <a:pt x="17" y="44"/>
                      <a:pt x="17" y="46"/>
                    </a:cubicBezTo>
                    <a:lnTo>
                      <a:pt x="17" y="47"/>
                    </a:lnTo>
                    <a:close/>
                    <a:moveTo>
                      <a:pt x="17" y="61"/>
                    </a:moveTo>
                    <a:cubicBezTo>
                      <a:pt x="17" y="64"/>
                      <a:pt x="15" y="66"/>
                      <a:pt x="12" y="66"/>
                    </a:cubicBezTo>
                    <a:cubicBezTo>
                      <a:pt x="10" y="66"/>
                      <a:pt x="10" y="66"/>
                      <a:pt x="10" y="66"/>
                    </a:cubicBezTo>
                    <a:cubicBezTo>
                      <a:pt x="7" y="66"/>
                      <a:pt x="5" y="64"/>
                      <a:pt x="5" y="61"/>
                    </a:cubicBezTo>
                    <a:cubicBezTo>
                      <a:pt x="5" y="61"/>
                      <a:pt x="5" y="61"/>
                      <a:pt x="5" y="61"/>
                    </a:cubicBezTo>
                    <a:cubicBezTo>
                      <a:pt x="5" y="58"/>
                      <a:pt x="7" y="56"/>
                      <a:pt x="10" y="56"/>
                    </a:cubicBezTo>
                    <a:cubicBezTo>
                      <a:pt x="12" y="56"/>
                      <a:pt x="12" y="56"/>
                      <a:pt x="12" y="56"/>
                    </a:cubicBezTo>
                    <a:cubicBezTo>
                      <a:pt x="15" y="56"/>
                      <a:pt x="17" y="58"/>
                      <a:pt x="17" y="61"/>
                    </a:cubicBezTo>
                    <a:close/>
                    <a:moveTo>
                      <a:pt x="6" y="11"/>
                    </a:moveTo>
                    <a:cubicBezTo>
                      <a:pt x="6" y="9"/>
                      <a:pt x="8" y="7"/>
                      <a:pt x="10" y="7"/>
                    </a:cubicBezTo>
                    <a:cubicBezTo>
                      <a:pt x="42" y="7"/>
                      <a:pt x="42" y="7"/>
                      <a:pt x="42" y="7"/>
                    </a:cubicBezTo>
                    <a:cubicBezTo>
                      <a:pt x="44" y="7"/>
                      <a:pt x="46" y="9"/>
                      <a:pt x="46" y="11"/>
                    </a:cubicBezTo>
                    <a:cubicBezTo>
                      <a:pt x="46" y="16"/>
                      <a:pt x="46" y="16"/>
                      <a:pt x="46" y="16"/>
                    </a:cubicBezTo>
                    <a:cubicBezTo>
                      <a:pt x="46" y="18"/>
                      <a:pt x="44" y="20"/>
                      <a:pt x="42" y="20"/>
                    </a:cubicBezTo>
                    <a:cubicBezTo>
                      <a:pt x="10" y="20"/>
                      <a:pt x="10" y="20"/>
                      <a:pt x="10" y="20"/>
                    </a:cubicBezTo>
                    <a:cubicBezTo>
                      <a:pt x="8" y="20"/>
                      <a:pt x="6" y="18"/>
                      <a:pt x="6" y="16"/>
                    </a:cubicBezTo>
                    <a:lnTo>
                      <a:pt x="6" y="11"/>
                    </a:lnTo>
                    <a:close/>
                    <a:moveTo>
                      <a:pt x="5" y="0"/>
                    </a:moveTo>
                    <a:cubicBezTo>
                      <a:pt x="2" y="0"/>
                      <a:pt x="0" y="2"/>
                      <a:pt x="0" y="5"/>
                    </a:cubicBezTo>
                    <a:cubicBezTo>
                      <a:pt x="0" y="67"/>
                      <a:pt x="0" y="67"/>
                      <a:pt x="0" y="67"/>
                    </a:cubicBezTo>
                    <a:cubicBezTo>
                      <a:pt x="0" y="70"/>
                      <a:pt x="2" y="72"/>
                      <a:pt x="5" y="72"/>
                    </a:cubicBezTo>
                    <a:cubicBezTo>
                      <a:pt x="47" y="72"/>
                      <a:pt x="47" y="72"/>
                      <a:pt x="47" y="72"/>
                    </a:cubicBezTo>
                    <a:cubicBezTo>
                      <a:pt x="50" y="72"/>
                      <a:pt x="52" y="70"/>
                      <a:pt x="52" y="67"/>
                    </a:cubicBezTo>
                    <a:cubicBezTo>
                      <a:pt x="52" y="5"/>
                      <a:pt x="52" y="5"/>
                      <a:pt x="52" y="5"/>
                    </a:cubicBezTo>
                    <a:cubicBezTo>
                      <a:pt x="52" y="2"/>
                      <a:pt x="50" y="0"/>
                      <a:pt x="47" y="0"/>
                    </a:cubicBez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00206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Segoe UI" pitchFamily="34" charset="0"/>
                </a:endParaRPr>
              </a:p>
            </p:txBody>
          </p:sp>
          <p:grpSp>
            <p:nvGrpSpPr>
              <p:cNvPr id="169" name="Group 168"/>
              <p:cNvGrpSpPr/>
              <p:nvPr/>
            </p:nvGrpSpPr>
            <p:grpSpPr>
              <a:xfrm>
                <a:off x="8485025" y="3043399"/>
                <a:ext cx="591244" cy="745937"/>
                <a:chOff x="5198694" y="4076897"/>
                <a:chExt cx="781848" cy="986408"/>
              </a:xfrm>
              <a:solidFill>
                <a:schemeClr val="accent5"/>
              </a:solidFill>
            </p:grpSpPr>
            <p:sp>
              <p:nvSpPr>
                <p:cNvPr id="170" name="Round Diagonal Corner Rectangle 53"/>
                <p:cNvSpPr/>
                <p:nvPr/>
              </p:nvSpPr>
              <p:spPr bwMode="auto">
                <a:xfrm flipH="1">
                  <a:off x="5198694" y="4493626"/>
                  <a:ext cx="483360" cy="56967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3579" h="869149">
                      <a:moveTo>
                        <a:pt x="571357" y="554693"/>
                      </a:moveTo>
                      <a:lnTo>
                        <a:pt x="490282" y="554693"/>
                      </a:lnTo>
                      <a:lnTo>
                        <a:pt x="490282" y="646768"/>
                      </a:lnTo>
                      <a:lnTo>
                        <a:pt x="571357" y="646768"/>
                      </a:lnTo>
                      <a:close/>
                      <a:moveTo>
                        <a:pt x="461391" y="507069"/>
                      </a:moveTo>
                      <a:lnTo>
                        <a:pt x="380316" y="507069"/>
                      </a:lnTo>
                      <a:lnTo>
                        <a:pt x="380316" y="646769"/>
                      </a:lnTo>
                      <a:lnTo>
                        <a:pt x="461391" y="646769"/>
                      </a:lnTo>
                      <a:close/>
                      <a:moveTo>
                        <a:pt x="332582" y="465793"/>
                      </a:moveTo>
                      <a:lnTo>
                        <a:pt x="251507" y="465793"/>
                      </a:lnTo>
                      <a:lnTo>
                        <a:pt x="251507" y="646769"/>
                      </a:lnTo>
                      <a:lnTo>
                        <a:pt x="332582" y="646769"/>
                      </a:lnTo>
                      <a:close/>
                      <a:moveTo>
                        <a:pt x="224782" y="402293"/>
                      </a:moveTo>
                      <a:lnTo>
                        <a:pt x="143707" y="402293"/>
                      </a:lnTo>
                      <a:lnTo>
                        <a:pt x="143707" y="646769"/>
                      </a:lnTo>
                      <a:lnTo>
                        <a:pt x="224782" y="646769"/>
                      </a:lnTo>
                      <a:close/>
                      <a:moveTo>
                        <a:pt x="619112" y="392728"/>
                      </a:moveTo>
                      <a:lnTo>
                        <a:pt x="599796" y="392728"/>
                      </a:lnTo>
                      <a:lnTo>
                        <a:pt x="599796" y="682461"/>
                      </a:lnTo>
                      <a:lnTo>
                        <a:pt x="97594" y="682461"/>
                      </a:lnTo>
                      <a:lnTo>
                        <a:pt x="97594" y="701776"/>
                      </a:lnTo>
                      <a:lnTo>
                        <a:pt x="599796" y="701776"/>
                      </a:lnTo>
                      <a:lnTo>
                        <a:pt x="619112" y="701776"/>
                      </a:lnTo>
                      <a:close/>
                      <a:moveTo>
                        <a:pt x="484773" y="53349"/>
                      </a:moveTo>
                      <a:lnTo>
                        <a:pt x="484773" y="207815"/>
                      </a:lnTo>
                      <a:cubicBezTo>
                        <a:pt x="484773" y="232329"/>
                        <a:pt x="504646" y="252202"/>
                        <a:pt x="529160" y="252202"/>
                      </a:cubicBezTo>
                      <a:lnTo>
                        <a:pt x="708106" y="252202"/>
                      </a:lnTo>
                      <a:lnTo>
                        <a:pt x="708106" y="745273"/>
                      </a:lnTo>
                      <a:cubicBezTo>
                        <a:pt x="708106" y="783294"/>
                        <a:pt x="693239" y="820913"/>
                        <a:pt x="640735" y="814115"/>
                      </a:cubicBezTo>
                      <a:lnTo>
                        <a:pt x="55474" y="814115"/>
                      </a:lnTo>
                      <a:lnTo>
                        <a:pt x="55474" y="123876"/>
                      </a:lnTo>
                      <a:cubicBezTo>
                        <a:pt x="57174" y="63762"/>
                        <a:pt x="85638" y="55035"/>
                        <a:pt x="122845" y="55035"/>
                      </a:cubicBezTo>
                      <a:close/>
                      <a:moveTo>
                        <a:pt x="523460" y="0"/>
                      </a:moveTo>
                      <a:lnTo>
                        <a:pt x="78824" y="0"/>
                      </a:lnTo>
                      <a:cubicBezTo>
                        <a:pt x="35291" y="0"/>
                        <a:pt x="0" y="35291"/>
                        <a:pt x="0" y="78824"/>
                      </a:cubicBezTo>
                      <a:lnTo>
                        <a:pt x="0" y="869149"/>
                      </a:lnTo>
                      <a:lnTo>
                        <a:pt x="684755" y="869149"/>
                      </a:lnTo>
                      <a:cubicBezTo>
                        <a:pt x="728288" y="869149"/>
                        <a:pt x="763579" y="833858"/>
                        <a:pt x="763579" y="790325"/>
                      </a:cubicBezTo>
                      <a:lnTo>
                        <a:pt x="763579" y="221649"/>
                      </a:lnTo>
                      <a:close/>
                    </a:path>
                  </a:pathLst>
                </a:custGeom>
                <a:solidFill>
                  <a:srgbClr val="002060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pc="-5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71" name="Round Diagonal Corner Rectangle 53"/>
                <p:cNvSpPr/>
                <p:nvPr/>
              </p:nvSpPr>
              <p:spPr bwMode="auto">
                <a:xfrm flipH="1">
                  <a:off x="5497182" y="4076897"/>
                  <a:ext cx="483360" cy="56967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07402" h="2057288">
                      <a:moveTo>
                        <a:pt x="1239037" y="0"/>
                      </a:moveTo>
                      <a:lnTo>
                        <a:pt x="186578" y="0"/>
                      </a:lnTo>
                      <a:cubicBezTo>
                        <a:pt x="83534" y="0"/>
                        <a:pt x="0" y="83534"/>
                        <a:pt x="0" y="186578"/>
                      </a:cubicBezTo>
                      <a:lnTo>
                        <a:pt x="0" y="2057288"/>
                      </a:lnTo>
                      <a:lnTo>
                        <a:pt x="1048051" y="2057288"/>
                      </a:lnTo>
                      <a:lnTo>
                        <a:pt x="1048051" y="1927022"/>
                      </a:lnTo>
                      <a:lnTo>
                        <a:pt x="131307" y="1927022"/>
                      </a:lnTo>
                      <a:lnTo>
                        <a:pt x="131307" y="293216"/>
                      </a:lnTo>
                      <a:cubicBezTo>
                        <a:pt x="135330" y="150924"/>
                        <a:pt x="202705" y="130266"/>
                        <a:pt x="290775" y="130266"/>
                      </a:cubicBezTo>
                      <a:lnTo>
                        <a:pt x="1147463" y="126278"/>
                      </a:lnTo>
                      <a:lnTo>
                        <a:pt x="1147463" y="491900"/>
                      </a:lnTo>
                      <a:cubicBezTo>
                        <a:pt x="1147463" y="549925"/>
                        <a:pt x="1194503" y="596965"/>
                        <a:pt x="1252529" y="596965"/>
                      </a:cubicBezTo>
                      <a:lnTo>
                        <a:pt x="1676095" y="596965"/>
                      </a:lnTo>
                      <a:lnTo>
                        <a:pt x="1676095" y="1432513"/>
                      </a:lnTo>
                      <a:lnTo>
                        <a:pt x="1807402" y="1432513"/>
                      </a:lnTo>
                      <a:lnTo>
                        <a:pt x="1807402" y="524645"/>
                      </a:lnTo>
                      <a:close/>
                    </a:path>
                  </a:pathLst>
                </a:custGeom>
                <a:solidFill>
                  <a:srgbClr val="002060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pc="-5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72" name="Pie 171"/>
                <p:cNvSpPr/>
                <p:nvPr/>
              </p:nvSpPr>
              <p:spPr bwMode="auto">
                <a:xfrm rot="2645716">
                  <a:off x="5638540" y="4237692"/>
                  <a:ext cx="266697" cy="277381"/>
                </a:xfrm>
                <a:prstGeom prst="pie">
                  <a:avLst>
                    <a:gd name="adj1" fmla="val 10893733"/>
                    <a:gd name="adj2" fmla="val 16200000"/>
                  </a:avLst>
                </a:prstGeom>
                <a:solidFill>
                  <a:srgbClr val="002060"/>
                </a:solidFill>
                <a:ln w="9525">
                  <a:noFill/>
                  <a:headEnd type="none" w="med" len="med"/>
                  <a:tailEnd type="none" w="med" len="me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spc="-50" dirty="0" smtClean="0">
                    <a:gradFill>
                      <a:gsLst>
                        <a:gs pos="0">
                          <a:schemeClr val="bg1"/>
                        </a:gs>
                        <a:gs pos="100000">
                          <a:schemeClr val="bg1"/>
                        </a:gs>
                      </a:gsLst>
                      <a:lin ang="5400000" scaled="0"/>
                    </a:gradFill>
                    <a:latin typeface="Segoe UI" pitchFamily="34" charset="0"/>
                  </a:endParaRPr>
                </a:p>
              </p:txBody>
            </p:sp>
            <p:sp>
              <p:nvSpPr>
                <p:cNvPr id="173" name="Pie 16"/>
                <p:cNvSpPr/>
                <p:nvPr/>
              </p:nvSpPr>
              <p:spPr bwMode="auto">
                <a:xfrm rot="8011106">
                  <a:off x="5618712" y="4247365"/>
                  <a:ext cx="300385" cy="28574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84781" h="1068465">
                      <a:moveTo>
                        <a:pt x="0" y="487259"/>
                      </a:moveTo>
                      <a:cubicBezTo>
                        <a:pt x="7331" y="216040"/>
                        <a:pt x="228328" y="0"/>
                        <a:pt x="498439" y="0"/>
                      </a:cubicBezTo>
                      <a:lnTo>
                        <a:pt x="498438" y="500853"/>
                      </a:lnTo>
                      <a:close/>
                      <a:moveTo>
                        <a:pt x="545591" y="1068403"/>
                      </a:moveTo>
                      <a:lnTo>
                        <a:pt x="553690" y="539737"/>
                      </a:lnTo>
                      <a:lnTo>
                        <a:pt x="559013" y="11038"/>
                      </a:lnTo>
                      <a:cubicBezTo>
                        <a:pt x="748709" y="12948"/>
                        <a:pt x="922988" y="115446"/>
                        <a:pt x="1016219" y="279936"/>
                      </a:cubicBezTo>
                      <a:cubicBezTo>
                        <a:pt x="1109993" y="445380"/>
                        <a:pt x="1107415" y="648180"/>
                        <a:pt x="1009466" y="811191"/>
                      </a:cubicBezTo>
                      <a:cubicBezTo>
                        <a:pt x="912088" y="973256"/>
                        <a:pt x="735269" y="1071300"/>
                        <a:pt x="545591" y="1068403"/>
                      </a:cubicBezTo>
                      <a:close/>
                    </a:path>
                  </a:pathLst>
                </a:custGeom>
                <a:solidFill>
                  <a:srgbClr val="002060"/>
                </a:solidFill>
                <a:ln>
                  <a:noFill/>
                  <a:headEnd type="none" w="med" len="med"/>
                  <a:tailEnd type="none" w="med" len="me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spc="-50" dirty="0" smtClean="0">
                    <a:gradFill>
                      <a:gsLst>
                        <a:gs pos="0">
                          <a:schemeClr val="bg1"/>
                        </a:gs>
                        <a:gs pos="100000">
                          <a:schemeClr val="bg1"/>
                        </a:gs>
                      </a:gsLst>
                      <a:lin ang="5400000" scaled="0"/>
                    </a:gradFill>
                    <a:latin typeface="Segoe UI" pitchFamily="34" charset="0"/>
                  </a:endParaRPr>
                </a:p>
              </p:txBody>
            </p:sp>
          </p:grpSp>
          <p:grpSp>
            <p:nvGrpSpPr>
              <p:cNvPr id="244" name="Group 243"/>
              <p:cNvGrpSpPr/>
              <p:nvPr/>
            </p:nvGrpSpPr>
            <p:grpSpPr>
              <a:xfrm>
                <a:off x="7717092" y="2165089"/>
                <a:ext cx="931983" cy="931983"/>
                <a:chOff x="5246514" y="4540227"/>
                <a:chExt cx="931983" cy="931983"/>
              </a:xfrm>
              <a:solidFill>
                <a:srgbClr val="002060"/>
              </a:solidFill>
            </p:grpSpPr>
            <p:sp>
              <p:nvSpPr>
                <p:cNvPr id="175" name="Freeform 52"/>
                <p:cNvSpPr>
                  <a:spLocks noEditPoints="1"/>
                </p:cNvSpPr>
                <p:nvPr/>
              </p:nvSpPr>
              <p:spPr bwMode="auto">
                <a:xfrm>
                  <a:off x="5615881" y="4572074"/>
                  <a:ext cx="39594" cy="62437"/>
                </a:xfrm>
                <a:custGeom>
                  <a:avLst/>
                  <a:gdLst>
                    <a:gd name="T0" fmla="*/ 8 w 52"/>
                    <a:gd name="T1" fmla="*/ 8 h 82"/>
                    <a:gd name="T2" fmla="*/ 8 w 52"/>
                    <a:gd name="T3" fmla="*/ 8 h 82"/>
                    <a:gd name="T4" fmla="*/ 4 w 52"/>
                    <a:gd name="T5" fmla="*/ 14 h 82"/>
                    <a:gd name="T6" fmla="*/ 2 w 52"/>
                    <a:gd name="T7" fmla="*/ 20 h 82"/>
                    <a:gd name="T8" fmla="*/ 0 w 52"/>
                    <a:gd name="T9" fmla="*/ 40 h 82"/>
                    <a:gd name="T10" fmla="*/ 0 w 52"/>
                    <a:gd name="T11" fmla="*/ 40 h 82"/>
                    <a:gd name="T12" fmla="*/ 2 w 52"/>
                    <a:gd name="T13" fmla="*/ 60 h 82"/>
                    <a:gd name="T14" fmla="*/ 4 w 52"/>
                    <a:gd name="T15" fmla="*/ 66 h 82"/>
                    <a:gd name="T16" fmla="*/ 8 w 52"/>
                    <a:gd name="T17" fmla="*/ 72 h 82"/>
                    <a:gd name="T18" fmla="*/ 8 w 52"/>
                    <a:gd name="T19" fmla="*/ 72 h 82"/>
                    <a:gd name="T20" fmla="*/ 12 w 52"/>
                    <a:gd name="T21" fmla="*/ 76 h 82"/>
                    <a:gd name="T22" fmla="*/ 16 w 52"/>
                    <a:gd name="T23" fmla="*/ 78 h 82"/>
                    <a:gd name="T24" fmla="*/ 20 w 52"/>
                    <a:gd name="T25" fmla="*/ 80 h 82"/>
                    <a:gd name="T26" fmla="*/ 26 w 52"/>
                    <a:gd name="T27" fmla="*/ 82 h 82"/>
                    <a:gd name="T28" fmla="*/ 26 w 52"/>
                    <a:gd name="T29" fmla="*/ 82 h 82"/>
                    <a:gd name="T30" fmla="*/ 36 w 52"/>
                    <a:gd name="T31" fmla="*/ 80 h 82"/>
                    <a:gd name="T32" fmla="*/ 40 w 52"/>
                    <a:gd name="T33" fmla="*/ 76 h 82"/>
                    <a:gd name="T34" fmla="*/ 44 w 52"/>
                    <a:gd name="T35" fmla="*/ 72 h 82"/>
                    <a:gd name="T36" fmla="*/ 44 w 52"/>
                    <a:gd name="T37" fmla="*/ 72 h 82"/>
                    <a:gd name="T38" fmla="*/ 48 w 52"/>
                    <a:gd name="T39" fmla="*/ 68 h 82"/>
                    <a:gd name="T40" fmla="*/ 50 w 52"/>
                    <a:gd name="T41" fmla="*/ 60 h 82"/>
                    <a:gd name="T42" fmla="*/ 52 w 52"/>
                    <a:gd name="T43" fmla="*/ 40 h 82"/>
                    <a:gd name="T44" fmla="*/ 52 w 52"/>
                    <a:gd name="T45" fmla="*/ 40 h 82"/>
                    <a:gd name="T46" fmla="*/ 50 w 52"/>
                    <a:gd name="T47" fmla="*/ 20 h 82"/>
                    <a:gd name="T48" fmla="*/ 48 w 52"/>
                    <a:gd name="T49" fmla="*/ 14 h 82"/>
                    <a:gd name="T50" fmla="*/ 44 w 52"/>
                    <a:gd name="T51" fmla="*/ 8 h 82"/>
                    <a:gd name="T52" fmla="*/ 44 w 52"/>
                    <a:gd name="T53" fmla="*/ 8 h 82"/>
                    <a:gd name="T54" fmla="*/ 40 w 52"/>
                    <a:gd name="T55" fmla="*/ 4 h 82"/>
                    <a:gd name="T56" fmla="*/ 36 w 52"/>
                    <a:gd name="T57" fmla="*/ 2 h 82"/>
                    <a:gd name="T58" fmla="*/ 26 w 52"/>
                    <a:gd name="T59" fmla="*/ 0 h 82"/>
                    <a:gd name="T60" fmla="*/ 26 w 52"/>
                    <a:gd name="T61" fmla="*/ 0 h 82"/>
                    <a:gd name="T62" fmla="*/ 16 w 52"/>
                    <a:gd name="T63" fmla="*/ 2 h 82"/>
                    <a:gd name="T64" fmla="*/ 12 w 52"/>
                    <a:gd name="T65" fmla="*/ 4 h 82"/>
                    <a:gd name="T66" fmla="*/ 8 w 52"/>
                    <a:gd name="T67" fmla="*/ 8 h 82"/>
                    <a:gd name="T68" fmla="*/ 8 w 52"/>
                    <a:gd name="T69" fmla="*/ 8 h 82"/>
                    <a:gd name="T70" fmla="*/ 8 w 52"/>
                    <a:gd name="T71" fmla="*/ 8 h 82"/>
                    <a:gd name="T72" fmla="*/ 32 w 52"/>
                    <a:gd name="T73" fmla="*/ 14 h 82"/>
                    <a:gd name="T74" fmla="*/ 32 w 52"/>
                    <a:gd name="T75" fmla="*/ 14 h 82"/>
                    <a:gd name="T76" fmla="*/ 34 w 52"/>
                    <a:gd name="T77" fmla="*/ 20 h 82"/>
                    <a:gd name="T78" fmla="*/ 34 w 52"/>
                    <a:gd name="T79" fmla="*/ 20 h 82"/>
                    <a:gd name="T80" fmla="*/ 36 w 52"/>
                    <a:gd name="T81" fmla="*/ 40 h 82"/>
                    <a:gd name="T82" fmla="*/ 36 w 52"/>
                    <a:gd name="T83" fmla="*/ 40 h 82"/>
                    <a:gd name="T84" fmla="*/ 34 w 52"/>
                    <a:gd name="T85" fmla="*/ 60 h 82"/>
                    <a:gd name="T86" fmla="*/ 34 w 52"/>
                    <a:gd name="T87" fmla="*/ 60 h 82"/>
                    <a:gd name="T88" fmla="*/ 32 w 52"/>
                    <a:gd name="T89" fmla="*/ 66 h 82"/>
                    <a:gd name="T90" fmla="*/ 32 w 52"/>
                    <a:gd name="T91" fmla="*/ 66 h 82"/>
                    <a:gd name="T92" fmla="*/ 26 w 52"/>
                    <a:gd name="T93" fmla="*/ 68 h 82"/>
                    <a:gd name="T94" fmla="*/ 26 w 52"/>
                    <a:gd name="T95" fmla="*/ 68 h 82"/>
                    <a:gd name="T96" fmla="*/ 22 w 52"/>
                    <a:gd name="T97" fmla="*/ 66 h 82"/>
                    <a:gd name="T98" fmla="*/ 22 w 52"/>
                    <a:gd name="T99" fmla="*/ 66 h 82"/>
                    <a:gd name="T100" fmla="*/ 18 w 52"/>
                    <a:gd name="T101" fmla="*/ 60 h 82"/>
                    <a:gd name="T102" fmla="*/ 18 w 52"/>
                    <a:gd name="T103" fmla="*/ 60 h 82"/>
                    <a:gd name="T104" fmla="*/ 16 w 52"/>
                    <a:gd name="T105" fmla="*/ 40 h 82"/>
                    <a:gd name="T106" fmla="*/ 16 w 52"/>
                    <a:gd name="T107" fmla="*/ 40 h 82"/>
                    <a:gd name="T108" fmla="*/ 18 w 52"/>
                    <a:gd name="T109" fmla="*/ 20 h 82"/>
                    <a:gd name="T110" fmla="*/ 18 w 52"/>
                    <a:gd name="T111" fmla="*/ 20 h 82"/>
                    <a:gd name="T112" fmla="*/ 22 w 52"/>
                    <a:gd name="T113" fmla="*/ 14 h 82"/>
                    <a:gd name="T114" fmla="*/ 22 w 52"/>
                    <a:gd name="T115" fmla="*/ 14 h 82"/>
                    <a:gd name="T116" fmla="*/ 26 w 52"/>
                    <a:gd name="T117" fmla="*/ 12 h 82"/>
                    <a:gd name="T118" fmla="*/ 26 w 52"/>
                    <a:gd name="T119" fmla="*/ 12 h 82"/>
                    <a:gd name="T120" fmla="*/ 32 w 52"/>
                    <a:gd name="T121" fmla="*/ 14 h 82"/>
                    <a:gd name="T122" fmla="*/ 32 w 52"/>
                    <a:gd name="T123" fmla="*/ 14 h 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52" h="82">
                      <a:moveTo>
                        <a:pt x="8" y="8"/>
                      </a:moveTo>
                      <a:lnTo>
                        <a:pt x="8" y="8"/>
                      </a:lnTo>
                      <a:lnTo>
                        <a:pt x="4" y="14"/>
                      </a:lnTo>
                      <a:lnTo>
                        <a:pt x="2" y="20"/>
                      </a:lnTo>
                      <a:lnTo>
                        <a:pt x="0" y="40"/>
                      </a:lnTo>
                      <a:lnTo>
                        <a:pt x="0" y="40"/>
                      </a:lnTo>
                      <a:lnTo>
                        <a:pt x="2" y="60"/>
                      </a:lnTo>
                      <a:lnTo>
                        <a:pt x="4" y="66"/>
                      </a:lnTo>
                      <a:lnTo>
                        <a:pt x="8" y="72"/>
                      </a:lnTo>
                      <a:lnTo>
                        <a:pt x="8" y="72"/>
                      </a:lnTo>
                      <a:lnTo>
                        <a:pt x="12" y="76"/>
                      </a:lnTo>
                      <a:lnTo>
                        <a:pt x="16" y="78"/>
                      </a:lnTo>
                      <a:lnTo>
                        <a:pt x="20" y="80"/>
                      </a:lnTo>
                      <a:lnTo>
                        <a:pt x="26" y="82"/>
                      </a:lnTo>
                      <a:lnTo>
                        <a:pt x="26" y="82"/>
                      </a:lnTo>
                      <a:lnTo>
                        <a:pt x="36" y="80"/>
                      </a:lnTo>
                      <a:lnTo>
                        <a:pt x="40" y="76"/>
                      </a:lnTo>
                      <a:lnTo>
                        <a:pt x="44" y="72"/>
                      </a:lnTo>
                      <a:lnTo>
                        <a:pt x="44" y="72"/>
                      </a:lnTo>
                      <a:lnTo>
                        <a:pt x="48" y="68"/>
                      </a:lnTo>
                      <a:lnTo>
                        <a:pt x="50" y="60"/>
                      </a:lnTo>
                      <a:lnTo>
                        <a:pt x="52" y="40"/>
                      </a:lnTo>
                      <a:lnTo>
                        <a:pt x="52" y="40"/>
                      </a:lnTo>
                      <a:lnTo>
                        <a:pt x="50" y="20"/>
                      </a:lnTo>
                      <a:lnTo>
                        <a:pt x="48" y="14"/>
                      </a:lnTo>
                      <a:lnTo>
                        <a:pt x="44" y="8"/>
                      </a:lnTo>
                      <a:lnTo>
                        <a:pt x="44" y="8"/>
                      </a:lnTo>
                      <a:lnTo>
                        <a:pt x="40" y="4"/>
                      </a:lnTo>
                      <a:lnTo>
                        <a:pt x="36" y="2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16" y="2"/>
                      </a:lnTo>
                      <a:lnTo>
                        <a:pt x="12" y="4"/>
                      </a:lnTo>
                      <a:lnTo>
                        <a:pt x="8" y="8"/>
                      </a:lnTo>
                      <a:lnTo>
                        <a:pt x="8" y="8"/>
                      </a:lnTo>
                      <a:lnTo>
                        <a:pt x="8" y="8"/>
                      </a:lnTo>
                      <a:close/>
                      <a:moveTo>
                        <a:pt x="32" y="14"/>
                      </a:moveTo>
                      <a:lnTo>
                        <a:pt x="32" y="14"/>
                      </a:lnTo>
                      <a:lnTo>
                        <a:pt x="34" y="20"/>
                      </a:lnTo>
                      <a:lnTo>
                        <a:pt x="34" y="20"/>
                      </a:lnTo>
                      <a:lnTo>
                        <a:pt x="36" y="40"/>
                      </a:lnTo>
                      <a:lnTo>
                        <a:pt x="36" y="40"/>
                      </a:lnTo>
                      <a:lnTo>
                        <a:pt x="34" y="60"/>
                      </a:lnTo>
                      <a:lnTo>
                        <a:pt x="34" y="60"/>
                      </a:lnTo>
                      <a:lnTo>
                        <a:pt x="32" y="66"/>
                      </a:lnTo>
                      <a:lnTo>
                        <a:pt x="32" y="66"/>
                      </a:lnTo>
                      <a:lnTo>
                        <a:pt x="26" y="68"/>
                      </a:lnTo>
                      <a:lnTo>
                        <a:pt x="26" y="68"/>
                      </a:lnTo>
                      <a:lnTo>
                        <a:pt x="22" y="66"/>
                      </a:lnTo>
                      <a:lnTo>
                        <a:pt x="22" y="66"/>
                      </a:lnTo>
                      <a:lnTo>
                        <a:pt x="18" y="60"/>
                      </a:lnTo>
                      <a:lnTo>
                        <a:pt x="18" y="60"/>
                      </a:lnTo>
                      <a:lnTo>
                        <a:pt x="16" y="40"/>
                      </a:lnTo>
                      <a:lnTo>
                        <a:pt x="16" y="40"/>
                      </a:lnTo>
                      <a:lnTo>
                        <a:pt x="18" y="20"/>
                      </a:lnTo>
                      <a:lnTo>
                        <a:pt x="18" y="20"/>
                      </a:lnTo>
                      <a:lnTo>
                        <a:pt x="22" y="14"/>
                      </a:lnTo>
                      <a:lnTo>
                        <a:pt x="22" y="14"/>
                      </a:lnTo>
                      <a:lnTo>
                        <a:pt x="26" y="12"/>
                      </a:lnTo>
                      <a:lnTo>
                        <a:pt x="26" y="12"/>
                      </a:lnTo>
                      <a:lnTo>
                        <a:pt x="32" y="14"/>
                      </a:lnTo>
                      <a:lnTo>
                        <a:pt x="32" y="1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" pitchFamily="34" charset="0"/>
                  </a:endParaRPr>
                </a:p>
              </p:txBody>
            </p:sp>
            <p:sp>
              <p:nvSpPr>
                <p:cNvPr id="176" name="Freeform 53"/>
                <p:cNvSpPr>
                  <a:spLocks/>
                </p:cNvSpPr>
                <p:nvPr/>
              </p:nvSpPr>
              <p:spPr bwMode="auto">
                <a:xfrm>
                  <a:off x="5733140" y="4572074"/>
                  <a:ext cx="25888" cy="60914"/>
                </a:xfrm>
                <a:custGeom>
                  <a:avLst/>
                  <a:gdLst>
                    <a:gd name="T0" fmla="*/ 34 w 34"/>
                    <a:gd name="T1" fmla="*/ 0 h 80"/>
                    <a:gd name="T2" fmla="*/ 22 w 34"/>
                    <a:gd name="T3" fmla="*/ 0 h 80"/>
                    <a:gd name="T4" fmla="*/ 22 w 34"/>
                    <a:gd name="T5" fmla="*/ 0 h 80"/>
                    <a:gd name="T6" fmla="*/ 18 w 34"/>
                    <a:gd name="T7" fmla="*/ 6 h 80"/>
                    <a:gd name="T8" fmla="*/ 12 w 34"/>
                    <a:gd name="T9" fmla="*/ 12 h 80"/>
                    <a:gd name="T10" fmla="*/ 12 w 34"/>
                    <a:gd name="T11" fmla="*/ 12 h 80"/>
                    <a:gd name="T12" fmla="*/ 6 w 34"/>
                    <a:gd name="T13" fmla="*/ 16 h 80"/>
                    <a:gd name="T14" fmla="*/ 0 w 34"/>
                    <a:gd name="T15" fmla="*/ 20 h 80"/>
                    <a:gd name="T16" fmla="*/ 0 w 34"/>
                    <a:gd name="T17" fmla="*/ 34 h 80"/>
                    <a:gd name="T18" fmla="*/ 0 w 34"/>
                    <a:gd name="T19" fmla="*/ 34 h 80"/>
                    <a:gd name="T20" fmla="*/ 10 w 34"/>
                    <a:gd name="T21" fmla="*/ 28 h 80"/>
                    <a:gd name="T22" fmla="*/ 20 w 34"/>
                    <a:gd name="T23" fmla="*/ 22 h 80"/>
                    <a:gd name="T24" fmla="*/ 20 w 34"/>
                    <a:gd name="T25" fmla="*/ 80 h 80"/>
                    <a:gd name="T26" fmla="*/ 34 w 34"/>
                    <a:gd name="T27" fmla="*/ 80 h 80"/>
                    <a:gd name="T28" fmla="*/ 34 w 34"/>
                    <a:gd name="T29" fmla="*/ 0 h 80"/>
                    <a:gd name="T30" fmla="*/ 34 w 34"/>
                    <a:gd name="T31" fmla="*/ 0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4" h="80">
                      <a:moveTo>
                        <a:pt x="34" y="0"/>
                      </a:move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18" y="6"/>
                      </a:lnTo>
                      <a:lnTo>
                        <a:pt x="12" y="12"/>
                      </a:lnTo>
                      <a:lnTo>
                        <a:pt x="12" y="12"/>
                      </a:lnTo>
                      <a:lnTo>
                        <a:pt x="6" y="16"/>
                      </a:lnTo>
                      <a:lnTo>
                        <a:pt x="0" y="20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10" y="28"/>
                      </a:lnTo>
                      <a:lnTo>
                        <a:pt x="20" y="22"/>
                      </a:lnTo>
                      <a:lnTo>
                        <a:pt x="20" y="80"/>
                      </a:lnTo>
                      <a:lnTo>
                        <a:pt x="34" y="80"/>
                      </a:lnTo>
                      <a:lnTo>
                        <a:pt x="34" y="0"/>
                      </a:lnTo>
                      <a:lnTo>
                        <a:pt x="34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" pitchFamily="34" charset="0"/>
                  </a:endParaRPr>
                </a:p>
              </p:txBody>
            </p:sp>
            <p:sp>
              <p:nvSpPr>
                <p:cNvPr id="177" name="Freeform 54"/>
                <p:cNvSpPr>
                  <a:spLocks noEditPoints="1"/>
                </p:cNvSpPr>
                <p:nvPr/>
              </p:nvSpPr>
              <p:spPr bwMode="auto">
                <a:xfrm>
                  <a:off x="5844308" y="4572074"/>
                  <a:ext cx="39594" cy="62437"/>
                </a:xfrm>
                <a:custGeom>
                  <a:avLst/>
                  <a:gdLst>
                    <a:gd name="T0" fmla="*/ 8 w 52"/>
                    <a:gd name="T1" fmla="*/ 8 h 82"/>
                    <a:gd name="T2" fmla="*/ 8 w 52"/>
                    <a:gd name="T3" fmla="*/ 8 h 82"/>
                    <a:gd name="T4" fmla="*/ 4 w 52"/>
                    <a:gd name="T5" fmla="*/ 14 h 82"/>
                    <a:gd name="T6" fmla="*/ 2 w 52"/>
                    <a:gd name="T7" fmla="*/ 20 h 82"/>
                    <a:gd name="T8" fmla="*/ 0 w 52"/>
                    <a:gd name="T9" fmla="*/ 40 h 82"/>
                    <a:gd name="T10" fmla="*/ 0 w 52"/>
                    <a:gd name="T11" fmla="*/ 40 h 82"/>
                    <a:gd name="T12" fmla="*/ 0 w 52"/>
                    <a:gd name="T13" fmla="*/ 60 h 82"/>
                    <a:gd name="T14" fmla="*/ 4 w 52"/>
                    <a:gd name="T15" fmla="*/ 66 h 82"/>
                    <a:gd name="T16" fmla="*/ 6 w 52"/>
                    <a:gd name="T17" fmla="*/ 72 h 82"/>
                    <a:gd name="T18" fmla="*/ 6 w 52"/>
                    <a:gd name="T19" fmla="*/ 72 h 82"/>
                    <a:gd name="T20" fmla="*/ 10 w 52"/>
                    <a:gd name="T21" fmla="*/ 76 h 82"/>
                    <a:gd name="T22" fmla="*/ 14 w 52"/>
                    <a:gd name="T23" fmla="*/ 78 h 82"/>
                    <a:gd name="T24" fmla="*/ 20 w 52"/>
                    <a:gd name="T25" fmla="*/ 80 h 82"/>
                    <a:gd name="T26" fmla="*/ 26 w 52"/>
                    <a:gd name="T27" fmla="*/ 82 h 82"/>
                    <a:gd name="T28" fmla="*/ 26 w 52"/>
                    <a:gd name="T29" fmla="*/ 82 h 82"/>
                    <a:gd name="T30" fmla="*/ 36 w 52"/>
                    <a:gd name="T31" fmla="*/ 80 h 82"/>
                    <a:gd name="T32" fmla="*/ 40 w 52"/>
                    <a:gd name="T33" fmla="*/ 76 h 82"/>
                    <a:gd name="T34" fmla="*/ 44 w 52"/>
                    <a:gd name="T35" fmla="*/ 72 h 82"/>
                    <a:gd name="T36" fmla="*/ 44 w 52"/>
                    <a:gd name="T37" fmla="*/ 72 h 82"/>
                    <a:gd name="T38" fmla="*/ 48 w 52"/>
                    <a:gd name="T39" fmla="*/ 68 h 82"/>
                    <a:gd name="T40" fmla="*/ 50 w 52"/>
                    <a:gd name="T41" fmla="*/ 60 h 82"/>
                    <a:gd name="T42" fmla="*/ 52 w 52"/>
                    <a:gd name="T43" fmla="*/ 40 h 82"/>
                    <a:gd name="T44" fmla="*/ 52 w 52"/>
                    <a:gd name="T45" fmla="*/ 40 h 82"/>
                    <a:gd name="T46" fmla="*/ 50 w 52"/>
                    <a:gd name="T47" fmla="*/ 20 h 82"/>
                    <a:gd name="T48" fmla="*/ 48 w 52"/>
                    <a:gd name="T49" fmla="*/ 14 h 82"/>
                    <a:gd name="T50" fmla="*/ 44 w 52"/>
                    <a:gd name="T51" fmla="*/ 8 h 82"/>
                    <a:gd name="T52" fmla="*/ 44 w 52"/>
                    <a:gd name="T53" fmla="*/ 8 h 82"/>
                    <a:gd name="T54" fmla="*/ 40 w 52"/>
                    <a:gd name="T55" fmla="*/ 4 h 82"/>
                    <a:gd name="T56" fmla="*/ 36 w 52"/>
                    <a:gd name="T57" fmla="*/ 2 h 82"/>
                    <a:gd name="T58" fmla="*/ 26 w 52"/>
                    <a:gd name="T59" fmla="*/ 0 h 82"/>
                    <a:gd name="T60" fmla="*/ 26 w 52"/>
                    <a:gd name="T61" fmla="*/ 0 h 82"/>
                    <a:gd name="T62" fmla="*/ 14 w 52"/>
                    <a:gd name="T63" fmla="*/ 2 h 82"/>
                    <a:gd name="T64" fmla="*/ 10 w 52"/>
                    <a:gd name="T65" fmla="*/ 4 h 82"/>
                    <a:gd name="T66" fmla="*/ 8 w 52"/>
                    <a:gd name="T67" fmla="*/ 8 h 82"/>
                    <a:gd name="T68" fmla="*/ 8 w 52"/>
                    <a:gd name="T69" fmla="*/ 8 h 82"/>
                    <a:gd name="T70" fmla="*/ 8 w 52"/>
                    <a:gd name="T71" fmla="*/ 8 h 82"/>
                    <a:gd name="T72" fmla="*/ 30 w 52"/>
                    <a:gd name="T73" fmla="*/ 14 h 82"/>
                    <a:gd name="T74" fmla="*/ 30 w 52"/>
                    <a:gd name="T75" fmla="*/ 14 h 82"/>
                    <a:gd name="T76" fmla="*/ 34 w 52"/>
                    <a:gd name="T77" fmla="*/ 20 h 82"/>
                    <a:gd name="T78" fmla="*/ 34 w 52"/>
                    <a:gd name="T79" fmla="*/ 20 h 82"/>
                    <a:gd name="T80" fmla="*/ 36 w 52"/>
                    <a:gd name="T81" fmla="*/ 40 h 82"/>
                    <a:gd name="T82" fmla="*/ 36 w 52"/>
                    <a:gd name="T83" fmla="*/ 40 h 82"/>
                    <a:gd name="T84" fmla="*/ 34 w 52"/>
                    <a:gd name="T85" fmla="*/ 60 h 82"/>
                    <a:gd name="T86" fmla="*/ 34 w 52"/>
                    <a:gd name="T87" fmla="*/ 60 h 82"/>
                    <a:gd name="T88" fmla="*/ 30 w 52"/>
                    <a:gd name="T89" fmla="*/ 66 h 82"/>
                    <a:gd name="T90" fmla="*/ 30 w 52"/>
                    <a:gd name="T91" fmla="*/ 66 h 82"/>
                    <a:gd name="T92" fmla="*/ 26 w 52"/>
                    <a:gd name="T93" fmla="*/ 68 h 82"/>
                    <a:gd name="T94" fmla="*/ 26 w 52"/>
                    <a:gd name="T95" fmla="*/ 68 h 82"/>
                    <a:gd name="T96" fmla="*/ 20 w 52"/>
                    <a:gd name="T97" fmla="*/ 66 h 82"/>
                    <a:gd name="T98" fmla="*/ 20 w 52"/>
                    <a:gd name="T99" fmla="*/ 66 h 82"/>
                    <a:gd name="T100" fmla="*/ 16 w 52"/>
                    <a:gd name="T101" fmla="*/ 60 h 82"/>
                    <a:gd name="T102" fmla="*/ 16 w 52"/>
                    <a:gd name="T103" fmla="*/ 60 h 82"/>
                    <a:gd name="T104" fmla="*/ 16 w 52"/>
                    <a:gd name="T105" fmla="*/ 40 h 82"/>
                    <a:gd name="T106" fmla="*/ 16 w 52"/>
                    <a:gd name="T107" fmla="*/ 40 h 82"/>
                    <a:gd name="T108" fmla="*/ 16 w 52"/>
                    <a:gd name="T109" fmla="*/ 20 h 82"/>
                    <a:gd name="T110" fmla="*/ 16 w 52"/>
                    <a:gd name="T111" fmla="*/ 20 h 82"/>
                    <a:gd name="T112" fmla="*/ 20 w 52"/>
                    <a:gd name="T113" fmla="*/ 14 h 82"/>
                    <a:gd name="T114" fmla="*/ 20 w 52"/>
                    <a:gd name="T115" fmla="*/ 14 h 82"/>
                    <a:gd name="T116" fmla="*/ 26 w 52"/>
                    <a:gd name="T117" fmla="*/ 12 h 82"/>
                    <a:gd name="T118" fmla="*/ 26 w 52"/>
                    <a:gd name="T119" fmla="*/ 12 h 82"/>
                    <a:gd name="T120" fmla="*/ 30 w 52"/>
                    <a:gd name="T121" fmla="*/ 14 h 82"/>
                    <a:gd name="T122" fmla="*/ 30 w 52"/>
                    <a:gd name="T123" fmla="*/ 14 h 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52" h="82">
                      <a:moveTo>
                        <a:pt x="8" y="8"/>
                      </a:moveTo>
                      <a:lnTo>
                        <a:pt x="8" y="8"/>
                      </a:lnTo>
                      <a:lnTo>
                        <a:pt x="4" y="14"/>
                      </a:lnTo>
                      <a:lnTo>
                        <a:pt x="2" y="20"/>
                      </a:lnTo>
                      <a:lnTo>
                        <a:pt x="0" y="40"/>
                      </a:lnTo>
                      <a:lnTo>
                        <a:pt x="0" y="40"/>
                      </a:lnTo>
                      <a:lnTo>
                        <a:pt x="0" y="60"/>
                      </a:lnTo>
                      <a:lnTo>
                        <a:pt x="4" y="66"/>
                      </a:lnTo>
                      <a:lnTo>
                        <a:pt x="6" y="72"/>
                      </a:lnTo>
                      <a:lnTo>
                        <a:pt x="6" y="72"/>
                      </a:lnTo>
                      <a:lnTo>
                        <a:pt x="10" y="76"/>
                      </a:lnTo>
                      <a:lnTo>
                        <a:pt x="14" y="78"/>
                      </a:lnTo>
                      <a:lnTo>
                        <a:pt x="20" y="80"/>
                      </a:lnTo>
                      <a:lnTo>
                        <a:pt x="26" y="82"/>
                      </a:lnTo>
                      <a:lnTo>
                        <a:pt x="26" y="82"/>
                      </a:lnTo>
                      <a:lnTo>
                        <a:pt x="36" y="80"/>
                      </a:lnTo>
                      <a:lnTo>
                        <a:pt x="40" y="76"/>
                      </a:lnTo>
                      <a:lnTo>
                        <a:pt x="44" y="72"/>
                      </a:lnTo>
                      <a:lnTo>
                        <a:pt x="44" y="72"/>
                      </a:lnTo>
                      <a:lnTo>
                        <a:pt x="48" y="68"/>
                      </a:lnTo>
                      <a:lnTo>
                        <a:pt x="50" y="60"/>
                      </a:lnTo>
                      <a:lnTo>
                        <a:pt x="52" y="40"/>
                      </a:lnTo>
                      <a:lnTo>
                        <a:pt x="52" y="40"/>
                      </a:lnTo>
                      <a:lnTo>
                        <a:pt x="50" y="20"/>
                      </a:lnTo>
                      <a:lnTo>
                        <a:pt x="48" y="14"/>
                      </a:lnTo>
                      <a:lnTo>
                        <a:pt x="44" y="8"/>
                      </a:lnTo>
                      <a:lnTo>
                        <a:pt x="44" y="8"/>
                      </a:lnTo>
                      <a:lnTo>
                        <a:pt x="40" y="4"/>
                      </a:lnTo>
                      <a:lnTo>
                        <a:pt x="36" y="2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14" y="2"/>
                      </a:lnTo>
                      <a:lnTo>
                        <a:pt x="10" y="4"/>
                      </a:lnTo>
                      <a:lnTo>
                        <a:pt x="8" y="8"/>
                      </a:lnTo>
                      <a:lnTo>
                        <a:pt x="8" y="8"/>
                      </a:lnTo>
                      <a:lnTo>
                        <a:pt x="8" y="8"/>
                      </a:lnTo>
                      <a:close/>
                      <a:moveTo>
                        <a:pt x="30" y="14"/>
                      </a:moveTo>
                      <a:lnTo>
                        <a:pt x="30" y="14"/>
                      </a:lnTo>
                      <a:lnTo>
                        <a:pt x="34" y="20"/>
                      </a:lnTo>
                      <a:lnTo>
                        <a:pt x="34" y="20"/>
                      </a:lnTo>
                      <a:lnTo>
                        <a:pt x="36" y="40"/>
                      </a:lnTo>
                      <a:lnTo>
                        <a:pt x="36" y="40"/>
                      </a:lnTo>
                      <a:lnTo>
                        <a:pt x="34" y="60"/>
                      </a:lnTo>
                      <a:lnTo>
                        <a:pt x="34" y="60"/>
                      </a:lnTo>
                      <a:lnTo>
                        <a:pt x="30" y="66"/>
                      </a:lnTo>
                      <a:lnTo>
                        <a:pt x="30" y="66"/>
                      </a:lnTo>
                      <a:lnTo>
                        <a:pt x="26" y="68"/>
                      </a:lnTo>
                      <a:lnTo>
                        <a:pt x="26" y="68"/>
                      </a:lnTo>
                      <a:lnTo>
                        <a:pt x="20" y="66"/>
                      </a:lnTo>
                      <a:lnTo>
                        <a:pt x="20" y="66"/>
                      </a:lnTo>
                      <a:lnTo>
                        <a:pt x="16" y="60"/>
                      </a:lnTo>
                      <a:lnTo>
                        <a:pt x="16" y="60"/>
                      </a:lnTo>
                      <a:lnTo>
                        <a:pt x="16" y="40"/>
                      </a:lnTo>
                      <a:lnTo>
                        <a:pt x="16" y="40"/>
                      </a:lnTo>
                      <a:lnTo>
                        <a:pt x="16" y="20"/>
                      </a:lnTo>
                      <a:lnTo>
                        <a:pt x="16" y="20"/>
                      </a:lnTo>
                      <a:lnTo>
                        <a:pt x="20" y="14"/>
                      </a:lnTo>
                      <a:lnTo>
                        <a:pt x="20" y="14"/>
                      </a:lnTo>
                      <a:lnTo>
                        <a:pt x="26" y="12"/>
                      </a:lnTo>
                      <a:lnTo>
                        <a:pt x="26" y="12"/>
                      </a:lnTo>
                      <a:lnTo>
                        <a:pt x="30" y="14"/>
                      </a:lnTo>
                      <a:lnTo>
                        <a:pt x="30" y="1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" pitchFamily="34" charset="0"/>
                  </a:endParaRPr>
                </a:p>
              </p:txBody>
            </p:sp>
            <p:sp>
              <p:nvSpPr>
                <p:cNvPr id="178" name="Freeform 22"/>
                <p:cNvSpPr>
                  <a:spLocks/>
                </p:cNvSpPr>
                <p:nvPr/>
              </p:nvSpPr>
              <p:spPr bwMode="auto">
                <a:xfrm>
                  <a:off x="5395137" y="4696696"/>
                  <a:ext cx="25888" cy="60914"/>
                </a:xfrm>
                <a:custGeom>
                  <a:avLst/>
                  <a:gdLst>
                    <a:gd name="T0" fmla="*/ 34 w 34"/>
                    <a:gd name="T1" fmla="*/ 0 h 80"/>
                    <a:gd name="T2" fmla="*/ 22 w 34"/>
                    <a:gd name="T3" fmla="*/ 0 h 80"/>
                    <a:gd name="T4" fmla="*/ 22 w 34"/>
                    <a:gd name="T5" fmla="*/ 0 h 80"/>
                    <a:gd name="T6" fmla="*/ 18 w 34"/>
                    <a:gd name="T7" fmla="*/ 6 h 80"/>
                    <a:gd name="T8" fmla="*/ 12 w 34"/>
                    <a:gd name="T9" fmla="*/ 12 h 80"/>
                    <a:gd name="T10" fmla="*/ 12 w 34"/>
                    <a:gd name="T11" fmla="*/ 12 h 80"/>
                    <a:gd name="T12" fmla="*/ 6 w 34"/>
                    <a:gd name="T13" fmla="*/ 18 h 80"/>
                    <a:gd name="T14" fmla="*/ 0 w 34"/>
                    <a:gd name="T15" fmla="*/ 20 h 80"/>
                    <a:gd name="T16" fmla="*/ 0 w 34"/>
                    <a:gd name="T17" fmla="*/ 34 h 80"/>
                    <a:gd name="T18" fmla="*/ 0 w 34"/>
                    <a:gd name="T19" fmla="*/ 34 h 80"/>
                    <a:gd name="T20" fmla="*/ 10 w 34"/>
                    <a:gd name="T21" fmla="*/ 30 h 80"/>
                    <a:gd name="T22" fmla="*/ 20 w 34"/>
                    <a:gd name="T23" fmla="*/ 22 h 80"/>
                    <a:gd name="T24" fmla="*/ 20 w 34"/>
                    <a:gd name="T25" fmla="*/ 80 h 80"/>
                    <a:gd name="T26" fmla="*/ 34 w 34"/>
                    <a:gd name="T27" fmla="*/ 80 h 80"/>
                    <a:gd name="T28" fmla="*/ 34 w 34"/>
                    <a:gd name="T29" fmla="*/ 0 h 80"/>
                    <a:gd name="T30" fmla="*/ 34 w 34"/>
                    <a:gd name="T31" fmla="*/ 0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4" h="80">
                      <a:moveTo>
                        <a:pt x="34" y="0"/>
                      </a:move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18" y="6"/>
                      </a:lnTo>
                      <a:lnTo>
                        <a:pt x="12" y="12"/>
                      </a:lnTo>
                      <a:lnTo>
                        <a:pt x="12" y="12"/>
                      </a:lnTo>
                      <a:lnTo>
                        <a:pt x="6" y="18"/>
                      </a:lnTo>
                      <a:lnTo>
                        <a:pt x="0" y="20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10" y="30"/>
                      </a:lnTo>
                      <a:lnTo>
                        <a:pt x="20" y="22"/>
                      </a:lnTo>
                      <a:lnTo>
                        <a:pt x="20" y="80"/>
                      </a:lnTo>
                      <a:lnTo>
                        <a:pt x="34" y="80"/>
                      </a:lnTo>
                      <a:lnTo>
                        <a:pt x="34" y="0"/>
                      </a:lnTo>
                      <a:lnTo>
                        <a:pt x="34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" pitchFamily="34" charset="0"/>
                  </a:endParaRPr>
                </a:p>
              </p:txBody>
            </p:sp>
            <p:sp>
              <p:nvSpPr>
                <p:cNvPr id="179" name="Freeform 23"/>
                <p:cNvSpPr>
                  <a:spLocks noEditPoints="1"/>
                </p:cNvSpPr>
                <p:nvPr/>
              </p:nvSpPr>
              <p:spPr bwMode="auto">
                <a:xfrm>
                  <a:off x="5506304" y="4696696"/>
                  <a:ext cx="39594" cy="62437"/>
                </a:xfrm>
                <a:custGeom>
                  <a:avLst/>
                  <a:gdLst>
                    <a:gd name="T0" fmla="*/ 8 w 52"/>
                    <a:gd name="T1" fmla="*/ 8 h 82"/>
                    <a:gd name="T2" fmla="*/ 8 w 52"/>
                    <a:gd name="T3" fmla="*/ 8 h 82"/>
                    <a:gd name="T4" fmla="*/ 4 w 52"/>
                    <a:gd name="T5" fmla="*/ 14 h 82"/>
                    <a:gd name="T6" fmla="*/ 2 w 52"/>
                    <a:gd name="T7" fmla="*/ 20 h 82"/>
                    <a:gd name="T8" fmla="*/ 0 w 52"/>
                    <a:gd name="T9" fmla="*/ 40 h 82"/>
                    <a:gd name="T10" fmla="*/ 0 w 52"/>
                    <a:gd name="T11" fmla="*/ 40 h 82"/>
                    <a:gd name="T12" fmla="*/ 2 w 52"/>
                    <a:gd name="T13" fmla="*/ 60 h 82"/>
                    <a:gd name="T14" fmla="*/ 4 w 52"/>
                    <a:gd name="T15" fmla="*/ 68 h 82"/>
                    <a:gd name="T16" fmla="*/ 6 w 52"/>
                    <a:gd name="T17" fmla="*/ 72 h 82"/>
                    <a:gd name="T18" fmla="*/ 6 w 52"/>
                    <a:gd name="T19" fmla="*/ 72 h 82"/>
                    <a:gd name="T20" fmla="*/ 10 w 52"/>
                    <a:gd name="T21" fmla="*/ 76 h 82"/>
                    <a:gd name="T22" fmla="*/ 16 w 52"/>
                    <a:gd name="T23" fmla="*/ 80 h 82"/>
                    <a:gd name="T24" fmla="*/ 20 w 52"/>
                    <a:gd name="T25" fmla="*/ 80 h 82"/>
                    <a:gd name="T26" fmla="*/ 26 w 52"/>
                    <a:gd name="T27" fmla="*/ 82 h 82"/>
                    <a:gd name="T28" fmla="*/ 26 w 52"/>
                    <a:gd name="T29" fmla="*/ 82 h 82"/>
                    <a:gd name="T30" fmla="*/ 36 w 52"/>
                    <a:gd name="T31" fmla="*/ 80 h 82"/>
                    <a:gd name="T32" fmla="*/ 40 w 52"/>
                    <a:gd name="T33" fmla="*/ 76 h 82"/>
                    <a:gd name="T34" fmla="*/ 44 w 52"/>
                    <a:gd name="T35" fmla="*/ 74 h 82"/>
                    <a:gd name="T36" fmla="*/ 44 w 52"/>
                    <a:gd name="T37" fmla="*/ 74 h 82"/>
                    <a:gd name="T38" fmla="*/ 48 w 52"/>
                    <a:gd name="T39" fmla="*/ 68 h 82"/>
                    <a:gd name="T40" fmla="*/ 50 w 52"/>
                    <a:gd name="T41" fmla="*/ 60 h 82"/>
                    <a:gd name="T42" fmla="*/ 52 w 52"/>
                    <a:gd name="T43" fmla="*/ 40 h 82"/>
                    <a:gd name="T44" fmla="*/ 52 w 52"/>
                    <a:gd name="T45" fmla="*/ 40 h 82"/>
                    <a:gd name="T46" fmla="*/ 50 w 52"/>
                    <a:gd name="T47" fmla="*/ 20 h 82"/>
                    <a:gd name="T48" fmla="*/ 48 w 52"/>
                    <a:gd name="T49" fmla="*/ 14 h 82"/>
                    <a:gd name="T50" fmla="*/ 44 w 52"/>
                    <a:gd name="T51" fmla="*/ 8 h 82"/>
                    <a:gd name="T52" fmla="*/ 44 w 52"/>
                    <a:gd name="T53" fmla="*/ 8 h 82"/>
                    <a:gd name="T54" fmla="*/ 40 w 52"/>
                    <a:gd name="T55" fmla="*/ 4 h 82"/>
                    <a:gd name="T56" fmla="*/ 36 w 52"/>
                    <a:gd name="T57" fmla="*/ 2 h 82"/>
                    <a:gd name="T58" fmla="*/ 26 w 52"/>
                    <a:gd name="T59" fmla="*/ 0 h 82"/>
                    <a:gd name="T60" fmla="*/ 26 w 52"/>
                    <a:gd name="T61" fmla="*/ 0 h 82"/>
                    <a:gd name="T62" fmla="*/ 16 w 52"/>
                    <a:gd name="T63" fmla="*/ 2 h 82"/>
                    <a:gd name="T64" fmla="*/ 12 w 52"/>
                    <a:gd name="T65" fmla="*/ 4 h 82"/>
                    <a:gd name="T66" fmla="*/ 8 w 52"/>
                    <a:gd name="T67" fmla="*/ 8 h 82"/>
                    <a:gd name="T68" fmla="*/ 8 w 52"/>
                    <a:gd name="T69" fmla="*/ 8 h 82"/>
                    <a:gd name="T70" fmla="*/ 8 w 52"/>
                    <a:gd name="T71" fmla="*/ 8 h 82"/>
                    <a:gd name="T72" fmla="*/ 30 w 52"/>
                    <a:gd name="T73" fmla="*/ 14 h 82"/>
                    <a:gd name="T74" fmla="*/ 30 w 52"/>
                    <a:gd name="T75" fmla="*/ 14 h 82"/>
                    <a:gd name="T76" fmla="*/ 34 w 52"/>
                    <a:gd name="T77" fmla="*/ 22 h 82"/>
                    <a:gd name="T78" fmla="*/ 34 w 52"/>
                    <a:gd name="T79" fmla="*/ 22 h 82"/>
                    <a:gd name="T80" fmla="*/ 36 w 52"/>
                    <a:gd name="T81" fmla="*/ 40 h 82"/>
                    <a:gd name="T82" fmla="*/ 36 w 52"/>
                    <a:gd name="T83" fmla="*/ 40 h 82"/>
                    <a:gd name="T84" fmla="*/ 34 w 52"/>
                    <a:gd name="T85" fmla="*/ 60 h 82"/>
                    <a:gd name="T86" fmla="*/ 34 w 52"/>
                    <a:gd name="T87" fmla="*/ 60 h 82"/>
                    <a:gd name="T88" fmla="*/ 30 w 52"/>
                    <a:gd name="T89" fmla="*/ 66 h 82"/>
                    <a:gd name="T90" fmla="*/ 30 w 52"/>
                    <a:gd name="T91" fmla="*/ 66 h 82"/>
                    <a:gd name="T92" fmla="*/ 26 w 52"/>
                    <a:gd name="T93" fmla="*/ 68 h 82"/>
                    <a:gd name="T94" fmla="*/ 26 w 52"/>
                    <a:gd name="T95" fmla="*/ 68 h 82"/>
                    <a:gd name="T96" fmla="*/ 20 w 52"/>
                    <a:gd name="T97" fmla="*/ 66 h 82"/>
                    <a:gd name="T98" fmla="*/ 20 w 52"/>
                    <a:gd name="T99" fmla="*/ 66 h 82"/>
                    <a:gd name="T100" fmla="*/ 18 w 52"/>
                    <a:gd name="T101" fmla="*/ 60 h 82"/>
                    <a:gd name="T102" fmla="*/ 18 w 52"/>
                    <a:gd name="T103" fmla="*/ 60 h 82"/>
                    <a:gd name="T104" fmla="*/ 16 w 52"/>
                    <a:gd name="T105" fmla="*/ 40 h 82"/>
                    <a:gd name="T106" fmla="*/ 16 w 52"/>
                    <a:gd name="T107" fmla="*/ 40 h 82"/>
                    <a:gd name="T108" fmla="*/ 18 w 52"/>
                    <a:gd name="T109" fmla="*/ 20 h 82"/>
                    <a:gd name="T110" fmla="*/ 18 w 52"/>
                    <a:gd name="T111" fmla="*/ 20 h 82"/>
                    <a:gd name="T112" fmla="*/ 20 w 52"/>
                    <a:gd name="T113" fmla="*/ 14 h 82"/>
                    <a:gd name="T114" fmla="*/ 20 w 52"/>
                    <a:gd name="T115" fmla="*/ 14 h 82"/>
                    <a:gd name="T116" fmla="*/ 26 w 52"/>
                    <a:gd name="T117" fmla="*/ 12 h 82"/>
                    <a:gd name="T118" fmla="*/ 26 w 52"/>
                    <a:gd name="T119" fmla="*/ 12 h 82"/>
                    <a:gd name="T120" fmla="*/ 30 w 52"/>
                    <a:gd name="T121" fmla="*/ 14 h 82"/>
                    <a:gd name="T122" fmla="*/ 30 w 52"/>
                    <a:gd name="T123" fmla="*/ 14 h 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52" h="82">
                      <a:moveTo>
                        <a:pt x="8" y="8"/>
                      </a:moveTo>
                      <a:lnTo>
                        <a:pt x="8" y="8"/>
                      </a:lnTo>
                      <a:lnTo>
                        <a:pt x="4" y="14"/>
                      </a:lnTo>
                      <a:lnTo>
                        <a:pt x="2" y="20"/>
                      </a:lnTo>
                      <a:lnTo>
                        <a:pt x="0" y="40"/>
                      </a:lnTo>
                      <a:lnTo>
                        <a:pt x="0" y="40"/>
                      </a:lnTo>
                      <a:lnTo>
                        <a:pt x="2" y="60"/>
                      </a:lnTo>
                      <a:lnTo>
                        <a:pt x="4" y="68"/>
                      </a:lnTo>
                      <a:lnTo>
                        <a:pt x="6" y="72"/>
                      </a:lnTo>
                      <a:lnTo>
                        <a:pt x="6" y="72"/>
                      </a:lnTo>
                      <a:lnTo>
                        <a:pt x="10" y="76"/>
                      </a:lnTo>
                      <a:lnTo>
                        <a:pt x="16" y="80"/>
                      </a:lnTo>
                      <a:lnTo>
                        <a:pt x="20" y="80"/>
                      </a:lnTo>
                      <a:lnTo>
                        <a:pt x="26" y="82"/>
                      </a:lnTo>
                      <a:lnTo>
                        <a:pt x="26" y="82"/>
                      </a:lnTo>
                      <a:lnTo>
                        <a:pt x="36" y="80"/>
                      </a:lnTo>
                      <a:lnTo>
                        <a:pt x="40" y="76"/>
                      </a:lnTo>
                      <a:lnTo>
                        <a:pt x="44" y="74"/>
                      </a:lnTo>
                      <a:lnTo>
                        <a:pt x="44" y="74"/>
                      </a:lnTo>
                      <a:lnTo>
                        <a:pt x="48" y="68"/>
                      </a:lnTo>
                      <a:lnTo>
                        <a:pt x="50" y="60"/>
                      </a:lnTo>
                      <a:lnTo>
                        <a:pt x="52" y="40"/>
                      </a:lnTo>
                      <a:lnTo>
                        <a:pt x="52" y="40"/>
                      </a:lnTo>
                      <a:lnTo>
                        <a:pt x="50" y="20"/>
                      </a:lnTo>
                      <a:lnTo>
                        <a:pt x="48" y="14"/>
                      </a:lnTo>
                      <a:lnTo>
                        <a:pt x="44" y="8"/>
                      </a:lnTo>
                      <a:lnTo>
                        <a:pt x="44" y="8"/>
                      </a:lnTo>
                      <a:lnTo>
                        <a:pt x="40" y="4"/>
                      </a:lnTo>
                      <a:lnTo>
                        <a:pt x="36" y="2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16" y="2"/>
                      </a:lnTo>
                      <a:lnTo>
                        <a:pt x="12" y="4"/>
                      </a:lnTo>
                      <a:lnTo>
                        <a:pt x="8" y="8"/>
                      </a:lnTo>
                      <a:lnTo>
                        <a:pt x="8" y="8"/>
                      </a:lnTo>
                      <a:lnTo>
                        <a:pt x="8" y="8"/>
                      </a:lnTo>
                      <a:close/>
                      <a:moveTo>
                        <a:pt x="30" y="14"/>
                      </a:moveTo>
                      <a:lnTo>
                        <a:pt x="30" y="14"/>
                      </a:lnTo>
                      <a:lnTo>
                        <a:pt x="34" y="22"/>
                      </a:lnTo>
                      <a:lnTo>
                        <a:pt x="34" y="22"/>
                      </a:lnTo>
                      <a:lnTo>
                        <a:pt x="36" y="40"/>
                      </a:lnTo>
                      <a:lnTo>
                        <a:pt x="36" y="40"/>
                      </a:lnTo>
                      <a:lnTo>
                        <a:pt x="34" y="60"/>
                      </a:lnTo>
                      <a:lnTo>
                        <a:pt x="34" y="60"/>
                      </a:lnTo>
                      <a:lnTo>
                        <a:pt x="30" y="66"/>
                      </a:lnTo>
                      <a:lnTo>
                        <a:pt x="30" y="66"/>
                      </a:lnTo>
                      <a:lnTo>
                        <a:pt x="26" y="68"/>
                      </a:lnTo>
                      <a:lnTo>
                        <a:pt x="26" y="68"/>
                      </a:lnTo>
                      <a:lnTo>
                        <a:pt x="20" y="66"/>
                      </a:lnTo>
                      <a:lnTo>
                        <a:pt x="20" y="66"/>
                      </a:lnTo>
                      <a:lnTo>
                        <a:pt x="18" y="60"/>
                      </a:lnTo>
                      <a:lnTo>
                        <a:pt x="18" y="60"/>
                      </a:lnTo>
                      <a:lnTo>
                        <a:pt x="16" y="40"/>
                      </a:lnTo>
                      <a:lnTo>
                        <a:pt x="16" y="40"/>
                      </a:lnTo>
                      <a:lnTo>
                        <a:pt x="18" y="20"/>
                      </a:lnTo>
                      <a:lnTo>
                        <a:pt x="18" y="20"/>
                      </a:lnTo>
                      <a:lnTo>
                        <a:pt x="20" y="14"/>
                      </a:lnTo>
                      <a:lnTo>
                        <a:pt x="20" y="14"/>
                      </a:lnTo>
                      <a:lnTo>
                        <a:pt x="26" y="12"/>
                      </a:lnTo>
                      <a:lnTo>
                        <a:pt x="26" y="12"/>
                      </a:lnTo>
                      <a:lnTo>
                        <a:pt x="30" y="14"/>
                      </a:lnTo>
                      <a:lnTo>
                        <a:pt x="30" y="1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" pitchFamily="34" charset="0"/>
                  </a:endParaRPr>
                </a:p>
              </p:txBody>
            </p:sp>
            <p:sp>
              <p:nvSpPr>
                <p:cNvPr id="180" name="Freeform 24"/>
                <p:cNvSpPr>
                  <a:spLocks/>
                </p:cNvSpPr>
                <p:nvPr/>
              </p:nvSpPr>
              <p:spPr bwMode="auto">
                <a:xfrm>
                  <a:off x="5623564" y="4696696"/>
                  <a:ext cx="27411" cy="60914"/>
                </a:xfrm>
                <a:custGeom>
                  <a:avLst/>
                  <a:gdLst>
                    <a:gd name="T0" fmla="*/ 36 w 36"/>
                    <a:gd name="T1" fmla="*/ 0 h 80"/>
                    <a:gd name="T2" fmla="*/ 24 w 36"/>
                    <a:gd name="T3" fmla="*/ 0 h 80"/>
                    <a:gd name="T4" fmla="*/ 24 w 36"/>
                    <a:gd name="T5" fmla="*/ 0 h 80"/>
                    <a:gd name="T6" fmla="*/ 20 w 36"/>
                    <a:gd name="T7" fmla="*/ 6 h 80"/>
                    <a:gd name="T8" fmla="*/ 14 w 36"/>
                    <a:gd name="T9" fmla="*/ 12 h 80"/>
                    <a:gd name="T10" fmla="*/ 14 w 36"/>
                    <a:gd name="T11" fmla="*/ 12 h 80"/>
                    <a:gd name="T12" fmla="*/ 6 w 36"/>
                    <a:gd name="T13" fmla="*/ 18 h 80"/>
                    <a:gd name="T14" fmla="*/ 0 w 36"/>
                    <a:gd name="T15" fmla="*/ 20 h 80"/>
                    <a:gd name="T16" fmla="*/ 0 w 36"/>
                    <a:gd name="T17" fmla="*/ 34 h 80"/>
                    <a:gd name="T18" fmla="*/ 0 w 36"/>
                    <a:gd name="T19" fmla="*/ 34 h 80"/>
                    <a:gd name="T20" fmla="*/ 12 w 36"/>
                    <a:gd name="T21" fmla="*/ 30 h 80"/>
                    <a:gd name="T22" fmla="*/ 20 w 36"/>
                    <a:gd name="T23" fmla="*/ 22 h 80"/>
                    <a:gd name="T24" fmla="*/ 20 w 36"/>
                    <a:gd name="T25" fmla="*/ 80 h 80"/>
                    <a:gd name="T26" fmla="*/ 36 w 36"/>
                    <a:gd name="T27" fmla="*/ 80 h 80"/>
                    <a:gd name="T28" fmla="*/ 36 w 36"/>
                    <a:gd name="T29" fmla="*/ 0 h 80"/>
                    <a:gd name="T30" fmla="*/ 36 w 36"/>
                    <a:gd name="T31" fmla="*/ 0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6" h="80">
                      <a:moveTo>
                        <a:pt x="36" y="0"/>
                      </a:moveTo>
                      <a:lnTo>
                        <a:pt x="24" y="0"/>
                      </a:lnTo>
                      <a:lnTo>
                        <a:pt x="24" y="0"/>
                      </a:lnTo>
                      <a:lnTo>
                        <a:pt x="20" y="6"/>
                      </a:lnTo>
                      <a:lnTo>
                        <a:pt x="14" y="12"/>
                      </a:lnTo>
                      <a:lnTo>
                        <a:pt x="14" y="12"/>
                      </a:lnTo>
                      <a:lnTo>
                        <a:pt x="6" y="18"/>
                      </a:lnTo>
                      <a:lnTo>
                        <a:pt x="0" y="20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12" y="30"/>
                      </a:lnTo>
                      <a:lnTo>
                        <a:pt x="20" y="22"/>
                      </a:lnTo>
                      <a:lnTo>
                        <a:pt x="20" y="80"/>
                      </a:lnTo>
                      <a:lnTo>
                        <a:pt x="36" y="80"/>
                      </a:lnTo>
                      <a:lnTo>
                        <a:pt x="36" y="0"/>
                      </a:lnTo>
                      <a:lnTo>
                        <a:pt x="36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" pitchFamily="34" charset="0"/>
                  </a:endParaRPr>
                </a:p>
              </p:txBody>
            </p:sp>
            <p:sp>
              <p:nvSpPr>
                <p:cNvPr id="181" name="Freeform 25"/>
                <p:cNvSpPr>
                  <a:spLocks noEditPoints="1"/>
                </p:cNvSpPr>
                <p:nvPr/>
              </p:nvSpPr>
              <p:spPr bwMode="auto">
                <a:xfrm>
                  <a:off x="5734731" y="4696696"/>
                  <a:ext cx="41117" cy="62437"/>
                </a:xfrm>
                <a:custGeom>
                  <a:avLst/>
                  <a:gdLst>
                    <a:gd name="T0" fmla="*/ 8 w 54"/>
                    <a:gd name="T1" fmla="*/ 8 h 82"/>
                    <a:gd name="T2" fmla="*/ 8 w 54"/>
                    <a:gd name="T3" fmla="*/ 8 h 82"/>
                    <a:gd name="T4" fmla="*/ 6 w 54"/>
                    <a:gd name="T5" fmla="*/ 14 h 82"/>
                    <a:gd name="T6" fmla="*/ 2 w 54"/>
                    <a:gd name="T7" fmla="*/ 20 h 82"/>
                    <a:gd name="T8" fmla="*/ 0 w 54"/>
                    <a:gd name="T9" fmla="*/ 40 h 82"/>
                    <a:gd name="T10" fmla="*/ 0 w 54"/>
                    <a:gd name="T11" fmla="*/ 40 h 82"/>
                    <a:gd name="T12" fmla="*/ 2 w 54"/>
                    <a:gd name="T13" fmla="*/ 60 h 82"/>
                    <a:gd name="T14" fmla="*/ 4 w 54"/>
                    <a:gd name="T15" fmla="*/ 68 h 82"/>
                    <a:gd name="T16" fmla="*/ 8 w 54"/>
                    <a:gd name="T17" fmla="*/ 72 h 82"/>
                    <a:gd name="T18" fmla="*/ 8 w 54"/>
                    <a:gd name="T19" fmla="*/ 72 h 82"/>
                    <a:gd name="T20" fmla="*/ 12 w 54"/>
                    <a:gd name="T21" fmla="*/ 76 h 82"/>
                    <a:gd name="T22" fmla="*/ 16 w 54"/>
                    <a:gd name="T23" fmla="*/ 80 h 82"/>
                    <a:gd name="T24" fmla="*/ 22 w 54"/>
                    <a:gd name="T25" fmla="*/ 80 h 82"/>
                    <a:gd name="T26" fmla="*/ 28 w 54"/>
                    <a:gd name="T27" fmla="*/ 82 h 82"/>
                    <a:gd name="T28" fmla="*/ 28 w 54"/>
                    <a:gd name="T29" fmla="*/ 82 h 82"/>
                    <a:gd name="T30" fmla="*/ 38 w 54"/>
                    <a:gd name="T31" fmla="*/ 80 h 82"/>
                    <a:gd name="T32" fmla="*/ 42 w 54"/>
                    <a:gd name="T33" fmla="*/ 76 h 82"/>
                    <a:gd name="T34" fmla="*/ 46 w 54"/>
                    <a:gd name="T35" fmla="*/ 74 h 82"/>
                    <a:gd name="T36" fmla="*/ 46 w 54"/>
                    <a:gd name="T37" fmla="*/ 74 h 82"/>
                    <a:gd name="T38" fmla="*/ 48 w 54"/>
                    <a:gd name="T39" fmla="*/ 68 h 82"/>
                    <a:gd name="T40" fmla="*/ 52 w 54"/>
                    <a:gd name="T41" fmla="*/ 60 h 82"/>
                    <a:gd name="T42" fmla="*/ 54 w 54"/>
                    <a:gd name="T43" fmla="*/ 40 h 82"/>
                    <a:gd name="T44" fmla="*/ 54 w 54"/>
                    <a:gd name="T45" fmla="*/ 40 h 82"/>
                    <a:gd name="T46" fmla="*/ 52 w 54"/>
                    <a:gd name="T47" fmla="*/ 20 h 82"/>
                    <a:gd name="T48" fmla="*/ 48 w 54"/>
                    <a:gd name="T49" fmla="*/ 14 h 82"/>
                    <a:gd name="T50" fmla="*/ 46 w 54"/>
                    <a:gd name="T51" fmla="*/ 8 h 82"/>
                    <a:gd name="T52" fmla="*/ 46 w 54"/>
                    <a:gd name="T53" fmla="*/ 8 h 82"/>
                    <a:gd name="T54" fmla="*/ 42 w 54"/>
                    <a:gd name="T55" fmla="*/ 4 h 82"/>
                    <a:gd name="T56" fmla="*/ 38 w 54"/>
                    <a:gd name="T57" fmla="*/ 2 h 82"/>
                    <a:gd name="T58" fmla="*/ 28 w 54"/>
                    <a:gd name="T59" fmla="*/ 0 h 82"/>
                    <a:gd name="T60" fmla="*/ 28 w 54"/>
                    <a:gd name="T61" fmla="*/ 0 h 82"/>
                    <a:gd name="T62" fmla="*/ 16 w 54"/>
                    <a:gd name="T63" fmla="*/ 2 h 82"/>
                    <a:gd name="T64" fmla="*/ 12 w 54"/>
                    <a:gd name="T65" fmla="*/ 4 h 82"/>
                    <a:gd name="T66" fmla="*/ 8 w 54"/>
                    <a:gd name="T67" fmla="*/ 8 h 82"/>
                    <a:gd name="T68" fmla="*/ 8 w 54"/>
                    <a:gd name="T69" fmla="*/ 8 h 82"/>
                    <a:gd name="T70" fmla="*/ 8 w 54"/>
                    <a:gd name="T71" fmla="*/ 8 h 82"/>
                    <a:gd name="T72" fmla="*/ 32 w 54"/>
                    <a:gd name="T73" fmla="*/ 14 h 82"/>
                    <a:gd name="T74" fmla="*/ 32 w 54"/>
                    <a:gd name="T75" fmla="*/ 14 h 82"/>
                    <a:gd name="T76" fmla="*/ 36 w 54"/>
                    <a:gd name="T77" fmla="*/ 22 h 82"/>
                    <a:gd name="T78" fmla="*/ 36 w 54"/>
                    <a:gd name="T79" fmla="*/ 22 h 82"/>
                    <a:gd name="T80" fmla="*/ 38 w 54"/>
                    <a:gd name="T81" fmla="*/ 40 h 82"/>
                    <a:gd name="T82" fmla="*/ 38 w 54"/>
                    <a:gd name="T83" fmla="*/ 40 h 82"/>
                    <a:gd name="T84" fmla="*/ 36 w 54"/>
                    <a:gd name="T85" fmla="*/ 60 h 82"/>
                    <a:gd name="T86" fmla="*/ 36 w 54"/>
                    <a:gd name="T87" fmla="*/ 60 h 82"/>
                    <a:gd name="T88" fmla="*/ 32 w 54"/>
                    <a:gd name="T89" fmla="*/ 66 h 82"/>
                    <a:gd name="T90" fmla="*/ 32 w 54"/>
                    <a:gd name="T91" fmla="*/ 66 h 82"/>
                    <a:gd name="T92" fmla="*/ 28 w 54"/>
                    <a:gd name="T93" fmla="*/ 68 h 82"/>
                    <a:gd name="T94" fmla="*/ 28 w 54"/>
                    <a:gd name="T95" fmla="*/ 68 h 82"/>
                    <a:gd name="T96" fmla="*/ 22 w 54"/>
                    <a:gd name="T97" fmla="*/ 66 h 82"/>
                    <a:gd name="T98" fmla="*/ 22 w 54"/>
                    <a:gd name="T99" fmla="*/ 66 h 82"/>
                    <a:gd name="T100" fmla="*/ 18 w 54"/>
                    <a:gd name="T101" fmla="*/ 60 h 82"/>
                    <a:gd name="T102" fmla="*/ 18 w 54"/>
                    <a:gd name="T103" fmla="*/ 60 h 82"/>
                    <a:gd name="T104" fmla="*/ 18 w 54"/>
                    <a:gd name="T105" fmla="*/ 40 h 82"/>
                    <a:gd name="T106" fmla="*/ 18 w 54"/>
                    <a:gd name="T107" fmla="*/ 40 h 82"/>
                    <a:gd name="T108" fmla="*/ 18 w 54"/>
                    <a:gd name="T109" fmla="*/ 20 h 82"/>
                    <a:gd name="T110" fmla="*/ 18 w 54"/>
                    <a:gd name="T111" fmla="*/ 20 h 82"/>
                    <a:gd name="T112" fmla="*/ 22 w 54"/>
                    <a:gd name="T113" fmla="*/ 14 h 82"/>
                    <a:gd name="T114" fmla="*/ 22 w 54"/>
                    <a:gd name="T115" fmla="*/ 14 h 82"/>
                    <a:gd name="T116" fmla="*/ 28 w 54"/>
                    <a:gd name="T117" fmla="*/ 12 h 82"/>
                    <a:gd name="T118" fmla="*/ 28 w 54"/>
                    <a:gd name="T119" fmla="*/ 12 h 82"/>
                    <a:gd name="T120" fmla="*/ 32 w 54"/>
                    <a:gd name="T121" fmla="*/ 14 h 82"/>
                    <a:gd name="T122" fmla="*/ 32 w 54"/>
                    <a:gd name="T123" fmla="*/ 14 h 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54" h="82">
                      <a:moveTo>
                        <a:pt x="8" y="8"/>
                      </a:moveTo>
                      <a:lnTo>
                        <a:pt x="8" y="8"/>
                      </a:lnTo>
                      <a:lnTo>
                        <a:pt x="6" y="14"/>
                      </a:lnTo>
                      <a:lnTo>
                        <a:pt x="2" y="20"/>
                      </a:lnTo>
                      <a:lnTo>
                        <a:pt x="0" y="40"/>
                      </a:lnTo>
                      <a:lnTo>
                        <a:pt x="0" y="40"/>
                      </a:lnTo>
                      <a:lnTo>
                        <a:pt x="2" y="60"/>
                      </a:lnTo>
                      <a:lnTo>
                        <a:pt x="4" y="68"/>
                      </a:lnTo>
                      <a:lnTo>
                        <a:pt x="8" y="72"/>
                      </a:lnTo>
                      <a:lnTo>
                        <a:pt x="8" y="72"/>
                      </a:lnTo>
                      <a:lnTo>
                        <a:pt x="12" y="76"/>
                      </a:lnTo>
                      <a:lnTo>
                        <a:pt x="16" y="80"/>
                      </a:lnTo>
                      <a:lnTo>
                        <a:pt x="22" y="80"/>
                      </a:lnTo>
                      <a:lnTo>
                        <a:pt x="28" y="82"/>
                      </a:lnTo>
                      <a:lnTo>
                        <a:pt x="28" y="82"/>
                      </a:lnTo>
                      <a:lnTo>
                        <a:pt x="38" y="80"/>
                      </a:lnTo>
                      <a:lnTo>
                        <a:pt x="42" y="76"/>
                      </a:lnTo>
                      <a:lnTo>
                        <a:pt x="46" y="74"/>
                      </a:lnTo>
                      <a:lnTo>
                        <a:pt x="46" y="74"/>
                      </a:lnTo>
                      <a:lnTo>
                        <a:pt x="48" y="68"/>
                      </a:lnTo>
                      <a:lnTo>
                        <a:pt x="52" y="60"/>
                      </a:lnTo>
                      <a:lnTo>
                        <a:pt x="54" y="40"/>
                      </a:lnTo>
                      <a:lnTo>
                        <a:pt x="54" y="40"/>
                      </a:lnTo>
                      <a:lnTo>
                        <a:pt x="52" y="20"/>
                      </a:lnTo>
                      <a:lnTo>
                        <a:pt x="48" y="14"/>
                      </a:lnTo>
                      <a:lnTo>
                        <a:pt x="46" y="8"/>
                      </a:lnTo>
                      <a:lnTo>
                        <a:pt x="46" y="8"/>
                      </a:lnTo>
                      <a:lnTo>
                        <a:pt x="42" y="4"/>
                      </a:lnTo>
                      <a:lnTo>
                        <a:pt x="38" y="2"/>
                      </a:lnTo>
                      <a:lnTo>
                        <a:pt x="28" y="0"/>
                      </a:lnTo>
                      <a:lnTo>
                        <a:pt x="28" y="0"/>
                      </a:lnTo>
                      <a:lnTo>
                        <a:pt x="16" y="2"/>
                      </a:lnTo>
                      <a:lnTo>
                        <a:pt x="12" y="4"/>
                      </a:lnTo>
                      <a:lnTo>
                        <a:pt x="8" y="8"/>
                      </a:lnTo>
                      <a:lnTo>
                        <a:pt x="8" y="8"/>
                      </a:lnTo>
                      <a:lnTo>
                        <a:pt x="8" y="8"/>
                      </a:lnTo>
                      <a:close/>
                      <a:moveTo>
                        <a:pt x="32" y="14"/>
                      </a:moveTo>
                      <a:lnTo>
                        <a:pt x="32" y="14"/>
                      </a:lnTo>
                      <a:lnTo>
                        <a:pt x="36" y="22"/>
                      </a:lnTo>
                      <a:lnTo>
                        <a:pt x="36" y="22"/>
                      </a:lnTo>
                      <a:lnTo>
                        <a:pt x="38" y="40"/>
                      </a:lnTo>
                      <a:lnTo>
                        <a:pt x="38" y="40"/>
                      </a:lnTo>
                      <a:lnTo>
                        <a:pt x="36" y="60"/>
                      </a:lnTo>
                      <a:lnTo>
                        <a:pt x="36" y="60"/>
                      </a:lnTo>
                      <a:lnTo>
                        <a:pt x="32" y="66"/>
                      </a:lnTo>
                      <a:lnTo>
                        <a:pt x="32" y="66"/>
                      </a:lnTo>
                      <a:lnTo>
                        <a:pt x="28" y="68"/>
                      </a:lnTo>
                      <a:lnTo>
                        <a:pt x="28" y="68"/>
                      </a:lnTo>
                      <a:lnTo>
                        <a:pt x="22" y="66"/>
                      </a:lnTo>
                      <a:lnTo>
                        <a:pt x="22" y="66"/>
                      </a:lnTo>
                      <a:lnTo>
                        <a:pt x="18" y="60"/>
                      </a:lnTo>
                      <a:lnTo>
                        <a:pt x="18" y="60"/>
                      </a:lnTo>
                      <a:lnTo>
                        <a:pt x="18" y="40"/>
                      </a:lnTo>
                      <a:lnTo>
                        <a:pt x="18" y="40"/>
                      </a:lnTo>
                      <a:lnTo>
                        <a:pt x="18" y="20"/>
                      </a:lnTo>
                      <a:lnTo>
                        <a:pt x="18" y="20"/>
                      </a:lnTo>
                      <a:lnTo>
                        <a:pt x="22" y="14"/>
                      </a:lnTo>
                      <a:lnTo>
                        <a:pt x="22" y="14"/>
                      </a:lnTo>
                      <a:lnTo>
                        <a:pt x="28" y="12"/>
                      </a:lnTo>
                      <a:lnTo>
                        <a:pt x="28" y="12"/>
                      </a:lnTo>
                      <a:lnTo>
                        <a:pt x="32" y="14"/>
                      </a:lnTo>
                      <a:lnTo>
                        <a:pt x="32" y="1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" pitchFamily="34" charset="0"/>
                  </a:endParaRPr>
                </a:p>
              </p:txBody>
            </p:sp>
            <p:sp>
              <p:nvSpPr>
                <p:cNvPr id="182" name="Freeform 26"/>
                <p:cNvSpPr>
                  <a:spLocks/>
                </p:cNvSpPr>
                <p:nvPr/>
              </p:nvSpPr>
              <p:spPr bwMode="auto">
                <a:xfrm>
                  <a:off x="5851991" y="4696696"/>
                  <a:ext cx="27411" cy="60914"/>
                </a:xfrm>
                <a:custGeom>
                  <a:avLst/>
                  <a:gdLst>
                    <a:gd name="T0" fmla="*/ 36 w 36"/>
                    <a:gd name="T1" fmla="*/ 0 h 80"/>
                    <a:gd name="T2" fmla="*/ 24 w 36"/>
                    <a:gd name="T3" fmla="*/ 0 h 80"/>
                    <a:gd name="T4" fmla="*/ 24 w 36"/>
                    <a:gd name="T5" fmla="*/ 0 h 80"/>
                    <a:gd name="T6" fmla="*/ 20 w 36"/>
                    <a:gd name="T7" fmla="*/ 6 h 80"/>
                    <a:gd name="T8" fmla="*/ 14 w 36"/>
                    <a:gd name="T9" fmla="*/ 12 h 80"/>
                    <a:gd name="T10" fmla="*/ 14 w 36"/>
                    <a:gd name="T11" fmla="*/ 12 h 80"/>
                    <a:gd name="T12" fmla="*/ 8 w 36"/>
                    <a:gd name="T13" fmla="*/ 18 h 80"/>
                    <a:gd name="T14" fmla="*/ 0 w 36"/>
                    <a:gd name="T15" fmla="*/ 20 h 80"/>
                    <a:gd name="T16" fmla="*/ 0 w 36"/>
                    <a:gd name="T17" fmla="*/ 34 h 80"/>
                    <a:gd name="T18" fmla="*/ 0 w 36"/>
                    <a:gd name="T19" fmla="*/ 34 h 80"/>
                    <a:gd name="T20" fmla="*/ 12 w 36"/>
                    <a:gd name="T21" fmla="*/ 30 h 80"/>
                    <a:gd name="T22" fmla="*/ 20 w 36"/>
                    <a:gd name="T23" fmla="*/ 22 h 80"/>
                    <a:gd name="T24" fmla="*/ 20 w 36"/>
                    <a:gd name="T25" fmla="*/ 80 h 80"/>
                    <a:gd name="T26" fmla="*/ 36 w 36"/>
                    <a:gd name="T27" fmla="*/ 80 h 80"/>
                    <a:gd name="T28" fmla="*/ 36 w 36"/>
                    <a:gd name="T29" fmla="*/ 0 h 80"/>
                    <a:gd name="T30" fmla="*/ 36 w 36"/>
                    <a:gd name="T31" fmla="*/ 0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6" h="80">
                      <a:moveTo>
                        <a:pt x="36" y="0"/>
                      </a:moveTo>
                      <a:lnTo>
                        <a:pt x="24" y="0"/>
                      </a:lnTo>
                      <a:lnTo>
                        <a:pt x="24" y="0"/>
                      </a:lnTo>
                      <a:lnTo>
                        <a:pt x="20" y="6"/>
                      </a:lnTo>
                      <a:lnTo>
                        <a:pt x="14" y="12"/>
                      </a:lnTo>
                      <a:lnTo>
                        <a:pt x="14" y="12"/>
                      </a:lnTo>
                      <a:lnTo>
                        <a:pt x="8" y="18"/>
                      </a:lnTo>
                      <a:lnTo>
                        <a:pt x="0" y="20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12" y="30"/>
                      </a:lnTo>
                      <a:lnTo>
                        <a:pt x="20" y="22"/>
                      </a:lnTo>
                      <a:lnTo>
                        <a:pt x="20" y="80"/>
                      </a:lnTo>
                      <a:lnTo>
                        <a:pt x="36" y="80"/>
                      </a:lnTo>
                      <a:lnTo>
                        <a:pt x="36" y="0"/>
                      </a:lnTo>
                      <a:lnTo>
                        <a:pt x="36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" pitchFamily="34" charset="0"/>
                  </a:endParaRPr>
                </a:p>
              </p:txBody>
            </p:sp>
            <p:sp>
              <p:nvSpPr>
                <p:cNvPr id="183" name="Freeform 27"/>
                <p:cNvSpPr>
                  <a:spLocks noEditPoints="1"/>
                </p:cNvSpPr>
                <p:nvPr/>
              </p:nvSpPr>
              <p:spPr bwMode="auto">
                <a:xfrm>
                  <a:off x="5963158" y="4696696"/>
                  <a:ext cx="39594" cy="62437"/>
                </a:xfrm>
                <a:custGeom>
                  <a:avLst/>
                  <a:gdLst>
                    <a:gd name="T0" fmla="*/ 8 w 52"/>
                    <a:gd name="T1" fmla="*/ 8 h 82"/>
                    <a:gd name="T2" fmla="*/ 8 w 52"/>
                    <a:gd name="T3" fmla="*/ 8 h 82"/>
                    <a:gd name="T4" fmla="*/ 4 w 52"/>
                    <a:gd name="T5" fmla="*/ 14 h 82"/>
                    <a:gd name="T6" fmla="*/ 2 w 52"/>
                    <a:gd name="T7" fmla="*/ 20 h 82"/>
                    <a:gd name="T8" fmla="*/ 0 w 52"/>
                    <a:gd name="T9" fmla="*/ 40 h 82"/>
                    <a:gd name="T10" fmla="*/ 0 w 52"/>
                    <a:gd name="T11" fmla="*/ 40 h 82"/>
                    <a:gd name="T12" fmla="*/ 2 w 52"/>
                    <a:gd name="T13" fmla="*/ 60 h 82"/>
                    <a:gd name="T14" fmla="*/ 4 w 52"/>
                    <a:gd name="T15" fmla="*/ 68 h 82"/>
                    <a:gd name="T16" fmla="*/ 8 w 52"/>
                    <a:gd name="T17" fmla="*/ 72 h 82"/>
                    <a:gd name="T18" fmla="*/ 8 w 52"/>
                    <a:gd name="T19" fmla="*/ 72 h 82"/>
                    <a:gd name="T20" fmla="*/ 12 w 52"/>
                    <a:gd name="T21" fmla="*/ 76 h 82"/>
                    <a:gd name="T22" fmla="*/ 16 w 52"/>
                    <a:gd name="T23" fmla="*/ 80 h 82"/>
                    <a:gd name="T24" fmla="*/ 20 w 52"/>
                    <a:gd name="T25" fmla="*/ 80 h 82"/>
                    <a:gd name="T26" fmla="*/ 26 w 52"/>
                    <a:gd name="T27" fmla="*/ 82 h 82"/>
                    <a:gd name="T28" fmla="*/ 26 w 52"/>
                    <a:gd name="T29" fmla="*/ 82 h 82"/>
                    <a:gd name="T30" fmla="*/ 36 w 52"/>
                    <a:gd name="T31" fmla="*/ 80 h 82"/>
                    <a:gd name="T32" fmla="*/ 40 w 52"/>
                    <a:gd name="T33" fmla="*/ 76 h 82"/>
                    <a:gd name="T34" fmla="*/ 44 w 52"/>
                    <a:gd name="T35" fmla="*/ 74 h 82"/>
                    <a:gd name="T36" fmla="*/ 44 w 52"/>
                    <a:gd name="T37" fmla="*/ 74 h 82"/>
                    <a:gd name="T38" fmla="*/ 48 w 52"/>
                    <a:gd name="T39" fmla="*/ 68 h 82"/>
                    <a:gd name="T40" fmla="*/ 50 w 52"/>
                    <a:gd name="T41" fmla="*/ 60 h 82"/>
                    <a:gd name="T42" fmla="*/ 52 w 52"/>
                    <a:gd name="T43" fmla="*/ 40 h 82"/>
                    <a:gd name="T44" fmla="*/ 52 w 52"/>
                    <a:gd name="T45" fmla="*/ 40 h 82"/>
                    <a:gd name="T46" fmla="*/ 50 w 52"/>
                    <a:gd name="T47" fmla="*/ 20 h 82"/>
                    <a:gd name="T48" fmla="*/ 48 w 52"/>
                    <a:gd name="T49" fmla="*/ 14 h 82"/>
                    <a:gd name="T50" fmla="*/ 44 w 52"/>
                    <a:gd name="T51" fmla="*/ 8 h 82"/>
                    <a:gd name="T52" fmla="*/ 44 w 52"/>
                    <a:gd name="T53" fmla="*/ 8 h 82"/>
                    <a:gd name="T54" fmla="*/ 42 w 52"/>
                    <a:gd name="T55" fmla="*/ 4 h 82"/>
                    <a:gd name="T56" fmla="*/ 36 w 52"/>
                    <a:gd name="T57" fmla="*/ 2 h 82"/>
                    <a:gd name="T58" fmla="*/ 26 w 52"/>
                    <a:gd name="T59" fmla="*/ 0 h 82"/>
                    <a:gd name="T60" fmla="*/ 26 w 52"/>
                    <a:gd name="T61" fmla="*/ 0 h 82"/>
                    <a:gd name="T62" fmla="*/ 16 w 52"/>
                    <a:gd name="T63" fmla="*/ 2 h 82"/>
                    <a:gd name="T64" fmla="*/ 12 w 52"/>
                    <a:gd name="T65" fmla="*/ 4 h 82"/>
                    <a:gd name="T66" fmla="*/ 8 w 52"/>
                    <a:gd name="T67" fmla="*/ 8 h 82"/>
                    <a:gd name="T68" fmla="*/ 8 w 52"/>
                    <a:gd name="T69" fmla="*/ 8 h 82"/>
                    <a:gd name="T70" fmla="*/ 8 w 52"/>
                    <a:gd name="T71" fmla="*/ 8 h 82"/>
                    <a:gd name="T72" fmla="*/ 32 w 52"/>
                    <a:gd name="T73" fmla="*/ 14 h 82"/>
                    <a:gd name="T74" fmla="*/ 32 w 52"/>
                    <a:gd name="T75" fmla="*/ 14 h 82"/>
                    <a:gd name="T76" fmla="*/ 34 w 52"/>
                    <a:gd name="T77" fmla="*/ 22 h 82"/>
                    <a:gd name="T78" fmla="*/ 34 w 52"/>
                    <a:gd name="T79" fmla="*/ 22 h 82"/>
                    <a:gd name="T80" fmla="*/ 36 w 52"/>
                    <a:gd name="T81" fmla="*/ 40 h 82"/>
                    <a:gd name="T82" fmla="*/ 36 w 52"/>
                    <a:gd name="T83" fmla="*/ 40 h 82"/>
                    <a:gd name="T84" fmla="*/ 34 w 52"/>
                    <a:gd name="T85" fmla="*/ 60 h 82"/>
                    <a:gd name="T86" fmla="*/ 34 w 52"/>
                    <a:gd name="T87" fmla="*/ 60 h 82"/>
                    <a:gd name="T88" fmla="*/ 32 w 52"/>
                    <a:gd name="T89" fmla="*/ 66 h 82"/>
                    <a:gd name="T90" fmla="*/ 32 w 52"/>
                    <a:gd name="T91" fmla="*/ 66 h 82"/>
                    <a:gd name="T92" fmla="*/ 26 w 52"/>
                    <a:gd name="T93" fmla="*/ 68 h 82"/>
                    <a:gd name="T94" fmla="*/ 26 w 52"/>
                    <a:gd name="T95" fmla="*/ 68 h 82"/>
                    <a:gd name="T96" fmla="*/ 22 w 52"/>
                    <a:gd name="T97" fmla="*/ 66 h 82"/>
                    <a:gd name="T98" fmla="*/ 22 w 52"/>
                    <a:gd name="T99" fmla="*/ 66 h 82"/>
                    <a:gd name="T100" fmla="*/ 18 w 52"/>
                    <a:gd name="T101" fmla="*/ 60 h 82"/>
                    <a:gd name="T102" fmla="*/ 18 w 52"/>
                    <a:gd name="T103" fmla="*/ 60 h 82"/>
                    <a:gd name="T104" fmla="*/ 16 w 52"/>
                    <a:gd name="T105" fmla="*/ 40 h 82"/>
                    <a:gd name="T106" fmla="*/ 16 w 52"/>
                    <a:gd name="T107" fmla="*/ 40 h 82"/>
                    <a:gd name="T108" fmla="*/ 18 w 52"/>
                    <a:gd name="T109" fmla="*/ 20 h 82"/>
                    <a:gd name="T110" fmla="*/ 18 w 52"/>
                    <a:gd name="T111" fmla="*/ 20 h 82"/>
                    <a:gd name="T112" fmla="*/ 22 w 52"/>
                    <a:gd name="T113" fmla="*/ 14 h 82"/>
                    <a:gd name="T114" fmla="*/ 22 w 52"/>
                    <a:gd name="T115" fmla="*/ 14 h 82"/>
                    <a:gd name="T116" fmla="*/ 26 w 52"/>
                    <a:gd name="T117" fmla="*/ 12 h 82"/>
                    <a:gd name="T118" fmla="*/ 26 w 52"/>
                    <a:gd name="T119" fmla="*/ 12 h 82"/>
                    <a:gd name="T120" fmla="*/ 32 w 52"/>
                    <a:gd name="T121" fmla="*/ 14 h 82"/>
                    <a:gd name="T122" fmla="*/ 32 w 52"/>
                    <a:gd name="T123" fmla="*/ 14 h 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52" h="82">
                      <a:moveTo>
                        <a:pt x="8" y="8"/>
                      </a:moveTo>
                      <a:lnTo>
                        <a:pt x="8" y="8"/>
                      </a:lnTo>
                      <a:lnTo>
                        <a:pt x="4" y="14"/>
                      </a:lnTo>
                      <a:lnTo>
                        <a:pt x="2" y="20"/>
                      </a:lnTo>
                      <a:lnTo>
                        <a:pt x="0" y="40"/>
                      </a:lnTo>
                      <a:lnTo>
                        <a:pt x="0" y="40"/>
                      </a:lnTo>
                      <a:lnTo>
                        <a:pt x="2" y="60"/>
                      </a:lnTo>
                      <a:lnTo>
                        <a:pt x="4" y="68"/>
                      </a:lnTo>
                      <a:lnTo>
                        <a:pt x="8" y="72"/>
                      </a:lnTo>
                      <a:lnTo>
                        <a:pt x="8" y="72"/>
                      </a:lnTo>
                      <a:lnTo>
                        <a:pt x="12" y="76"/>
                      </a:lnTo>
                      <a:lnTo>
                        <a:pt x="16" y="80"/>
                      </a:lnTo>
                      <a:lnTo>
                        <a:pt x="20" y="80"/>
                      </a:lnTo>
                      <a:lnTo>
                        <a:pt x="26" y="82"/>
                      </a:lnTo>
                      <a:lnTo>
                        <a:pt x="26" y="82"/>
                      </a:lnTo>
                      <a:lnTo>
                        <a:pt x="36" y="80"/>
                      </a:lnTo>
                      <a:lnTo>
                        <a:pt x="40" y="76"/>
                      </a:lnTo>
                      <a:lnTo>
                        <a:pt x="44" y="74"/>
                      </a:lnTo>
                      <a:lnTo>
                        <a:pt x="44" y="74"/>
                      </a:lnTo>
                      <a:lnTo>
                        <a:pt x="48" y="68"/>
                      </a:lnTo>
                      <a:lnTo>
                        <a:pt x="50" y="60"/>
                      </a:lnTo>
                      <a:lnTo>
                        <a:pt x="52" y="40"/>
                      </a:lnTo>
                      <a:lnTo>
                        <a:pt x="52" y="40"/>
                      </a:lnTo>
                      <a:lnTo>
                        <a:pt x="50" y="20"/>
                      </a:lnTo>
                      <a:lnTo>
                        <a:pt x="48" y="14"/>
                      </a:lnTo>
                      <a:lnTo>
                        <a:pt x="44" y="8"/>
                      </a:lnTo>
                      <a:lnTo>
                        <a:pt x="44" y="8"/>
                      </a:lnTo>
                      <a:lnTo>
                        <a:pt x="42" y="4"/>
                      </a:lnTo>
                      <a:lnTo>
                        <a:pt x="36" y="2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16" y="2"/>
                      </a:lnTo>
                      <a:lnTo>
                        <a:pt x="12" y="4"/>
                      </a:lnTo>
                      <a:lnTo>
                        <a:pt x="8" y="8"/>
                      </a:lnTo>
                      <a:lnTo>
                        <a:pt x="8" y="8"/>
                      </a:lnTo>
                      <a:lnTo>
                        <a:pt x="8" y="8"/>
                      </a:lnTo>
                      <a:close/>
                      <a:moveTo>
                        <a:pt x="32" y="14"/>
                      </a:moveTo>
                      <a:lnTo>
                        <a:pt x="32" y="14"/>
                      </a:lnTo>
                      <a:lnTo>
                        <a:pt x="34" y="22"/>
                      </a:lnTo>
                      <a:lnTo>
                        <a:pt x="34" y="22"/>
                      </a:lnTo>
                      <a:lnTo>
                        <a:pt x="36" y="40"/>
                      </a:lnTo>
                      <a:lnTo>
                        <a:pt x="36" y="40"/>
                      </a:lnTo>
                      <a:lnTo>
                        <a:pt x="34" y="60"/>
                      </a:lnTo>
                      <a:lnTo>
                        <a:pt x="34" y="60"/>
                      </a:lnTo>
                      <a:lnTo>
                        <a:pt x="32" y="66"/>
                      </a:lnTo>
                      <a:lnTo>
                        <a:pt x="32" y="66"/>
                      </a:lnTo>
                      <a:lnTo>
                        <a:pt x="26" y="68"/>
                      </a:lnTo>
                      <a:lnTo>
                        <a:pt x="26" y="68"/>
                      </a:lnTo>
                      <a:lnTo>
                        <a:pt x="22" y="66"/>
                      </a:lnTo>
                      <a:lnTo>
                        <a:pt x="22" y="66"/>
                      </a:lnTo>
                      <a:lnTo>
                        <a:pt x="18" y="60"/>
                      </a:lnTo>
                      <a:lnTo>
                        <a:pt x="18" y="60"/>
                      </a:lnTo>
                      <a:lnTo>
                        <a:pt x="16" y="40"/>
                      </a:lnTo>
                      <a:lnTo>
                        <a:pt x="16" y="40"/>
                      </a:lnTo>
                      <a:lnTo>
                        <a:pt x="18" y="20"/>
                      </a:lnTo>
                      <a:lnTo>
                        <a:pt x="18" y="20"/>
                      </a:lnTo>
                      <a:lnTo>
                        <a:pt x="22" y="14"/>
                      </a:lnTo>
                      <a:lnTo>
                        <a:pt x="22" y="14"/>
                      </a:lnTo>
                      <a:lnTo>
                        <a:pt x="26" y="12"/>
                      </a:lnTo>
                      <a:lnTo>
                        <a:pt x="26" y="12"/>
                      </a:lnTo>
                      <a:lnTo>
                        <a:pt x="32" y="14"/>
                      </a:lnTo>
                      <a:lnTo>
                        <a:pt x="32" y="1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" pitchFamily="34" charset="0"/>
                  </a:endParaRPr>
                </a:p>
              </p:txBody>
            </p:sp>
            <p:sp>
              <p:nvSpPr>
                <p:cNvPr id="184" name="Freeform 49"/>
                <p:cNvSpPr>
                  <a:spLocks/>
                </p:cNvSpPr>
                <p:nvPr/>
              </p:nvSpPr>
              <p:spPr bwMode="auto">
                <a:xfrm>
                  <a:off x="5288537" y="4828294"/>
                  <a:ext cx="27411" cy="60914"/>
                </a:xfrm>
                <a:custGeom>
                  <a:avLst/>
                  <a:gdLst>
                    <a:gd name="T0" fmla="*/ 36 w 36"/>
                    <a:gd name="T1" fmla="*/ 0 h 80"/>
                    <a:gd name="T2" fmla="*/ 24 w 36"/>
                    <a:gd name="T3" fmla="*/ 0 h 80"/>
                    <a:gd name="T4" fmla="*/ 24 w 36"/>
                    <a:gd name="T5" fmla="*/ 0 h 80"/>
                    <a:gd name="T6" fmla="*/ 20 w 36"/>
                    <a:gd name="T7" fmla="*/ 6 h 80"/>
                    <a:gd name="T8" fmla="*/ 14 w 36"/>
                    <a:gd name="T9" fmla="*/ 12 h 80"/>
                    <a:gd name="T10" fmla="*/ 14 w 36"/>
                    <a:gd name="T11" fmla="*/ 12 h 80"/>
                    <a:gd name="T12" fmla="*/ 8 w 36"/>
                    <a:gd name="T13" fmla="*/ 16 h 80"/>
                    <a:gd name="T14" fmla="*/ 0 w 36"/>
                    <a:gd name="T15" fmla="*/ 20 h 80"/>
                    <a:gd name="T16" fmla="*/ 0 w 36"/>
                    <a:gd name="T17" fmla="*/ 34 h 80"/>
                    <a:gd name="T18" fmla="*/ 0 w 36"/>
                    <a:gd name="T19" fmla="*/ 34 h 80"/>
                    <a:gd name="T20" fmla="*/ 12 w 36"/>
                    <a:gd name="T21" fmla="*/ 28 h 80"/>
                    <a:gd name="T22" fmla="*/ 20 w 36"/>
                    <a:gd name="T23" fmla="*/ 22 h 80"/>
                    <a:gd name="T24" fmla="*/ 20 w 36"/>
                    <a:gd name="T25" fmla="*/ 80 h 80"/>
                    <a:gd name="T26" fmla="*/ 36 w 36"/>
                    <a:gd name="T27" fmla="*/ 80 h 80"/>
                    <a:gd name="T28" fmla="*/ 36 w 36"/>
                    <a:gd name="T29" fmla="*/ 0 h 80"/>
                    <a:gd name="T30" fmla="*/ 36 w 36"/>
                    <a:gd name="T31" fmla="*/ 0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6" h="80">
                      <a:moveTo>
                        <a:pt x="36" y="0"/>
                      </a:moveTo>
                      <a:lnTo>
                        <a:pt x="24" y="0"/>
                      </a:lnTo>
                      <a:lnTo>
                        <a:pt x="24" y="0"/>
                      </a:lnTo>
                      <a:lnTo>
                        <a:pt x="20" y="6"/>
                      </a:lnTo>
                      <a:lnTo>
                        <a:pt x="14" y="12"/>
                      </a:lnTo>
                      <a:lnTo>
                        <a:pt x="14" y="12"/>
                      </a:lnTo>
                      <a:lnTo>
                        <a:pt x="8" y="16"/>
                      </a:lnTo>
                      <a:lnTo>
                        <a:pt x="0" y="20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12" y="28"/>
                      </a:lnTo>
                      <a:lnTo>
                        <a:pt x="20" y="22"/>
                      </a:lnTo>
                      <a:lnTo>
                        <a:pt x="20" y="80"/>
                      </a:lnTo>
                      <a:lnTo>
                        <a:pt x="36" y="80"/>
                      </a:lnTo>
                      <a:lnTo>
                        <a:pt x="36" y="0"/>
                      </a:lnTo>
                      <a:lnTo>
                        <a:pt x="36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" pitchFamily="34" charset="0"/>
                  </a:endParaRPr>
                </a:p>
              </p:txBody>
            </p:sp>
            <p:sp>
              <p:nvSpPr>
                <p:cNvPr id="185" name="Freeform 50"/>
                <p:cNvSpPr>
                  <a:spLocks noEditPoints="1"/>
                </p:cNvSpPr>
                <p:nvPr/>
              </p:nvSpPr>
              <p:spPr bwMode="auto">
                <a:xfrm>
                  <a:off x="5385931" y="4828294"/>
                  <a:ext cx="39594" cy="62437"/>
                </a:xfrm>
                <a:custGeom>
                  <a:avLst/>
                  <a:gdLst>
                    <a:gd name="T0" fmla="*/ 8 w 52"/>
                    <a:gd name="T1" fmla="*/ 8 h 82"/>
                    <a:gd name="T2" fmla="*/ 8 w 52"/>
                    <a:gd name="T3" fmla="*/ 8 h 82"/>
                    <a:gd name="T4" fmla="*/ 4 w 52"/>
                    <a:gd name="T5" fmla="*/ 14 h 82"/>
                    <a:gd name="T6" fmla="*/ 2 w 52"/>
                    <a:gd name="T7" fmla="*/ 20 h 82"/>
                    <a:gd name="T8" fmla="*/ 0 w 52"/>
                    <a:gd name="T9" fmla="*/ 40 h 82"/>
                    <a:gd name="T10" fmla="*/ 0 w 52"/>
                    <a:gd name="T11" fmla="*/ 40 h 82"/>
                    <a:gd name="T12" fmla="*/ 2 w 52"/>
                    <a:gd name="T13" fmla="*/ 60 h 82"/>
                    <a:gd name="T14" fmla="*/ 4 w 52"/>
                    <a:gd name="T15" fmla="*/ 66 h 82"/>
                    <a:gd name="T16" fmla="*/ 8 w 52"/>
                    <a:gd name="T17" fmla="*/ 72 h 82"/>
                    <a:gd name="T18" fmla="*/ 8 w 52"/>
                    <a:gd name="T19" fmla="*/ 72 h 82"/>
                    <a:gd name="T20" fmla="*/ 10 w 52"/>
                    <a:gd name="T21" fmla="*/ 76 h 82"/>
                    <a:gd name="T22" fmla="*/ 16 w 52"/>
                    <a:gd name="T23" fmla="*/ 78 h 82"/>
                    <a:gd name="T24" fmla="*/ 20 w 52"/>
                    <a:gd name="T25" fmla="*/ 80 h 82"/>
                    <a:gd name="T26" fmla="*/ 26 w 52"/>
                    <a:gd name="T27" fmla="*/ 82 h 82"/>
                    <a:gd name="T28" fmla="*/ 26 w 52"/>
                    <a:gd name="T29" fmla="*/ 82 h 82"/>
                    <a:gd name="T30" fmla="*/ 36 w 52"/>
                    <a:gd name="T31" fmla="*/ 80 h 82"/>
                    <a:gd name="T32" fmla="*/ 40 w 52"/>
                    <a:gd name="T33" fmla="*/ 76 h 82"/>
                    <a:gd name="T34" fmla="*/ 44 w 52"/>
                    <a:gd name="T35" fmla="*/ 72 h 82"/>
                    <a:gd name="T36" fmla="*/ 44 w 52"/>
                    <a:gd name="T37" fmla="*/ 72 h 82"/>
                    <a:gd name="T38" fmla="*/ 48 w 52"/>
                    <a:gd name="T39" fmla="*/ 68 h 82"/>
                    <a:gd name="T40" fmla="*/ 50 w 52"/>
                    <a:gd name="T41" fmla="*/ 60 h 82"/>
                    <a:gd name="T42" fmla="*/ 52 w 52"/>
                    <a:gd name="T43" fmla="*/ 40 h 82"/>
                    <a:gd name="T44" fmla="*/ 52 w 52"/>
                    <a:gd name="T45" fmla="*/ 40 h 82"/>
                    <a:gd name="T46" fmla="*/ 50 w 52"/>
                    <a:gd name="T47" fmla="*/ 20 h 82"/>
                    <a:gd name="T48" fmla="*/ 48 w 52"/>
                    <a:gd name="T49" fmla="*/ 14 h 82"/>
                    <a:gd name="T50" fmla="*/ 44 w 52"/>
                    <a:gd name="T51" fmla="*/ 8 h 82"/>
                    <a:gd name="T52" fmla="*/ 44 w 52"/>
                    <a:gd name="T53" fmla="*/ 8 h 82"/>
                    <a:gd name="T54" fmla="*/ 40 w 52"/>
                    <a:gd name="T55" fmla="*/ 4 h 82"/>
                    <a:gd name="T56" fmla="*/ 36 w 52"/>
                    <a:gd name="T57" fmla="*/ 2 h 82"/>
                    <a:gd name="T58" fmla="*/ 26 w 52"/>
                    <a:gd name="T59" fmla="*/ 0 h 82"/>
                    <a:gd name="T60" fmla="*/ 26 w 52"/>
                    <a:gd name="T61" fmla="*/ 0 h 82"/>
                    <a:gd name="T62" fmla="*/ 16 w 52"/>
                    <a:gd name="T63" fmla="*/ 2 h 82"/>
                    <a:gd name="T64" fmla="*/ 12 w 52"/>
                    <a:gd name="T65" fmla="*/ 4 h 82"/>
                    <a:gd name="T66" fmla="*/ 8 w 52"/>
                    <a:gd name="T67" fmla="*/ 8 h 82"/>
                    <a:gd name="T68" fmla="*/ 8 w 52"/>
                    <a:gd name="T69" fmla="*/ 8 h 82"/>
                    <a:gd name="T70" fmla="*/ 8 w 52"/>
                    <a:gd name="T71" fmla="*/ 8 h 82"/>
                    <a:gd name="T72" fmla="*/ 32 w 52"/>
                    <a:gd name="T73" fmla="*/ 14 h 82"/>
                    <a:gd name="T74" fmla="*/ 32 w 52"/>
                    <a:gd name="T75" fmla="*/ 14 h 82"/>
                    <a:gd name="T76" fmla="*/ 34 w 52"/>
                    <a:gd name="T77" fmla="*/ 20 h 82"/>
                    <a:gd name="T78" fmla="*/ 34 w 52"/>
                    <a:gd name="T79" fmla="*/ 20 h 82"/>
                    <a:gd name="T80" fmla="*/ 36 w 52"/>
                    <a:gd name="T81" fmla="*/ 40 h 82"/>
                    <a:gd name="T82" fmla="*/ 36 w 52"/>
                    <a:gd name="T83" fmla="*/ 40 h 82"/>
                    <a:gd name="T84" fmla="*/ 34 w 52"/>
                    <a:gd name="T85" fmla="*/ 60 h 82"/>
                    <a:gd name="T86" fmla="*/ 34 w 52"/>
                    <a:gd name="T87" fmla="*/ 60 h 82"/>
                    <a:gd name="T88" fmla="*/ 32 w 52"/>
                    <a:gd name="T89" fmla="*/ 66 h 82"/>
                    <a:gd name="T90" fmla="*/ 32 w 52"/>
                    <a:gd name="T91" fmla="*/ 66 h 82"/>
                    <a:gd name="T92" fmla="*/ 26 w 52"/>
                    <a:gd name="T93" fmla="*/ 68 h 82"/>
                    <a:gd name="T94" fmla="*/ 26 w 52"/>
                    <a:gd name="T95" fmla="*/ 68 h 82"/>
                    <a:gd name="T96" fmla="*/ 22 w 52"/>
                    <a:gd name="T97" fmla="*/ 66 h 82"/>
                    <a:gd name="T98" fmla="*/ 22 w 52"/>
                    <a:gd name="T99" fmla="*/ 66 h 82"/>
                    <a:gd name="T100" fmla="*/ 18 w 52"/>
                    <a:gd name="T101" fmla="*/ 60 h 82"/>
                    <a:gd name="T102" fmla="*/ 18 w 52"/>
                    <a:gd name="T103" fmla="*/ 60 h 82"/>
                    <a:gd name="T104" fmla="*/ 16 w 52"/>
                    <a:gd name="T105" fmla="*/ 40 h 82"/>
                    <a:gd name="T106" fmla="*/ 16 w 52"/>
                    <a:gd name="T107" fmla="*/ 40 h 82"/>
                    <a:gd name="T108" fmla="*/ 18 w 52"/>
                    <a:gd name="T109" fmla="*/ 20 h 82"/>
                    <a:gd name="T110" fmla="*/ 18 w 52"/>
                    <a:gd name="T111" fmla="*/ 20 h 82"/>
                    <a:gd name="T112" fmla="*/ 22 w 52"/>
                    <a:gd name="T113" fmla="*/ 14 h 82"/>
                    <a:gd name="T114" fmla="*/ 22 w 52"/>
                    <a:gd name="T115" fmla="*/ 14 h 82"/>
                    <a:gd name="T116" fmla="*/ 26 w 52"/>
                    <a:gd name="T117" fmla="*/ 12 h 82"/>
                    <a:gd name="T118" fmla="*/ 26 w 52"/>
                    <a:gd name="T119" fmla="*/ 12 h 82"/>
                    <a:gd name="T120" fmla="*/ 32 w 52"/>
                    <a:gd name="T121" fmla="*/ 14 h 82"/>
                    <a:gd name="T122" fmla="*/ 32 w 52"/>
                    <a:gd name="T123" fmla="*/ 14 h 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52" h="82">
                      <a:moveTo>
                        <a:pt x="8" y="8"/>
                      </a:moveTo>
                      <a:lnTo>
                        <a:pt x="8" y="8"/>
                      </a:lnTo>
                      <a:lnTo>
                        <a:pt x="4" y="14"/>
                      </a:lnTo>
                      <a:lnTo>
                        <a:pt x="2" y="20"/>
                      </a:lnTo>
                      <a:lnTo>
                        <a:pt x="0" y="40"/>
                      </a:lnTo>
                      <a:lnTo>
                        <a:pt x="0" y="40"/>
                      </a:lnTo>
                      <a:lnTo>
                        <a:pt x="2" y="60"/>
                      </a:lnTo>
                      <a:lnTo>
                        <a:pt x="4" y="66"/>
                      </a:lnTo>
                      <a:lnTo>
                        <a:pt x="8" y="72"/>
                      </a:lnTo>
                      <a:lnTo>
                        <a:pt x="8" y="72"/>
                      </a:lnTo>
                      <a:lnTo>
                        <a:pt x="10" y="76"/>
                      </a:lnTo>
                      <a:lnTo>
                        <a:pt x="16" y="78"/>
                      </a:lnTo>
                      <a:lnTo>
                        <a:pt x="20" y="80"/>
                      </a:lnTo>
                      <a:lnTo>
                        <a:pt x="26" y="82"/>
                      </a:lnTo>
                      <a:lnTo>
                        <a:pt x="26" y="82"/>
                      </a:lnTo>
                      <a:lnTo>
                        <a:pt x="36" y="80"/>
                      </a:lnTo>
                      <a:lnTo>
                        <a:pt x="40" y="76"/>
                      </a:lnTo>
                      <a:lnTo>
                        <a:pt x="44" y="72"/>
                      </a:lnTo>
                      <a:lnTo>
                        <a:pt x="44" y="72"/>
                      </a:lnTo>
                      <a:lnTo>
                        <a:pt x="48" y="68"/>
                      </a:lnTo>
                      <a:lnTo>
                        <a:pt x="50" y="60"/>
                      </a:lnTo>
                      <a:lnTo>
                        <a:pt x="52" y="40"/>
                      </a:lnTo>
                      <a:lnTo>
                        <a:pt x="52" y="40"/>
                      </a:lnTo>
                      <a:lnTo>
                        <a:pt x="50" y="20"/>
                      </a:lnTo>
                      <a:lnTo>
                        <a:pt x="48" y="14"/>
                      </a:lnTo>
                      <a:lnTo>
                        <a:pt x="44" y="8"/>
                      </a:lnTo>
                      <a:lnTo>
                        <a:pt x="44" y="8"/>
                      </a:lnTo>
                      <a:lnTo>
                        <a:pt x="40" y="4"/>
                      </a:lnTo>
                      <a:lnTo>
                        <a:pt x="36" y="2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16" y="2"/>
                      </a:lnTo>
                      <a:lnTo>
                        <a:pt x="12" y="4"/>
                      </a:lnTo>
                      <a:lnTo>
                        <a:pt x="8" y="8"/>
                      </a:lnTo>
                      <a:lnTo>
                        <a:pt x="8" y="8"/>
                      </a:lnTo>
                      <a:lnTo>
                        <a:pt x="8" y="8"/>
                      </a:lnTo>
                      <a:close/>
                      <a:moveTo>
                        <a:pt x="32" y="14"/>
                      </a:moveTo>
                      <a:lnTo>
                        <a:pt x="32" y="14"/>
                      </a:lnTo>
                      <a:lnTo>
                        <a:pt x="34" y="20"/>
                      </a:lnTo>
                      <a:lnTo>
                        <a:pt x="34" y="20"/>
                      </a:lnTo>
                      <a:lnTo>
                        <a:pt x="36" y="40"/>
                      </a:lnTo>
                      <a:lnTo>
                        <a:pt x="36" y="40"/>
                      </a:lnTo>
                      <a:lnTo>
                        <a:pt x="34" y="60"/>
                      </a:lnTo>
                      <a:lnTo>
                        <a:pt x="34" y="60"/>
                      </a:lnTo>
                      <a:lnTo>
                        <a:pt x="32" y="66"/>
                      </a:lnTo>
                      <a:lnTo>
                        <a:pt x="32" y="66"/>
                      </a:lnTo>
                      <a:lnTo>
                        <a:pt x="26" y="68"/>
                      </a:lnTo>
                      <a:lnTo>
                        <a:pt x="26" y="68"/>
                      </a:lnTo>
                      <a:lnTo>
                        <a:pt x="22" y="66"/>
                      </a:lnTo>
                      <a:lnTo>
                        <a:pt x="22" y="66"/>
                      </a:lnTo>
                      <a:lnTo>
                        <a:pt x="18" y="60"/>
                      </a:lnTo>
                      <a:lnTo>
                        <a:pt x="18" y="60"/>
                      </a:lnTo>
                      <a:lnTo>
                        <a:pt x="16" y="40"/>
                      </a:lnTo>
                      <a:lnTo>
                        <a:pt x="16" y="40"/>
                      </a:lnTo>
                      <a:lnTo>
                        <a:pt x="18" y="20"/>
                      </a:lnTo>
                      <a:lnTo>
                        <a:pt x="18" y="20"/>
                      </a:lnTo>
                      <a:lnTo>
                        <a:pt x="22" y="14"/>
                      </a:lnTo>
                      <a:lnTo>
                        <a:pt x="22" y="14"/>
                      </a:lnTo>
                      <a:lnTo>
                        <a:pt x="26" y="12"/>
                      </a:lnTo>
                      <a:lnTo>
                        <a:pt x="26" y="12"/>
                      </a:lnTo>
                      <a:lnTo>
                        <a:pt x="32" y="14"/>
                      </a:lnTo>
                      <a:lnTo>
                        <a:pt x="32" y="1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" pitchFamily="34" charset="0"/>
                  </a:endParaRPr>
                </a:p>
              </p:txBody>
            </p:sp>
            <p:sp>
              <p:nvSpPr>
                <p:cNvPr id="186" name="Freeform 51"/>
                <p:cNvSpPr>
                  <a:spLocks/>
                </p:cNvSpPr>
                <p:nvPr/>
              </p:nvSpPr>
              <p:spPr bwMode="auto">
                <a:xfrm>
                  <a:off x="5504713" y="4828294"/>
                  <a:ext cx="25888" cy="60914"/>
                </a:xfrm>
                <a:custGeom>
                  <a:avLst/>
                  <a:gdLst>
                    <a:gd name="T0" fmla="*/ 34 w 34"/>
                    <a:gd name="T1" fmla="*/ 0 h 80"/>
                    <a:gd name="T2" fmla="*/ 22 w 34"/>
                    <a:gd name="T3" fmla="*/ 0 h 80"/>
                    <a:gd name="T4" fmla="*/ 22 w 34"/>
                    <a:gd name="T5" fmla="*/ 0 h 80"/>
                    <a:gd name="T6" fmla="*/ 18 w 34"/>
                    <a:gd name="T7" fmla="*/ 6 h 80"/>
                    <a:gd name="T8" fmla="*/ 12 w 34"/>
                    <a:gd name="T9" fmla="*/ 12 h 80"/>
                    <a:gd name="T10" fmla="*/ 12 w 34"/>
                    <a:gd name="T11" fmla="*/ 12 h 80"/>
                    <a:gd name="T12" fmla="*/ 6 w 34"/>
                    <a:gd name="T13" fmla="*/ 16 h 80"/>
                    <a:gd name="T14" fmla="*/ 0 w 34"/>
                    <a:gd name="T15" fmla="*/ 20 h 80"/>
                    <a:gd name="T16" fmla="*/ 0 w 34"/>
                    <a:gd name="T17" fmla="*/ 34 h 80"/>
                    <a:gd name="T18" fmla="*/ 0 w 34"/>
                    <a:gd name="T19" fmla="*/ 34 h 80"/>
                    <a:gd name="T20" fmla="*/ 10 w 34"/>
                    <a:gd name="T21" fmla="*/ 28 h 80"/>
                    <a:gd name="T22" fmla="*/ 20 w 34"/>
                    <a:gd name="T23" fmla="*/ 22 h 80"/>
                    <a:gd name="T24" fmla="*/ 20 w 34"/>
                    <a:gd name="T25" fmla="*/ 80 h 80"/>
                    <a:gd name="T26" fmla="*/ 34 w 34"/>
                    <a:gd name="T27" fmla="*/ 80 h 80"/>
                    <a:gd name="T28" fmla="*/ 34 w 34"/>
                    <a:gd name="T29" fmla="*/ 0 h 80"/>
                    <a:gd name="T30" fmla="*/ 34 w 34"/>
                    <a:gd name="T31" fmla="*/ 0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4" h="80">
                      <a:moveTo>
                        <a:pt x="34" y="0"/>
                      </a:move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18" y="6"/>
                      </a:lnTo>
                      <a:lnTo>
                        <a:pt x="12" y="12"/>
                      </a:lnTo>
                      <a:lnTo>
                        <a:pt x="12" y="12"/>
                      </a:lnTo>
                      <a:lnTo>
                        <a:pt x="6" y="16"/>
                      </a:lnTo>
                      <a:lnTo>
                        <a:pt x="0" y="20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10" y="28"/>
                      </a:lnTo>
                      <a:lnTo>
                        <a:pt x="20" y="22"/>
                      </a:lnTo>
                      <a:lnTo>
                        <a:pt x="20" y="80"/>
                      </a:lnTo>
                      <a:lnTo>
                        <a:pt x="34" y="80"/>
                      </a:lnTo>
                      <a:lnTo>
                        <a:pt x="34" y="0"/>
                      </a:lnTo>
                      <a:lnTo>
                        <a:pt x="34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" pitchFamily="34" charset="0"/>
                  </a:endParaRPr>
                </a:p>
              </p:txBody>
            </p:sp>
            <p:sp>
              <p:nvSpPr>
                <p:cNvPr id="187" name="Freeform 52"/>
                <p:cNvSpPr>
                  <a:spLocks noEditPoints="1"/>
                </p:cNvSpPr>
                <p:nvPr/>
              </p:nvSpPr>
              <p:spPr bwMode="auto">
                <a:xfrm>
                  <a:off x="5615881" y="4828294"/>
                  <a:ext cx="39594" cy="62437"/>
                </a:xfrm>
                <a:custGeom>
                  <a:avLst/>
                  <a:gdLst>
                    <a:gd name="T0" fmla="*/ 8 w 52"/>
                    <a:gd name="T1" fmla="*/ 8 h 82"/>
                    <a:gd name="T2" fmla="*/ 8 w 52"/>
                    <a:gd name="T3" fmla="*/ 8 h 82"/>
                    <a:gd name="T4" fmla="*/ 4 w 52"/>
                    <a:gd name="T5" fmla="*/ 14 h 82"/>
                    <a:gd name="T6" fmla="*/ 2 w 52"/>
                    <a:gd name="T7" fmla="*/ 20 h 82"/>
                    <a:gd name="T8" fmla="*/ 0 w 52"/>
                    <a:gd name="T9" fmla="*/ 40 h 82"/>
                    <a:gd name="T10" fmla="*/ 0 w 52"/>
                    <a:gd name="T11" fmla="*/ 40 h 82"/>
                    <a:gd name="T12" fmla="*/ 2 w 52"/>
                    <a:gd name="T13" fmla="*/ 60 h 82"/>
                    <a:gd name="T14" fmla="*/ 4 w 52"/>
                    <a:gd name="T15" fmla="*/ 66 h 82"/>
                    <a:gd name="T16" fmla="*/ 8 w 52"/>
                    <a:gd name="T17" fmla="*/ 72 h 82"/>
                    <a:gd name="T18" fmla="*/ 8 w 52"/>
                    <a:gd name="T19" fmla="*/ 72 h 82"/>
                    <a:gd name="T20" fmla="*/ 12 w 52"/>
                    <a:gd name="T21" fmla="*/ 76 h 82"/>
                    <a:gd name="T22" fmla="*/ 16 w 52"/>
                    <a:gd name="T23" fmla="*/ 78 h 82"/>
                    <a:gd name="T24" fmla="*/ 20 w 52"/>
                    <a:gd name="T25" fmla="*/ 80 h 82"/>
                    <a:gd name="T26" fmla="*/ 26 w 52"/>
                    <a:gd name="T27" fmla="*/ 82 h 82"/>
                    <a:gd name="T28" fmla="*/ 26 w 52"/>
                    <a:gd name="T29" fmla="*/ 82 h 82"/>
                    <a:gd name="T30" fmla="*/ 36 w 52"/>
                    <a:gd name="T31" fmla="*/ 80 h 82"/>
                    <a:gd name="T32" fmla="*/ 40 w 52"/>
                    <a:gd name="T33" fmla="*/ 76 h 82"/>
                    <a:gd name="T34" fmla="*/ 44 w 52"/>
                    <a:gd name="T35" fmla="*/ 72 h 82"/>
                    <a:gd name="T36" fmla="*/ 44 w 52"/>
                    <a:gd name="T37" fmla="*/ 72 h 82"/>
                    <a:gd name="T38" fmla="*/ 48 w 52"/>
                    <a:gd name="T39" fmla="*/ 68 h 82"/>
                    <a:gd name="T40" fmla="*/ 50 w 52"/>
                    <a:gd name="T41" fmla="*/ 60 h 82"/>
                    <a:gd name="T42" fmla="*/ 52 w 52"/>
                    <a:gd name="T43" fmla="*/ 40 h 82"/>
                    <a:gd name="T44" fmla="*/ 52 w 52"/>
                    <a:gd name="T45" fmla="*/ 40 h 82"/>
                    <a:gd name="T46" fmla="*/ 50 w 52"/>
                    <a:gd name="T47" fmla="*/ 20 h 82"/>
                    <a:gd name="T48" fmla="*/ 48 w 52"/>
                    <a:gd name="T49" fmla="*/ 14 h 82"/>
                    <a:gd name="T50" fmla="*/ 44 w 52"/>
                    <a:gd name="T51" fmla="*/ 8 h 82"/>
                    <a:gd name="T52" fmla="*/ 44 w 52"/>
                    <a:gd name="T53" fmla="*/ 8 h 82"/>
                    <a:gd name="T54" fmla="*/ 40 w 52"/>
                    <a:gd name="T55" fmla="*/ 4 h 82"/>
                    <a:gd name="T56" fmla="*/ 36 w 52"/>
                    <a:gd name="T57" fmla="*/ 2 h 82"/>
                    <a:gd name="T58" fmla="*/ 26 w 52"/>
                    <a:gd name="T59" fmla="*/ 0 h 82"/>
                    <a:gd name="T60" fmla="*/ 26 w 52"/>
                    <a:gd name="T61" fmla="*/ 0 h 82"/>
                    <a:gd name="T62" fmla="*/ 16 w 52"/>
                    <a:gd name="T63" fmla="*/ 2 h 82"/>
                    <a:gd name="T64" fmla="*/ 12 w 52"/>
                    <a:gd name="T65" fmla="*/ 4 h 82"/>
                    <a:gd name="T66" fmla="*/ 8 w 52"/>
                    <a:gd name="T67" fmla="*/ 8 h 82"/>
                    <a:gd name="T68" fmla="*/ 8 w 52"/>
                    <a:gd name="T69" fmla="*/ 8 h 82"/>
                    <a:gd name="T70" fmla="*/ 8 w 52"/>
                    <a:gd name="T71" fmla="*/ 8 h 82"/>
                    <a:gd name="T72" fmla="*/ 32 w 52"/>
                    <a:gd name="T73" fmla="*/ 14 h 82"/>
                    <a:gd name="T74" fmla="*/ 32 w 52"/>
                    <a:gd name="T75" fmla="*/ 14 h 82"/>
                    <a:gd name="T76" fmla="*/ 34 w 52"/>
                    <a:gd name="T77" fmla="*/ 20 h 82"/>
                    <a:gd name="T78" fmla="*/ 34 w 52"/>
                    <a:gd name="T79" fmla="*/ 20 h 82"/>
                    <a:gd name="T80" fmla="*/ 36 w 52"/>
                    <a:gd name="T81" fmla="*/ 40 h 82"/>
                    <a:gd name="T82" fmla="*/ 36 w 52"/>
                    <a:gd name="T83" fmla="*/ 40 h 82"/>
                    <a:gd name="T84" fmla="*/ 34 w 52"/>
                    <a:gd name="T85" fmla="*/ 60 h 82"/>
                    <a:gd name="T86" fmla="*/ 34 w 52"/>
                    <a:gd name="T87" fmla="*/ 60 h 82"/>
                    <a:gd name="T88" fmla="*/ 32 w 52"/>
                    <a:gd name="T89" fmla="*/ 66 h 82"/>
                    <a:gd name="T90" fmla="*/ 32 w 52"/>
                    <a:gd name="T91" fmla="*/ 66 h 82"/>
                    <a:gd name="T92" fmla="*/ 26 w 52"/>
                    <a:gd name="T93" fmla="*/ 68 h 82"/>
                    <a:gd name="T94" fmla="*/ 26 w 52"/>
                    <a:gd name="T95" fmla="*/ 68 h 82"/>
                    <a:gd name="T96" fmla="*/ 22 w 52"/>
                    <a:gd name="T97" fmla="*/ 66 h 82"/>
                    <a:gd name="T98" fmla="*/ 22 w 52"/>
                    <a:gd name="T99" fmla="*/ 66 h 82"/>
                    <a:gd name="T100" fmla="*/ 18 w 52"/>
                    <a:gd name="T101" fmla="*/ 60 h 82"/>
                    <a:gd name="T102" fmla="*/ 18 w 52"/>
                    <a:gd name="T103" fmla="*/ 60 h 82"/>
                    <a:gd name="T104" fmla="*/ 16 w 52"/>
                    <a:gd name="T105" fmla="*/ 40 h 82"/>
                    <a:gd name="T106" fmla="*/ 16 w 52"/>
                    <a:gd name="T107" fmla="*/ 40 h 82"/>
                    <a:gd name="T108" fmla="*/ 18 w 52"/>
                    <a:gd name="T109" fmla="*/ 20 h 82"/>
                    <a:gd name="T110" fmla="*/ 18 w 52"/>
                    <a:gd name="T111" fmla="*/ 20 h 82"/>
                    <a:gd name="T112" fmla="*/ 22 w 52"/>
                    <a:gd name="T113" fmla="*/ 14 h 82"/>
                    <a:gd name="T114" fmla="*/ 22 w 52"/>
                    <a:gd name="T115" fmla="*/ 14 h 82"/>
                    <a:gd name="T116" fmla="*/ 26 w 52"/>
                    <a:gd name="T117" fmla="*/ 12 h 82"/>
                    <a:gd name="T118" fmla="*/ 26 w 52"/>
                    <a:gd name="T119" fmla="*/ 12 h 82"/>
                    <a:gd name="T120" fmla="*/ 32 w 52"/>
                    <a:gd name="T121" fmla="*/ 14 h 82"/>
                    <a:gd name="T122" fmla="*/ 32 w 52"/>
                    <a:gd name="T123" fmla="*/ 14 h 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52" h="82">
                      <a:moveTo>
                        <a:pt x="8" y="8"/>
                      </a:moveTo>
                      <a:lnTo>
                        <a:pt x="8" y="8"/>
                      </a:lnTo>
                      <a:lnTo>
                        <a:pt x="4" y="14"/>
                      </a:lnTo>
                      <a:lnTo>
                        <a:pt x="2" y="20"/>
                      </a:lnTo>
                      <a:lnTo>
                        <a:pt x="0" y="40"/>
                      </a:lnTo>
                      <a:lnTo>
                        <a:pt x="0" y="40"/>
                      </a:lnTo>
                      <a:lnTo>
                        <a:pt x="2" y="60"/>
                      </a:lnTo>
                      <a:lnTo>
                        <a:pt x="4" y="66"/>
                      </a:lnTo>
                      <a:lnTo>
                        <a:pt x="8" y="72"/>
                      </a:lnTo>
                      <a:lnTo>
                        <a:pt x="8" y="72"/>
                      </a:lnTo>
                      <a:lnTo>
                        <a:pt x="12" y="76"/>
                      </a:lnTo>
                      <a:lnTo>
                        <a:pt x="16" y="78"/>
                      </a:lnTo>
                      <a:lnTo>
                        <a:pt x="20" y="80"/>
                      </a:lnTo>
                      <a:lnTo>
                        <a:pt x="26" y="82"/>
                      </a:lnTo>
                      <a:lnTo>
                        <a:pt x="26" y="82"/>
                      </a:lnTo>
                      <a:lnTo>
                        <a:pt x="36" y="80"/>
                      </a:lnTo>
                      <a:lnTo>
                        <a:pt x="40" y="76"/>
                      </a:lnTo>
                      <a:lnTo>
                        <a:pt x="44" y="72"/>
                      </a:lnTo>
                      <a:lnTo>
                        <a:pt x="44" y="72"/>
                      </a:lnTo>
                      <a:lnTo>
                        <a:pt x="48" y="68"/>
                      </a:lnTo>
                      <a:lnTo>
                        <a:pt x="50" y="60"/>
                      </a:lnTo>
                      <a:lnTo>
                        <a:pt x="52" y="40"/>
                      </a:lnTo>
                      <a:lnTo>
                        <a:pt x="52" y="40"/>
                      </a:lnTo>
                      <a:lnTo>
                        <a:pt x="50" y="20"/>
                      </a:lnTo>
                      <a:lnTo>
                        <a:pt x="48" y="14"/>
                      </a:lnTo>
                      <a:lnTo>
                        <a:pt x="44" y="8"/>
                      </a:lnTo>
                      <a:lnTo>
                        <a:pt x="44" y="8"/>
                      </a:lnTo>
                      <a:lnTo>
                        <a:pt x="40" y="4"/>
                      </a:lnTo>
                      <a:lnTo>
                        <a:pt x="36" y="2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16" y="2"/>
                      </a:lnTo>
                      <a:lnTo>
                        <a:pt x="12" y="4"/>
                      </a:lnTo>
                      <a:lnTo>
                        <a:pt x="8" y="8"/>
                      </a:lnTo>
                      <a:lnTo>
                        <a:pt x="8" y="8"/>
                      </a:lnTo>
                      <a:lnTo>
                        <a:pt x="8" y="8"/>
                      </a:lnTo>
                      <a:close/>
                      <a:moveTo>
                        <a:pt x="32" y="14"/>
                      </a:moveTo>
                      <a:lnTo>
                        <a:pt x="32" y="14"/>
                      </a:lnTo>
                      <a:lnTo>
                        <a:pt x="34" y="20"/>
                      </a:lnTo>
                      <a:lnTo>
                        <a:pt x="34" y="20"/>
                      </a:lnTo>
                      <a:lnTo>
                        <a:pt x="36" y="40"/>
                      </a:lnTo>
                      <a:lnTo>
                        <a:pt x="36" y="40"/>
                      </a:lnTo>
                      <a:lnTo>
                        <a:pt x="34" y="60"/>
                      </a:lnTo>
                      <a:lnTo>
                        <a:pt x="34" y="60"/>
                      </a:lnTo>
                      <a:lnTo>
                        <a:pt x="32" y="66"/>
                      </a:lnTo>
                      <a:lnTo>
                        <a:pt x="32" y="66"/>
                      </a:lnTo>
                      <a:lnTo>
                        <a:pt x="26" y="68"/>
                      </a:lnTo>
                      <a:lnTo>
                        <a:pt x="26" y="68"/>
                      </a:lnTo>
                      <a:lnTo>
                        <a:pt x="22" y="66"/>
                      </a:lnTo>
                      <a:lnTo>
                        <a:pt x="22" y="66"/>
                      </a:lnTo>
                      <a:lnTo>
                        <a:pt x="18" y="60"/>
                      </a:lnTo>
                      <a:lnTo>
                        <a:pt x="18" y="60"/>
                      </a:lnTo>
                      <a:lnTo>
                        <a:pt x="16" y="40"/>
                      </a:lnTo>
                      <a:lnTo>
                        <a:pt x="16" y="40"/>
                      </a:lnTo>
                      <a:lnTo>
                        <a:pt x="18" y="20"/>
                      </a:lnTo>
                      <a:lnTo>
                        <a:pt x="18" y="20"/>
                      </a:lnTo>
                      <a:lnTo>
                        <a:pt x="22" y="14"/>
                      </a:lnTo>
                      <a:lnTo>
                        <a:pt x="22" y="14"/>
                      </a:lnTo>
                      <a:lnTo>
                        <a:pt x="26" y="12"/>
                      </a:lnTo>
                      <a:lnTo>
                        <a:pt x="26" y="12"/>
                      </a:lnTo>
                      <a:lnTo>
                        <a:pt x="32" y="14"/>
                      </a:lnTo>
                      <a:lnTo>
                        <a:pt x="32" y="1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" pitchFamily="34" charset="0"/>
                  </a:endParaRPr>
                </a:p>
              </p:txBody>
            </p:sp>
            <p:sp>
              <p:nvSpPr>
                <p:cNvPr id="188" name="Freeform 53"/>
                <p:cNvSpPr>
                  <a:spLocks/>
                </p:cNvSpPr>
                <p:nvPr/>
              </p:nvSpPr>
              <p:spPr bwMode="auto">
                <a:xfrm>
                  <a:off x="5733140" y="4828294"/>
                  <a:ext cx="25888" cy="60914"/>
                </a:xfrm>
                <a:custGeom>
                  <a:avLst/>
                  <a:gdLst>
                    <a:gd name="T0" fmla="*/ 34 w 34"/>
                    <a:gd name="T1" fmla="*/ 0 h 80"/>
                    <a:gd name="T2" fmla="*/ 22 w 34"/>
                    <a:gd name="T3" fmla="*/ 0 h 80"/>
                    <a:gd name="T4" fmla="*/ 22 w 34"/>
                    <a:gd name="T5" fmla="*/ 0 h 80"/>
                    <a:gd name="T6" fmla="*/ 18 w 34"/>
                    <a:gd name="T7" fmla="*/ 6 h 80"/>
                    <a:gd name="T8" fmla="*/ 12 w 34"/>
                    <a:gd name="T9" fmla="*/ 12 h 80"/>
                    <a:gd name="T10" fmla="*/ 12 w 34"/>
                    <a:gd name="T11" fmla="*/ 12 h 80"/>
                    <a:gd name="T12" fmla="*/ 6 w 34"/>
                    <a:gd name="T13" fmla="*/ 16 h 80"/>
                    <a:gd name="T14" fmla="*/ 0 w 34"/>
                    <a:gd name="T15" fmla="*/ 20 h 80"/>
                    <a:gd name="T16" fmla="*/ 0 w 34"/>
                    <a:gd name="T17" fmla="*/ 34 h 80"/>
                    <a:gd name="T18" fmla="*/ 0 w 34"/>
                    <a:gd name="T19" fmla="*/ 34 h 80"/>
                    <a:gd name="T20" fmla="*/ 10 w 34"/>
                    <a:gd name="T21" fmla="*/ 28 h 80"/>
                    <a:gd name="T22" fmla="*/ 20 w 34"/>
                    <a:gd name="T23" fmla="*/ 22 h 80"/>
                    <a:gd name="T24" fmla="*/ 20 w 34"/>
                    <a:gd name="T25" fmla="*/ 80 h 80"/>
                    <a:gd name="T26" fmla="*/ 34 w 34"/>
                    <a:gd name="T27" fmla="*/ 80 h 80"/>
                    <a:gd name="T28" fmla="*/ 34 w 34"/>
                    <a:gd name="T29" fmla="*/ 0 h 80"/>
                    <a:gd name="T30" fmla="*/ 34 w 34"/>
                    <a:gd name="T31" fmla="*/ 0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4" h="80">
                      <a:moveTo>
                        <a:pt x="34" y="0"/>
                      </a:move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18" y="6"/>
                      </a:lnTo>
                      <a:lnTo>
                        <a:pt x="12" y="12"/>
                      </a:lnTo>
                      <a:lnTo>
                        <a:pt x="12" y="12"/>
                      </a:lnTo>
                      <a:lnTo>
                        <a:pt x="6" y="16"/>
                      </a:lnTo>
                      <a:lnTo>
                        <a:pt x="0" y="20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10" y="28"/>
                      </a:lnTo>
                      <a:lnTo>
                        <a:pt x="20" y="22"/>
                      </a:lnTo>
                      <a:lnTo>
                        <a:pt x="20" y="80"/>
                      </a:lnTo>
                      <a:lnTo>
                        <a:pt x="34" y="80"/>
                      </a:lnTo>
                      <a:lnTo>
                        <a:pt x="34" y="0"/>
                      </a:lnTo>
                      <a:lnTo>
                        <a:pt x="34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" pitchFamily="34" charset="0"/>
                  </a:endParaRPr>
                </a:p>
              </p:txBody>
            </p:sp>
            <p:sp>
              <p:nvSpPr>
                <p:cNvPr id="189" name="Freeform 54"/>
                <p:cNvSpPr>
                  <a:spLocks noEditPoints="1"/>
                </p:cNvSpPr>
                <p:nvPr/>
              </p:nvSpPr>
              <p:spPr bwMode="auto">
                <a:xfrm>
                  <a:off x="5844308" y="4828294"/>
                  <a:ext cx="39594" cy="62437"/>
                </a:xfrm>
                <a:custGeom>
                  <a:avLst/>
                  <a:gdLst>
                    <a:gd name="T0" fmla="*/ 8 w 52"/>
                    <a:gd name="T1" fmla="*/ 8 h 82"/>
                    <a:gd name="T2" fmla="*/ 8 w 52"/>
                    <a:gd name="T3" fmla="*/ 8 h 82"/>
                    <a:gd name="T4" fmla="*/ 4 w 52"/>
                    <a:gd name="T5" fmla="*/ 14 h 82"/>
                    <a:gd name="T6" fmla="*/ 2 w 52"/>
                    <a:gd name="T7" fmla="*/ 20 h 82"/>
                    <a:gd name="T8" fmla="*/ 0 w 52"/>
                    <a:gd name="T9" fmla="*/ 40 h 82"/>
                    <a:gd name="T10" fmla="*/ 0 w 52"/>
                    <a:gd name="T11" fmla="*/ 40 h 82"/>
                    <a:gd name="T12" fmla="*/ 0 w 52"/>
                    <a:gd name="T13" fmla="*/ 60 h 82"/>
                    <a:gd name="T14" fmla="*/ 4 w 52"/>
                    <a:gd name="T15" fmla="*/ 66 h 82"/>
                    <a:gd name="T16" fmla="*/ 6 w 52"/>
                    <a:gd name="T17" fmla="*/ 72 h 82"/>
                    <a:gd name="T18" fmla="*/ 6 w 52"/>
                    <a:gd name="T19" fmla="*/ 72 h 82"/>
                    <a:gd name="T20" fmla="*/ 10 w 52"/>
                    <a:gd name="T21" fmla="*/ 76 h 82"/>
                    <a:gd name="T22" fmla="*/ 14 w 52"/>
                    <a:gd name="T23" fmla="*/ 78 h 82"/>
                    <a:gd name="T24" fmla="*/ 20 w 52"/>
                    <a:gd name="T25" fmla="*/ 80 h 82"/>
                    <a:gd name="T26" fmla="*/ 26 w 52"/>
                    <a:gd name="T27" fmla="*/ 82 h 82"/>
                    <a:gd name="T28" fmla="*/ 26 w 52"/>
                    <a:gd name="T29" fmla="*/ 82 h 82"/>
                    <a:gd name="T30" fmla="*/ 36 w 52"/>
                    <a:gd name="T31" fmla="*/ 80 h 82"/>
                    <a:gd name="T32" fmla="*/ 40 w 52"/>
                    <a:gd name="T33" fmla="*/ 76 h 82"/>
                    <a:gd name="T34" fmla="*/ 44 w 52"/>
                    <a:gd name="T35" fmla="*/ 72 h 82"/>
                    <a:gd name="T36" fmla="*/ 44 w 52"/>
                    <a:gd name="T37" fmla="*/ 72 h 82"/>
                    <a:gd name="T38" fmla="*/ 48 w 52"/>
                    <a:gd name="T39" fmla="*/ 68 h 82"/>
                    <a:gd name="T40" fmla="*/ 50 w 52"/>
                    <a:gd name="T41" fmla="*/ 60 h 82"/>
                    <a:gd name="T42" fmla="*/ 52 w 52"/>
                    <a:gd name="T43" fmla="*/ 40 h 82"/>
                    <a:gd name="T44" fmla="*/ 52 w 52"/>
                    <a:gd name="T45" fmla="*/ 40 h 82"/>
                    <a:gd name="T46" fmla="*/ 50 w 52"/>
                    <a:gd name="T47" fmla="*/ 20 h 82"/>
                    <a:gd name="T48" fmla="*/ 48 w 52"/>
                    <a:gd name="T49" fmla="*/ 14 h 82"/>
                    <a:gd name="T50" fmla="*/ 44 w 52"/>
                    <a:gd name="T51" fmla="*/ 8 h 82"/>
                    <a:gd name="T52" fmla="*/ 44 w 52"/>
                    <a:gd name="T53" fmla="*/ 8 h 82"/>
                    <a:gd name="T54" fmla="*/ 40 w 52"/>
                    <a:gd name="T55" fmla="*/ 4 h 82"/>
                    <a:gd name="T56" fmla="*/ 36 w 52"/>
                    <a:gd name="T57" fmla="*/ 2 h 82"/>
                    <a:gd name="T58" fmla="*/ 26 w 52"/>
                    <a:gd name="T59" fmla="*/ 0 h 82"/>
                    <a:gd name="T60" fmla="*/ 26 w 52"/>
                    <a:gd name="T61" fmla="*/ 0 h 82"/>
                    <a:gd name="T62" fmla="*/ 14 w 52"/>
                    <a:gd name="T63" fmla="*/ 2 h 82"/>
                    <a:gd name="T64" fmla="*/ 10 w 52"/>
                    <a:gd name="T65" fmla="*/ 4 h 82"/>
                    <a:gd name="T66" fmla="*/ 8 w 52"/>
                    <a:gd name="T67" fmla="*/ 8 h 82"/>
                    <a:gd name="T68" fmla="*/ 8 w 52"/>
                    <a:gd name="T69" fmla="*/ 8 h 82"/>
                    <a:gd name="T70" fmla="*/ 8 w 52"/>
                    <a:gd name="T71" fmla="*/ 8 h 82"/>
                    <a:gd name="T72" fmla="*/ 30 w 52"/>
                    <a:gd name="T73" fmla="*/ 14 h 82"/>
                    <a:gd name="T74" fmla="*/ 30 w 52"/>
                    <a:gd name="T75" fmla="*/ 14 h 82"/>
                    <a:gd name="T76" fmla="*/ 34 w 52"/>
                    <a:gd name="T77" fmla="*/ 20 h 82"/>
                    <a:gd name="T78" fmla="*/ 34 w 52"/>
                    <a:gd name="T79" fmla="*/ 20 h 82"/>
                    <a:gd name="T80" fmla="*/ 36 w 52"/>
                    <a:gd name="T81" fmla="*/ 40 h 82"/>
                    <a:gd name="T82" fmla="*/ 36 w 52"/>
                    <a:gd name="T83" fmla="*/ 40 h 82"/>
                    <a:gd name="T84" fmla="*/ 34 w 52"/>
                    <a:gd name="T85" fmla="*/ 60 h 82"/>
                    <a:gd name="T86" fmla="*/ 34 w 52"/>
                    <a:gd name="T87" fmla="*/ 60 h 82"/>
                    <a:gd name="T88" fmla="*/ 30 w 52"/>
                    <a:gd name="T89" fmla="*/ 66 h 82"/>
                    <a:gd name="T90" fmla="*/ 30 w 52"/>
                    <a:gd name="T91" fmla="*/ 66 h 82"/>
                    <a:gd name="T92" fmla="*/ 26 w 52"/>
                    <a:gd name="T93" fmla="*/ 68 h 82"/>
                    <a:gd name="T94" fmla="*/ 26 w 52"/>
                    <a:gd name="T95" fmla="*/ 68 h 82"/>
                    <a:gd name="T96" fmla="*/ 20 w 52"/>
                    <a:gd name="T97" fmla="*/ 66 h 82"/>
                    <a:gd name="T98" fmla="*/ 20 w 52"/>
                    <a:gd name="T99" fmla="*/ 66 h 82"/>
                    <a:gd name="T100" fmla="*/ 16 w 52"/>
                    <a:gd name="T101" fmla="*/ 60 h 82"/>
                    <a:gd name="T102" fmla="*/ 16 w 52"/>
                    <a:gd name="T103" fmla="*/ 60 h 82"/>
                    <a:gd name="T104" fmla="*/ 16 w 52"/>
                    <a:gd name="T105" fmla="*/ 40 h 82"/>
                    <a:gd name="T106" fmla="*/ 16 w 52"/>
                    <a:gd name="T107" fmla="*/ 40 h 82"/>
                    <a:gd name="T108" fmla="*/ 16 w 52"/>
                    <a:gd name="T109" fmla="*/ 20 h 82"/>
                    <a:gd name="T110" fmla="*/ 16 w 52"/>
                    <a:gd name="T111" fmla="*/ 20 h 82"/>
                    <a:gd name="T112" fmla="*/ 20 w 52"/>
                    <a:gd name="T113" fmla="*/ 14 h 82"/>
                    <a:gd name="T114" fmla="*/ 20 w 52"/>
                    <a:gd name="T115" fmla="*/ 14 h 82"/>
                    <a:gd name="T116" fmla="*/ 26 w 52"/>
                    <a:gd name="T117" fmla="*/ 12 h 82"/>
                    <a:gd name="T118" fmla="*/ 26 w 52"/>
                    <a:gd name="T119" fmla="*/ 12 h 82"/>
                    <a:gd name="T120" fmla="*/ 30 w 52"/>
                    <a:gd name="T121" fmla="*/ 14 h 82"/>
                    <a:gd name="T122" fmla="*/ 30 w 52"/>
                    <a:gd name="T123" fmla="*/ 14 h 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52" h="82">
                      <a:moveTo>
                        <a:pt x="8" y="8"/>
                      </a:moveTo>
                      <a:lnTo>
                        <a:pt x="8" y="8"/>
                      </a:lnTo>
                      <a:lnTo>
                        <a:pt x="4" y="14"/>
                      </a:lnTo>
                      <a:lnTo>
                        <a:pt x="2" y="20"/>
                      </a:lnTo>
                      <a:lnTo>
                        <a:pt x="0" y="40"/>
                      </a:lnTo>
                      <a:lnTo>
                        <a:pt x="0" y="40"/>
                      </a:lnTo>
                      <a:lnTo>
                        <a:pt x="0" y="60"/>
                      </a:lnTo>
                      <a:lnTo>
                        <a:pt x="4" y="66"/>
                      </a:lnTo>
                      <a:lnTo>
                        <a:pt x="6" y="72"/>
                      </a:lnTo>
                      <a:lnTo>
                        <a:pt x="6" y="72"/>
                      </a:lnTo>
                      <a:lnTo>
                        <a:pt x="10" y="76"/>
                      </a:lnTo>
                      <a:lnTo>
                        <a:pt x="14" y="78"/>
                      </a:lnTo>
                      <a:lnTo>
                        <a:pt x="20" y="80"/>
                      </a:lnTo>
                      <a:lnTo>
                        <a:pt x="26" y="82"/>
                      </a:lnTo>
                      <a:lnTo>
                        <a:pt x="26" y="82"/>
                      </a:lnTo>
                      <a:lnTo>
                        <a:pt x="36" y="80"/>
                      </a:lnTo>
                      <a:lnTo>
                        <a:pt x="40" y="76"/>
                      </a:lnTo>
                      <a:lnTo>
                        <a:pt x="44" y="72"/>
                      </a:lnTo>
                      <a:lnTo>
                        <a:pt x="44" y="72"/>
                      </a:lnTo>
                      <a:lnTo>
                        <a:pt x="48" y="68"/>
                      </a:lnTo>
                      <a:lnTo>
                        <a:pt x="50" y="60"/>
                      </a:lnTo>
                      <a:lnTo>
                        <a:pt x="52" y="40"/>
                      </a:lnTo>
                      <a:lnTo>
                        <a:pt x="52" y="40"/>
                      </a:lnTo>
                      <a:lnTo>
                        <a:pt x="50" y="20"/>
                      </a:lnTo>
                      <a:lnTo>
                        <a:pt x="48" y="14"/>
                      </a:lnTo>
                      <a:lnTo>
                        <a:pt x="44" y="8"/>
                      </a:lnTo>
                      <a:lnTo>
                        <a:pt x="44" y="8"/>
                      </a:lnTo>
                      <a:lnTo>
                        <a:pt x="40" y="4"/>
                      </a:lnTo>
                      <a:lnTo>
                        <a:pt x="36" y="2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14" y="2"/>
                      </a:lnTo>
                      <a:lnTo>
                        <a:pt x="10" y="4"/>
                      </a:lnTo>
                      <a:lnTo>
                        <a:pt x="8" y="8"/>
                      </a:lnTo>
                      <a:lnTo>
                        <a:pt x="8" y="8"/>
                      </a:lnTo>
                      <a:lnTo>
                        <a:pt x="8" y="8"/>
                      </a:lnTo>
                      <a:close/>
                      <a:moveTo>
                        <a:pt x="30" y="14"/>
                      </a:moveTo>
                      <a:lnTo>
                        <a:pt x="30" y="14"/>
                      </a:lnTo>
                      <a:lnTo>
                        <a:pt x="34" y="20"/>
                      </a:lnTo>
                      <a:lnTo>
                        <a:pt x="34" y="20"/>
                      </a:lnTo>
                      <a:lnTo>
                        <a:pt x="36" y="40"/>
                      </a:lnTo>
                      <a:lnTo>
                        <a:pt x="36" y="40"/>
                      </a:lnTo>
                      <a:lnTo>
                        <a:pt x="34" y="60"/>
                      </a:lnTo>
                      <a:lnTo>
                        <a:pt x="34" y="60"/>
                      </a:lnTo>
                      <a:lnTo>
                        <a:pt x="30" y="66"/>
                      </a:lnTo>
                      <a:lnTo>
                        <a:pt x="30" y="66"/>
                      </a:lnTo>
                      <a:lnTo>
                        <a:pt x="26" y="68"/>
                      </a:lnTo>
                      <a:lnTo>
                        <a:pt x="26" y="68"/>
                      </a:lnTo>
                      <a:lnTo>
                        <a:pt x="20" y="66"/>
                      </a:lnTo>
                      <a:lnTo>
                        <a:pt x="20" y="66"/>
                      </a:lnTo>
                      <a:lnTo>
                        <a:pt x="16" y="60"/>
                      </a:lnTo>
                      <a:lnTo>
                        <a:pt x="16" y="60"/>
                      </a:lnTo>
                      <a:lnTo>
                        <a:pt x="16" y="40"/>
                      </a:lnTo>
                      <a:lnTo>
                        <a:pt x="16" y="40"/>
                      </a:lnTo>
                      <a:lnTo>
                        <a:pt x="16" y="20"/>
                      </a:lnTo>
                      <a:lnTo>
                        <a:pt x="16" y="20"/>
                      </a:lnTo>
                      <a:lnTo>
                        <a:pt x="20" y="14"/>
                      </a:lnTo>
                      <a:lnTo>
                        <a:pt x="20" y="14"/>
                      </a:lnTo>
                      <a:lnTo>
                        <a:pt x="26" y="12"/>
                      </a:lnTo>
                      <a:lnTo>
                        <a:pt x="26" y="12"/>
                      </a:lnTo>
                      <a:lnTo>
                        <a:pt x="30" y="14"/>
                      </a:lnTo>
                      <a:lnTo>
                        <a:pt x="30" y="1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" pitchFamily="34" charset="0"/>
                  </a:endParaRPr>
                </a:p>
              </p:txBody>
            </p:sp>
            <p:sp>
              <p:nvSpPr>
                <p:cNvPr id="190" name="Freeform 55"/>
                <p:cNvSpPr>
                  <a:spLocks/>
                </p:cNvSpPr>
                <p:nvPr/>
              </p:nvSpPr>
              <p:spPr bwMode="auto">
                <a:xfrm>
                  <a:off x="5960045" y="4828294"/>
                  <a:ext cx="27411" cy="60914"/>
                </a:xfrm>
                <a:custGeom>
                  <a:avLst/>
                  <a:gdLst>
                    <a:gd name="T0" fmla="*/ 36 w 36"/>
                    <a:gd name="T1" fmla="*/ 0 h 80"/>
                    <a:gd name="T2" fmla="*/ 24 w 36"/>
                    <a:gd name="T3" fmla="*/ 0 h 80"/>
                    <a:gd name="T4" fmla="*/ 24 w 36"/>
                    <a:gd name="T5" fmla="*/ 0 h 80"/>
                    <a:gd name="T6" fmla="*/ 20 w 36"/>
                    <a:gd name="T7" fmla="*/ 6 h 80"/>
                    <a:gd name="T8" fmla="*/ 14 w 36"/>
                    <a:gd name="T9" fmla="*/ 12 h 80"/>
                    <a:gd name="T10" fmla="*/ 14 w 36"/>
                    <a:gd name="T11" fmla="*/ 12 h 80"/>
                    <a:gd name="T12" fmla="*/ 6 w 36"/>
                    <a:gd name="T13" fmla="*/ 16 h 80"/>
                    <a:gd name="T14" fmla="*/ 0 w 36"/>
                    <a:gd name="T15" fmla="*/ 20 h 80"/>
                    <a:gd name="T16" fmla="*/ 0 w 36"/>
                    <a:gd name="T17" fmla="*/ 34 h 80"/>
                    <a:gd name="T18" fmla="*/ 0 w 36"/>
                    <a:gd name="T19" fmla="*/ 34 h 80"/>
                    <a:gd name="T20" fmla="*/ 12 w 36"/>
                    <a:gd name="T21" fmla="*/ 28 h 80"/>
                    <a:gd name="T22" fmla="*/ 20 w 36"/>
                    <a:gd name="T23" fmla="*/ 22 h 80"/>
                    <a:gd name="T24" fmla="*/ 20 w 36"/>
                    <a:gd name="T25" fmla="*/ 80 h 80"/>
                    <a:gd name="T26" fmla="*/ 36 w 36"/>
                    <a:gd name="T27" fmla="*/ 80 h 80"/>
                    <a:gd name="T28" fmla="*/ 36 w 36"/>
                    <a:gd name="T29" fmla="*/ 0 h 80"/>
                    <a:gd name="T30" fmla="*/ 36 w 36"/>
                    <a:gd name="T31" fmla="*/ 0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6" h="80">
                      <a:moveTo>
                        <a:pt x="36" y="0"/>
                      </a:moveTo>
                      <a:lnTo>
                        <a:pt x="24" y="0"/>
                      </a:lnTo>
                      <a:lnTo>
                        <a:pt x="24" y="0"/>
                      </a:lnTo>
                      <a:lnTo>
                        <a:pt x="20" y="6"/>
                      </a:lnTo>
                      <a:lnTo>
                        <a:pt x="14" y="12"/>
                      </a:lnTo>
                      <a:lnTo>
                        <a:pt x="14" y="12"/>
                      </a:lnTo>
                      <a:lnTo>
                        <a:pt x="6" y="16"/>
                      </a:lnTo>
                      <a:lnTo>
                        <a:pt x="0" y="20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12" y="28"/>
                      </a:lnTo>
                      <a:lnTo>
                        <a:pt x="20" y="22"/>
                      </a:lnTo>
                      <a:lnTo>
                        <a:pt x="20" y="80"/>
                      </a:lnTo>
                      <a:lnTo>
                        <a:pt x="36" y="80"/>
                      </a:lnTo>
                      <a:lnTo>
                        <a:pt x="36" y="0"/>
                      </a:lnTo>
                      <a:lnTo>
                        <a:pt x="36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" pitchFamily="34" charset="0"/>
                  </a:endParaRPr>
                </a:p>
              </p:txBody>
            </p:sp>
            <p:sp>
              <p:nvSpPr>
                <p:cNvPr id="191" name="Freeform 21"/>
                <p:cNvSpPr>
                  <a:spLocks noEditPoints="1"/>
                </p:cNvSpPr>
                <p:nvPr/>
              </p:nvSpPr>
              <p:spPr bwMode="auto">
                <a:xfrm>
                  <a:off x="5276355" y="4958627"/>
                  <a:ext cx="39594" cy="62437"/>
                </a:xfrm>
                <a:custGeom>
                  <a:avLst/>
                  <a:gdLst>
                    <a:gd name="T0" fmla="*/ 8 w 52"/>
                    <a:gd name="T1" fmla="*/ 8 h 82"/>
                    <a:gd name="T2" fmla="*/ 8 w 52"/>
                    <a:gd name="T3" fmla="*/ 8 h 82"/>
                    <a:gd name="T4" fmla="*/ 6 w 52"/>
                    <a:gd name="T5" fmla="*/ 14 h 82"/>
                    <a:gd name="T6" fmla="*/ 2 w 52"/>
                    <a:gd name="T7" fmla="*/ 20 h 82"/>
                    <a:gd name="T8" fmla="*/ 0 w 52"/>
                    <a:gd name="T9" fmla="*/ 40 h 82"/>
                    <a:gd name="T10" fmla="*/ 0 w 52"/>
                    <a:gd name="T11" fmla="*/ 40 h 82"/>
                    <a:gd name="T12" fmla="*/ 2 w 52"/>
                    <a:gd name="T13" fmla="*/ 60 h 82"/>
                    <a:gd name="T14" fmla="*/ 4 w 52"/>
                    <a:gd name="T15" fmla="*/ 68 h 82"/>
                    <a:gd name="T16" fmla="*/ 8 w 52"/>
                    <a:gd name="T17" fmla="*/ 72 h 82"/>
                    <a:gd name="T18" fmla="*/ 8 w 52"/>
                    <a:gd name="T19" fmla="*/ 72 h 82"/>
                    <a:gd name="T20" fmla="*/ 12 w 52"/>
                    <a:gd name="T21" fmla="*/ 76 h 82"/>
                    <a:gd name="T22" fmla="*/ 16 w 52"/>
                    <a:gd name="T23" fmla="*/ 80 h 82"/>
                    <a:gd name="T24" fmla="*/ 22 w 52"/>
                    <a:gd name="T25" fmla="*/ 80 h 82"/>
                    <a:gd name="T26" fmla="*/ 26 w 52"/>
                    <a:gd name="T27" fmla="*/ 82 h 82"/>
                    <a:gd name="T28" fmla="*/ 26 w 52"/>
                    <a:gd name="T29" fmla="*/ 82 h 82"/>
                    <a:gd name="T30" fmla="*/ 38 w 52"/>
                    <a:gd name="T31" fmla="*/ 80 h 82"/>
                    <a:gd name="T32" fmla="*/ 42 w 52"/>
                    <a:gd name="T33" fmla="*/ 76 h 82"/>
                    <a:gd name="T34" fmla="*/ 44 w 52"/>
                    <a:gd name="T35" fmla="*/ 74 h 82"/>
                    <a:gd name="T36" fmla="*/ 44 w 52"/>
                    <a:gd name="T37" fmla="*/ 74 h 82"/>
                    <a:gd name="T38" fmla="*/ 48 w 52"/>
                    <a:gd name="T39" fmla="*/ 68 h 82"/>
                    <a:gd name="T40" fmla="*/ 50 w 52"/>
                    <a:gd name="T41" fmla="*/ 60 h 82"/>
                    <a:gd name="T42" fmla="*/ 52 w 52"/>
                    <a:gd name="T43" fmla="*/ 40 h 82"/>
                    <a:gd name="T44" fmla="*/ 52 w 52"/>
                    <a:gd name="T45" fmla="*/ 40 h 82"/>
                    <a:gd name="T46" fmla="*/ 50 w 52"/>
                    <a:gd name="T47" fmla="*/ 20 h 82"/>
                    <a:gd name="T48" fmla="*/ 48 w 52"/>
                    <a:gd name="T49" fmla="*/ 14 h 82"/>
                    <a:gd name="T50" fmla="*/ 46 w 52"/>
                    <a:gd name="T51" fmla="*/ 8 h 82"/>
                    <a:gd name="T52" fmla="*/ 46 w 52"/>
                    <a:gd name="T53" fmla="*/ 8 h 82"/>
                    <a:gd name="T54" fmla="*/ 42 w 52"/>
                    <a:gd name="T55" fmla="*/ 4 h 82"/>
                    <a:gd name="T56" fmla="*/ 38 w 52"/>
                    <a:gd name="T57" fmla="*/ 2 h 82"/>
                    <a:gd name="T58" fmla="*/ 26 w 52"/>
                    <a:gd name="T59" fmla="*/ 0 h 82"/>
                    <a:gd name="T60" fmla="*/ 26 w 52"/>
                    <a:gd name="T61" fmla="*/ 0 h 82"/>
                    <a:gd name="T62" fmla="*/ 16 w 52"/>
                    <a:gd name="T63" fmla="*/ 2 h 82"/>
                    <a:gd name="T64" fmla="*/ 12 w 52"/>
                    <a:gd name="T65" fmla="*/ 4 h 82"/>
                    <a:gd name="T66" fmla="*/ 8 w 52"/>
                    <a:gd name="T67" fmla="*/ 8 h 82"/>
                    <a:gd name="T68" fmla="*/ 8 w 52"/>
                    <a:gd name="T69" fmla="*/ 8 h 82"/>
                    <a:gd name="T70" fmla="*/ 8 w 52"/>
                    <a:gd name="T71" fmla="*/ 8 h 82"/>
                    <a:gd name="T72" fmla="*/ 32 w 52"/>
                    <a:gd name="T73" fmla="*/ 14 h 82"/>
                    <a:gd name="T74" fmla="*/ 32 w 52"/>
                    <a:gd name="T75" fmla="*/ 14 h 82"/>
                    <a:gd name="T76" fmla="*/ 36 w 52"/>
                    <a:gd name="T77" fmla="*/ 22 h 82"/>
                    <a:gd name="T78" fmla="*/ 36 w 52"/>
                    <a:gd name="T79" fmla="*/ 22 h 82"/>
                    <a:gd name="T80" fmla="*/ 36 w 52"/>
                    <a:gd name="T81" fmla="*/ 40 h 82"/>
                    <a:gd name="T82" fmla="*/ 36 w 52"/>
                    <a:gd name="T83" fmla="*/ 40 h 82"/>
                    <a:gd name="T84" fmla="*/ 36 w 52"/>
                    <a:gd name="T85" fmla="*/ 60 h 82"/>
                    <a:gd name="T86" fmla="*/ 36 w 52"/>
                    <a:gd name="T87" fmla="*/ 60 h 82"/>
                    <a:gd name="T88" fmla="*/ 32 w 52"/>
                    <a:gd name="T89" fmla="*/ 66 h 82"/>
                    <a:gd name="T90" fmla="*/ 32 w 52"/>
                    <a:gd name="T91" fmla="*/ 66 h 82"/>
                    <a:gd name="T92" fmla="*/ 26 w 52"/>
                    <a:gd name="T93" fmla="*/ 68 h 82"/>
                    <a:gd name="T94" fmla="*/ 26 w 52"/>
                    <a:gd name="T95" fmla="*/ 68 h 82"/>
                    <a:gd name="T96" fmla="*/ 22 w 52"/>
                    <a:gd name="T97" fmla="*/ 66 h 82"/>
                    <a:gd name="T98" fmla="*/ 22 w 52"/>
                    <a:gd name="T99" fmla="*/ 66 h 82"/>
                    <a:gd name="T100" fmla="*/ 18 w 52"/>
                    <a:gd name="T101" fmla="*/ 60 h 82"/>
                    <a:gd name="T102" fmla="*/ 18 w 52"/>
                    <a:gd name="T103" fmla="*/ 60 h 82"/>
                    <a:gd name="T104" fmla="*/ 16 w 52"/>
                    <a:gd name="T105" fmla="*/ 40 h 82"/>
                    <a:gd name="T106" fmla="*/ 16 w 52"/>
                    <a:gd name="T107" fmla="*/ 40 h 82"/>
                    <a:gd name="T108" fmla="*/ 18 w 52"/>
                    <a:gd name="T109" fmla="*/ 20 h 82"/>
                    <a:gd name="T110" fmla="*/ 18 w 52"/>
                    <a:gd name="T111" fmla="*/ 20 h 82"/>
                    <a:gd name="T112" fmla="*/ 22 w 52"/>
                    <a:gd name="T113" fmla="*/ 14 h 82"/>
                    <a:gd name="T114" fmla="*/ 22 w 52"/>
                    <a:gd name="T115" fmla="*/ 14 h 82"/>
                    <a:gd name="T116" fmla="*/ 26 w 52"/>
                    <a:gd name="T117" fmla="*/ 12 h 82"/>
                    <a:gd name="T118" fmla="*/ 26 w 52"/>
                    <a:gd name="T119" fmla="*/ 12 h 82"/>
                    <a:gd name="T120" fmla="*/ 32 w 52"/>
                    <a:gd name="T121" fmla="*/ 14 h 82"/>
                    <a:gd name="T122" fmla="*/ 32 w 52"/>
                    <a:gd name="T123" fmla="*/ 14 h 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52" h="82">
                      <a:moveTo>
                        <a:pt x="8" y="8"/>
                      </a:moveTo>
                      <a:lnTo>
                        <a:pt x="8" y="8"/>
                      </a:lnTo>
                      <a:lnTo>
                        <a:pt x="6" y="14"/>
                      </a:lnTo>
                      <a:lnTo>
                        <a:pt x="2" y="20"/>
                      </a:lnTo>
                      <a:lnTo>
                        <a:pt x="0" y="40"/>
                      </a:lnTo>
                      <a:lnTo>
                        <a:pt x="0" y="40"/>
                      </a:lnTo>
                      <a:lnTo>
                        <a:pt x="2" y="60"/>
                      </a:lnTo>
                      <a:lnTo>
                        <a:pt x="4" y="68"/>
                      </a:lnTo>
                      <a:lnTo>
                        <a:pt x="8" y="72"/>
                      </a:lnTo>
                      <a:lnTo>
                        <a:pt x="8" y="72"/>
                      </a:lnTo>
                      <a:lnTo>
                        <a:pt x="12" y="76"/>
                      </a:lnTo>
                      <a:lnTo>
                        <a:pt x="16" y="80"/>
                      </a:lnTo>
                      <a:lnTo>
                        <a:pt x="22" y="80"/>
                      </a:lnTo>
                      <a:lnTo>
                        <a:pt x="26" y="82"/>
                      </a:lnTo>
                      <a:lnTo>
                        <a:pt x="26" y="82"/>
                      </a:lnTo>
                      <a:lnTo>
                        <a:pt x="38" y="80"/>
                      </a:lnTo>
                      <a:lnTo>
                        <a:pt x="42" y="76"/>
                      </a:lnTo>
                      <a:lnTo>
                        <a:pt x="44" y="74"/>
                      </a:lnTo>
                      <a:lnTo>
                        <a:pt x="44" y="74"/>
                      </a:lnTo>
                      <a:lnTo>
                        <a:pt x="48" y="68"/>
                      </a:lnTo>
                      <a:lnTo>
                        <a:pt x="50" y="60"/>
                      </a:lnTo>
                      <a:lnTo>
                        <a:pt x="52" y="40"/>
                      </a:lnTo>
                      <a:lnTo>
                        <a:pt x="52" y="40"/>
                      </a:lnTo>
                      <a:lnTo>
                        <a:pt x="50" y="20"/>
                      </a:lnTo>
                      <a:lnTo>
                        <a:pt x="48" y="14"/>
                      </a:lnTo>
                      <a:lnTo>
                        <a:pt x="46" y="8"/>
                      </a:lnTo>
                      <a:lnTo>
                        <a:pt x="46" y="8"/>
                      </a:lnTo>
                      <a:lnTo>
                        <a:pt x="42" y="4"/>
                      </a:lnTo>
                      <a:lnTo>
                        <a:pt x="38" y="2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16" y="2"/>
                      </a:lnTo>
                      <a:lnTo>
                        <a:pt x="12" y="4"/>
                      </a:lnTo>
                      <a:lnTo>
                        <a:pt x="8" y="8"/>
                      </a:lnTo>
                      <a:lnTo>
                        <a:pt x="8" y="8"/>
                      </a:lnTo>
                      <a:lnTo>
                        <a:pt x="8" y="8"/>
                      </a:lnTo>
                      <a:close/>
                      <a:moveTo>
                        <a:pt x="32" y="14"/>
                      </a:moveTo>
                      <a:lnTo>
                        <a:pt x="32" y="14"/>
                      </a:lnTo>
                      <a:lnTo>
                        <a:pt x="36" y="22"/>
                      </a:lnTo>
                      <a:lnTo>
                        <a:pt x="36" y="22"/>
                      </a:lnTo>
                      <a:lnTo>
                        <a:pt x="36" y="40"/>
                      </a:lnTo>
                      <a:lnTo>
                        <a:pt x="36" y="40"/>
                      </a:lnTo>
                      <a:lnTo>
                        <a:pt x="36" y="60"/>
                      </a:lnTo>
                      <a:lnTo>
                        <a:pt x="36" y="60"/>
                      </a:lnTo>
                      <a:lnTo>
                        <a:pt x="32" y="66"/>
                      </a:lnTo>
                      <a:lnTo>
                        <a:pt x="32" y="66"/>
                      </a:lnTo>
                      <a:lnTo>
                        <a:pt x="26" y="68"/>
                      </a:lnTo>
                      <a:lnTo>
                        <a:pt x="26" y="68"/>
                      </a:lnTo>
                      <a:lnTo>
                        <a:pt x="22" y="66"/>
                      </a:lnTo>
                      <a:lnTo>
                        <a:pt x="22" y="66"/>
                      </a:lnTo>
                      <a:lnTo>
                        <a:pt x="18" y="60"/>
                      </a:lnTo>
                      <a:lnTo>
                        <a:pt x="18" y="60"/>
                      </a:lnTo>
                      <a:lnTo>
                        <a:pt x="16" y="40"/>
                      </a:lnTo>
                      <a:lnTo>
                        <a:pt x="16" y="40"/>
                      </a:lnTo>
                      <a:lnTo>
                        <a:pt x="18" y="20"/>
                      </a:lnTo>
                      <a:lnTo>
                        <a:pt x="18" y="20"/>
                      </a:lnTo>
                      <a:lnTo>
                        <a:pt x="22" y="14"/>
                      </a:lnTo>
                      <a:lnTo>
                        <a:pt x="22" y="14"/>
                      </a:lnTo>
                      <a:lnTo>
                        <a:pt x="26" y="12"/>
                      </a:lnTo>
                      <a:lnTo>
                        <a:pt x="26" y="12"/>
                      </a:lnTo>
                      <a:lnTo>
                        <a:pt x="32" y="14"/>
                      </a:lnTo>
                      <a:lnTo>
                        <a:pt x="32" y="1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" pitchFamily="34" charset="0"/>
                  </a:endParaRPr>
                </a:p>
              </p:txBody>
            </p:sp>
            <p:sp>
              <p:nvSpPr>
                <p:cNvPr id="192" name="Freeform 22"/>
                <p:cNvSpPr>
                  <a:spLocks/>
                </p:cNvSpPr>
                <p:nvPr/>
              </p:nvSpPr>
              <p:spPr bwMode="auto">
                <a:xfrm>
                  <a:off x="5395137" y="4958627"/>
                  <a:ext cx="25888" cy="60914"/>
                </a:xfrm>
                <a:custGeom>
                  <a:avLst/>
                  <a:gdLst>
                    <a:gd name="T0" fmla="*/ 34 w 34"/>
                    <a:gd name="T1" fmla="*/ 0 h 80"/>
                    <a:gd name="T2" fmla="*/ 22 w 34"/>
                    <a:gd name="T3" fmla="*/ 0 h 80"/>
                    <a:gd name="T4" fmla="*/ 22 w 34"/>
                    <a:gd name="T5" fmla="*/ 0 h 80"/>
                    <a:gd name="T6" fmla="*/ 18 w 34"/>
                    <a:gd name="T7" fmla="*/ 6 h 80"/>
                    <a:gd name="T8" fmla="*/ 12 w 34"/>
                    <a:gd name="T9" fmla="*/ 12 h 80"/>
                    <a:gd name="T10" fmla="*/ 12 w 34"/>
                    <a:gd name="T11" fmla="*/ 12 h 80"/>
                    <a:gd name="T12" fmla="*/ 6 w 34"/>
                    <a:gd name="T13" fmla="*/ 18 h 80"/>
                    <a:gd name="T14" fmla="*/ 0 w 34"/>
                    <a:gd name="T15" fmla="*/ 20 h 80"/>
                    <a:gd name="T16" fmla="*/ 0 w 34"/>
                    <a:gd name="T17" fmla="*/ 34 h 80"/>
                    <a:gd name="T18" fmla="*/ 0 w 34"/>
                    <a:gd name="T19" fmla="*/ 34 h 80"/>
                    <a:gd name="T20" fmla="*/ 10 w 34"/>
                    <a:gd name="T21" fmla="*/ 30 h 80"/>
                    <a:gd name="T22" fmla="*/ 20 w 34"/>
                    <a:gd name="T23" fmla="*/ 22 h 80"/>
                    <a:gd name="T24" fmla="*/ 20 w 34"/>
                    <a:gd name="T25" fmla="*/ 80 h 80"/>
                    <a:gd name="T26" fmla="*/ 34 w 34"/>
                    <a:gd name="T27" fmla="*/ 80 h 80"/>
                    <a:gd name="T28" fmla="*/ 34 w 34"/>
                    <a:gd name="T29" fmla="*/ 0 h 80"/>
                    <a:gd name="T30" fmla="*/ 34 w 34"/>
                    <a:gd name="T31" fmla="*/ 0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4" h="80">
                      <a:moveTo>
                        <a:pt x="34" y="0"/>
                      </a:move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18" y="6"/>
                      </a:lnTo>
                      <a:lnTo>
                        <a:pt x="12" y="12"/>
                      </a:lnTo>
                      <a:lnTo>
                        <a:pt x="12" y="12"/>
                      </a:lnTo>
                      <a:lnTo>
                        <a:pt x="6" y="18"/>
                      </a:lnTo>
                      <a:lnTo>
                        <a:pt x="0" y="20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10" y="30"/>
                      </a:lnTo>
                      <a:lnTo>
                        <a:pt x="20" y="22"/>
                      </a:lnTo>
                      <a:lnTo>
                        <a:pt x="20" y="80"/>
                      </a:lnTo>
                      <a:lnTo>
                        <a:pt x="34" y="80"/>
                      </a:lnTo>
                      <a:lnTo>
                        <a:pt x="34" y="0"/>
                      </a:lnTo>
                      <a:lnTo>
                        <a:pt x="34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" pitchFamily="34" charset="0"/>
                  </a:endParaRPr>
                </a:p>
              </p:txBody>
            </p:sp>
            <p:sp>
              <p:nvSpPr>
                <p:cNvPr id="193" name="Freeform 23"/>
                <p:cNvSpPr>
                  <a:spLocks noEditPoints="1"/>
                </p:cNvSpPr>
                <p:nvPr/>
              </p:nvSpPr>
              <p:spPr bwMode="auto">
                <a:xfrm>
                  <a:off x="5506304" y="4958627"/>
                  <a:ext cx="39594" cy="62437"/>
                </a:xfrm>
                <a:custGeom>
                  <a:avLst/>
                  <a:gdLst>
                    <a:gd name="T0" fmla="*/ 8 w 52"/>
                    <a:gd name="T1" fmla="*/ 8 h 82"/>
                    <a:gd name="T2" fmla="*/ 8 w 52"/>
                    <a:gd name="T3" fmla="*/ 8 h 82"/>
                    <a:gd name="T4" fmla="*/ 4 w 52"/>
                    <a:gd name="T5" fmla="*/ 14 h 82"/>
                    <a:gd name="T6" fmla="*/ 2 w 52"/>
                    <a:gd name="T7" fmla="*/ 20 h 82"/>
                    <a:gd name="T8" fmla="*/ 0 w 52"/>
                    <a:gd name="T9" fmla="*/ 40 h 82"/>
                    <a:gd name="T10" fmla="*/ 0 w 52"/>
                    <a:gd name="T11" fmla="*/ 40 h 82"/>
                    <a:gd name="T12" fmla="*/ 2 w 52"/>
                    <a:gd name="T13" fmla="*/ 60 h 82"/>
                    <a:gd name="T14" fmla="*/ 4 w 52"/>
                    <a:gd name="T15" fmla="*/ 68 h 82"/>
                    <a:gd name="T16" fmla="*/ 6 w 52"/>
                    <a:gd name="T17" fmla="*/ 72 h 82"/>
                    <a:gd name="T18" fmla="*/ 6 w 52"/>
                    <a:gd name="T19" fmla="*/ 72 h 82"/>
                    <a:gd name="T20" fmla="*/ 10 w 52"/>
                    <a:gd name="T21" fmla="*/ 76 h 82"/>
                    <a:gd name="T22" fmla="*/ 16 w 52"/>
                    <a:gd name="T23" fmla="*/ 80 h 82"/>
                    <a:gd name="T24" fmla="*/ 20 w 52"/>
                    <a:gd name="T25" fmla="*/ 80 h 82"/>
                    <a:gd name="T26" fmla="*/ 26 w 52"/>
                    <a:gd name="T27" fmla="*/ 82 h 82"/>
                    <a:gd name="T28" fmla="*/ 26 w 52"/>
                    <a:gd name="T29" fmla="*/ 82 h 82"/>
                    <a:gd name="T30" fmla="*/ 36 w 52"/>
                    <a:gd name="T31" fmla="*/ 80 h 82"/>
                    <a:gd name="T32" fmla="*/ 40 w 52"/>
                    <a:gd name="T33" fmla="*/ 76 h 82"/>
                    <a:gd name="T34" fmla="*/ 44 w 52"/>
                    <a:gd name="T35" fmla="*/ 74 h 82"/>
                    <a:gd name="T36" fmla="*/ 44 w 52"/>
                    <a:gd name="T37" fmla="*/ 74 h 82"/>
                    <a:gd name="T38" fmla="*/ 48 w 52"/>
                    <a:gd name="T39" fmla="*/ 68 h 82"/>
                    <a:gd name="T40" fmla="*/ 50 w 52"/>
                    <a:gd name="T41" fmla="*/ 60 h 82"/>
                    <a:gd name="T42" fmla="*/ 52 w 52"/>
                    <a:gd name="T43" fmla="*/ 40 h 82"/>
                    <a:gd name="T44" fmla="*/ 52 w 52"/>
                    <a:gd name="T45" fmla="*/ 40 h 82"/>
                    <a:gd name="T46" fmla="*/ 50 w 52"/>
                    <a:gd name="T47" fmla="*/ 20 h 82"/>
                    <a:gd name="T48" fmla="*/ 48 w 52"/>
                    <a:gd name="T49" fmla="*/ 14 h 82"/>
                    <a:gd name="T50" fmla="*/ 44 w 52"/>
                    <a:gd name="T51" fmla="*/ 8 h 82"/>
                    <a:gd name="T52" fmla="*/ 44 w 52"/>
                    <a:gd name="T53" fmla="*/ 8 h 82"/>
                    <a:gd name="T54" fmla="*/ 40 w 52"/>
                    <a:gd name="T55" fmla="*/ 4 h 82"/>
                    <a:gd name="T56" fmla="*/ 36 w 52"/>
                    <a:gd name="T57" fmla="*/ 2 h 82"/>
                    <a:gd name="T58" fmla="*/ 26 w 52"/>
                    <a:gd name="T59" fmla="*/ 0 h 82"/>
                    <a:gd name="T60" fmla="*/ 26 w 52"/>
                    <a:gd name="T61" fmla="*/ 0 h 82"/>
                    <a:gd name="T62" fmla="*/ 16 w 52"/>
                    <a:gd name="T63" fmla="*/ 2 h 82"/>
                    <a:gd name="T64" fmla="*/ 12 w 52"/>
                    <a:gd name="T65" fmla="*/ 4 h 82"/>
                    <a:gd name="T66" fmla="*/ 8 w 52"/>
                    <a:gd name="T67" fmla="*/ 8 h 82"/>
                    <a:gd name="T68" fmla="*/ 8 w 52"/>
                    <a:gd name="T69" fmla="*/ 8 h 82"/>
                    <a:gd name="T70" fmla="*/ 8 w 52"/>
                    <a:gd name="T71" fmla="*/ 8 h 82"/>
                    <a:gd name="T72" fmla="*/ 30 w 52"/>
                    <a:gd name="T73" fmla="*/ 14 h 82"/>
                    <a:gd name="T74" fmla="*/ 30 w 52"/>
                    <a:gd name="T75" fmla="*/ 14 h 82"/>
                    <a:gd name="T76" fmla="*/ 34 w 52"/>
                    <a:gd name="T77" fmla="*/ 22 h 82"/>
                    <a:gd name="T78" fmla="*/ 34 w 52"/>
                    <a:gd name="T79" fmla="*/ 22 h 82"/>
                    <a:gd name="T80" fmla="*/ 36 w 52"/>
                    <a:gd name="T81" fmla="*/ 40 h 82"/>
                    <a:gd name="T82" fmla="*/ 36 w 52"/>
                    <a:gd name="T83" fmla="*/ 40 h 82"/>
                    <a:gd name="T84" fmla="*/ 34 w 52"/>
                    <a:gd name="T85" fmla="*/ 60 h 82"/>
                    <a:gd name="T86" fmla="*/ 34 w 52"/>
                    <a:gd name="T87" fmla="*/ 60 h 82"/>
                    <a:gd name="T88" fmla="*/ 30 w 52"/>
                    <a:gd name="T89" fmla="*/ 66 h 82"/>
                    <a:gd name="T90" fmla="*/ 30 w 52"/>
                    <a:gd name="T91" fmla="*/ 66 h 82"/>
                    <a:gd name="T92" fmla="*/ 26 w 52"/>
                    <a:gd name="T93" fmla="*/ 68 h 82"/>
                    <a:gd name="T94" fmla="*/ 26 w 52"/>
                    <a:gd name="T95" fmla="*/ 68 h 82"/>
                    <a:gd name="T96" fmla="*/ 20 w 52"/>
                    <a:gd name="T97" fmla="*/ 66 h 82"/>
                    <a:gd name="T98" fmla="*/ 20 w 52"/>
                    <a:gd name="T99" fmla="*/ 66 h 82"/>
                    <a:gd name="T100" fmla="*/ 18 w 52"/>
                    <a:gd name="T101" fmla="*/ 60 h 82"/>
                    <a:gd name="T102" fmla="*/ 18 w 52"/>
                    <a:gd name="T103" fmla="*/ 60 h 82"/>
                    <a:gd name="T104" fmla="*/ 16 w 52"/>
                    <a:gd name="T105" fmla="*/ 40 h 82"/>
                    <a:gd name="T106" fmla="*/ 16 w 52"/>
                    <a:gd name="T107" fmla="*/ 40 h 82"/>
                    <a:gd name="T108" fmla="*/ 18 w 52"/>
                    <a:gd name="T109" fmla="*/ 20 h 82"/>
                    <a:gd name="T110" fmla="*/ 18 w 52"/>
                    <a:gd name="T111" fmla="*/ 20 h 82"/>
                    <a:gd name="T112" fmla="*/ 20 w 52"/>
                    <a:gd name="T113" fmla="*/ 14 h 82"/>
                    <a:gd name="T114" fmla="*/ 20 w 52"/>
                    <a:gd name="T115" fmla="*/ 14 h 82"/>
                    <a:gd name="T116" fmla="*/ 26 w 52"/>
                    <a:gd name="T117" fmla="*/ 12 h 82"/>
                    <a:gd name="T118" fmla="*/ 26 w 52"/>
                    <a:gd name="T119" fmla="*/ 12 h 82"/>
                    <a:gd name="T120" fmla="*/ 30 w 52"/>
                    <a:gd name="T121" fmla="*/ 14 h 82"/>
                    <a:gd name="T122" fmla="*/ 30 w 52"/>
                    <a:gd name="T123" fmla="*/ 14 h 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52" h="82">
                      <a:moveTo>
                        <a:pt x="8" y="8"/>
                      </a:moveTo>
                      <a:lnTo>
                        <a:pt x="8" y="8"/>
                      </a:lnTo>
                      <a:lnTo>
                        <a:pt x="4" y="14"/>
                      </a:lnTo>
                      <a:lnTo>
                        <a:pt x="2" y="20"/>
                      </a:lnTo>
                      <a:lnTo>
                        <a:pt x="0" y="40"/>
                      </a:lnTo>
                      <a:lnTo>
                        <a:pt x="0" y="40"/>
                      </a:lnTo>
                      <a:lnTo>
                        <a:pt x="2" y="60"/>
                      </a:lnTo>
                      <a:lnTo>
                        <a:pt x="4" y="68"/>
                      </a:lnTo>
                      <a:lnTo>
                        <a:pt x="6" y="72"/>
                      </a:lnTo>
                      <a:lnTo>
                        <a:pt x="6" y="72"/>
                      </a:lnTo>
                      <a:lnTo>
                        <a:pt x="10" y="76"/>
                      </a:lnTo>
                      <a:lnTo>
                        <a:pt x="16" y="80"/>
                      </a:lnTo>
                      <a:lnTo>
                        <a:pt x="20" y="80"/>
                      </a:lnTo>
                      <a:lnTo>
                        <a:pt x="26" y="82"/>
                      </a:lnTo>
                      <a:lnTo>
                        <a:pt x="26" y="82"/>
                      </a:lnTo>
                      <a:lnTo>
                        <a:pt x="36" y="80"/>
                      </a:lnTo>
                      <a:lnTo>
                        <a:pt x="40" y="76"/>
                      </a:lnTo>
                      <a:lnTo>
                        <a:pt x="44" y="74"/>
                      </a:lnTo>
                      <a:lnTo>
                        <a:pt x="44" y="74"/>
                      </a:lnTo>
                      <a:lnTo>
                        <a:pt x="48" y="68"/>
                      </a:lnTo>
                      <a:lnTo>
                        <a:pt x="50" y="60"/>
                      </a:lnTo>
                      <a:lnTo>
                        <a:pt x="52" y="40"/>
                      </a:lnTo>
                      <a:lnTo>
                        <a:pt x="52" y="40"/>
                      </a:lnTo>
                      <a:lnTo>
                        <a:pt x="50" y="20"/>
                      </a:lnTo>
                      <a:lnTo>
                        <a:pt x="48" y="14"/>
                      </a:lnTo>
                      <a:lnTo>
                        <a:pt x="44" y="8"/>
                      </a:lnTo>
                      <a:lnTo>
                        <a:pt x="44" y="8"/>
                      </a:lnTo>
                      <a:lnTo>
                        <a:pt x="40" y="4"/>
                      </a:lnTo>
                      <a:lnTo>
                        <a:pt x="36" y="2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16" y="2"/>
                      </a:lnTo>
                      <a:lnTo>
                        <a:pt x="12" y="4"/>
                      </a:lnTo>
                      <a:lnTo>
                        <a:pt x="8" y="8"/>
                      </a:lnTo>
                      <a:lnTo>
                        <a:pt x="8" y="8"/>
                      </a:lnTo>
                      <a:lnTo>
                        <a:pt x="8" y="8"/>
                      </a:lnTo>
                      <a:close/>
                      <a:moveTo>
                        <a:pt x="30" y="14"/>
                      </a:moveTo>
                      <a:lnTo>
                        <a:pt x="30" y="14"/>
                      </a:lnTo>
                      <a:lnTo>
                        <a:pt x="34" y="22"/>
                      </a:lnTo>
                      <a:lnTo>
                        <a:pt x="34" y="22"/>
                      </a:lnTo>
                      <a:lnTo>
                        <a:pt x="36" y="40"/>
                      </a:lnTo>
                      <a:lnTo>
                        <a:pt x="36" y="40"/>
                      </a:lnTo>
                      <a:lnTo>
                        <a:pt x="34" y="60"/>
                      </a:lnTo>
                      <a:lnTo>
                        <a:pt x="34" y="60"/>
                      </a:lnTo>
                      <a:lnTo>
                        <a:pt x="30" y="66"/>
                      </a:lnTo>
                      <a:lnTo>
                        <a:pt x="30" y="66"/>
                      </a:lnTo>
                      <a:lnTo>
                        <a:pt x="26" y="68"/>
                      </a:lnTo>
                      <a:lnTo>
                        <a:pt x="26" y="68"/>
                      </a:lnTo>
                      <a:lnTo>
                        <a:pt x="20" y="66"/>
                      </a:lnTo>
                      <a:lnTo>
                        <a:pt x="20" y="66"/>
                      </a:lnTo>
                      <a:lnTo>
                        <a:pt x="18" y="60"/>
                      </a:lnTo>
                      <a:lnTo>
                        <a:pt x="18" y="60"/>
                      </a:lnTo>
                      <a:lnTo>
                        <a:pt x="16" y="40"/>
                      </a:lnTo>
                      <a:lnTo>
                        <a:pt x="16" y="40"/>
                      </a:lnTo>
                      <a:lnTo>
                        <a:pt x="18" y="20"/>
                      </a:lnTo>
                      <a:lnTo>
                        <a:pt x="18" y="20"/>
                      </a:lnTo>
                      <a:lnTo>
                        <a:pt x="20" y="14"/>
                      </a:lnTo>
                      <a:lnTo>
                        <a:pt x="20" y="14"/>
                      </a:lnTo>
                      <a:lnTo>
                        <a:pt x="26" y="12"/>
                      </a:lnTo>
                      <a:lnTo>
                        <a:pt x="26" y="12"/>
                      </a:lnTo>
                      <a:lnTo>
                        <a:pt x="30" y="14"/>
                      </a:lnTo>
                      <a:lnTo>
                        <a:pt x="30" y="1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" pitchFamily="34" charset="0"/>
                  </a:endParaRPr>
                </a:p>
              </p:txBody>
            </p:sp>
            <p:sp>
              <p:nvSpPr>
                <p:cNvPr id="194" name="Freeform 24"/>
                <p:cNvSpPr>
                  <a:spLocks/>
                </p:cNvSpPr>
                <p:nvPr/>
              </p:nvSpPr>
              <p:spPr bwMode="auto">
                <a:xfrm>
                  <a:off x="5623564" y="4958627"/>
                  <a:ext cx="27411" cy="60914"/>
                </a:xfrm>
                <a:custGeom>
                  <a:avLst/>
                  <a:gdLst>
                    <a:gd name="T0" fmla="*/ 36 w 36"/>
                    <a:gd name="T1" fmla="*/ 0 h 80"/>
                    <a:gd name="T2" fmla="*/ 24 w 36"/>
                    <a:gd name="T3" fmla="*/ 0 h 80"/>
                    <a:gd name="T4" fmla="*/ 24 w 36"/>
                    <a:gd name="T5" fmla="*/ 0 h 80"/>
                    <a:gd name="T6" fmla="*/ 20 w 36"/>
                    <a:gd name="T7" fmla="*/ 6 h 80"/>
                    <a:gd name="T8" fmla="*/ 14 w 36"/>
                    <a:gd name="T9" fmla="*/ 12 h 80"/>
                    <a:gd name="T10" fmla="*/ 14 w 36"/>
                    <a:gd name="T11" fmla="*/ 12 h 80"/>
                    <a:gd name="T12" fmla="*/ 6 w 36"/>
                    <a:gd name="T13" fmla="*/ 18 h 80"/>
                    <a:gd name="T14" fmla="*/ 0 w 36"/>
                    <a:gd name="T15" fmla="*/ 20 h 80"/>
                    <a:gd name="T16" fmla="*/ 0 w 36"/>
                    <a:gd name="T17" fmla="*/ 34 h 80"/>
                    <a:gd name="T18" fmla="*/ 0 w 36"/>
                    <a:gd name="T19" fmla="*/ 34 h 80"/>
                    <a:gd name="T20" fmla="*/ 12 w 36"/>
                    <a:gd name="T21" fmla="*/ 30 h 80"/>
                    <a:gd name="T22" fmla="*/ 20 w 36"/>
                    <a:gd name="T23" fmla="*/ 22 h 80"/>
                    <a:gd name="T24" fmla="*/ 20 w 36"/>
                    <a:gd name="T25" fmla="*/ 80 h 80"/>
                    <a:gd name="T26" fmla="*/ 36 w 36"/>
                    <a:gd name="T27" fmla="*/ 80 h 80"/>
                    <a:gd name="T28" fmla="*/ 36 w 36"/>
                    <a:gd name="T29" fmla="*/ 0 h 80"/>
                    <a:gd name="T30" fmla="*/ 36 w 36"/>
                    <a:gd name="T31" fmla="*/ 0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6" h="80">
                      <a:moveTo>
                        <a:pt x="36" y="0"/>
                      </a:moveTo>
                      <a:lnTo>
                        <a:pt x="24" y="0"/>
                      </a:lnTo>
                      <a:lnTo>
                        <a:pt x="24" y="0"/>
                      </a:lnTo>
                      <a:lnTo>
                        <a:pt x="20" y="6"/>
                      </a:lnTo>
                      <a:lnTo>
                        <a:pt x="14" y="12"/>
                      </a:lnTo>
                      <a:lnTo>
                        <a:pt x="14" y="12"/>
                      </a:lnTo>
                      <a:lnTo>
                        <a:pt x="6" y="18"/>
                      </a:lnTo>
                      <a:lnTo>
                        <a:pt x="0" y="20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12" y="30"/>
                      </a:lnTo>
                      <a:lnTo>
                        <a:pt x="20" y="22"/>
                      </a:lnTo>
                      <a:lnTo>
                        <a:pt x="20" y="80"/>
                      </a:lnTo>
                      <a:lnTo>
                        <a:pt x="36" y="80"/>
                      </a:lnTo>
                      <a:lnTo>
                        <a:pt x="36" y="0"/>
                      </a:lnTo>
                      <a:lnTo>
                        <a:pt x="36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" pitchFamily="34" charset="0"/>
                  </a:endParaRPr>
                </a:p>
              </p:txBody>
            </p:sp>
            <p:sp>
              <p:nvSpPr>
                <p:cNvPr id="195" name="Freeform 25"/>
                <p:cNvSpPr>
                  <a:spLocks noEditPoints="1"/>
                </p:cNvSpPr>
                <p:nvPr/>
              </p:nvSpPr>
              <p:spPr bwMode="auto">
                <a:xfrm>
                  <a:off x="5734731" y="4958627"/>
                  <a:ext cx="41117" cy="62437"/>
                </a:xfrm>
                <a:custGeom>
                  <a:avLst/>
                  <a:gdLst>
                    <a:gd name="T0" fmla="*/ 8 w 54"/>
                    <a:gd name="T1" fmla="*/ 8 h 82"/>
                    <a:gd name="T2" fmla="*/ 8 w 54"/>
                    <a:gd name="T3" fmla="*/ 8 h 82"/>
                    <a:gd name="T4" fmla="*/ 6 w 54"/>
                    <a:gd name="T5" fmla="*/ 14 h 82"/>
                    <a:gd name="T6" fmla="*/ 2 w 54"/>
                    <a:gd name="T7" fmla="*/ 20 h 82"/>
                    <a:gd name="T8" fmla="*/ 0 w 54"/>
                    <a:gd name="T9" fmla="*/ 40 h 82"/>
                    <a:gd name="T10" fmla="*/ 0 w 54"/>
                    <a:gd name="T11" fmla="*/ 40 h 82"/>
                    <a:gd name="T12" fmla="*/ 2 w 54"/>
                    <a:gd name="T13" fmla="*/ 60 h 82"/>
                    <a:gd name="T14" fmla="*/ 4 w 54"/>
                    <a:gd name="T15" fmla="*/ 68 h 82"/>
                    <a:gd name="T16" fmla="*/ 8 w 54"/>
                    <a:gd name="T17" fmla="*/ 72 h 82"/>
                    <a:gd name="T18" fmla="*/ 8 w 54"/>
                    <a:gd name="T19" fmla="*/ 72 h 82"/>
                    <a:gd name="T20" fmla="*/ 12 w 54"/>
                    <a:gd name="T21" fmla="*/ 76 h 82"/>
                    <a:gd name="T22" fmla="*/ 16 w 54"/>
                    <a:gd name="T23" fmla="*/ 80 h 82"/>
                    <a:gd name="T24" fmla="*/ 22 w 54"/>
                    <a:gd name="T25" fmla="*/ 80 h 82"/>
                    <a:gd name="T26" fmla="*/ 28 w 54"/>
                    <a:gd name="T27" fmla="*/ 82 h 82"/>
                    <a:gd name="T28" fmla="*/ 28 w 54"/>
                    <a:gd name="T29" fmla="*/ 82 h 82"/>
                    <a:gd name="T30" fmla="*/ 38 w 54"/>
                    <a:gd name="T31" fmla="*/ 80 h 82"/>
                    <a:gd name="T32" fmla="*/ 42 w 54"/>
                    <a:gd name="T33" fmla="*/ 76 h 82"/>
                    <a:gd name="T34" fmla="*/ 46 w 54"/>
                    <a:gd name="T35" fmla="*/ 74 h 82"/>
                    <a:gd name="T36" fmla="*/ 46 w 54"/>
                    <a:gd name="T37" fmla="*/ 74 h 82"/>
                    <a:gd name="T38" fmla="*/ 48 w 54"/>
                    <a:gd name="T39" fmla="*/ 68 h 82"/>
                    <a:gd name="T40" fmla="*/ 52 w 54"/>
                    <a:gd name="T41" fmla="*/ 60 h 82"/>
                    <a:gd name="T42" fmla="*/ 54 w 54"/>
                    <a:gd name="T43" fmla="*/ 40 h 82"/>
                    <a:gd name="T44" fmla="*/ 54 w 54"/>
                    <a:gd name="T45" fmla="*/ 40 h 82"/>
                    <a:gd name="T46" fmla="*/ 52 w 54"/>
                    <a:gd name="T47" fmla="*/ 20 h 82"/>
                    <a:gd name="T48" fmla="*/ 48 w 54"/>
                    <a:gd name="T49" fmla="*/ 14 h 82"/>
                    <a:gd name="T50" fmla="*/ 46 w 54"/>
                    <a:gd name="T51" fmla="*/ 8 h 82"/>
                    <a:gd name="T52" fmla="*/ 46 w 54"/>
                    <a:gd name="T53" fmla="*/ 8 h 82"/>
                    <a:gd name="T54" fmla="*/ 42 w 54"/>
                    <a:gd name="T55" fmla="*/ 4 h 82"/>
                    <a:gd name="T56" fmla="*/ 38 w 54"/>
                    <a:gd name="T57" fmla="*/ 2 h 82"/>
                    <a:gd name="T58" fmla="*/ 28 w 54"/>
                    <a:gd name="T59" fmla="*/ 0 h 82"/>
                    <a:gd name="T60" fmla="*/ 28 w 54"/>
                    <a:gd name="T61" fmla="*/ 0 h 82"/>
                    <a:gd name="T62" fmla="*/ 16 w 54"/>
                    <a:gd name="T63" fmla="*/ 2 h 82"/>
                    <a:gd name="T64" fmla="*/ 12 w 54"/>
                    <a:gd name="T65" fmla="*/ 4 h 82"/>
                    <a:gd name="T66" fmla="*/ 8 w 54"/>
                    <a:gd name="T67" fmla="*/ 8 h 82"/>
                    <a:gd name="T68" fmla="*/ 8 w 54"/>
                    <a:gd name="T69" fmla="*/ 8 h 82"/>
                    <a:gd name="T70" fmla="*/ 8 w 54"/>
                    <a:gd name="T71" fmla="*/ 8 h 82"/>
                    <a:gd name="T72" fmla="*/ 32 w 54"/>
                    <a:gd name="T73" fmla="*/ 14 h 82"/>
                    <a:gd name="T74" fmla="*/ 32 w 54"/>
                    <a:gd name="T75" fmla="*/ 14 h 82"/>
                    <a:gd name="T76" fmla="*/ 36 w 54"/>
                    <a:gd name="T77" fmla="*/ 22 h 82"/>
                    <a:gd name="T78" fmla="*/ 36 w 54"/>
                    <a:gd name="T79" fmla="*/ 22 h 82"/>
                    <a:gd name="T80" fmla="*/ 38 w 54"/>
                    <a:gd name="T81" fmla="*/ 40 h 82"/>
                    <a:gd name="T82" fmla="*/ 38 w 54"/>
                    <a:gd name="T83" fmla="*/ 40 h 82"/>
                    <a:gd name="T84" fmla="*/ 36 w 54"/>
                    <a:gd name="T85" fmla="*/ 60 h 82"/>
                    <a:gd name="T86" fmla="*/ 36 w 54"/>
                    <a:gd name="T87" fmla="*/ 60 h 82"/>
                    <a:gd name="T88" fmla="*/ 32 w 54"/>
                    <a:gd name="T89" fmla="*/ 66 h 82"/>
                    <a:gd name="T90" fmla="*/ 32 w 54"/>
                    <a:gd name="T91" fmla="*/ 66 h 82"/>
                    <a:gd name="T92" fmla="*/ 28 w 54"/>
                    <a:gd name="T93" fmla="*/ 68 h 82"/>
                    <a:gd name="T94" fmla="*/ 28 w 54"/>
                    <a:gd name="T95" fmla="*/ 68 h 82"/>
                    <a:gd name="T96" fmla="*/ 22 w 54"/>
                    <a:gd name="T97" fmla="*/ 66 h 82"/>
                    <a:gd name="T98" fmla="*/ 22 w 54"/>
                    <a:gd name="T99" fmla="*/ 66 h 82"/>
                    <a:gd name="T100" fmla="*/ 18 w 54"/>
                    <a:gd name="T101" fmla="*/ 60 h 82"/>
                    <a:gd name="T102" fmla="*/ 18 w 54"/>
                    <a:gd name="T103" fmla="*/ 60 h 82"/>
                    <a:gd name="T104" fmla="*/ 18 w 54"/>
                    <a:gd name="T105" fmla="*/ 40 h 82"/>
                    <a:gd name="T106" fmla="*/ 18 w 54"/>
                    <a:gd name="T107" fmla="*/ 40 h 82"/>
                    <a:gd name="T108" fmla="*/ 18 w 54"/>
                    <a:gd name="T109" fmla="*/ 20 h 82"/>
                    <a:gd name="T110" fmla="*/ 18 w 54"/>
                    <a:gd name="T111" fmla="*/ 20 h 82"/>
                    <a:gd name="T112" fmla="*/ 22 w 54"/>
                    <a:gd name="T113" fmla="*/ 14 h 82"/>
                    <a:gd name="T114" fmla="*/ 22 w 54"/>
                    <a:gd name="T115" fmla="*/ 14 h 82"/>
                    <a:gd name="T116" fmla="*/ 28 w 54"/>
                    <a:gd name="T117" fmla="*/ 12 h 82"/>
                    <a:gd name="T118" fmla="*/ 28 w 54"/>
                    <a:gd name="T119" fmla="*/ 12 h 82"/>
                    <a:gd name="T120" fmla="*/ 32 w 54"/>
                    <a:gd name="T121" fmla="*/ 14 h 82"/>
                    <a:gd name="T122" fmla="*/ 32 w 54"/>
                    <a:gd name="T123" fmla="*/ 14 h 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54" h="82">
                      <a:moveTo>
                        <a:pt x="8" y="8"/>
                      </a:moveTo>
                      <a:lnTo>
                        <a:pt x="8" y="8"/>
                      </a:lnTo>
                      <a:lnTo>
                        <a:pt x="6" y="14"/>
                      </a:lnTo>
                      <a:lnTo>
                        <a:pt x="2" y="20"/>
                      </a:lnTo>
                      <a:lnTo>
                        <a:pt x="0" y="40"/>
                      </a:lnTo>
                      <a:lnTo>
                        <a:pt x="0" y="40"/>
                      </a:lnTo>
                      <a:lnTo>
                        <a:pt x="2" y="60"/>
                      </a:lnTo>
                      <a:lnTo>
                        <a:pt x="4" y="68"/>
                      </a:lnTo>
                      <a:lnTo>
                        <a:pt x="8" y="72"/>
                      </a:lnTo>
                      <a:lnTo>
                        <a:pt x="8" y="72"/>
                      </a:lnTo>
                      <a:lnTo>
                        <a:pt x="12" y="76"/>
                      </a:lnTo>
                      <a:lnTo>
                        <a:pt x="16" y="80"/>
                      </a:lnTo>
                      <a:lnTo>
                        <a:pt x="22" y="80"/>
                      </a:lnTo>
                      <a:lnTo>
                        <a:pt x="28" y="82"/>
                      </a:lnTo>
                      <a:lnTo>
                        <a:pt x="28" y="82"/>
                      </a:lnTo>
                      <a:lnTo>
                        <a:pt x="38" y="80"/>
                      </a:lnTo>
                      <a:lnTo>
                        <a:pt x="42" y="76"/>
                      </a:lnTo>
                      <a:lnTo>
                        <a:pt x="46" y="74"/>
                      </a:lnTo>
                      <a:lnTo>
                        <a:pt x="46" y="74"/>
                      </a:lnTo>
                      <a:lnTo>
                        <a:pt x="48" y="68"/>
                      </a:lnTo>
                      <a:lnTo>
                        <a:pt x="52" y="60"/>
                      </a:lnTo>
                      <a:lnTo>
                        <a:pt x="54" y="40"/>
                      </a:lnTo>
                      <a:lnTo>
                        <a:pt x="54" y="40"/>
                      </a:lnTo>
                      <a:lnTo>
                        <a:pt x="52" y="20"/>
                      </a:lnTo>
                      <a:lnTo>
                        <a:pt x="48" y="14"/>
                      </a:lnTo>
                      <a:lnTo>
                        <a:pt x="46" y="8"/>
                      </a:lnTo>
                      <a:lnTo>
                        <a:pt x="46" y="8"/>
                      </a:lnTo>
                      <a:lnTo>
                        <a:pt x="42" y="4"/>
                      </a:lnTo>
                      <a:lnTo>
                        <a:pt x="38" y="2"/>
                      </a:lnTo>
                      <a:lnTo>
                        <a:pt x="28" y="0"/>
                      </a:lnTo>
                      <a:lnTo>
                        <a:pt x="28" y="0"/>
                      </a:lnTo>
                      <a:lnTo>
                        <a:pt x="16" y="2"/>
                      </a:lnTo>
                      <a:lnTo>
                        <a:pt x="12" y="4"/>
                      </a:lnTo>
                      <a:lnTo>
                        <a:pt x="8" y="8"/>
                      </a:lnTo>
                      <a:lnTo>
                        <a:pt x="8" y="8"/>
                      </a:lnTo>
                      <a:lnTo>
                        <a:pt x="8" y="8"/>
                      </a:lnTo>
                      <a:close/>
                      <a:moveTo>
                        <a:pt x="32" y="14"/>
                      </a:moveTo>
                      <a:lnTo>
                        <a:pt x="32" y="14"/>
                      </a:lnTo>
                      <a:lnTo>
                        <a:pt x="36" y="22"/>
                      </a:lnTo>
                      <a:lnTo>
                        <a:pt x="36" y="22"/>
                      </a:lnTo>
                      <a:lnTo>
                        <a:pt x="38" y="40"/>
                      </a:lnTo>
                      <a:lnTo>
                        <a:pt x="38" y="40"/>
                      </a:lnTo>
                      <a:lnTo>
                        <a:pt x="36" y="60"/>
                      </a:lnTo>
                      <a:lnTo>
                        <a:pt x="36" y="60"/>
                      </a:lnTo>
                      <a:lnTo>
                        <a:pt x="32" y="66"/>
                      </a:lnTo>
                      <a:lnTo>
                        <a:pt x="32" y="66"/>
                      </a:lnTo>
                      <a:lnTo>
                        <a:pt x="28" y="68"/>
                      </a:lnTo>
                      <a:lnTo>
                        <a:pt x="28" y="68"/>
                      </a:lnTo>
                      <a:lnTo>
                        <a:pt x="22" y="66"/>
                      </a:lnTo>
                      <a:lnTo>
                        <a:pt x="22" y="66"/>
                      </a:lnTo>
                      <a:lnTo>
                        <a:pt x="18" y="60"/>
                      </a:lnTo>
                      <a:lnTo>
                        <a:pt x="18" y="60"/>
                      </a:lnTo>
                      <a:lnTo>
                        <a:pt x="18" y="40"/>
                      </a:lnTo>
                      <a:lnTo>
                        <a:pt x="18" y="40"/>
                      </a:lnTo>
                      <a:lnTo>
                        <a:pt x="18" y="20"/>
                      </a:lnTo>
                      <a:lnTo>
                        <a:pt x="18" y="20"/>
                      </a:lnTo>
                      <a:lnTo>
                        <a:pt x="22" y="14"/>
                      </a:lnTo>
                      <a:lnTo>
                        <a:pt x="22" y="14"/>
                      </a:lnTo>
                      <a:lnTo>
                        <a:pt x="28" y="12"/>
                      </a:lnTo>
                      <a:lnTo>
                        <a:pt x="28" y="12"/>
                      </a:lnTo>
                      <a:lnTo>
                        <a:pt x="32" y="14"/>
                      </a:lnTo>
                      <a:lnTo>
                        <a:pt x="32" y="1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" pitchFamily="34" charset="0"/>
                  </a:endParaRPr>
                </a:p>
              </p:txBody>
            </p:sp>
            <p:sp>
              <p:nvSpPr>
                <p:cNvPr id="196" name="Freeform 26"/>
                <p:cNvSpPr>
                  <a:spLocks/>
                </p:cNvSpPr>
                <p:nvPr/>
              </p:nvSpPr>
              <p:spPr bwMode="auto">
                <a:xfrm>
                  <a:off x="5851991" y="4958627"/>
                  <a:ext cx="27411" cy="60914"/>
                </a:xfrm>
                <a:custGeom>
                  <a:avLst/>
                  <a:gdLst>
                    <a:gd name="T0" fmla="*/ 36 w 36"/>
                    <a:gd name="T1" fmla="*/ 0 h 80"/>
                    <a:gd name="T2" fmla="*/ 24 w 36"/>
                    <a:gd name="T3" fmla="*/ 0 h 80"/>
                    <a:gd name="T4" fmla="*/ 24 w 36"/>
                    <a:gd name="T5" fmla="*/ 0 h 80"/>
                    <a:gd name="T6" fmla="*/ 20 w 36"/>
                    <a:gd name="T7" fmla="*/ 6 h 80"/>
                    <a:gd name="T8" fmla="*/ 14 w 36"/>
                    <a:gd name="T9" fmla="*/ 12 h 80"/>
                    <a:gd name="T10" fmla="*/ 14 w 36"/>
                    <a:gd name="T11" fmla="*/ 12 h 80"/>
                    <a:gd name="T12" fmla="*/ 8 w 36"/>
                    <a:gd name="T13" fmla="*/ 18 h 80"/>
                    <a:gd name="T14" fmla="*/ 0 w 36"/>
                    <a:gd name="T15" fmla="*/ 20 h 80"/>
                    <a:gd name="T16" fmla="*/ 0 w 36"/>
                    <a:gd name="T17" fmla="*/ 34 h 80"/>
                    <a:gd name="T18" fmla="*/ 0 w 36"/>
                    <a:gd name="T19" fmla="*/ 34 h 80"/>
                    <a:gd name="T20" fmla="*/ 12 w 36"/>
                    <a:gd name="T21" fmla="*/ 30 h 80"/>
                    <a:gd name="T22" fmla="*/ 20 w 36"/>
                    <a:gd name="T23" fmla="*/ 22 h 80"/>
                    <a:gd name="T24" fmla="*/ 20 w 36"/>
                    <a:gd name="T25" fmla="*/ 80 h 80"/>
                    <a:gd name="T26" fmla="*/ 36 w 36"/>
                    <a:gd name="T27" fmla="*/ 80 h 80"/>
                    <a:gd name="T28" fmla="*/ 36 w 36"/>
                    <a:gd name="T29" fmla="*/ 0 h 80"/>
                    <a:gd name="T30" fmla="*/ 36 w 36"/>
                    <a:gd name="T31" fmla="*/ 0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6" h="80">
                      <a:moveTo>
                        <a:pt x="36" y="0"/>
                      </a:moveTo>
                      <a:lnTo>
                        <a:pt x="24" y="0"/>
                      </a:lnTo>
                      <a:lnTo>
                        <a:pt x="24" y="0"/>
                      </a:lnTo>
                      <a:lnTo>
                        <a:pt x="20" y="6"/>
                      </a:lnTo>
                      <a:lnTo>
                        <a:pt x="14" y="12"/>
                      </a:lnTo>
                      <a:lnTo>
                        <a:pt x="14" y="12"/>
                      </a:lnTo>
                      <a:lnTo>
                        <a:pt x="8" y="18"/>
                      </a:lnTo>
                      <a:lnTo>
                        <a:pt x="0" y="20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12" y="30"/>
                      </a:lnTo>
                      <a:lnTo>
                        <a:pt x="20" y="22"/>
                      </a:lnTo>
                      <a:lnTo>
                        <a:pt x="20" y="80"/>
                      </a:lnTo>
                      <a:lnTo>
                        <a:pt x="36" y="80"/>
                      </a:lnTo>
                      <a:lnTo>
                        <a:pt x="36" y="0"/>
                      </a:lnTo>
                      <a:lnTo>
                        <a:pt x="36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" pitchFamily="34" charset="0"/>
                  </a:endParaRPr>
                </a:p>
              </p:txBody>
            </p:sp>
            <p:sp>
              <p:nvSpPr>
                <p:cNvPr id="197" name="Freeform 27"/>
                <p:cNvSpPr>
                  <a:spLocks noEditPoints="1"/>
                </p:cNvSpPr>
                <p:nvPr/>
              </p:nvSpPr>
              <p:spPr bwMode="auto">
                <a:xfrm>
                  <a:off x="5963158" y="4958627"/>
                  <a:ext cx="39594" cy="62437"/>
                </a:xfrm>
                <a:custGeom>
                  <a:avLst/>
                  <a:gdLst>
                    <a:gd name="T0" fmla="*/ 8 w 52"/>
                    <a:gd name="T1" fmla="*/ 8 h 82"/>
                    <a:gd name="T2" fmla="*/ 8 w 52"/>
                    <a:gd name="T3" fmla="*/ 8 h 82"/>
                    <a:gd name="T4" fmla="*/ 4 w 52"/>
                    <a:gd name="T5" fmla="*/ 14 h 82"/>
                    <a:gd name="T6" fmla="*/ 2 w 52"/>
                    <a:gd name="T7" fmla="*/ 20 h 82"/>
                    <a:gd name="T8" fmla="*/ 0 w 52"/>
                    <a:gd name="T9" fmla="*/ 40 h 82"/>
                    <a:gd name="T10" fmla="*/ 0 w 52"/>
                    <a:gd name="T11" fmla="*/ 40 h 82"/>
                    <a:gd name="T12" fmla="*/ 2 w 52"/>
                    <a:gd name="T13" fmla="*/ 60 h 82"/>
                    <a:gd name="T14" fmla="*/ 4 w 52"/>
                    <a:gd name="T15" fmla="*/ 68 h 82"/>
                    <a:gd name="T16" fmla="*/ 8 w 52"/>
                    <a:gd name="T17" fmla="*/ 72 h 82"/>
                    <a:gd name="T18" fmla="*/ 8 w 52"/>
                    <a:gd name="T19" fmla="*/ 72 h 82"/>
                    <a:gd name="T20" fmla="*/ 12 w 52"/>
                    <a:gd name="T21" fmla="*/ 76 h 82"/>
                    <a:gd name="T22" fmla="*/ 16 w 52"/>
                    <a:gd name="T23" fmla="*/ 80 h 82"/>
                    <a:gd name="T24" fmla="*/ 20 w 52"/>
                    <a:gd name="T25" fmla="*/ 80 h 82"/>
                    <a:gd name="T26" fmla="*/ 26 w 52"/>
                    <a:gd name="T27" fmla="*/ 82 h 82"/>
                    <a:gd name="T28" fmla="*/ 26 w 52"/>
                    <a:gd name="T29" fmla="*/ 82 h 82"/>
                    <a:gd name="T30" fmla="*/ 36 w 52"/>
                    <a:gd name="T31" fmla="*/ 80 h 82"/>
                    <a:gd name="T32" fmla="*/ 40 w 52"/>
                    <a:gd name="T33" fmla="*/ 76 h 82"/>
                    <a:gd name="T34" fmla="*/ 44 w 52"/>
                    <a:gd name="T35" fmla="*/ 74 h 82"/>
                    <a:gd name="T36" fmla="*/ 44 w 52"/>
                    <a:gd name="T37" fmla="*/ 74 h 82"/>
                    <a:gd name="T38" fmla="*/ 48 w 52"/>
                    <a:gd name="T39" fmla="*/ 68 h 82"/>
                    <a:gd name="T40" fmla="*/ 50 w 52"/>
                    <a:gd name="T41" fmla="*/ 60 h 82"/>
                    <a:gd name="T42" fmla="*/ 52 w 52"/>
                    <a:gd name="T43" fmla="*/ 40 h 82"/>
                    <a:gd name="T44" fmla="*/ 52 w 52"/>
                    <a:gd name="T45" fmla="*/ 40 h 82"/>
                    <a:gd name="T46" fmla="*/ 50 w 52"/>
                    <a:gd name="T47" fmla="*/ 20 h 82"/>
                    <a:gd name="T48" fmla="*/ 48 w 52"/>
                    <a:gd name="T49" fmla="*/ 14 h 82"/>
                    <a:gd name="T50" fmla="*/ 44 w 52"/>
                    <a:gd name="T51" fmla="*/ 8 h 82"/>
                    <a:gd name="T52" fmla="*/ 44 w 52"/>
                    <a:gd name="T53" fmla="*/ 8 h 82"/>
                    <a:gd name="T54" fmla="*/ 42 w 52"/>
                    <a:gd name="T55" fmla="*/ 4 h 82"/>
                    <a:gd name="T56" fmla="*/ 36 w 52"/>
                    <a:gd name="T57" fmla="*/ 2 h 82"/>
                    <a:gd name="T58" fmla="*/ 26 w 52"/>
                    <a:gd name="T59" fmla="*/ 0 h 82"/>
                    <a:gd name="T60" fmla="*/ 26 w 52"/>
                    <a:gd name="T61" fmla="*/ 0 h 82"/>
                    <a:gd name="T62" fmla="*/ 16 w 52"/>
                    <a:gd name="T63" fmla="*/ 2 h 82"/>
                    <a:gd name="T64" fmla="*/ 12 w 52"/>
                    <a:gd name="T65" fmla="*/ 4 h 82"/>
                    <a:gd name="T66" fmla="*/ 8 w 52"/>
                    <a:gd name="T67" fmla="*/ 8 h 82"/>
                    <a:gd name="T68" fmla="*/ 8 w 52"/>
                    <a:gd name="T69" fmla="*/ 8 h 82"/>
                    <a:gd name="T70" fmla="*/ 8 w 52"/>
                    <a:gd name="T71" fmla="*/ 8 h 82"/>
                    <a:gd name="T72" fmla="*/ 32 w 52"/>
                    <a:gd name="T73" fmla="*/ 14 h 82"/>
                    <a:gd name="T74" fmla="*/ 32 w 52"/>
                    <a:gd name="T75" fmla="*/ 14 h 82"/>
                    <a:gd name="T76" fmla="*/ 34 w 52"/>
                    <a:gd name="T77" fmla="*/ 22 h 82"/>
                    <a:gd name="T78" fmla="*/ 34 w 52"/>
                    <a:gd name="T79" fmla="*/ 22 h 82"/>
                    <a:gd name="T80" fmla="*/ 36 w 52"/>
                    <a:gd name="T81" fmla="*/ 40 h 82"/>
                    <a:gd name="T82" fmla="*/ 36 w 52"/>
                    <a:gd name="T83" fmla="*/ 40 h 82"/>
                    <a:gd name="T84" fmla="*/ 34 w 52"/>
                    <a:gd name="T85" fmla="*/ 60 h 82"/>
                    <a:gd name="T86" fmla="*/ 34 w 52"/>
                    <a:gd name="T87" fmla="*/ 60 h 82"/>
                    <a:gd name="T88" fmla="*/ 32 w 52"/>
                    <a:gd name="T89" fmla="*/ 66 h 82"/>
                    <a:gd name="T90" fmla="*/ 32 w 52"/>
                    <a:gd name="T91" fmla="*/ 66 h 82"/>
                    <a:gd name="T92" fmla="*/ 26 w 52"/>
                    <a:gd name="T93" fmla="*/ 68 h 82"/>
                    <a:gd name="T94" fmla="*/ 26 w 52"/>
                    <a:gd name="T95" fmla="*/ 68 h 82"/>
                    <a:gd name="T96" fmla="*/ 22 w 52"/>
                    <a:gd name="T97" fmla="*/ 66 h 82"/>
                    <a:gd name="T98" fmla="*/ 22 w 52"/>
                    <a:gd name="T99" fmla="*/ 66 h 82"/>
                    <a:gd name="T100" fmla="*/ 18 w 52"/>
                    <a:gd name="T101" fmla="*/ 60 h 82"/>
                    <a:gd name="T102" fmla="*/ 18 w 52"/>
                    <a:gd name="T103" fmla="*/ 60 h 82"/>
                    <a:gd name="T104" fmla="*/ 16 w 52"/>
                    <a:gd name="T105" fmla="*/ 40 h 82"/>
                    <a:gd name="T106" fmla="*/ 16 w 52"/>
                    <a:gd name="T107" fmla="*/ 40 h 82"/>
                    <a:gd name="T108" fmla="*/ 18 w 52"/>
                    <a:gd name="T109" fmla="*/ 20 h 82"/>
                    <a:gd name="T110" fmla="*/ 18 w 52"/>
                    <a:gd name="T111" fmla="*/ 20 h 82"/>
                    <a:gd name="T112" fmla="*/ 22 w 52"/>
                    <a:gd name="T113" fmla="*/ 14 h 82"/>
                    <a:gd name="T114" fmla="*/ 22 w 52"/>
                    <a:gd name="T115" fmla="*/ 14 h 82"/>
                    <a:gd name="T116" fmla="*/ 26 w 52"/>
                    <a:gd name="T117" fmla="*/ 12 h 82"/>
                    <a:gd name="T118" fmla="*/ 26 w 52"/>
                    <a:gd name="T119" fmla="*/ 12 h 82"/>
                    <a:gd name="T120" fmla="*/ 32 w 52"/>
                    <a:gd name="T121" fmla="*/ 14 h 82"/>
                    <a:gd name="T122" fmla="*/ 32 w 52"/>
                    <a:gd name="T123" fmla="*/ 14 h 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52" h="82">
                      <a:moveTo>
                        <a:pt x="8" y="8"/>
                      </a:moveTo>
                      <a:lnTo>
                        <a:pt x="8" y="8"/>
                      </a:lnTo>
                      <a:lnTo>
                        <a:pt x="4" y="14"/>
                      </a:lnTo>
                      <a:lnTo>
                        <a:pt x="2" y="20"/>
                      </a:lnTo>
                      <a:lnTo>
                        <a:pt x="0" y="40"/>
                      </a:lnTo>
                      <a:lnTo>
                        <a:pt x="0" y="40"/>
                      </a:lnTo>
                      <a:lnTo>
                        <a:pt x="2" y="60"/>
                      </a:lnTo>
                      <a:lnTo>
                        <a:pt x="4" y="68"/>
                      </a:lnTo>
                      <a:lnTo>
                        <a:pt x="8" y="72"/>
                      </a:lnTo>
                      <a:lnTo>
                        <a:pt x="8" y="72"/>
                      </a:lnTo>
                      <a:lnTo>
                        <a:pt x="12" y="76"/>
                      </a:lnTo>
                      <a:lnTo>
                        <a:pt x="16" y="80"/>
                      </a:lnTo>
                      <a:lnTo>
                        <a:pt x="20" y="80"/>
                      </a:lnTo>
                      <a:lnTo>
                        <a:pt x="26" y="82"/>
                      </a:lnTo>
                      <a:lnTo>
                        <a:pt x="26" y="82"/>
                      </a:lnTo>
                      <a:lnTo>
                        <a:pt x="36" y="80"/>
                      </a:lnTo>
                      <a:lnTo>
                        <a:pt x="40" y="76"/>
                      </a:lnTo>
                      <a:lnTo>
                        <a:pt x="44" y="74"/>
                      </a:lnTo>
                      <a:lnTo>
                        <a:pt x="44" y="74"/>
                      </a:lnTo>
                      <a:lnTo>
                        <a:pt x="48" y="68"/>
                      </a:lnTo>
                      <a:lnTo>
                        <a:pt x="50" y="60"/>
                      </a:lnTo>
                      <a:lnTo>
                        <a:pt x="52" y="40"/>
                      </a:lnTo>
                      <a:lnTo>
                        <a:pt x="52" y="40"/>
                      </a:lnTo>
                      <a:lnTo>
                        <a:pt x="50" y="20"/>
                      </a:lnTo>
                      <a:lnTo>
                        <a:pt x="48" y="14"/>
                      </a:lnTo>
                      <a:lnTo>
                        <a:pt x="44" y="8"/>
                      </a:lnTo>
                      <a:lnTo>
                        <a:pt x="44" y="8"/>
                      </a:lnTo>
                      <a:lnTo>
                        <a:pt x="42" y="4"/>
                      </a:lnTo>
                      <a:lnTo>
                        <a:pt x="36" y="2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16" y="2"/>
                      </a:lnTo>
                      <a:lnTo>
                        <a:pt x="12" y="4"/>
                      </a:lnTo>
                      <a:lnTo>
                        <a:pt x="8" y="8"/>
                      </a:lnTo>
                      <a:lnTo>
                        <a:pt x="8" y="8"/>
                      </a:lnTo>
                      <a:lnTo>
                        <a:pt x="8" y="8"/>
                      </a:lnTo>
                      <a:close/>
                      <a:moveTo>
                        <a:pt x="32" y="14"/>
                      </a:moveTo>
                      <a:lnTo>
                        <a:pt x="32" y="14"/>
                      </a:lnTo>
                      <a:lnTo>
                        <a:pt x="34" y="22"/>
                      </a:lnTo>
                      <a:lnTo>
                        <a:pt x="34" y="22"/>
                      </a:lnTo>
                      <a:lnTo>
                        <a:pt x="36" y="40"/>
                      </a:lnTo>
                      <a:lnTo>
                        <a:pt x="36" y="40"/>
                      </a:lnTo>
                      <a:lnTo>
                        <a:pt x="34" y="60"/>
                      </a:lnTo>
                      <a:lnTo>
                        <a:pt x="34" y="60"/>
                      </a:lnTo>
                      <a:lnTo>
                        <a:pt x="32" y="66"/>
                      </a:lnTo>
                      <a:lnTo>
                        <a:pt x="32" y="66"/>
                      </a:lnTo>
                      <a:lnTo>
                        <a:pt x="26" y="68"/>
                      </a:lnTo>
                      <a:lnTo>
                        <a:pt x="26" y="68"/>
                      </a:lnTo>
                      <a:lnTo>
                        <a:pt x="22" y="66"/>
                      </a:lnTo>
                      <a:lnTo>
                        <a:pt x="22" y="66"/>
                      </a:lnTo>
                      <a:lnTo>
                        <a:pt x="18" y="60"/>
                      </a:lnTo>
                      <a:lnTo>
                        <a:pt x="18" y="60"/>
                      </a:lnTo>
                      <a:lnTo>
                        <a:pt x="16" y="40"/>
                      </a:lnTo>
                      <a:lnTo>
                        <a:pt x="16" y="40"/>
                      </a:lnTo>
                      <a:lnTo>
                        <a:pt x="18" y="20"/>
                      </a:lnTo>
                      <a:lnTo>
                        <a:pt x="18" y="20"/>
                      </a:lnTo>
                      <a:lnTo>
                        <a:pt x="22" y="14"/>
                      </a:lnTo>
                      <a:lnTo>
                        <a:pt x="22" y="14"/>
                      </a:lnTo>
                      <a:lnTo>
                        <a:pt x="26" y="12"/>
                      </a:lnTo>
                      <a:lnTo>
                        <a:pt x="26" y="12"/>
                      </a:lnTo>
                      <a:lnTo>
                        <a:pt x="32" y="14"/>
                      </a:lnTo>
                      <a:lnTo>
                        <a:pt x="32" y="1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" pitchFamily="34" charset="0"/>
                  </a:endParaRPr>
                </a:p>
              </p:txBody>
            </p:sp>
            <p:sp>
              <p:nvSpPr>
                <p:cNvPr id="199" name="Freeform 49"/>
                <p:cNvSpPr>
                  <a:spLocks/>
                </p:cNvSpPr>
                <p:nvPr/>
              </p:nvSpPr>
              <p:spPr bwMode="auto">
                <a:xfrm>
                  <a:off x="5286946" y="5096315"/>
                  <a:ext cx="27411" cy="60914"/>
                </a:xfrm>
                <a:custGeom>
                  <a:avLst/>
                  <a:gdLst>
                    <a:gd name="T0" fmla="*/ 36 w 36"/>
                    <a:gd name="T1" fmla="*/ 0 h 80"/>
                    <a:gd name="T2" fmla="*/ 24 w 36"/>
                    <a:gd name="T3" fmla="*/ 0 h 80"/>
                    <a:gd name="T4" fmla="*/ 24 w 36"/>
                    <a:gd name="T5" fmla="*/ 0 h 80"/>
                    <a:gd name="T6" fmla="*/ 20 w 36"/>
                    <a:gd name="T7" fmla="*/ 6 h 80"/>
                    <a:gd name="T8" fmla="*/ 14 w 36"/>
                    <a:gd name="T9" fmla="*/ 12 h 80"/>
                    <a:gd name="T10" fmla="*/ 14 w 36"/>
                    <a:gd name="T11" fmla="*/ 12 h 80"/>
                    <a:gd name="T12" fmla="*/ 8 w 36"/>
                    <a:gd name="T13" fmla="*/ 16 h 80"/>
                    <a:gd name="T14" fmla="*/ 0 w 36"/>
                    <a:gd name="T15" fmla="*/ 20 h 80"/>
                    <a:gd name="T16" fmla="*/ 0 w 36"/>
                    <a:gd name="T17" fmla="*/ 34 h 80"/>
                    <a:gd name="T18" fmla="*/ 0 w 36"/>
                    <a:gd name="T19" fmla="*/ 34 h 80"/>
                    <a:gd name="T20" fmla="*/ 12 w 36"/>
                    <a:gd name="T21" fmla="*/ 28 h 80"/>
                    <a:gd name="T22" fmla="*/ 20 w 36"/>
                    <a:gd name="T23" fmla="*/ 22 h 80"/>
                    <a:gd name="T24" fmla="*/ 20 w 36"/>
                    <a:gd name="T25" fmla="*/ 80 h 80"/>
                    <a:gd name="T26" fmla="*/ 36 w 36"/>
                    <a:gd name="T27" fmla="*/ 80 h 80"/>
                    <a:gd name="T28" fmla="*/ 36 w 36"/>
                    <a:gd name="T29" fmla="*/ 0 h 80"/>
                    <a:gd name="T30" fmla="*/ 36 w 36"/>
                    <a:gd name="T31" fmla="*/ 0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6" h="80">
                      <a:moveTo>
                        <a:pt x="36" y="0"/>
                      </a:moveTo>
                      <a:lnTo>
                        <a:pt x="24" y="0"/>
                      </a:lnTo>
                      <a:lnTo>
                        <a:pt x="24" y="0"/>
                      </a:lnTo>
                      <a:lnTo>
                        <a:pt x="20" y="6"/>
                      </a:lnTo>
                      <a:lnTo>
                        <a:pt x="14" y="12"/>
                      </a:lnTo>
                      <a:lnTo>
                        <a:pt x="14" y="12"/>
                      </a:lnTo>
                      <a:lnTo>
                        <a:pt x="8" y="16"/>
                      </a:lnTo>
                      <a:lnTo>
                        <a:pt x="0" y="20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12" y="28"/>
                      </a:lnTo>
                      <a:lnTo>
                        <a:pt x="20" y="22"/>
                      </a:lnTo>
                      <a:lnTo>
                        <a:pt x="20" y="80"/>
                      </a:lnTo>
                      <a:lnTo>
                        <a:pt x="36" y="80"/>
                      </a:lnTo>
                      <a:lnTo>
                        <a:pt x="36" y="0"/>
                      </a:lnTo>
                      <a:lnTo>
                        <a:pt x="36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" pitchFamily="34" charset="0"/>
                  </a:endParaRPr>
                </a:p>
              </p:txBody>
            </p:sp>
            <p:sp>
              <p:nvSpPr>
                <p:cNvPr id="200" name="Freeform 50"/>
                <p:cNvSpPr>
                  <a:spLocks noEditPoints="1"/>
                </p:cNvSpPr>
                <p:nvPr/>
              </p:nvSpPr>
              <p:spPr bwMode="auto">
                <a:xfrm>
                  <a:off x="5385931" y="5096315"/>
                  <a:ext cx="39594" cy="62437"/>
                </a:xfrm>
                <a:custGeom>
                  <a:avLst/>
                  <a:gdLst>
                    <a:gd name="T0" fmla="*/ 8 w 52"/>
                    <a:gd name="T1" fmla="*/ 8 h 82"/>
                    <a:gd name="T2" fmla="*/ 8 w 52"/>
                    <a:gd name="T3" fmla="*/ 8 h 82"/>
                    <a:gd name="T4" fmla="*/ 4 w 52"/>
                    <a:gd name="T5" fmla="*/ 14 h 82"/>
                    <a:gd name="T6" fmla="*/ 2 w 52"/>
                    <a:gd name="T7" fmla="*/ 20 h 82"/>
                    <a:gd name="T8" fmla="*/ 0 w 52"/>
                    <a:gd name="T9" fmla="*/ 40 h 82"/>
                    <a:gd name="T10" fmla="*/ 0 w 52"/>
                    <a:gd name="T11" fmla="*/ 40 h 82"/>
                    <a:gd name="T12" fmla="*/ 2 w 52"/>
                    <a:gd name="T13" fmla="*/ 60 h 82"/>
                    <a:gd name="T14" fmla="*/ 4 w 52"/>
                    <a:gd name="T15" fmla="*/ 66 h 82"/>
                    <a:gd name="T16" fmla="*/ 8 w 52"/>
                    <a:gd name="T17" fmla="*/ 72 h 82"/>
                    <a:gd name="T18" fmla="*/ 8 w 52"/>
                    <a:gd name="T19" fmla="*/ 72 h 82"/>
                    <a:gd name="T20" fmla="*/ 10 w 52"/>
                    <a:gd name="T21" fmla="*/ 76 h 82"/>
                    <a:gd name="T22" fmla="*/ 16 w 52"/>
                    <a:gd name="T23" fmla="*/ 78 h 82"/>
                    <a:gd name="T24" fmla="*/ 20 w 52"/>
                    <a:gd name="T25" fmla="*/ 80 h 82"/>
                    <a:gd name="T26" fmla="*/ 26 w 52"/>
                    <a:gd name="T27" fmla="*/ 82 h 82"/>
                    <a:gd name="T28" fmla="*/ 26 w 52"/>
                    <a:gd name="T29" fmla="*/ 82 h 82"/>
                    <a:gd name="T30" fmla="*/ 36 w 52"/>
                    <a:gd name="T31" fmla="*/ 80 h 82"/>
                    <a:gd name="T32" fmla="*/ 40 w 52"/>
                    <a:gd name="T33" fmla="*/ 76 h 82"/>
                    <a:gd name="T34" fmla="*/ 44 w 52"/>
                    <a:gd name="T35" fmla="*/ 72 h 82"/>
                    <a:gd name="T36" fmla="*/ 44 w 52"/>
                    <a:gd name="T37" fmla="*/ 72 h 82"/>
                    <a:gd name="T38" fmla="*/ 48 w 52"/>
                    <a:gd name="T39" fmla="*/ 68 h 82"/>
                    <a:gd name="T40" fmla="*/ 50 w 52"/>
                    <a:gd name="T41" fmla="*/ 60 h 82"/>
                    <a:gd name="T42" fmla="*/ 52 w 52"/>
                    <a:gd name="T43" fmla="*/ 40 h 82"/>
                    <a:gd name="T44" fmla="*/ 52 w 52"/>
                    <a:gd name="T45" fmla="*/ 40 h 82"/>
                    <a:gd name="T46" fmla="*/ 50 w 52"/>
                    <a:gd name="T47" fmla="*/ 20 h 82"/>
                    <a:gd name="T48" fmla="*/ 48 w 52"/>
                    <a:gd name="T49" fmla="*/ 14 h 82"/>
                    <a:gd name="T50" fmla="*/ 44 w 52"/>
                    <a:gd name="T51" fmla="*/ 8 h 82"/>
                    <a:gd name="T52" fmla="*/ 44 w 52"/>
                    <a:gd name="T53" fmla="*/ 8 h 82"/>
                    <a:gd name="T54" fmla="*/ 40 w 52"/>
                    <a:gd name="T55" fmla="*/ 4 h 82"/>
                    <a:gd name="T56" fmla="*/ 36 w 52"/>
                    <a:gd name="T57" fmla="*/ 2 h 82"/>
                    <a:gd name="T58" fmla="*/ 26 w 52"/>
                    <a:gd name="T59" fmla="*/ 0 h 82"/>
                    <a:gd name="T60" fmla="*/ 26 w 52"/>
                    <a:gd name="T61" fmla="*/ 0 h 82"/>
                    <a:gd name="T62" fmla="*/ 16 w 52"/>
                    <a:gd name="T63" fmla="*/ 2 h 82"/>
                    <a:gd name="T64" fmla="*/ 12 w 52"/>
                    <a:gd name="T65" fmla="*/ 4 h 82"/>
                    <a:gd name="T66" fmla="*/ 8 w 52"/>
                    <a:gd name="T67" fmla="*/ 8 h 82"/>
                    <a:gd name="T68" fmla="*/ 8 w 52"/>
                    <a:gd name="T69" fmla="*/ 8 h 82"/>
                    <a:gd name="T70" fmla="*/ 8 w 52"/>
                    <a:gd name="T71" fmla="*/ 8 h 82"/>
                    <a:gd name="T72" fmla="*/ 32 w 52"/>
                    <a:gd name="T73" fmla="*/ 14 h 82"/>
                    <a:gd name="T74" fmla="*/ 32 w 52"/>
                    <a:gd name="T75" fmla="*/ 14 h 82"/>
                    <a:gd name="T76" fmla="*/ 34 w 52"/>
                    <a:gd name="T77" fmla="*/ 20 h 82"/>
                    <a:gd name="T78" fmla="*/ 34 w 52"/>
                    <a:gd name="T79" fmla="*/ 20 h 82"/>
                    <a:gd name="T80" fmla="*/ 36 w 52"/>
                    <a:gd name="T81" fmla="*/ 40 h 82"/>
                    <a:gd name="T82" fmla="*/ 36 w 52"/>
                    <a:gd name="T83" fmla="*/ 40 h 82"/>
                    <a:gd name="T84" fmla="*/ 34 w 52"/>
                    <a:gd name="T85" fmla="*/ 60 h 82"/>
                    <a:gd name="T86" fmla="*/ 34 w 52"/>
                    <a:gd name="T87" fmla="*/ 60 h 82"/>
                    <a:gd name="T88" fmla="*/ 32 w 52"/>
                    <a:gd name="T89" fmla="*/ 66 h 82"/>
                    <a:gd name="T90" fmla="*/ 32 w 52"/>
                    <a:gd name="T91" fmla="*/ 66 h 82"/>
                    <a:gd name="T92" fmla="*/ 26 w 52"/>
                    <a:gd name="T93" fmla="*/ 68 h 82"/>
                    <a:gd name="T94" fmla="*/ 26 w 52"/>
                    <a:gd name="T95" fmla="*/ 68 h 82"/>
                    <a:gd name="T96" fmla="*/ 22 w 52"/>
                    <a:gd name="T97" fmla="*/ 66 h 82"/>
                    <a:gd name="T98" fmla="*/ 22 w 52"/>
                    <a:gd name="T99" fmla="*/ 66 h 82"/>
                    <a:gd name="T100" fmla="*/ 18 w 52"/>
                    <a:gd name="T101" fmla="*/ 60 h 82"/>
                    <a:gd name="T102" fmla="*/ 18 w 52"/>
                    <a:gd name="T103" fmla="*/ 60 h 82"/>
                    <a:gd name="T104" fmla="*/ 16 w 52"/>
                    <a:gd name="T105" fmla="*/ 40 h 82"/>
                    <a:gd name="T106" fmla="*/ 16 w 52"/>
                    <a:gd name="T107" fmla="*/ 40 h 82"/>
                    <a:gd name="T108" fmla="*/ 18 w 52"/>
                    <a:gd name="T109" fmla="*/ 20 h 82"/>
                    <a:gd name="T110" fmla="*/ 18 w 52"/>
                    <a:gd name="T111" fmla="*/ 20 h 82"/>
                    <a:gd name="T112" fmla="*/ 22 w 52"/>
                    <a:gd name="T113" fmla="*/ 14 h 82"/>
                    <a:gd name="T114" fmla="*/ 22 w 52"/>
                    <a:gd name="T115" fmla="*/ 14 h 82"/>
                    <a:gd name="T116" fmla="*/ 26 w 52"/>
                    <a:gd name="T117" fmla="*/ 12 h 82"/>
                    <a:gd name="T118" fmla="*/ 26 w 52"/>
                    <a:gd name="T119" fmla="*/ 12 h 82"/>
                    <a:gd name="T120" fmla="*/ 32 w 52"/>
                    <a:gd name="T121" fmla="*/ 14 h 82"/>
                    <a:gd name="T122" fmla="*/ 32 w 52"/>
                    <a:gd name="T123" fmla="*/ 14 h 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52" h="82">
                      <a:moveTo>
                        <a:pt x="8" y="8"/>
                      </a:moveTo>
                      <a:lnTo>
                        <a:pt x="8" y="8"/>
                      </a:lnTo>
                      <a:lnTo>
                        <a:pt x="4" y="14"/>
                      </a:lnTo>
                      <a:lnTo>
                        <a:pt x="2" y="20"/>
                      </a:lnTo>
                      <a:lnTo>
                        <a:pt x="0" y="40"/>
                      </a:lnTo>
                      <a:lnTo>
                        <a:pt x="0" y="40"/>
                      </a:lnTo>
                      <a:lnTo>
                        <a:pt x="2" y="60"/>
                      </a:lnTo>
                      <a:lnTo>
                        <a:pt x="4" y="66"/>
                      </a:lnTo>
                      <a:lnTo>
                        <a:pt x="8" y="72"/>
                      </a:lnTo>
                      <a:lnTo>
                        <a:pt x="8" y="72"/>
                      </a:lnTo>
                      <a:lnTo>
                        <a:pt x="10" y="76"/>
                      </a:lnTo>
                      <a:lnTo>
                        <a:pt x="16" y="78"/>
                      </a:lnTo>
                      <a:lnTo>
                        <a:pt x="20" y="80"/>
                      </a:lnTo>
                      <a:lnTo>
                        <a:pt x="26" y="82"/>
                      </a:lnTo>
                      <a:lnTo>
                        <a:pt x="26" y="82"/>
                      </a:lnTo>
                      <a:lnTo>
                        <a:pt x="36" y="80"/>
                      </a:lnTo>
                      <a:lnTo>
                        <a:pt x="40" y="76"/>
                      </a:lnTo>
                      <a:lnTo>
                        <a:pt x="44" y="72"/>
                      </a:lnTo>
                      <a:lnTo>
                        <a:pt x="44" y="72"/>
                      </a:lnTo>
                      <a:lnTo>
                        <a:pt x="48" y="68"/>
                      </a:lnTo>
                      <a:lnTo>
                        <a:pt x="50" y="60"/>
                      </a:lnTo>
                      <a:lnTo>
                        <a:pt x="52" y="40"/>
                      </a:lnTo>
                      <a:lnTo>
                        <a:pt x="52" y="40"/>
                      </a:lnTo>
                      <a:lnTo>
                        <a:pt x="50" y="20"/>
                      </a:lnTo>
                      <a:lnTo>
                        <a:pt x="48" y="14"/>
                      </a:lnTo>
                      <a:lnTo>
                        <a:pt x="44" y="8"/>
                      </a:lnTo>
                      <a:lnTo>
                        <a:pt x="44" y="8"/>
                      </a:lnTo>
                      <a:lnTo>
                        <a:pt x="40" y="4"/>
                      </a:lnTo>
                      <a:lnTo>
                        <a:pt x="36" y="2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16" y="2"/>
                      </a:lnTo>
                      <a:lnTo>
                        <a:pt x="12" y="4"/>
                      </a:lnTo>
                      <a:lnTo>
                        <a:pt x="8" y="8"/>
                      </a:lnTo>
                      <a:lnTo>
                        <a:pt x="8" y="8"/>
                      </a:lnTo>
                      <a:lnTo>
                        <a:pt x="8" y="8"/>
                      </a:lnTo>
                      <a:close/>
                      <a:moveTo>
                        <a:pt x="32" y="14"/>
                      </a:moveTo>
                      <a:lnTo>
                        <a:pt x="32" y="14"/>
                      </a:lnTo>
                      <a:lnTo>
                        <a:pt x="34" y="20"/>
                      </a:lnTo>
                      <a:lnTo>
                        <a:pt x="34" y="20"/>
                      </a:lnTo>
                      <a:lnTo>
                        <a:pt x="36" y="40"/>
                      </a:lnTo>
                      <a:lnTo>
                        <a:pt x="36" y="40"/>
                      </a:lnTo>
                      <a:lnTo>
                        <a:pt x="34" y="60"/>
                      </a:lnTo>
                      <a:lnTo>
                        <a:pt x="34" y="60"/>
                      </a:lnTo>
                      <a:lnTo>
                        <a:pt x="32" y="66"/>
                      </a:lnTo>
                      <a:lnTo>
                        <a:pt x="32" y="66"/>
                      </a:lnTo>
                      <a:lnTo>
                        <a:pt x="26" y="68"/>
                      </a:lnTo>
                      <a:lnTo>
                        <a:pt x="26" y="68"/>
                      </a:lnTo>
                      <a:lnTo>
                        <a:pt x="22" y="66"/>
                      </a:lnTo>
                      <a:lnTo>
                        <a:pt x="22" y="66"/>
                      </a:lnTo>
                      <a:lnTo>
                        <a:pt x="18" y="60"/>
                      </a:lnTo>
                      <a:lnTo>
                        <a:pt x="18" y="60"/>
                      </a:lnTo>
                      <a:lnTo>
                        <a:pt x="16" y="40"/>
                      </a:lnTo>
                      <a:lnTo>
                        <a:pt x="16" y="40"/>
                      </a:lnTo>
                      <a:lnTo>
                        <a:pt x="18" y="20"/>
                      </a:lnTo>
                      <a:lnTo>
                        <a:pt x="18" y="20"/>
                      </a:lnTo>
                      <a:lnTo>
                        <a:pt x="22" y="14"/>
                      </a:lnTo>
                      <a:lnTo>
                        <a:pt x="22" y="14"/>
                      </a:lnTo>
                      <a:lnTo>
                        <a:pt x="26" y="12"/>
                      </a:lnTo>
                      <a:lnTo>
                        <a:pt x="26" y="12"/>
                      </a:lnTo>
                      <a:lnTo>
                        <a:pt x="32" y="14"/>
                      </a:lnTo>
                      <a:lnTo>
                        <a:pt x="32" y="1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" pitchFamily="34" charset="0"/>
                  </a:endParaRPr>
                </a:p>
              </p:txBody>
            </p:sp>
            <p:sp>
              <p:nvSpPr>
                <p:cNvPr id="201" name="Freeform 51"/>
                <p:cNvSpPr>
                  <a:spLocks/>
                </p:cNvSpPr>
                <p:nvPr/>
              </p:nvSpPr>
              <p:spPr bwMode="auto">
                <a:xfrm>
                  <a:off x="5504713" y="5096315"/>
                  <a:ext cx="25888" cy="60914"/>
                </a:xfrm>
                <a:custGeom>
                  <a:avLst/>
                  <a:gdLst>
                    <a:gd name="T0" fmla="*/ 34 w 34"/>
                    <a:gd name="T1" fmla="*/ 0 h 80"/>
                    <a:gd name="T2" fmla="*/ 22 w 34"/>
                    <a:gd name="T3" fmla="*/ 0 h 80"/>
                    <a:gd name="T4" fmla="*/ 22 w 34"/>
                    <a:gd name="T5" fmla="*/ 0 h 80"/>
                    <a:gd name="T6" fmla="*/ 18 w 34"/>
                    <a:gd name="T7" fmla="*/ 6 h 80"/>
                    <a:gd name="T8" fmla="*/ 12 w 34"/>
                    <a:gd name="T9" fmla="*/ 12 h 80"/>
                    <a:gd name="T10" fmla="*/ 12 w 34"/>
                    <a:gd name="T11" fmla="*/ 12 h 80"/>
                    <a:gd name="T12" fmla="*/ 6 w 34"/>
                    <a:gd name="T13" fmla="*/ 16 h 80"/>
                    <a:gd name="T14" fmla="*/ 0 w 34"/>
                    <a:gd name="T15" fmla="*/ 20 h 80"/>
                    <a:gd name="T16" fmla="*/ 0 w 34"/>
                    <a:gd name="T17" fmla="*/ 34 h 80"/>
                    <a:gd name="T18" fmla="*/ 0 w 34"/>
                    <a:gd name="T19" fmla="*/ 34 h 80"/>
                    <a:gd name="T20" fmla="*/ 10 w 34"/>
                    <a:gd name="T21" fmla="*/ 28 h 80"/>
                    <a:gd name="T22" fmla="*/ 20 w 34"/>
                    <a:gd name="T23" fmla="*/ 22 h 80"/>
                    <a:gd name="T24" fmla="*/ 20 w 34"/>
                    <a:gd name="T25" fmla="*/ 80 h 80"/>
                    <a:gd name="T26" fmla="*/ 34 w 34"/>
                    <a:gd name="T27" fmla="*/ 80 h 80"/>
                    <a:gd name="T28" fmla="*/ 34 w 34"/>
                    <a:gd name="T29" fmla="*/ 0 h 80"/>
                    <a:gd name="T30" fmla="*/ 34 w 34"/>
                    <a:gd name="T31" fmla="*/ 0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4" h="80">
                      <a:moveTo>
                        <a:pt x="34" y="0"/>
                      </a:move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18" y="6"/>
                      </a:lnTo>
                      <a:lnTo>
                        <a:pt x="12" y="12"/>
                      </a:lnTo>
                      <a:lnTo>
                        <a:pt x="12" y="12"/>
                      </a:lnTo>
                      <a:lnTo>
                        <a:pt x="6" y="16"/>
                      </a:lnTo>
                      <a:lnTo>
                        <a:pt x="0" y="20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10" y="28"/>
                      </a:lnTo>
                      <a:lnTo>
                        <a:pt x="20" y="22"/>
                      </a:lnTo>
                      <a:lnTo>
                        <a:pt x="20" y="80"/>
                      </a:lnTo>
                      <a:lnTo>
                        <a:pt x="34" y="80"/>
                      </a:lnTo>
                      <a:lnTo>
                        <a:pt x="34" y="0"/>
                      </a:lnTo>
                      <a:lnTo>
                        <a:pt x="34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" pitchFamily="34" charset="0"/>
                  </a:endParaRPr>
                </a:p>
              </p:txBody>
            </p:sp>
            <p:sp>
              <p:nvSpPr>
                <p:cNvPr id="202" name="Freeform 52"/>
                <p:cNvSpPr>
                  <a:spLocks noEditPoints="1"/>
                </p:cNvSpPr>
                <p:nvPr/>
              </p:nvSpPr>
              <p:spPr bwMode="auto">
                <a:xfrm>
                  <a:off x="5615881" y="5096315"/>
                  <a:ext cx="39594" cy="62437"/>
                </a:xfrm>
                <a:custGeom>
                  <a:avLst/>
                  <a:gdLst>
                    <a:gd name="T0" fmla="*/ 8 w 52"/>
                    <a:gd name="T1" fmla="*/ 8 h 82"/>
                    <a:gd name="T2" fmla="*/ 8 w 52"/>
                    <a:gd name="T3" fmla="*/ 8 h 82"/>
                    <a:gd name="T4" fmla="*/ 4 w 52"/>
                    <a:gd name="T5" fmla="*/ 14 h 82"/>
                    <a:gd name="T6" fmla="*/ 2 w 52"/>
                    <a:gd name="T7" fmla="*/ 20 h 82"/>
                    <a:gd name="T8" fmla="*/ 0 w 52"/>
                    <a:gd name="T9" fmla="*/ 40 h 82"/>
                    <a:gd name="T10" fmla="*/ 0 w 52"/>
                    <a:gd name="T11" fmla="*/ 40 h 82"/>
                    <a:gd name="T12" fmla="*/ 2 w 52"/>
                    <a:gd name="T13" fmla="*/ 60 h 82"/>
                    <a:gd name="T14" fmla="*/ 4 w 52"/>
                    <a:gd name="T15" fmla="*/ 66 h 82"/>
                    <a:gd name="T16" fmla="*/ 8 w 52"/>
                    <a:gd name="T17" fmla="*/ 72 h 82"/>
                    <a:gd name="T18" fmla="*/ 8 w 52"/>
                    <a:gd name="T19" fmla="*/ 72 h 82"/>
                    <a:gd name="T20" fmla="*/ 12 w 52"/>
                    <a:gd name="T21" fmla="*/ 76 h 82"/>
                    <a:gd name="T22" fmla="*/ 16 w 52"/>
                    <a:gd name="T23" fmla="*/ 78 h 82"/>
                    <a:gd name="T24" fmla="*/ 20 w 52"/>
                    <a:gd name="T25" fmla="*/ 80 h 82"/>
                    <a:gd name="T26" fmla="*/ 26 w 52"/>
                    <a:gd name="T27" fmla="*/ 82 h 82"/>
                    <a:gd name="T28" fmla="*/ 26 w 52"/>
                    <a:gd name="T29" fmla="*/ 82 h 82"/>
                    <a:gd name="T30" fmla="*/ 36 w 52"/>
                    <a:gd name="T31" fmla="*/ 80 h 82"/>
                    <a:gd name="T32" fmla="*/ 40 w 52"/>
                    <a:gd name="T33" fmla="*/ 76 h 82"/>
                    <a:gd name="T34" fmla="*/ 44 w 52"/>
                    <a:gd name="T35" fmla="*/ 72 h 82"/>
                    <a:gd name="T36" fmla="*/ 44 w 52"/>
                    <a:gd name="T37" fmla="*/ 72 h 82"/>
                    <a:gd name="T38" fmla="*/ 48 w 52"/>
                    <a:gd name="T39" fmla="*/ 68 h 82"/>
                    <a:gd name="T40" fmla="*/ 50 w 52"/>
                    <a:gd name="T41" fmla="*/ 60 h 82"/>
                    <a:gd name="T42" fmla="*/ 52 w 52"/>
                    <a:gd name="T43" fmla="*/ 40 h 82"/>
                    <a:gd name="T44" fmla="*/ 52 w 52"/>
                    <a:gd name="T45" fmla="*/ 40 h 82"/>
                    <a:gd name="T46" fmla="*/ 50 w 52"/>
                    <a:gd name="T47" fmla="*/ 20 h 82"/>
                    <a:gd name="T48" fmla="*/ 48 w 52"/>
                    <a:gd name="T49" fmla="*/ 14 h 82"/>
                    <a:gd name="T50" fmla="*/ 44 w 52"/>
                    <a:gd name="T51" fmla="*/ 8 h 82"/>
                    <a:gd name="T52" fmla="*/ 44 w 52"/>
                    <a:gd name="T53" fmla="*/ 8 h 82"/>
                    <a:gd name="T54" fmla="*/ 40 w 52"/>
                    <a:gd name="T55" fmla="*/ 4 h 82"/>
                    <a:gd name="T56" fmla="*/ 36 w 52"/>
                    <a:gd name="T57" fmla="*/ 2 h 82"/>
                    <a:gd name="T58" fmla="*/ 26 w 52"/>
                    <a:gd name="T59" fmla="*/ 0 h 82"/>
                    <a:gd name="T60" fmla="*/ 26 w 52"/>
                    <a:gd name="T61" fmla="*/ 0 h 82"/>
                    <a:gd name="T62" fmla="*/ 16 w 52"/>
                    <a:gd name="T63" fmla="*/ 2 h 82"/>
                    <a:gd name="T64" fmla="*/ 12 w 52"/>
                    <a:gd name="T65" fmla="*/ 4 h 82"/>
                    <a:gd name="T66" fmla="*/ 8 w 52"/>
                    <a:gd name="T67" fmla="*/ 8 h 82"/>
                    <a:gd name="T68" fmla="*/ 8 w 52"/>
                    <a:gd name="T69" fmla="*/ 8 h 82"/>
                    <a:gd name="T70" fmla="*/ 8 w 52"/>
                    <a:gd name="T71" fmla="*/ 8 h 82"/>
                    <a:gd name="T72" fmla="*/ 32 w 52"/>
                    <a:gd name="T73" fmla="*/ 14 h 82"/>
                    <a:gd name="T74" fmla="*/ 32 w 52"/>
                    <a:gd name="T75" fmla="*/ 14 h 82"/>
                    <a:gd name="T76" fmla="*/ 34 w 52"/>
                    <a:gd name="T77" fmla="*/ 20 h 82"/>
                    <a:gd name="T78" fmla="*/ 34 w 52"/>
                    <a:gd name="T79" fmla="*/ 20 h 82"/>
                    <a:gd name="T80" fmla="*/ 36 w 52"/>
                    <a:gd name="T81" fmla="*/ 40 h 82"/>
                    <a:gd name="T82" fmla="*/ 36 w 52"/>
                    <a:gd name="T83" fmla="*/ 40 h 82"/>
                    <a:gd name="T84" fmla="*/ 34 w 52"/>
                    <a:gd name="T85" fmla="*/ 60 h 82"/>
                    <a:gd name="T86" fmla="*/ 34 w 52"/>
                    <a:gd name="T87" fmla="*/ 60 h 82"/>
                    <a:gd name="T88" fmla="*/ 32 w 52"/>
                    <a:gd name="T89" fmla="*/ 66 h 82"/>
                    <a:gd name="T90" fmla="*/ 32 w 52"/>
                    <a:gd name="T91" fmla="*/ 66 h 82"/>
                    <a:gd name="T92" fmla="*/ 26 w 52"/>
                    <a:gd name="T93" fmla="*/ 68 h 82"/>
                    <a:gd name="T94" fmla="*/ 26 w 52"/>
                    <a:gd name="T95" fmla="*/ 68 h 82"/>
                    <a:gd name="T96" fmla="*/ 22 w 52"/>
                    <a:gd name="T97" fmla="*/ 66 h 82"/>
                    <a:gd name="T98" fmla="*/ 22 w 52"/>
                    <a:gd name="T99" fmla="*/ 66 h 82"/>
                    <a:gd name="T100" fmla="*/ 18 w 52"/>
                    <a:gd name="T101" fmla="*/ 60 h 82"/>
                    <a:gd name="T102" fmla="*/ 18 w 52"/>
                    <a:gd name="T103" fmla="*/ 60 h 82"/>
                    <a:gd name="T104" fmla="*/ 16 w 52"/>
                    <a:gd name="T105" fmla="*/ 40 h 82"/>
                    <a:gd name="T106" fmla="*/ 16 w 52"/>
                    <a:gd name="T107" fmla="*/ 40 h 82"/>
                    <a:gd name="T108" fmla="*/ 18 w 52"/>
                    <a:gd name="T109" fmla="*/ 20 h 82"/>
                    <a:gd name="T110" fmla="*/ 18 w 52"/>
                    <a:gd name="T111" fmla="*/ 20 h 82"/>
                    <a:gd name="T112" fmla="*/ 22 w 52"/>
                    <a:gd name="T113" fmla="*/ 14 h 82"/>
                    <a:gd name="T114" fmla="*/ 22 w 52"/>
                    <a:gd name="T115" fmla="*/ 14 h 82"/>
                    <a:gd name="T116" fmla="*/ 26 w 52"/>
                    <a:gd name="T117" fmla="*/ 12 h 82"/>
                    <a:gd name="T118" fmla="*/ 26 w 52"/>
                    <a:gd name="T119" fmla="*/ 12 h 82"/>
                    <a:gd name="T120" fmla="*/ 32 w 52"/>
                    <a:gd name="T121" fmla="*/ 14 h 82"/>
                    <a:gd name="T122" fmla="*/ 32 w 52"/>
                    <a:gd name="T123" fmla="*/ 14 h 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52" h="82">
                      <a:moveTo>
                        <a:pt x="8" y="8"/>
                      </a:moveTo>
                      <a:lnTo>
                        <a:pt x="8" y="8"/>
                      </a:lnTo>
                      <a:lnTo>
                        <a:pt x="4" y="14"/>
                      </a:lnTo>
                      <a:lnTo>
                        <a:pt x="2" y="20"/>
                      </a:lnTo>
                      <a:lnTo>
                        <a:pt x="0" y="40"/>
                      </a:lnTo>
                      <a:lnTo>
                        <a:pt x="0" y="40"/>
                      </a:lnTo>
                      <a:lnTo>
                        <a:pt x="2" y="60"/>
                      </a:lnTo>
                      <a:lnTo>
                        <a:pt x="4" y="66"/>
                      </a:lnTo>
                      <a:lnTo>
                        <a:pt x="8" y="72"/>
                      </a:lnTo>
                      <a:lnTo>
                        <a:pt x="8" y="72"/>
                      </a:lnTo>
                      <a:lnTo>
                        <a:pt x="12" y="76"/>
                      </a:lnTo>
                      <a:lnTo>
                        <a:pt x="16" y="78"/>
                      </a:lnTo>
                      <a:lnTo>
                        <a:pt x="20" y="80"/>
                      </a:lnTo>
                      <a:lnTo>
                        <a:pt x="26" y="82"/>
                      </a:lnTo>
                      <a:lnTo>
                        <a:pt x="26" y="82"/>
                      </a:lnTo>
                      <a:lnTo>
                        <a:pt x="36" y="80"/>
                      </a:lnTo>
                      <a:lnTo>
                        <a:pt x="40" y="76"/>
                      </a:lnTo>
                      <a:lnTo>
                        <a:pt x="44" y="72"/>
                      </a:lnTo>
                      <a:lnTo>
                        <a:pt x="44" y="72"/>
                      </a:lnTo>
                      <a:lnTo>
                        <a:pt x="48" y="68"/>
                      </a:lnTo>
                      <a:lnTo>
                        <a:pt x="50" y="60"/>
                      </a:lnTo>
                      <a:lnTo>
                        <a:pt x="52" y="40"/>
                      </a:lnTo>
                      <a:lnTo>
                        <a:pt x="52" y="40"/>
                      </a:lnTo>
                      <a:lnTo>
                        <a:pt x="50" y="20"/>
                      </a:lnTo>
                      <a:lnTo>
                        <a:pt x="48" y="14"/>
                      </a:lnTo>
                      <a:lnTo>
                        <a:pt x="44" y="8"/>
                      </a:lnTo>
                      <a:lnTo>
                        <a:pt x="44" y="8"/>
                      </a:lnTo>
                      <a:lnTo>
                        <a:pt x="40" y="4"/>
                      </a:lnTo>
                      <a:lnTo>
                        <a:pt x="36" y="2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16" y="2"/>
                      </a:lnTo>
                      <a:lnTo>
                        <a:pt x="12" y="4"/>
                      </a:lnTo>
                      <a:lnTo>
                        <a:pt x="8" y="8"/>
                      </a:lnTo>
                      <a:lnTo>
                        <a:pt x="8" y="8"/>
                      </a:lnTo>
                      <a:lnTo>
                        <a:pt x="8" y="8"/>
                      </a:lnTo>
                      <a:close/>
                      <a:moveTo>
                        <a:pt x="32" y="14"/>
                      </a:moveTo>
                      <a:lnTo>
                        <a:pt x="32" y="14"/>
                      </a:lnTo>
                      <a:lnTo>
                        <a:pt x="34" y="20"/>
                      </a:lnTo>
                      <a:lnTo>
                        <a:pt x="34" y="20"/>
                      </a:lnTo>
                      <a:lnTo>
                        <a:pt x="36" y="40"/>
                      </a:lnTo>
                      <a:lnTo>
                        <a:pt x="36" y="40"/>
                      </a:lnTo>
                      <a:lnTo>
                        <a:pt x="34" y="60"/>
                      </a:lnTo>
                      <a:lnTo>
                        <a:pt x="34" y="60"/>
                      </a:lnTo>
                      <a:lnTo>
                        <a:pt x="32" y="66"/>
                      </a:lnTo>
                      <a:lnTo>
                        <a:pt x="32" y="66"/>
                      </a:lnTo>
                      <a:lnTo>
                        <a:pt x="26" y="68"/>
                      </a:lnTo>
                      <a:lnTo>
                        <a:pt x="26" y="68"/>
                      </a:lnTo>
                      <a:lnTo>
                        <a:pt x="22" y="66"/>
                      </a:lnTo>
                      <a:lnTo>
                        <a:pt x="22" y="66"/>
                      </a:lnTo>
                      <a:lnTo>
                        <a:pt x="18" y="60"/>
                      </a:lnTo>
                      <a:lnTo>
                        <a:pt x="18" y="60"/>
                      </a:lnTo>
                      <a:lnTo>
                        <a:pt x="16" y="40"/>
                      </a:lnTo>
                      <a:lnTo>
                        <a:pt x="16" y="40"/>
                      </a:lnTo>
                      <a:lnTo>
                        <a:pt x="18" y="20"/>
                      </a:lnTo>
                      <a:lnTo>
                        <a:pt x="18" y="20"/>
                      </a:lnTo>
                      <a:lnTo>
                        <a:pt x="22" y="14"/>
                      </a:lnTo>
                      <a:lnTo>
                        <a:pt x="22" y="14"/>
                      </a:lnTo>
                      <a:lnTo>
                        <a:pt x="26" y="12"/>
                      </a:lnTo>
                      <a:lnTo>
                        <a:pt x="26" y="12"/>
                      </a:lnTo>
                      <a:lnTo>
                        <a:pt x="32" y="14"/>
                      </a:lnTo>
                      <a:lnTo>
                        <a:pt x="32" y="1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" pitchFamily="34" charset="0"/>
                  </a:endParaRPr>
                </a:p>
              </p:txBody>
            </p:sp>
            <p:sp>
              <p:nvSpPr>
                <p:cNvPr id="203" name="Freeform 53"/>
                <p:cNvSpPr>
                  <a:spLocks/>
                </p:cNvSpPr>
                <p:nvPr/>
              </p:nvSpPr>
              <p:spPr bwMode="auto">
                <a:xfrm>
                  <a:off x="5733140" y="5096315"/>
                  <a:ext cx="25888" cy="60914"/>
                </a:xfrm>
                <a:custGeom>
                  <a:avLst/>
                  <a:gdLst>
                    <a:gd name="T0" fmla="*/ 34 w 34"/>
                    <a:gd name="T1" fmla="*/ 0 h 80"/>
                    <a:gd name="T2" fmla="*/ 22 w 34"/>
                    <a:gd name="T3" fmla="*/ 0 h 80"/>
                    <a:gd name="T4" fmla="*/ 22 w 34"/>
                    <a:gd name="T5" fmla="*/ 0 h 80"/>
                    <a:gd name="T6" fmla="*/ 18 w 34"/>
                    <a:gd name="T7" fmla="*/ 6 h 80"/>
                    <a:gd name="T8" fmla="*/ 12 w 34"/>
                    <a:gd name="T9" fmla="*/ 12 h 80"/>
                    <a:gd name="T10" fmla="*/ 12 w 34"/>
                    <a:gd name="T11" fmla="*/ 12 h 80"/>
                    <a:gd name="T12" fmla="*/ 6 w 34"/>
                    <a:gd name="T13" fmla="*/ 16 h 80"/>
                    <a:gd name="T14" fmla="*/ 0 w 34"/>
                    <a:gd name="T15" fmla="*/ 20 h 80"/>
                    <a:gd name="T16" fmla="*/ 0 w 34"/>
                    <a:gd name="T17" fmla="*/ 34 h 80"/>
                    <a:gd name="T18" fmla="*/ 0 w 34"/>
                    <a:gd name="T19" fmla="*/ 34 h 80"/>
                    <a:gd name="T20" fmla="*/ 10 w 34"/>
                    <a:gd name="T21" fmla="*/ 28 h 80"/>
                    <a:gd name="T22" fmla="*/ 20 w 34"/>
                    <a:gd name="T23" fmla="*/ 22 h 80"/>
                    <a:gd name="T24" fmla="*/ 20 w 34"/>
                    <a:gd name="T25" fmla="*/ 80 h 80"/>
                    <a:gd name="T26" fmla="*/ 34 w 34"/>
                    <a:gd name="T27" fmla="*/ 80 h 80"/>
                    <a:gd name="T28" fmla="*/ 34 w 34"/>
                    <a:gd name="T29" fmla="*/ 0 h 80"/>
                    <a:gd name="T30" fmla="*/ 34 w 34"/>
                    <a:gd name="T31" fmla="*/ 0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4" h="80">
                      <a:moveTo>
                        <a:pt x="34" y="0"/>
                      </a:move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18" y="6"/>
                      </a:lnTo>
                      <a:lnTo>
                        <a:pt x="12" y="12"/>
                      </a:lnTo>
                      <a:lnTo>
                        <a:pt x="12" y="12"/>
                      </a:lnTo>
                      <a:lnTo>
                        <a:pt x="6" y="16"/>
                      </a:lnTo>
                      <a:lnTo>
                        <a:pt x="0" y="20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10" y="28"/>
                      </a:lnTo>
                      <a:lnTo>
                        <a:pt x="20" y="22"/>
                      </a:lnTo>
                      <a:lnTo>
                        <a:pt x="20" y="80"/>
                      </a:lnTo>
                      <a:lnTo>
                        <a:pt x="34" y="80"/>
                      </a:lnTo>
                      <a:lnTo>
                        <a:pt x="34" y="0"/>
                      </a:lnTo>
                      <a:lnTo>
                        <a:pt x="34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" pitchFamily="34" charset="0"/>
                  </a:endParaRPr>
                </a:p>
              </p:txBody>
            </p:sp>
            <p:sp>
              <p:nvSpPr>
                <p:cNvPr id="204" name="Freeform 54"/>
                <p:cNvSpPr>
                  <a:spLocks noEditPoints="1"/>
                </p:cNvSpPr>
                <p:nvPr/>
              </p:nvSpPr>
              <p:spPr bwMode="auto">
                <a:xfrm>
                  <a:off x="5844308" y="5096315"/>
                  <a:ext cx="39594" cy="62437"/>
                </a:xfrm>
                <a:custGeom>
                  <a:avLst/>
                  <a:gdLst>
                    <a:gd name="T0" fmla="*/ 8 w 52"/>
                    <a:gd name="T1" fmla="*/ 8 h 82"/>
                    <a:gd name="T2" fmla="*/ 8 w 52"/>
                    <a:gd name="T3" fmla="*/ 8 h 82"/>
                    <a:gd name="T4" fmla="*/ 4 w 52"/>
                    <a:gd name="T5" fmla="*/ 14 h 82"/>
                    <a:gd name="T6" fmla="*/ 2 w 52"/>
                    <a:gd name="T7" fmla="*/ 20 h 82"/>
                    <a:gd name="T8" fmla="*/ 0 w 52"/>
                    <a:gd name="T9" fmla="*/ 40 h 82"/>
                    <a:gd name="T10" fmla="*/ 0 w 52"/>
                    <a:gd name="T11" fmla="*/ 40 h 82"/>
                    <a:gd name="T12" fmla="*/ 0 w 52"/>
                    <a:gd name="T13" fmla="*/ 60 h 82"/>
                    <a:gd name="T14" fmla="*/ 4 w 52"/>
                    <a:gd name="T15" fmla="*/ 66 h 82"/>
                    <a:gd name="T16" fmla="*/ 6 w 52"/>
                    <a:gd name="T17" fmla="*/ 72 h 82"/>
                    <a:gd name="T18" fmla="*/ 6 w 52"/>
                    <a:gd name="T19" fmla="*/ 72 h 82"/>
                    <a:gd name="T20" fmla="*/ 10 w 52"/>
                    <a:gd name="T21" fmla="*/ 76 h 82"/>
                    <a:gd name="T22" fmla="*/ 14 w 52"/>
                    <a:gd name="T23" fmla="*/ 78 h 82"/>
                    <a:gd name="T24" fmla="*/ 20 w 52"/>
                    <a:gd name="T25" fmla="*/ 80 h 82"/>
                    <a:gd name="T26" fmla="*/ 26 w 52"/>
                    <a:gd name="T27" fmla="*/ 82 h 82"/>
                    <a:gd name="T28" fmla="*/ 26 w 52"/>
                    <a:gd name="T29" fmla="*/ 82 h 82"/>
                    <a:gd name="T30" fmla="*/ 36 w 52"/>
                    <a:gd name="T31" fmla="*/ 80 h 82"/>
                    <a:gd name="T32" fmla="*/ 40 w 52"/>
                    <a:gd name="T33" fmla="*/ 76 h 82"/>
                    <a:gd name="T34" fmla="*/ 44 w 52"/>
                    <a:gd name="T35" fmla="*/ 72 h 82"/>
                    <a:gd name="T36" fmla="*/ 44 w 52"/>
                    <a:gd name="T37" fmla="*/ 72 h 82"/>
                    <a:gd name="T38" fmla="*/ 48 w 52"/>
                    <a:gd name="T39" fmla="*/ 68 h 82"/>
                    <a:gd name="T40" fmla="*/ 50 w 52"/>
                    <a:gd name="T41" fmla="*/ 60 h 82"/>
                    <a:gd name="T42" fmla="*/ 52 w 52"/>
                    <a:gd name="T43" fmla="*/ 40 h 82"/>
                    <a:gd name="T44" fmla="*/ 52 w 52"/>
                    <a:gd name="T45" fmla="*/ 40 h 82"/>
                    <a:gd name="T46" fmla="*/ 50 w 52"/>
                    <a:gd name="T47" fmla="*/ 20 h 82"/>
                    <a:gd name="T48" fmla="*/ 48 w 52"/>
                    <a:gd name="T49" fmla="*/ 14 h 82"/>
                    <a:gd name="T50" fmla="*/ 44 w 52"/>
                    <a:gd name="T51" fmla="*/ 8 h 82"/>
                    <a:gd name="T52" fmla="*/ 44 w 52"/>
                    <a:gd name="T53" fmla="*/ 8 h 82"/>
                    <a:gd name="T54" fmla="*/ 40 w 52"/>
                    <a:gd name="T55" fmla="*/ 4 h 82"/>
                    <a:gd name="T56" fmla="*/ 36 w 52"/>
                    <a:gd name="T57" fmla="*/ 2 h 82"/>
                    <a:gd name="T58" fmla="*/ 26 w 52"/>
                    <a:gd name="T59" fmla="*/ 0 h 82"/>
                    <a:gd name="T60" fmla="*/ 26 w 52"/>
                    <a:gd name="T61" fmla="*/ 0 h 82"/>
                    <a:gd name="T62" fmla="*/ 14 w 52"/>
                    <a:gd name="T63" fmla="*/ 2 h 82"/>
                    <a:gd name="T64" fmla="*/ 10 w 52"/>
                    <a:gd name="T65" fmla="*/ 4 h 82"/>
                    <a:gd name="T66" fmla="*/ 8 w 52"/>
                    <a:gd name="T67" fmla="*/ 8 h 82"/>
                    <a:gd name="T68" fmla="*/ 8 w 52"/>
                    <a:gd name="T69" fmla="*/ 8 h 82"/>
                    <a:gd name="T70" fmla="*/ 8 w 52"/>
                    <a:gd name="T71" fmla="*/ 8 h 82"/>
                    <a:gd name="T72" fmla="*/ 30 w 52"/>
                    <a:gd name="T73" fmla="*/ 14 h 82"/>
                    <a:gd name="T74" fmla="*/ 30 w 52"/>
                    <a:gd name="T75" fmla="*/ 14 h 82"/>
                    <a:gd name="T76" fmla="*/ 34 w 52"/>
                    <a:gd name="T77" fmla="*/ 20 h 82"/>
                    <a:gd name="T78" fmla="*/ 34 w 52"/>
                    <a:gd name="T79" fmla="*/ 20 h 82"/>
                    <a:gd name="T80" fmla="*/ 36 w 52"/>
                    <a:gd name="T81" fmla="*/ 40 h 82"/>
                    <a:gd name="T82" fmla="*/ 36 w 52"/>
                    <a:gd name="T83" fmla="*/ 40 h 82"/>
                    <a:gd name="T84" fmla="*/ 34 w 52"/>
                    <a:gd name="T85" fmla="*/ 60 h 82"/>
                    <a:gd name="T86" fmla="*/ 34 w 52"/>
                    <a:gd name="T87" fmla="*/ 60 h 82"/>
                    <a:gd name="T88" fmla="*/ 30 w 52"/>
                    <a:gd name="T89" fmla="*/ 66 h 82"/>
                    <a:gd name="T90" fmla="*/ 30 w 52"/>
                    <a:gd name="T91" fmla="*/ 66 h 82"/>
                    <a:gd name="T92" fmla="*/ 26 w 52"/>
                    <a:gd name="T93" fmla="*/ 68 h 82"/>
                    <a:gd name="T94" fmla="*/ 26 w 52"/>
                    <a:gd name="T95" fmla="*/ 68 h 82"/>
                    <a:gd name="T96" fmla="*/ 20 w 52"/>
                    <a:gd name="T97" fmla="*/ 66 h 82"/>
                    <a:gd name="T98" fmla="*/ 20 w 52"/>
                    <a:gd name="T99" fmla="*/ 66 h 82"/>
                    <a:gd name="T100" fmla="*/ 16 w 52"/>
                    <a:gd name="T101" fmla="*/ 60 h 82"/>
                    <a:gd name="T102" fmla="*/ 16 w 52"/>
                    <a:gd name="T103" fmla="*/ 60 h 82"/>
                    <a:gd name="T104" fmla="*/ 16 w 52"/>
                    <a:gd name="T105" fmla="*/ 40 h 82"/>
                    <a:gd name="T106" fmla="*/ 16 w 52"/>
                    <a:gd name="T107" fmla="*/ 40 h 82"/>
                    <a:gd name="T108" fmla="*/ 16 w 52"/>
                    <a:gd name="T109" fmla="*/ 20 h 82"/>
                    <a:gd name="T110" fmla="*/ 16 w 52"/>
                    <a:gd name="T111" fmla="*/ 20 h 82"/>
                    <a:gd name="T112" fmla="*/ 20 w 52"/>
                    <a:gd name="T113" fmla="*/ 14 h 82"/>
                    <a:gd name="T114" fmla="*/ 20 w 52"/>
                    <a:gd name="T115" fmla="*/ 14 h 82"/>
                    <a:gd name="T116" fmla="*/ 26 w 52"/>
                    <a:gd name="T117" fmla="*/ 12 h 82"/>
                    <a:gd name="T118" fmla="*/ 26 w 52"/>
                    <a:gd name="T119" fmla="*/ 12 h 82"/>
                    <a:gd name="T120" fmla="*/ 30 w 52"/>
                    <a:gd name="T121" fmla="*/ 14 h 82"/>
                    <a:gd name="T122" fmla="*/ 30 w 52"/>
                    <a:gd name="T123" fmla="*/ 14 h 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52" h="82">
                      <a:moveTo>
                        <a:pt x="8" y="8"/>
                      </a:moveTo>
                      <a:lnTo>
                        <a:pt x="8" y="8"/>
                      </a:lnTo>
                      <a:lnTo>
                        <a:pt x="4" y="14"/>
                      </a:lnTo>
                      <a:lnTo>
                        <a:pt x="2" y="20"/>
                      </a:lnTo>
                      <a:lnTo>
                        <a:pt x="0" y="40"/>
                      </a:lnTo>
                      <a:lnTo>
                        <a:pt x="0" y="40"/>
                      </a:lnTo>
                      <a:lnTo>
                        <a:pt x="0" y="60"/>
                      </a:lnTo>
                      <a:lnTo>
                        <a:pt x="4" y="66"/>
                      </a:lnTo>
                      <a:lnTo>
                        <a:pt x="6" y="72"/>
                      </a:lnTo>
                      <a:lnTo>
                        <a:pt x="6" y="72"/>
                      </a:lnTo>
                      <a:lnTo>
                        <a:pt x="10" y="76"/>
                      </a:lnTo>
                      <a:lnTo>
                        <a:pt x="14" y="78"/>
                      </a:lnTo>
                      <a:lnTo>
                        <a:pt x="20" y="80"/>
                      </a:lnTo>
                      <a:lnTo>
                        <a:pt x="26" y="82"/>
                      </a:lnTo>
                      <a:lnTo>
                        <a:pt x="26" y="82"/>
                      </a:lnTo>
                      <a:lnTo>
                        <a:pt x="36" y="80"/>
                      </a:lnTo>
                      <a:lnTo>
                        <a:pt x="40" y="76"/>
                      </a:lnTo>
                      <a:lnTo>
                        <a:pt x="44" y="72"/>
                      </a:lnTo>
                      <a:lnTo>
                        <a:pt x="44" y="72"/>
                      </a:lnTo>
                      <a:lnTo>
                        <a:pt x="48" y="68"/>
                      </a:lnTo>
                      <a:lnTo>
                        <a:pt x="50" y="60"/>
                      </a:lnTo>
                      <a:lnTo>
                        <a:pt x="52" y="40"/>
                      </a:lnTo>
                      <a:lnTo>
                        <a:pt x="52" y="40"/>
                      </a:lnTo>
                      <a:lnTo>
                        <a:pt x="50" y="20"/>
                      </a:lnTo>
                      <a:lnTo>
                        <a:pt x="48" y="14"/>
                      </a:lnTo>
                      <a:lnTo>
                        <a:pt x="44" y="8"/>
                      </a:lnTo>
                      <a:lnTo>
                        <a:pt x="44" y="8"/>
                      </a:lnTo>
                      <a:lnTo>
                        <a:pt x="40" y="4"/>
                      </a:lnTo>
                      <a:lnTo>
                        <a:pt x="36" y="2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14" y="2"/>
                      </a:lnTo>
                      <a:lnTo>
                        <a:pt x="10" y="4"/>
                      </a:lnTo>
                      <a:lnTo>
                        <a:pt x="8" y="8"/>
                      </a:lnTo>
                      <a:lnTo>
                        <a:pt x="8" y="8"/>
                      </a:lnTo>
                      <a:lnTo>
                        <a:pt x="8" y="8"/>
                      </a:lnTo>
                      <a:close/>
                      <a:moveTo>
                        <a:pt x="30" y="14"/>
                      </a:moveTo>
                      <a:lnTo>
                        <a:pt x="30" y="14"/>
                      </a:lnTo>
                      <a:lnTo>
                        <a:pt x="34" y="20"/>
                      </a:lnTo>
                      <a:lnTo>
                        <a:pt x="34" y="20"/>
                      </a:lnTo>
                      <a:lnTo>
                        <a:pt x="36" y="40"/>
                      </a:lnTo>
                      <a:lnTo>
                        <a:pt x="36" y="40"/>
                      </a:lnTo>
                      <a:lnTo>
                        <a:pt x="34" y="60"/>
                      </a:lnTo>
                      <a:lnTo>
                        <a:pt x="34" y="60"/>
                      </a:lnTo>
                      <a:lnTo>
                        <a:pt x="30" y="66"/>
                      </a:lnTo>
                      <a:lnTo>
                        <a:pt x="30" y="66"/>
                      </a:lnTo>
                      <a:lnTo>
                        <a:pt x="26" y="68"/>
                      </a:lnTo>
                      <a:lnTo>
                        <a:pt x="26" y="68"/>
                      </a:lnTo>
                      <a:lnTo>
                        <a:pt x="20" y="66"/>
                      </a:lnTo>
                      <a:lnTo>
                        <a:pt x="20" y="66"/>
                      </a:lnTo>
                      <a:lnTo>
                        <a:pt x="16" y="60"/>
                      </a:lnTo>
                      <a:lnTo>
                        <a:pt x="16" y="60"/>
                      </a:lnTo>
                      <a:lnTo>
                        <a:pt x="16" y="40"/>
                      </a:lnTo>
                      <a:lnTo>
                        <a:pt x="16" y="40"/>
                      </a:lnTo>
                      <a:lnTo>
                        <a:pt x="16" y="20"/>
                      </a:lnTo>
                      <a:lnTo>
                        <a:pt x="16" y="20"/>
                      </a:lnTo>
                      <a:lnTo>
                        <a:pt x="20" y="14"/>
                      </a:lnTo>
                      <a:lnTo>
                        <a:pt x="20" y="14"/>
                      </a:lnTo>
                      <a:lnTo>
                        <a:pt x="26" y="12"/>
                      </a:lnTo>
                      <a:lnTo>
                        <a:pt x="26" y="12"/>
                      </a:lnTo>
                      <a:lnTo>
                        <a:pt x="30" y="14"/>
                      </a:lnTo>
                      <a:lnTo>
                        <a:pt x="30" y="1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" pitchFamily="34" charset="0"/>
                  </a:endParaRPr>
                </a:p>
              </p:txBody>
            </p:sp>
            <p:sp>
              <p:nvSpPr>
                <p:cNvPr id="205" name="Freeform 55"/>
                <p:cNvSpPr>
                  <a:spLocks/>
                </p:cNvSpPr>
                <p:nvPr/>
              </p:nvSpPr>
              <p:spPr bwMode="auto">
                <a:xfrm>
                  <a:off x="5960045" y="5096315"/>
                  <a:ext cx="27411" cy="60914"/>
                </a:xfrm>
                <a:custGeom>
                  <a:avLst/>
                  <a:gdLst>
                    <a:gd name="T0" fmla="*/ 36 w 36"/>
                    <a:gd name="T1" fmla="*/ 0 h 80"/>
                    <a:gd name="T2" fmla="*/ 24 w 36"/>
                    <a:gd name="T3" fmla="*/ 0 h 80"/>
                    <a:gd name="T4" fmla="*/ 24 w 36"/>
                    <a:gd name="T5" fmla="*/ 0 h 80"/>
                    <a:gd name="T6" fmla="*/ 20 w 36"/>
                    <a:gd name="T7" fmla="*/ 6 h 80"/>
                    <a:gd name="T8" fmla="*/ 14 w 36"/>
                    <a:gd name="T9" fmla="*/ 12 h 80"/>
                    <a:gd name="T10" fmla="*/ 14 w 36"/>
                    <a:gd name="T11" fmla="*/ 12 h 80"/>
                    <a:gd name="T12" fmla="*/ 6 w 36"/>
                    <a:gd name="T13" fmla="*/ 16 h 80"/>
                    <a:gd name="T14" fmla="*/ 0 w 36"/>
                    <a:gd name="T15" fmla="*/ 20 h 80"/>
                    <a:gd name="T16" fmla="*/ 0 w 36"/>
                    <a:gd name="T17" fmla="*/ 34 h 80"/>
                    <a:gd name="T18" fmla="*/ 0 w 36"/>
                    <a:gd name="T19" fmla="*/ 34 h 80"/>
                    <a:gd name="T20" fmla="*/ 12 w 36"/>
                    <a:gd name="T21" fmla="*/ 28 h 80"/>
                    <a:gd name="T22" fmla="*/ 20 w 36"/>
                    <a:gd name="T23" fmla="*/ 22 h 80"/>
                    <a:gd name="T24" fmla="*/ 20 w 36"/>
                    <a:gd name="T25" fmla="*/ 80 h 80"/>
                    <a:gd name="T26" fmla="*/ 36 w 36"/>
                    <a:gd name="T27" fmla="*/ 80 h 80"/>
                    <a:gd name="T28" fmla="*/ 36 w 36"/>
                    <a:gd name="T29" fmla="*/ 0 h 80"/>
                    <a:gd name="T30" fmla="*/ 36 w 36"/>
                    <a:gd name="T31" fmla="*/ 0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6" h="80">
                      <a:moveTo>
                        <a:pt x="36" y="0"/>
                      </a:moveTo>
                      <a:lnTo>
                        <a:pt x="24" y="0"/>
                      </a:lnTo>
                      <a:lnTo>
                        <a:pt x="24" y="0"/>
                      </a:lnTo>
                      <a:lnTo>
                        <a:pt x="20" y="6"/>
                      </a:lnTo>
                      <a:lnTo>
                        <a:pt x="14" y="12"/>
                      </a:lnTo>
                      <a:lnTo>
                        <a:pt x="14" y="12"/>
                      </a:lnTo>
                      <a:lnTo>
                        <a:pt x="6" y="16"/>
                      </a:lnTo>
                      <a:lnTo>
                        <a:pt x="0" y="20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12" y="28"/>
                      </a:lnTo>
                      <a:lnTo>
                        <a:pt x="20" y="22"/>
                      </a:lnTo>
                      <a:lnTo>
                        <a:pt x="20" y="80"/>
                      </a:lnTo>
                      <a:lnTo>
                        <a:pt x="36" y="80"/>
                      </a:lnTo>
                      <a:lnTo>
                        <a:pt x="36" y="0"/>
                      </a:lnTo>
                      <a:lnTo>
                        <a:pt x="36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" pitchFamily="34" charset="0"/>
                  </a:endParaRPr>
                </a:p>
              </p:txBody>
            </p:sp>
            <p:sp>
              <p:nvSpPr>
                <p:cNvPr id="206" name="Freeform 22"/>
                <p:cNvSpPr>
                  <a:spLocks/>
                </p:cNvSpPr>
                <p:nvPr/>
              </p:nvSpPr>
              <p:spPr bwMode="auto">
                <a:xfrm>
                  <a:off x="5395137" y="5226648"/>
                  <a:ext cx="25888" cy="60914"/>
                </a:xfrm>
                <a:custGeom>
                  <a:avLst/>
                  <a:gdLst>
                    <a:gd name="T0" fmla="*/ 34 w 34"/>
                    <a:gd name="T1" fmla="*/ 0 h 80"/>
                    <a:gd name="T2" fmla="*/ 22 w 34"/>
                    <a:gd name="T3" fmla="*/ 0 h 80"/>
                    <a:gd name="T4" fmla="*/ 22 w 34"/>
                    <a:gd name="T5" fmla="*/ 0 h 80"/>
                    <a:gd name="T6" fmla="*/ 18 w 34"/>
                    <a:gd name="T7" fmla="*/ 6 h 80"/>
                    <a:gd name="T8" fmla="*/ 12 w 34"/>
                    <a:gd name="T9" fmla="*/ 12 h 80"/>
                    <a:gd name="T10" fmla="*/ 12 w 34"/>
                    <a:gd name="T11" fmla="*/ 12 h 80"/>
                    <a:gd name="T12" fmla="*/ 6 w 34"/>
                    <a:gd name="T13" fmla="*/ 18 h 80"/>
                    <a:gd name="T14" fmla="*/ 0 w 34"/>
                    <a:gd name="T15" fmla="*/ 20 h 80"/>
                    <a:gd name="T16" fmla="*/ 0 w 34"/>
                    <a:gd name="T17" fmla="*/ 34 h 80"/>
                    <a:gd name="T18" fmla="*/ 0 w 34"/>
                    <a:gd name="T19" fmla="*/ 34 h 80"/>
                    <a:gd name="T20" fmla="*/ 10 w 34"/>
                    <a:gd name="T21" fmla="*/ 30 h 80"/>
                    <a:gd name="T22" fmla="*/ 20 w 34"/>
                    <a:gd name="T23" fmla="*/ 22 h 80"/>
                    <a:gd name="T24" fmla="*/ 20 w 34"/>
                    <a:gd name="T25" fmla="*/ 80 h 80"/>
                    <a:gd name="T26" fmla="*/ 34 w 34"/>
                    <a:gd name="T27" fmla="*/ 80 h 80"/>
                    <a:gd name="T28" fmla="*/ 34 w 34"/>
                    <a:gd name="T29" fmla="*/ 0 h 80"/>
                    <a:gd name="T30" fmla="*/ 34 w 34"/>
                    <a:gd name="T31" fmla="*/ 0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4" h="80">
                      <a:moveTo>
                        <a:pt x="34" y="0"/>
                      </a:move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18" y="6"/>
                      </a:lnTo>
                      <a:lnTo>
                        <a:pt x="12" y="12"/>
                      </a:lnTo>
                      <a:lnTo>
                        <a:pt x="12" y="12"/>
                      </a:lnTo>
                      <a:lnTo>
                        <a:pt x="6" y="18"/>
                      </a:lnTo>
                      <a:lnTo>
                        <a:pt x="0" y="20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10" y="30"/>
                      </a:lnTo>
                      <a:lnTo>
                        <a:pt x="20" y="22"/>
                      </a:lnTo>
                      <a:lnTo>
                        <a:pt x="20" y="80"/>
                      </a:lnTo>
                      <a:lnTo>
                        <a:pt x="34" y="80"/>
                      </a:lnTo>
                      <a:lnTo>
                        <a:pt x="34" y="0"/>
                      </a:lnTo>
                      <a:lnTo>
                        <a:pt x="34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" pitchFamily="34" charset="0"/>
                  </a:endParaRPr>
                </a:p>
              </p:txBody>
            </p:sp>
            <p:sp>
              <p:nvSpPr>
                <p:cNvPr id="207" name="Freeform 23"/>
                <p:cNvSpPr>
                  <a:spLocks noEditPoints="1"/>
                </p:cNvSpPr>
                <p:nvPr/>
              </p:nvSpPr>
              <p:spPr bwMode="auto">
                <a:xfrm>
                  <a:off x="5506304" y="5226648"/>
                  <a:ext cx="39594" cy="62437"/>
                </a:xfrm>
                <a:custGeom>
                  <a:avLst/>
                  <a:gdLst>
                    <a:gd name="T0" fmla="*/ 8 w 52"/>
                    <a:gd name="T1" fmla="*/ 8 h 82"/>
                    <a:gd name="T2" fmla="*/ 8 w 52"/>
                    <a:gd name="T3" fmla="*/ 8 h 82"/>
                    <a:gd name="T4" fmla="*/ 4 w 52"/>
                    <a:gd name="T5" fmla="*/ 14 h 82"/>
                    <a:gd name="T6" fmla="*/ 2 w 52"/>
                    <a:gd name="T7" fmla="*/ 20 h 82"/>
                    <a:gd name="T8" fmla="*/ 0 w 52"/>
                    <a:gd name="T9" fmla="*/ 40 h 82"/>
                    <a:gd name="T10" fmla="*/ 0 w 52"/>
                    <a:gd name="T11" fmla="*/ 40 h 82"/>
                    <a:gd name="T12" fmla="*/ 2 w 52"/>
                    <a:gd name="T13" fmla="*/ 60 h 82"/>
                    <a:gd name="T14" fmla="*/ 4 w 52"/>
                    <a:gd name="T15" fmla="*/ 68 h 82"/>
                    <a:gd name="T16" fmla="*/ 6 w 52"/>
                    <a:gd name="T17" fmla="*/ 72 h 82"/>
                    <a:gd name="T18" fmla="*/ 6 w 52"/>
                    <a:gd name="T19" fmla="*/ 72 h 82"/>
                    <a:gd name="T20" fmla="*/ 10 w 52"/>
                    <a:gd name="T21" fmla="*/ 76 h 82"/>
                    <a:gd name="T22" fmla="*/ 16 w 52"/>
                    <a:gd name="T23" fmla="*/ 80 h 82"/>
                    <a:gd name="T24" fmla="*/ 20 w 52"/>
                    <a:gd name="T25" fmla="*/ 80 h 82"/>
                    <a:gd name="T26" fmla="*/ 26 w 52"/>
                    <a:gd name="T27" fmla="*/ 82 h 82"/>
                    <a:gd name="T28" fmla="*/ 26 w 52"/>
                    <a:gd name="T29" fmla="*/ 82 h 82"/>
                    <a:gd name="T30" fmla="*/ 36 w 52"/>
                    <a:gd name="T31" fmla="*/ 80 h 82"/>
                    <a:gd name="T32" fmla="*/ 40 w 52"/>
                    <a:gd name="T33" fmla="*/ 76 h 82"/>
                    <a:gd name="T34" fmla="*/ 44 w 52"/>
                    <a:gd name="T35" fmla="*/ 74 h 82"/>
                    <a:gd name="T36" fmla="*/ 44 w 52"/>
                    <a:gd name="T37" fmla="*/ 74 h 82"/>
                    <a:gd name="T38" fmla="*/ 48 w 52"/>
                    <a:gd name="T39" fmla="*/ 68 h 82"/>
                    <a:gd name="T40" fmla="*/ 50 w 52"/>
                    <a:gd name="T41" fmla="*/ 60 h 82"/>
                    <a:gd name="T42" fmla="*/ 52 w 52"/>
                    <a:gd name="T43" fmla="*/ 40 h 82"/>
                    <a:gd name="T44" fmla="*/ 52 w 52"/>
                    <a:gd name="T45" fmla="*/ 40 h 82"/>
                    <a:gd name="T46" fmla="*/ 50 w 52"/>
                    <a:gd name="T47" fmla="*/ 20 h 82"/>
                    <a:gd name="T48" fmla="*/ 48 w 52"/>
                    <a:gd name="T49" fmla="*/ 14 h 82"/>
                    <a:gd name="T50" fmla="*/ 44 w 52"/>
                    <a:gd name="T51" fmla="*/ 8 h 82"/>
                    <a:gd name="T52" fmla="*/ 44 w 52"/>
                    <a:gd name="T53" fmla="*/ 8 h 82"/>
                    <a:gd name="T54" fmla="*/ 40 w 52"/>
                    <a:gd name="T55" fmla="*/ 4 h 82"/>
                    <a:gd name="T56" fmla="*/ 36 w 52"/>
                    <a:gd name="T57" fmla="*/ 2 h 82"/>
                    <a:gd name="T58" fmla="*/ 26 w 52"/>
                    <a:gd name="T59" fmla="*/ 0 h 82"/>
                    <a:gd name="T60" fmla="*/ 26 w 52"/>
                    <a:gd name="T61" fmla="*/ 0 h 82"/>
                    <a:gd name="T62" fmla="*/ 16 w 52"/>
                    <a:gd name="T63" fmla="*/ 2 h 82"/>
                    <a:gd name="T64" fmla="*/ 12 w 52"/>
                    <a:gd name="T65" fmla="*/ 4 h 82"/>
                    <a:gd name="T66" fmla="*/ 8 w 52"/>
                    <a:gd name="T67" fmla="*/ 8 h 82"/>
                    <a:gd name="T68" fmla="*/ 8 w 52"/>
                    <a:gd name="T69" fmla="*/ 8 h 82"/>
                    <a:gd name="T70" fmla="*/ 8 w 52"/>
                    <a:gd name="T71" fmla="*/ 8 h 82"/>
                    <a:gd name="T72" fmla="*/ 30 w 52"/>
                    <a:gd name="T73" fmla="*/ 14 h 82"/>
                    <a:gd name="T74" fmla="*/ 30 w 52"/>
                    <a:gd name="T75" fmla="*/ 14 h 82"/>
                    <a:gd name="T76" fmla="*/ 34 w 52"/>
                    <a:gd name="T77" fmla="*/ 22 h 82"/>
                    <a:gd name="T78" fmla="*/ 34 w 52"/>
                    <a:gd name="T79" fmla="*/ 22 h 82"/>
                    <a:gd name="T80" fmla="*/ 36 w 52"/>
                    <a:gd name="T81" fmla="*/ 40 h 82"/>
                    <a:gd name="T82" fmla="*/ 36 w 52"/>
                    <a:gd name="T83" fmla="*/ 40 h 82"/>
                    <a:gd name="T84" fmla="*/ 34 w 52"/>
                    <a:gd name="T85" fmla="*/ 60 h 82"/>
                    <a:gd name="T86" fmla="*/ 34 w 52"/>
                    <a:gd name="T87" fmla="*/ 60 h 82"/>
                    <a:gd name="T88" fmla="*/ 30 w 52"/>
                    <a:gd name="T89" fmla="*/ 66 h 82"/>
                    <a:gd name="T90" fmla="*/ 30 w 52"/>
                    <a:gd name="T91" fmla="*/ 66 h 82"/>
                    <a:gd name="T92" fmla="*/ 26 w 52"/>
                    <a:gd name="T93" fmla="*/ 68 h 82"/>
                    <a:gd name="T94" fmla="*/ 26 w 52"/>
                    <a:gd name="T95" fmla="*/ 68 h 82"/>
                    <a:gd name="T96" fmla="*/ 20 w 52"/>
                    <a:gd name="T97" fmla="*/ 66 h 82"/>
                    <a:gd name="T98" fmla="*/ 20 w 52"/>
                    <a:gd name="T99" fmla="*/ 66 h 82"/>
                    <a:gd name="T100" fmla="*/ 18 w 52"/>
                    <a:gd name="T101" fmla="*/ 60 h 82"/>
                    <a:gd name="T102" fmla="*/ 18 w 52"/>
                    <a:gd name="T103" fmla="*/ 60 h 82"/>
                    <a:gd name="T104" fmla="*/ 16 w 52"/>
                    <a:gd name="T105" fmla="*/ 40 h 82"/>
                    <a:gd name="T106" fmla="*/ 16 w 52"/>
                    <a:gd name="T107" fmla="*/ 40 h 82"/>
                    <a:gd name="T108" fmla="*/ 18 w 52"/>
                    <a:gd name="T109" fmla="*/ 20 h 82"/>
                    <a:gd name="T110" fmla="*/ 18 w 52"/>
                    <a:gd name="T111" fmla="*/ 20 h 82"/>
                    <a:gd name="T112" fmla="*/ 20 w 52"/>
                    <a:gd name="T113" fmla="*/ 14 h 82"/>
                    <a:gd name="T114" fmla="*/ 20 w 52"/>
                    <a:gd name="T115" fmla="*/ 14 h 82"/>
                    <a:gd name="T116" fmla="*/ 26 w 52"/>
                    <a:gd name="T117" fmla="*/ 12 h 82"/>
                    <a:gd name="T118" fmla="*/ 26 w 52"/>
                    <a:gd name="T119" fmla="*/ 12 h 82"/>
                    <a:gd name="T120" fmla="*/ 30 w 52"/>
                    <a:gd name="T121" fmla="*/ 14 h 82"/>
                    <a:gd name="T122" fmla="*/ 30 w 52"/>
                    <a:gd name="T123" fmla="*/ 14 h 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52" h="82">
                      <a:moveTo>
                        <a:pt x="8" y="8"/>
                      </a:moveTo>
                      <a:lnTo>
                        <a:pt x="8" y="8"/>
                      </a:lnTo>
                      <a:lnTo>
                        <a:pt x="4" y="14"/>
                      </a:lnTo>
                      <a:lnTo>
                        <a:pt x="2" y="20"/>
                      </a:lnTo>
                      <a:lnTo>
                        <a:pt x="0" y="40"/>
                      </a:lnTo>
                      <a:lnTo>
                        <a:pt x="0" y="40"/>
                      </a:lnTo>
                      <a:lnTo>
                        <a:pt x="2" y="60"/>
                      </a:lnTo>
                      <a:lnTo>
                        <a:pt x="4" y="68"/>
                      </a:lnTo>
                      <a:lnTo>
                        <a:pt x="6" y="72"/>
                      </a:lnTo>
                      <a:lnTo>
                        <a:pt x="6" y="72"/>
                      </a:lnTo>
                      <a:lnTo>
                        <a:pt x="10" y="76"/>
                      </a:lnTo>
                      <a:lnTo>
                        <a:pt x="16" y="80"/>
                      </a:lnTo>
                      <a:lnTo>
                        <a:pt x="20" y="80"/>
                      </a:lnTo>
                      <a:lnTo>
                        <a:pt x="26" y="82"/>
                      </a:lnTo>
                      <a:lnTo>
                        <a:pt x="26" y="82"/>
                      </a:lnTo>
                      <a:lnTo>
                        <a:pt x="36" y="80"/>
                      </a:lnTo>
                      <a:lnTo>
                        <a:pt x="40" y="76"/>
                      </a:lnTo>
                      <a:lnTo>
                        <a:pt x="44" y="74"/>
                      </a:lnTo>
                      <a:lnTo>
                        <a:pt x="44" y="74"/>
                      </a:lnTo>
                      <a:lnTo>
                        <a:pt x="48" y="68"/>
                      </a:lnTo>
                      <a:lnTo>
                        <a:pt x="50" y="60"/>
                      </a:lnTo>
                      <a:lnTo>
                        <a:pt x="52" y="40"/>
                      </a:lnTo>
                      <a:lnTo>
                        <a:pt x="52" y="40"/>
                      </a:lnTo>
                      <a:lnTo>
                        <a:pt x="50" y="20"/>
                      </a:lnTo>
                      <a:lnTo>
                        <a:pt x="48" y="14"/>
                      </a:lnTo>
                      <a:lnTo>
                        <a:pt x="44" y="8"/>
                      </a:lnTo>
                      <a:lnTo>
                        <a:pt x="44" y="8"/>
                      </a:lnTo>
                      <a:lnTo>
                        <a:pt x="40" y="4"/>
                      </a:lnTo>
                      <a:lnTo>
                        <a:pt x="36" y="2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16" y="2"/>
                      </a:lnTo>
                      <a:lnTo>
                        <a:pt x="12" y="4"/>
                      </a:lnTo>
                      <a:lnTo>
                        <a:pt x="8" y="8"/>
                      </a:lnTo>
                      <a:lnTo>
                        <a:pt x="8" y="8"/>
                      </a:lnTo>
                      <a:lnTo>
                        <a:pt x="8" y="8"/>
                      </a:lnTo>
                      <a:close/>
                      <a:moveTo>
                        <a:pt x="30" y="14"/>
                      </a:moveTo>
                      <a:lnTo>
                        <a:pt x="30" y="14"/>
                      </a:lnTo>
                      <a:lnTo>
                        <a:pt x="34" y="22"/>
                      </a:lnTo>
                      <a:lnTo>
                        <a:pt x="34" y="22"/>
                      </a:lnTo>
                      <a:lnTo>
                        <a:pt x="36" y="40"/>
                      </a:lnTo>
                      <a:lnTo>
                        <a:pt x="36" y="40"/>
                      </a:lnTo>
                      <a:lnTo>
                        <a:pt x="34" y="60"/>
                      </a:lnTo>
                      <a:lnTo>
                        <a:pt x="34" y="60"/>
                      </a:lnTo>
                      <a:lnTo>
                        <a:pt x="30" y="66"/>
                      </a:lnTo>
                      <a:lnTo>
                        <a:pt x="30" y="66"/>
                      </a:lnTo>
                      <a:lnTo>
                        <a:pt x="26" y="68"/>
                      </a:lnTo>
                      <a:lnTo>
                        <a:pt x="26" y="68"/>
                      </a:lnTo>
                      <a:lnTo>
                        <a:pt x="20" y="66"/>
                      </a:lnTo>
                      <a:lnTo>
                        <a:pt x="20" y="66"/>
                      </a:lnTo>
                      <a:lnTo>
                        <a:pt x="18" y="60"/>
                      </a:lnTo>
                      <a:lnTo>
                        <a:pt x="18" y="60"/>
                      </a:lnTo>
                      <a:lnTo>
                        <a:pt x="16" y="40"/>
                      </a:lnTo>
                      <a:lnTo>
                        <a:pt x="16" y="40"/>
                      </a:lnTo>
                      <a:lnTo>
                        <a:pt x="18" y="20"/>
                      </a:lnTo>
                      <a:lnTo>
                        <a:pt x="18" y="20"/>
                      </a:lnTo>
                      <a:lnTo>
                        <a:pt x="20" y="14"/>
                      </a:lnTo>
                      <a:lnTo>
                        <a:pt x="20" y="14"/>
                      </a:lnTo>
                      <a:lnTo>
                        <a:pt x="26" y="12"/>
                      </a:lnTo>
                      <a:lnTo>
                        <a:pt x="26" y="12"/>
                      </a:lnTo>
                      <a:lnTo>
                        <a:pt x="30" y="14"/>
                      </a:lnTo>
                      <a:lnTo>
                        <a:pt x="30" y="1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" pitchFamily="34" charset="0"/>
                  </a:endParaRPr>
                </a:p>
              </p:txBody>
            </p:sp>
            <p:sp>
              <p:nvSpPr>
                <p:cNvPr id="208" name="Freeform 24"/>
                <p:cNvSpPr>
                  <a:spLocks/>
                </p:cNvSpPr>
                <p:nvPr/>
              </p:nvSpPr>
              <p:spPr bwMode="auto">
                <a:xfrm>
                  <a:off x="5623564" y="5226648"/>
                  <a:ext cx="27411" cy="60914"/>
                </a:xfrm>
                <a:custGeom>
                  <a:avLst/>
                  <a:gdLst>
                    <a:gd name="T0" fmla="*/ 36 w 36"/>
                    <a:gd name="T1" fmla="*/ 0 h 80"/>
                    <a:gd name="T2" fmla="*/ 24 w 36"/>
                    <a:gd name="T3" fmla="*/ 0 h 80"/>
                    <a:gd name="T4" fmla="*/ 24 w 36"/>
                    <a:gd name="T5" fmla="*/ 0 h 80"/>
                    <a:gd name="T6" fmla="*/ 20 w 36"/>
                    <a:gd name="T7" fmla="*/ 6 h 80"/>
                    <a:gd name="T8" fmla="*/ 14 w 36"/>
                    <a:gd name="T9" fmla="*/ 12 h 80"/>
                    <a:gd name="T10" fmla="*/ 14 w 36"/>
                    <a:gd name="T11" fmla="*/ 12 h 80"/>
                    <a:gd name="T12" fmla="*/ 6 w 36"/>
                    <a:gd name="T13" fmla="*/ 18 h 80"/>
                    <a:gd name="T14" fmla="*/ 0 w 36"/>
                    <a:gd name="T15" fmla="*/ 20 h 80"/>
                    <a:gd name="T16" fmla="*/ 0 w 36"/>
                    <a:gd name="T17" fmla="*/ 34 h 80"/>
                    <a:gd name="T18" fmla="*/ 0 w 36"/>
                    <a:gd name="T19" fmla="*/ 34 h 80"/>
                    <a:gd name="T20" fmla="*/ 12 w 36"/>
                    <a:gd name="T21" fmla="*/ 30 h 80"/>
                    <a:gd name="T22" fmla="*/ 20 w 36"/>
                    <a:gd name="T23" fmla="*/ 22 h 80"/>
                    <a:gd name="T24" fmla="*/ 20 w 36"/>
                    <a:gd name="T25" fmla="*/ 80 h 80"/>
                    <a:gd name="T26" fmla="*/ 36 w 36"/>
                    <a:gd name="T27" fmla="*/ 80 h 80"/>
                    <a:gd name="T28" fmla="*/ 36 w 36"/>
                    <a:gd name="T29" fmla="*/ 0 h 80"/>
                    <a:gd name="T30" fmla="*/ 36 w 36"/>
                    <a:gd name="T31" fmla="*/ 0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6" h="80">
                      <a:moveTo>
                        <a:pt x="36" y="0"/>
                      </a:moveTo>
                      <a:lnTo>
                        <a:pt x="24" y="0"/>
                      </a:lnTo>
                      <a:lnTo>
                        <a:pt x="24" y="0"/>
                      </a:lnTo>
                      <a:lnTo>
                        <a:pt x="20" y="6"/>
                      </a:lnTo>
                      <a:lnTo>
                        <a:pt x="14" y="12"/>
                      </a:lnTo>
                      <a:lnTo>
                        <a:pt x="14" y="12"/>
                      </a:lnTo>
                      <a:lnTo>
                        <a:pt x="6" y="18"/>
                      </a:lnTo>
                      <a:lnTo>
                        <a:pt x="0" y="20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12" y="30"/>
                      </a:lnTo>
                      <a:lnTo>
                        <a:pt x="20" y="22"/>
                      </a:lnTo>
                      <a:lnTo>
                        <a:pt x="20" y="80"/>
                      </a:lnTo>
                      <a:lnTo>
                        <a:pt x="36" y="80"/>
                      </a:lnTo>
                      <a:lnTo>
                        <a:pt x="36" y="0"/>
                      </a:lnTo>
                      <a:lnTo>
                        <a:pt x="36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" pitchFamily="34" charset="0"/>
                  </a:endParaRPr>
                </a:p>
              </p:txBody>
            </p:sp>
            <p:sp>
              <p:nvSpPr>
                <p:cNvPr id="209" name="Freeform 25"/>
                <p:cNvSpPr>
                  <a:spLocks noEditPoints="1"/>
                </p:cNvSpPr>
                <p:nvPr/>
              </p:nvSpPr>
              <p:spPr bwMode="auto">
                <a:xfrm>
                  <a:off x="5734731" y="5226648"/>
                  <a:ext cx="41117" cy="62437"/>
                </a:xfrm>
                <a:custGeom>
                  <a:avLst/>
                  <a:gdLst>
                    <a:gd name="T0" fmla="*/ 8 w 54"/>
                    <a:gd name="T1" fmla="*/ 8 h 82"/>
                    <a:gd name="T2" fmla="*/ 8 w 54"/>
                    <a:gd name="T3" fmla="*/ 8 h 82"/>
                    <a:gd name="T4" fmla="*/ 6 w 54"/>
                    <a:gd name="T5" fmla="*/ 14 h 82"/>
                    <a:gd name="T6" fmla="*/ 2 w 54"/>
                    <a:gd name="T7" fmla="*/ 20 h 82"/>
                    <a:gd name="T8" fmla="*/ 0 w 54"/>
                    <a:gd name="T9" fmla="*/ 40 h 82"/>
                    <a:gd name="T10" fmla="*/ 0 w 54"/>
                    <a:gd name="T11" fmla="*/ 40 h 82"/>
                    <a:gd name="T12" fmla="*/ 2 w 54"/>
                    <a:gd name="T13" fmla="*/ 60 h 82"/>
                    <a:gd name="T14" fmla="*/ 4 w 54"/>
                    <a:gd name="T15" fmla="*/ 68 h 82"/>
                    <a:gd name="T16" fmla="*/ 8 w 54"/>
                    <a:gd name="T17" fmla="*/ 72 h 82"/>
                    <a:gd name="T18" fmla="*/ 8 w 54"/>
                    <a:gd name="T19" fmla="*/ 72 h 82"/>
                    <a:gd name="T20" fmla="*/ 12 w 54"/>
                    <a:gd name="T21" fmla="*/ 76 h 82"/>
                    <a:gd name="T22" fmla="*/ 16 w 54"/>
                    <a:gd name="T23" fmla="*/ 80 h 82"/>
                    <a:gd name="T24" fmla="*/ 22 w 54"/>
                    <a:gd name="T25" fmla="*/ 80 h 82"/>
                    <a:gd name="T26" fmla="*/ 28 w 54"/>
                    <a:gd name="T27" fmla="*/ 82 h 82"/>
                    <a:gd name="T28" fmla="*/ 28 w 54"/>
                    <a:gd name="T29" fmla="*/ 82 h 82"/>
                    <a:gd name="T30" fmla="*/ 38 w 54"/>
                    <a:gd name="T31" fmla="*/ 80 h 82"/>
                    <a:gd name="T32" fmla="*/ 42 w 54"/>
                    <a:gd name="T33" fmla="*/ 76 h 82"/>
                    <a:gd name="T34" fmla="*/ 46 w 54"/>
                    <a:gd name="T35" fmla="*/ 74 h 82"/>
                    <a:gd name="T36" fmla="*/ 46 w 54"/>
                    <a:gd name="T37" fmla="*/ 74 h 82"/>
                    <a:gd name="T38" fmla="*/ 48 w 54"/>
                    <a:gd name="T39" fmla="*/ 68 h 82"/>
                    <a:gd name="T40" fmla="*/ 52 w 54"/>
                    <a:gd name="T41" fmla="*/ 60 h 82"/>
                    <a:gd name="T42" fmla="*/ 54 w 54"/>
                    <a:gd name="T43" fmla="*/ 40 h 82"/>
                    <a:gd name="T44" fmla="*/ 54 w 54"/>
                    <a:gd name="T45" fmla="*/ 40 h 82"/>
                    <a:gd name="T46" fmla="*/ 52 w 54"/>
                    <a:gd name="T47" fmla="*/ 20 h 82"/>
                    <a:gd name="T48" fmla="*/ 48 w 54"/>
                    <a:gd name="T49" fmla="*/ 14 h 82"/>
                    <a:gd name="T50" fmla="*/ 46 w 54"/>
                    <a:gd name="T51" fmla="*/ 8 h 82"/>
                    <a:gd name="T52" fmla="*/ 46 w 54"/>
                    <a:gd name="T53" fmla="*/ 8 h 82"/>
                    <a:gd name="T54" fmla="*/ 42 w 54"/>
                    <a:gd name="T55" fmla="*/ 4 h 82"/>
                    <a:gd name="T56" fmla="*/ 38 w 54"/>
                    <a:gd name="T57" fmla="*/ 2 h 82"/>
                    <a:gd name="T58" fmla="*/ 28 w 54"/>
                    <a:gd name="T59" fmla="*/ 0 h 82"/>
                    <a:gd name="T60" fmla="*/ 28 w 54"/>
                    <a:gd name="T61" fmla="*/ 0 h 82"/>
                    <a:gd name="T62" fmla="*/ 16 w 54"/>
                    <a:gd name="T63" fmla="*/ 2 h 82"/>
                    <a:gd name="T64" fmla="*/ 12 w 54"/>
                    <a:gd name="T65" fmla="*/ 4 h 82"/>
                    <a:gd name="T66" fmla="*/ 8 w 54"/>
                    <a:gd name="T67" fmla="*/ 8 h 82"/>
                    <a:gd name="T68" fmla="*/ 8 w 54"/>
                    <a:gd name="T69" fmla="*/ 8 h 82"/>
                    <a:gd name="T70" fmla="*/ 8 w 54"/>
                    <a:gd name="T71" fmla="*/ 8 h 82"/>
                    <a:gd name="T72" fmla="*/ 32 w 54"/>
                    <a:gd name="T73" fmla="*/ 14 h 82"/>
                    <a:gd name="T74" fmla="*/ 32 w 54"/>
                    <a:gd name="T75" fmla="*/ 14 h 82"/>
                    <a:gd name="T76" fmla="*/ 36 w 54"/>
                    <a:gd name="T77" fmla="*/ 22 h 82"/>
                    <a:gd name="T78" fmla="*/ 36 w 54"/>
                    <a:gd name="T79" fmla="*/ 22 h 82"/>
                    <a:gd name="T80" fmla="*/ 38 w 54"/>
                    <a:gd name="T81" fmla="*/ 40 h 82"/>
                    <a:gd name="T82" fmla="*/ 38 w 54"/>
                    <a:gd name="T83" fmla="*/ 40 h 82"/>
                    <a:gd name="T84" fmla="*/ 36 w 54"/>
                    <a:gd name="T85" fmla="*/ 60 h 82"/>
                    <a:gd name="T86" fmla="*/ 36 w 54"/>
                    <a:gd name="T87" fmla="*/ 60 h 82"/>
                    <a:gd name="T88" fmla="*/ 32 w 54"/>
                    <a:gd name="T89" fmla="*/ 66 h 82"/>
                    <a:gd name="T90" fmla="*/ 32 w 54"/>
                    <a:gd name="T91" fmla="*/ 66 h 82"/>
                    <a:gd name="T92" fmla="*/ 28 w 54"/>
                    <a:gd name="T93" fmla="*/ 68 h 82"/>
                    <a:gd name="T94" fmla="*/ 28 w 54"/>
                    <a:gd name="T95" fmla="*/ 68 h 82"/>
                    <a:gd name="T96" fmla="*/ 22 w 54"/>
                    <a:gd name="T97" fmla="*/ 66 h 82"/>
                    <a:gd name="T98" fmla="*/ 22 w 54"/>
                    <a:gd name="T99" fmla="*/ 66 h 82"/>
                    <a:gd name="T100" fmla="*/ 18 w 54"/>
                    <a:gd name="T101" fmla="*/ 60 h 82"/>
                    <a:gd name="T102" fmla="*/ 18 w 54"/>
                    <a:gd name="T103" fmla="*/ 60 h 82"/>
                    <a:gd name="T104" fmla="*/ 18 w 54"/>
                    <a:gd name="T105" fmla="*/ 40 h 82"/>
                    <a:gd name="T106" fmla="*/ 18 w 54"/>
                    <a:gd name="T107" fmla="*/ 40 h 82"/>
                    <a:gd name="T108" fmla="*/ 18 w 54"/>
                    <a:gd name="T109" fmla="*/ 20 h 82"/>
                    <a:gd name="T110" fmla="*/ 18 w 54"/>
                    <a:gd name="T111" fmla="*/ 20 h 82"/>
                    <a:gd name="T112" fmla="*/ 22 w 54"/>
                    <a:gd name="T113" fmla="*/ 14 h 82"/>
                    <a:gd name="T114" fmla="*/ 22 w 54"/>
                    <a:gd name="T115" fmla="*/ 14 h 82"/>
                    <a:gd name="T116" fmla="*/ 28 w 54"/>
                    <a:gd name="T117" fmla="*/ 12 h 82"/>
                    <a:gd name="T118" fmla="*/ 28 w 54"/>
                    <a:gd name="T119" fmla="*/ 12 h 82"/>
                    <a:gd name="T120" fmla="*/ 32 w 54"/>
                    <a:gd name="T121" fmla="*/ 14 h 82"/>
                    <a:gd name="T122" fmla="*/ 32 w 54"/>
                    <a:gd name="T123" fmla="*/ 14 h 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54" h="82">
                      <a:moveTo>
                        <a:pt x="8" y="8"/>
                      </a:moveTo>
                      <a:lnTo>
                        <a:pt x="8" y="8"/>
                      </a:lnTo>
                      <a:lnTo>
                        <a:pt x="6" y="14"/>
                      </a:lnTo>
                      <a:lnTo>
                        <a:pt x="2" y="20"/>
                      </a:lnTo>
                      <a:lnTo>
                        <a:pt x="0" y="40"/>
                      </a:lnTo>
                      <a:lnTo>
                        <a:pt x="0" y="40"/>
                      </a:lnTo>
                      <a:lnTo>
                        <a:pt x="2" y="60"/>
                      </a:lnTo>
                      <a:lnTo>
                        <a:pt x="4" y="68"/>
                      </a:lnTo>
                      <a:lnTo>
                        <a:pt x="8" y="72"/>
                      </a:lnTo>
                      <a:lnTo>
                        <a:pt x="8" y="72"/>
                      </a:lnTo>
                      <a:lnTo>
                        <a:pt x="12" y="76"/>
                      </a:lnTo>
                      <a:lnTo>
                        <a:pt x="16" y="80"/>
                      </a:lnTo>
                      <a:lnTo>
                        <a:pt x="22" y="80"/>
                      </a:lnTo>
                      <a:lnTo>
                        <a:pt x="28" y="82"/>
                      </a:lnTo>
                      <a:lnTo>
                        <a:pt x="28" y="82"/>
                      </a:lnTo>
                      <a:lnTo>
                        <a:pt x="38" y="80"/>
                      </a:lnTo>
                      <a:lnTo>
                        <a:pt x="42" y="76"/>
                      </a:lnTo>
                      <a:lnTo>
                        <a:pt x="46" y="74"/>
                      </a:lnTo>
                      <a:lnTo>
                        <a:pt x="46" y="74"/>
                      </a:lnTo>
                      <a:lnTo>
                        <a:pt x="48" y="68"/>
                      </a:lnTo>
                      <a:lnTo>
                        <a:pt x="52" y="60"/>
                      </a:lnTo>
                      <a:lnTo>
                        <a:pt x="54" y="40"/>
                      </a:lnTo>
                      <a:lnTo>
                        <a:pt x="54" y="40"/>
                      </a:lnTo>
                      <a:lnTo>
                        <a:pt x="52" y="20"/>
                      </a:lnTo>
                      <a:lnTo>
                        <a:pt x="48" y="14"/>
                      </a:lnTo>
                      <a:lnTo>
                        <a:pt x="46" y="8"/>
                      </a:lnTo>
                      <a:lnTo>
                        <a:pt x="46" y="8"/>
                      </a:lnTo>
                      <a:lnTo>
                        <a:pt x="42" y="4"/>
                      </a:lnTo>
                      <a:lnTo>
                        <a:pt x="38" y="2"/>
                      </a:lnTo>
                      <a:lnTo>
                        <a:pt x="28" y="0"/>
                      </a:lnTo>
                      <a:lnTo>
                        <a:pt x="28" y="0"/>
                      </a:lnTo>
                      <a:lnTo>
                        <a:pt x="16" y="2"/>
                      </a:lnTo>
                      <a:lnTo>
                        <a:pt x="12" y="4"/>
                      </a:lnTo>
                      <a:lnTo>
                        <a:pt x="8" y="8"/>
                      </a:lnTo>
                      <a:lnTo>
                        <a:pt x="8" y="8"/>
                      </a:lnTo>
                      <a:lnTo>
                        <a:pt x="8" y="8"/>
                      </a:lnTo>
                      <a:close/>
                      <a:moveTo>
                        <a:pt x="32" y="14"/>
                      </a:moveTo>
                      <a:lnTo>
                        <a:pt x="32" y="14"/>
                      </a:lnTo>
                      <a:lnTo>
                        <a:pt x="36" y="22"/>
                      </a:lnTo>
                      <a:lnTo>
                        <a:pt x="36" y="22"/>
                      </a:lnTo>
                      <a:lnTo>
                        <a:pt x="38" y="40"/>
                      </a:lnTo>
                      <a:lnTo>
                        <a:pt x="38" y="40"/>
                      </a:lnTo>
                      <a:lnTo>
                        <a:pt x="36" y="60"/>
                      </a:lnTo>
                      <a:lnTo>
                        <a:pt x="36" y="60"/>
                      </a:lnTo>
                      <a:lnTo>
                        <a:pt x="32" y="66"/>
                      </a:lnTo>
                      <a:lnTo>
                        <a:pt x="32" y="66"/>
                      </a:lnTo>
                      <a:lnTo>
                        <a:pt x="28" y="68"/>
                      </a:lnTo>
                      <a:lnTo>
                        <a:pt x="28" y="68"/>
                      </a:lnTo>
                      <a:lnTo>
                        <a:pt x="22" y="66"/>
                      </a:lnTo>
                      <a:lnTo>
                        <a:pt x="22" y="66"/>
                      </a:lnTo>
                      <a:lnTo>
                        <a:pt x="18" y="60"/>
                      </a:lnTo>
                      <a:lnTo>
                        <a:pt x="18" y="60"/>
                      </a:lnTo>
                      <a:lnTo>
                        <a:pt x="18" y="40"/>
                      </a:lnTo>
                      <a:lnTo>
                        <a:pt x="18" y="40"/>
                      </a:lnTo>
                      <a:lnTo>
                        <a:pt x="18" y="20"/>
                      </a:lnTo>
                      <a:lnTo>
                        <a:pt x="18" y="20"/>
                      </a:lnTo>
                      <a:lnTo>
                        <a:pt x="22" y="14"/>
                      </a:lnTo>
                      <a:lnTo>
                        <a:pt x="22" y="14"/>
                      </a:lnTo>
                      <a:lnTo>
                        <a:pt x="28" y="12"/>
                      </a:lnTo>
                      <a:lnTo>
                        <a:pt x="28" y="12"/>
                      </a:lnTo>
                      <a:lnTo>
                        <a:pt x="32" y="14"/>
                      </a:lnTo>
                      <a:lnTo>
                        <a:pt x="32" y="1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" pitchFamily="34" charset="0"/>
                  </a:endParaRPr>
                </a:p>
              </p:txBody>
            </p:sp>
            <p:sp>
              <p:nvSpPr>
                <p:cNvPr id="210" name="Freeform 26"/>
                <p:cNvSpPr>
                  <a:spLocks/>
                </p:cNvSpPr>
                <p:nvPr/>
              </p:nvSpPr>
              <p:spPr bwMode="auto">
                <a:xfrm>
                  <a:off x="5851991" y="5226648"/>
                  <a:ext cx="27411" cy="60914"/>
                </a:xfrm>
                <a:custGeom>
                  <a:avLst/>
                  <a:gdLst>
                    <a:gd name="T0" fmla="*/ 36 w 36"/>
                    <a:gd name="T1" fmla="*/ 0 h 80"/>
                    <a:gd name="T2" fmla="*/ 24 w 36"/>
                    <a:gd name="T3" fmla="*/ 0 h 80"/>
                    <a:gd name="T4" fmla="*/ 24 w 36"/>
                    <a:gd name="T5" fmla="*/ 0 h 80"/>
                    <a:gd name="T6" fmla="*/ 20 w 36"/>
                    <a:gd name="T7" fmla="*/ 6 h 80"/>
                    <a:gd name="T8" fmla="*/ 14 w 36"/>
                    <a:gd name="T9" fmla="*/ 12 h 80"/>
                    <a:gd name="T10" fmla="*/ 14 w 36"/>
                    <a:gd name="T11" fmla="*/ 12 h 80"/>
                    <a:gd name="T12" fmla="*/ 8 w 36"/>
                    <a:gd name="T13" fmla="*/ 18 h 80"/>
                    <a:gd name="T14" fmla="*/ 0 w 36"/>
                    <a:gd name="T15" fmla="*/ 20 h 80"/>
                    <a:gd name="T16" fmla="*/ 0 w 36"/>
                    <a:gd name="T17" fmla="*/ 34 h 80"/>
                    <a:gd name="T18" fmla="*/ 0 w 36"/>
                    <a:gd name="T19" fmla="*/ 34 h 80"/>
                    <a:gd name="T20" fmla="*/ 12 w 36"/>
                    <a:gd name="T21" fmla="*/ 30 h 80"/>
                    <a:gd name="T22" fmla="*/ 20 w 36"/>
                    <a:gd name="T23" fmla="*/ 22 h 80"/>
                    <a:gd name="T24" fmla="*/ 20 w 36"/>
                    <a:gd name="T25" fmla="*/ 80 h 80"/>
                    <a:gd name="T26" fmla="*/ 36 w 36"/>
                    <a:gd name="T27" fmla="*/ 80 h 80"/>
                    <a:gd name="T28" fmla="*/ 36 w 36"/>
                    <a:gd name="T29" fmla="*/ 0 h 80"/>
                    <a:gd name="T30" fmla="*/ 36 w 36"/>
                    <a:gd name="T31" fmla="*/ 0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6" h="80">
                      <a:moveTo>
                        <a:pt x="36" y="0"/>
                      </a:moveTo>
                      <a:lnTo>
                        <a:pt x="24" y="0"/>
                      </a:lnTo>
                      <a:lnTo>
                        <a:pt x="24" y="0"/>
                      </a:lnTo>
                      <a:lnTo>
                        <a:pt x="20" y="6"/>
                      </a:lnTo>
                      <a:lnTo>
                        <a:pt x="14" y="12"/>
                      </a:lnTo>
                      <a:lnTo>
                        <a:pt x="14" y="12"/>
                      </a:lnTo>
                      <a:lnTo>
                        <a:pt x="8" y="18"/>
                      </a:lnTo>
                      <a:lnTo>
                        <a:pt x="0" y="20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12" y="30"/>
                      </a:lnTo>
                      <a:lnTo>
                        <a:pt x="20" y="22"/>
                      </a:lnTo>
                      <a:lnTo>
                        <a:pt x="20" y="80"/>
                      </a:lnTo>
                      <a:lnTo>
                        <a:pt x="36" y="80"/>
                      </a:lnTo>
                      <a:lnTo>
                        <a:pt x="36" y="0"/>
                      </a:lnTo>
                      <a:lnTo>
                        <a:pt x="36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" pitchFamily="34" charset="0"/>
                  </a:endParaRPr>
                </a:p>
              </p:txBody>
            </p:sp>
            <p:sp>
              <p:nvSpPr>
                <p:cNvPr id="211" name="Freeform 27"/>
                <p:cNvSpPr>
                  <a:spLocks noEditPoints="1"/>
                </p:cNvSpPr>
                <p:nvPr/>
              </p:nvSpPr>
              <p:spPr bwMode="auto">
                <a:xfrm>
                  <a:off x="5963158" y="5226648"/>
                  <a:ext cx="39594" cy="62437"/>
                </a:xfrm>
                <a:custGeom>
                  <a:avLst/>
                  <a:gdLst>
                    <a:gd name="T0" fmla="*/ 8 w 52"/>
                    <a:gd name="T1" fmla="*/ 8 h 82"/>
                    <a:gd name="T2" fmla="*/ 8 w 52"/>
                    <a:gd name="T3" fmla="*/ 8 h 82"/>
                    <a:gd name="T4" fmla="*/ 4 w 52"/>
                    <a:gd name="T5" fmla="*/ 14 h 82"/>
                    <a:gd name="T6" fmla="*/ 2 w 52"/>
                    <a:gd name="T7" fmla="*/ 20 h 82"/>
                    <a:gd name="T8" fmla="*/ 0 w 52"/>
                    <a:gd name="T9" fmla="*/ 40 h 82"/>
                    <a:gd name="T10" fmla="*/ 0 w 52"/>
                    <a:gd name="T11" fmla="*/ 40 h 82"/>
                    <a:gd name="T12" fmla="*/ 2 w 52"/>
                    <a:gd name="T13" fmla="*/ 60 h 82"/>
                    <a:gd name="T14" fmla="*/ 4 w 52"/>
                    <a:gd name="T15" fmla="*/ 68 h 82"/>
                    <a:gd name="T16" fmla="*/ 8 w 52"/>
                    <a:gd name="T17" fmla="*/ 72 h 82"/>
                    <a:gd name="T18" fmla="*/ 8 w 52"/>
                    <a:gd name="T19" fmla="*/ 72 h 82"/>
                    <a:gd name="T20" fmla="*/ 12 w 52"/>
                    <a:gd name="T21" fmla="*/ 76 h 82"/>
                    <a:gd name="T22" fmla="*/ 16 w 52"/>
                    <a:gd name="T23" fmla="*/ 80 h 82"/>
                    <a:gd name="T24" fmla="*/ 20 w 52"/>
                    <a:gd name="T25" fmla="*/ 80 h 82"/>
                    <a:gd name="T26" fmla="*/ 26 w 52"/>
                    <a:gd name="T27" fmla="*/ 82 h 82"/>
                    <a:gd name="T28" fmla="*/ 26 w 52"/>
                    <a:gd name="T29" fmla="*/ 82 h 82"/>
                    <a:gd name="T30" fmla="*/ 36 w 52"/>
                    <a:gd name="T31" fmla="*/ 80 h 82"/>
                    <a:gd name="T32" fmla="*/ 40 w 52"/>
                    <a:gd name="T33" fmla="*/ 76 h 82"/>
                    <a:gd name="T34" fmla="*/ 44 w 52"/>
                    <a:gd name="T35" fmla="*/ 74 h 82"/>
                    <a:gd name="T36" fmla="*/ 44 w 52"/>
                    <a:gd name="T37" fmla="*/ 74 h 82"/>
                    <a:gd name="T38" fmla="*/ 48 w 52"/>
                    <a:gd name="T39" fmla="*/ 68 h 82"/>
                    <a:gd name="T40" fmla="*/ 50 w 52"/>
                    <a:gd name="T41" fmla="*/ 60 h 82"/>
                    <a:gd name="T42" fmla="*/ 52 w 52"/>
                    <a:gd name="T43" fmla="*/ 40 h 82"/>
                    <a:gd name="T44" fmla="*/ 52 w 52"/>
                    <a:gd name="T45" fmla="*/ 40 h 82"/>
                    <a:gd name="T46" fmla="*/ 50 w 52"/>
                    <a:gd name="T47" fmla="*/ 20 h 82"/>
                    <a:gd name="T48" fmla="*/ 48 w 52"/>
                    <a:gd name="T49" fmla="*/ 14 h 82"/>
                    <a:gd name="T50" fmla="*/ 44 w 52"/>
                    <a:gd name="T51" fmla="*/ 8 h 82"/>
                    <a:gd name="T52" fmla="*/ 44 w 52"/>
                    <a:gd name="T53" fmla="*/ 8 h 82"/>
                    <a:gd name="T54" fmla="*/ 42 w 52"/>
                    <a:gd name="T55" fmla="*/ 4 h 82"/>
                    <a:gd name="T56" fmla="*/ 36 w 52"/>
                    <a:gd name="T57" fmla="*/ 2 h 82"/>
                    <a:gd name="T58" fmla="*/ 26 w 52"/>
                    <a:gd name="T59" fmla="*/ 0 h 82"/>
                    <a:gd name="T60" fmla="*/ 26 w 52"/>
                    <a:gd name="T61" fmla="*/ 0 h 82"/>
                    <a:gd name="T62" fmla="*/ 16 w 52"/>
                    <a:gd name="T63" fmla="*/ 2 h 82"/>
                    <a:gd name="T64" fmla="*/ 12 w 52"/>
                    <a:gd name="T65" fmla="*/ 4 h 82"/>
                    <a:gd name="T66" fmla="*/ 8 w 52"/>
                    <a:gd name="T67" fmla="*/ 8 h 82"/>
                    <a:gd name="T68" fmla="*/ 8 w 52"/>
                    <a:gd name="T69" fmla="*/ 8 h 82"/>
                    <a:gd name="T70" fmla="*/ 8 w 52"/>
                    <a:gd name="T71" fmla="*/ 8 h 82"/>
                    <a:gd name="T72" fmla="*/ 32 w 52"/>
                    <a:gd name="T73" fmla="*/ 14 h 82"/>
                    <a:gd name="T74" fmla="*/ 32 w 52"/>
                    <a:gd name="T75" fmla="*/ 14 h 82"/>
                    <a:gd name="T76" fmla="*/ 34 w 52"/>
                    <a:gd name="T77" fmla="*/ 22 h 82"/>
                    <a:gd name="T78" fmla="*/ 34 w 52"/>
                    <a:gd name="T79" fmla="*/ 22 h 82"/>
                    <a:gd name="T80" fmla="*/ 36 w 52"/>
                    <a:gd name="T81" fmla="*/ 40 h 82"/>
                    <a:gd name="T82" fmla="*/ 36 w 52"/>
                    <a:gd name="T83" fmla="*/ 40 h 82"/>
                    <a:gd name="T84" fmla="*/ 34 w 52"/>
                    <a:gd name="T85" fmla="*/ 60 h 82"/>
                    <a:gd name="T86" fmla="*/ 34 w 52"/>
                    <a:gd name="T87" fmla="*/ 60 h 82"/>
                    <a:gd name="T88" fmla="*/ 32 w 52"/>
                    <a:gd name="T89" fmla="*/ 66 h 82"/>
                    <a:gd name="T90" fmla="*/ 32 w 52"/>
                    <a:gd name="T91" fmla="*/ 66 h 82"/>
                    <a:gd name="T92" fmla="*/ 26 w 52"/>
                    <a:gd name="T93" fmla="*/ 68 h 82"/>
                    <a:gd name="T94" fmla="*/ 26 w 52"/>
                    <a:gd name="T95" fmla="*/ 68 h 82"/>
                    <a:gd name="T96" fmla="*/ 22 w 52"/>
                    <a:gd name="T97" fmla="*/ 66 h 82"/>
                    <a:gd name="T98" fmla="*/ 22 w 52"/>
                    <a:gd name="T99" fmla="*/ 66 h 82"/>
                    <a:gd name="T100" fmla="*/ 18 w 52"/>
                    <a:gd name="T101" fmla="*/ 60 h 82"/>
                    <a:gd name="T102" fmla="*/ 18 w 52"/>
                    <a:gd name="T103" fmla="*/ 60 h 82"/>
                    <a:gd name="T104" fmla="*/ 16 w 52"/>
                    <a:gd name="T105" fmla="*/ 40 h 82"/>
                    <a:gd name="T106" fmla="*/ 16 w 52"/>
                    <a:gd name="T107" fmla="*/ 40 h 82"/>
                    <a:gd name="T108" fmla="*/ 18 w 52"/>
                    <a:gd name="T109" fmla="*/ 20 h 82"/>
                    <a:gd name="T110" fmla="*/ 18 w 52"/>
                    <a:gd name="T111" fmla="*/ 20 h 82"/>
                    <a:gd name="T112" fmla="*/ 22 w 52"/>
                    <a:gd name="T113" fmla="*/ 14 h 82"/>
                    <a:gd name="T114" fmla="*/ 22 w 52"/>
                    <a:gd name="T115" fmla="*/ 14 h 82"/>
                    <a:gd name="T116" fmla="*/ 26 w 52"/>
                    <a:gd name="T117" fmla="*/ 12 h 82"/>
                    <a:gd name="T118" fmla="*/ 26 w 52"/>
                    <a:gd name="T119" fmla="*/ 12 h 82"/>
                    <a:gd name="T120" fmla="*/ 32 w 52"/>
                    <a:gd name="T121" fmla="*/ 14 h 82"/>
                    <a:gd name="T122" fmla="*/ 32 w 52"/>
                    <a:gd name="T123" fmla="*/ 14 h 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52" h="82">
                      <a:moveTo>
                        <a:pt x="8" y="8"/>
                      </a:moveTo>
                      <a:lnTo>
                        <a:pt x="8" y="8"/>
                      </a:lnTo>
                      <a:lnTo>
                        <a:pt x="4" y="14"/>
                      </a:lnTo>
                      <a:lnTo>
                        <a:pt x="2" y="20"/>
                      </a:lnTo>
                      <a:lnTo>
                        <a:pt x="0" y="40"/>
                      </a:lnTo>
                      <a:lnTo>
                        <a:pt x="0" y="40"/>
                      </a:lnTo>
                      <a:lnTo>
                        <a:pt x="2" y="60"/>
                      </a:lnTo>
                      <a:lnTo>
                        <a:pt x="4" y="68"/>
                      </a:lnTo>
                      <a:lnTo>
                        <a:pt x="8" y="72"/>
                      </a:lnTo>
                      <a:lnTo>
                        <a:pt x="8" y="72"/>
                      </a:lnTo>
                      <a:lnTo>
                        <a:pt x="12" y="76"/>
                      </a:lnTo>
                      <a:lnTo>
                        <a:pt x="16" y="80"/>
                      </a:lnTo>
                      <a:lnTo>
                        <a:pt x="20" y="80"/>
                      </a:lnTo>
                      <a:lnTo>
                        <a:pt x="26" y="82"/>
                      </a:lnTo>
                      <a:lnTo>
                        <a:pt x="26" y="82"/>
                      </a:lnTo>
                      <a:lnTo>
                        <a:pt x="36" y="80"/>
                      </a:lnTo>
                      <a:lnTo>
                        <a:pt x="40" y="76"/>
                      </a:lnTo>
                      <a:lnTo>
                        <a:pt x="44" y="74"/>
                      </a:lnTo>
                      <a:lnTo>
                        <a:pt x="44" y="74"/>
                      </a:lnTo>
                      <a:lnTo>
                        <a:pt x="48" y="68"/>
                      </a:lnTo>
                      <a:lnTo>
                        <a:pt x="50" y="60"/>
                      </a:lnTo>
                      <a:lnTo>
                        <a:pt x="52" y="40"/>
                      </a:lnTo>
                      <a:lnTo>
                        <a:pt x="52" y="40"/>
                      </a:lnTo>
                      <a:lnTo>
                        <a:pt x="50" y="20"/>
                      </a:lnTo>
                      <a:lnTo>
                        <a:pt x="48" y="14"/>
                      </a:lnTo>
                      <a:lnTo>
                        <a:pt x="44" y="8"/>
                      </a:lnTo>
                      <a:lnTo>
                        <a:pt x="44" y="8"/>
                      </a:lnTo>
                      <a:lnTo>
                        <a:pt x="42" y="4"/>
                      </a:lnTo>
                      <a:lnTo>
                        <a:pt x="36" y="2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16" y="2"/>
                      </a:lnTo>
                      <a:lnTo>
                        <a:pt x="12" y="4"/>
                      </a:lnTo>
                      <a:lnTo>
                        <a:pt x="8" y="8"/>
                      </a:lnTo>
                      <a:lnTo>
                        <a:pt x="8" y="8"/>
                      </a:lnTo>
                      <a:lnTo>
                        <a:pt x="8" y="8"/>
                      </a:lnTo>
                      <a:close/>
                      <a:moveTo>
                        <a:pt x="32" y="14"/>
                      </a:moveTo>
                      <a:lnTo>
                        <a:pt x="32" y="14"/>
                      </a:lnTo>
                      <a:lnTo>
                        <a:pt x="34" y="22"/>
                      </a:lnTo>
                      <a:lnTo>
                        <a:pt x="34" y="22"/>
                      </a:lnTo>
                      <a:lnTo>
                        <a:pt x="36" y="40"/>
                      </a:lnTo>
                      <a:lnTo>
                        <a:pt x="36" y="40"/>
                      </a:lnTo>
                      <a:lnTo>
                        <a:pt x="34" y="60"/>
                      </a:lnTo>
                      <a:lnTo>
                        <a:pt x="34" y="60"/>
                      </a:lnTo>
                      <a:lnTo>
                        <a:pt x="32" y="66"/>
                      </a:lnTo>
                      <a:lnTo>
                        <a:pt x="32" y="66"/>
                      </a:lnTo>
                      <a:lnTo>
                        <a:pt x="26" y="68"/>
                      </a:lnTo>
                      <a:lnTo>
                        <a:pt x="26" y="68"/>
                      </a:lnTo>
                      <a:lnTo>
                        <a:pt x="22" y="66"/>
                      </a:lnTo>
                      <a:lnTo>
                        <a:pt x="22" y="66"/>
                      </a:lnTo>
                      <a:lnTo>
                        <a:pt x="18" y="60"/>
                      </a:lnTo>
                      <a:lnTo>
                        <a:pt x="18" y="60"/>
                      </a:lnTo>
                      <a:lnTo>
                        <a:pt x="16" y="40"/>
                      </a:lnTo>
                      <a:lnTo>
                        <a:pt x="16" y="40"/>
                      </a:lnTo>
                      <a:lnTo>
                        <a:pt x="18" y="20"/>
                      </a:lnTo>
                      <a:lnTo>
                        <a:pt x="18" y="20"/>
                      </a:lnTo>
                      <a:lnTo>
                        <a:pt x="22" y="14"/>
                      </a:lnTo>
                      <a:lnTo>
                        <a:pt x="22" y="14"/>
                      </a:lnTo>
                      <a:lnTo>
                        <a:pt x="26" y="12"/>
                      </a:lnTo>
                      <a:lnTo>
                        <a:pt x="26" y="12"/>
                      </a:lnTo>
                      <a:lnTo>
                        <a:pt x="32" y="14"/>
                      </a:lnTo>
                      <a:lnTo>
                        <a:pt x="32" y="1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" pitchFamily="34" charset="0"/>
                  </a:endParaRPr>
                </a:p>
              </p:txBody>
            </p:sp>
            <p:sp>
              <p:nvSpPr>
                <p:cNvPr id="212" name="Freeform 51"/>
                <p:cNvSpPr>
                  <a:spLocks/>
                </p:cNvSpPr>
                <p:nvPr/>
              </p:nvSpPr>
              <p:spPr bwMode="auto">
                <a:xfrm>
                  <a:off x="5504713" y="5361291"/>
                  <a:ext cx="25888" cy="60914"/>
                </a:xfrm>
                <a:custGeom>
                  <a:avLst/>
                  <a:gdLst>
                    <a:gd name="T0" fmla="*/ 34 w 34"/>
                    <a:gd name="T1" fmla="*/ 0 h 80"/>
                    <a:gd name="T2" fmla="*/ 22 w 34"/>
                    <a:gd name="T3" fmla="*/ 0 h 80"/>
                    <a:gd name="T4" fmla="*/ 22 w 34"/>
                    <a:gd name="T5" fmla="*/ 0 h 80"/>
                    <a:gd name="T6" fmla="*/ 18 w 34"/>
                    <a:gd name="T7" fmla="*/ 6 h 80"/>
                    <a:gd name="T8" fmla="*/ 12 w 34"/>
                    <a:gd name="T9" fmla="*/ 12 h 80"/>
                    <a:gd name="T10" fmla="*/ 12 w 34"/>
                    <a:gd name="T11" fmla="*/ 12 h 80"/>
                    <a:gd name="T12" fmla="*/ 6 w 34"/>
                    <a:gd name="T13" fmla="*/ 16 h 80"/>
                    <a:gd name="T14" fmla="*/ 0 w 34"/>
                    <a:gd name="T15" fmla="*/ 20 h 80"/>
                    <a:gd name="T16" fmla="*/ 0 w 34"/>
                    <a:gd name="T17" fmla="*/ 34 h 80"/>
                    <a:gd name="T18" fmla="*/ 0 w 34"/>
                    <a:gd name="T19" fmla="*/ 34 h 80"/>
                    <a:gd name="T20" fmla="*/ 10 w 34"/>
                    <a:gd name="T21" fmla="*/ 28 h 80"/>
                    <a:gd name="T22" fmla="*/ 20 w 34"/>
                    <a:gd name="T23" fmla="*/ 22 h 80"/>
                    <a:gd name="T24" fmla="*/ 20 w 34"/>
                    <a:gd name="T25" fmla="*/ 80 h 80"/>
                    <a:gd name="T26" fmla="*/ 34 w 34"/>
                    <a:gd name="T27" fmla="*/ 80 h 80"/>
                    <a:gd name="T28" fmla="*/ 34 w 34"/>
                    <a:gd name="T29" fmla="*/ 0 h 80"/>
                    <a:gd name="T30" fmla="*/ 34 w 34"/>
                    <a:gd name="T31" fmla="*/ 0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4" h="80">
                      <a:moveTo>
                        <a:pt x="34" y="0"/>
                      </a:move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18" y="6"/>
                      </a:lnTo>
                      <a:lnTo>
                        <a:pt x="12" y="12"/>
                      </a:lnTo>
                      <a:lnTo>
                        <a:pt x="12" y="12"/>
                      </a:lnTo>
                      <a:lnTo>
                        <a:pt x="6" y="16"/>
                      </a:lnTo>
                      <a:lnTo>
                        <a:pt x="0" y="20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10" y="28"/>
                      </a:lnTo>
                      <a:lnTo>
                        <a:pt x="20" y="22"/>
                      </a:lnTo>
                      <a:lnTo>
                        <a:pt x="20" y="80"/>
                      </a:lnTo>
                      <a:lnTo>
                        <a:pt x="34" y="80"/>
                      </a:lnTo>
                      <a:lnTo>
                        <a:pt x="34" y="0"/>
                      </a:lnTo>
                      <a:lnTo>
                        <a:pt x="34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" pitchFamily="34" charset="0"/>
                  </a:endParaRPr>
                </a:p>
              </p:txBody>
            </p:sp>
            <p:sp>
              <p:nvSpPr>
                <p:cNvPr id="213" name="Freeform 52"/>
                <p:cNvSpPr>
                  <a:spLocks noEditPoints="1"/>
                </p:cNvSpPr>
                <p:nvPr/>
              </p:nvSpPr>
              <p:spPr bwMode="auto">
                <a:xfrm>
                  <a:off x="5615881" y="5361291"/>
                  <a:ext cx="39594" cy="62437"/>
                </a:xfrm>
                <a:custGeom>
                  <a:avLst/>
                  <a:gdLst>
                    <a:gd name="T0" fmla="*/ 8 w 52"/>
                    <a:gd name="T1" fmla="*/ 8 h 82"/>
                    <a:gd name="T2" fmla="*/ 8 w 52"/>
                    <a:gd name="T3" fmla="*/ 8 h 82"/>
                    <a:gd name="T4" fmla="*/ 4 w 52"/>
                    <a:gd name="T5" fmla="*/ 14 h 82"/>
                    <a:gd name="T6" fmla="*/ 2 w 52"/>
                    <a:gd name="T7" fmla="*/ 20 h 82"/>
                    <a:gd name="T8" fmla="*/ 0 w 52"/>
                    <a:gd name="T9" fmla="*/ 40 h 82"/>
                    <a:gd name="T10" fmla="*/ 0 w 52"/>
                    <a:gd name="T11" fmla="*/ 40 h 82"/>
                    <a:gd name="T12" fmla="*/ 2 w 52"/>
                    <a:gd name="T13" fmla="*/ 60 h 82"/>
                    <a:gd name="T14" fmla="*/ 4 w 52"/>
                    <a:gd name="T15" fmla="*/ 66 h 82"/>
                    <a:gd name="T16" fmla="*/ 8 w 52"/>
                    <a:gd name="T17" fmla="*/ 72 h 82"/>
                    <a:gd name="T18" fmla="*/ 8 w 52"/>
                    <a:gd name="T19" fmla="*/ 72 h 82"/>
                    <a:gd name="T20" fmla="*/ 12 w 52"/>
                    <a:gd name="T21" fmla="*/ 76 h 82"/>
                    <a:gd name="T22" fmla="*/ 16 w 52"/>
                    <a:gd name="T23" fmla="*/ 78 h 82"/>
                    <a:gd name="T24" fmla="*/ 20 w 52"/>
                    <a:gd name="T25" fmla="*/ 80 h 82"/>
                    <a:gd name="T26" fmla="*/ 26 w 52"/>
                    <a:gd name="T27" fmla="*/ 82 h 82"/>
                    <a:gd name="T28" fmla="*/ 26 w 52"/>
                    <a:gd name="T29" fmla="*/ 82 h 82"/>
                    <a:gd name="T30" fmla="*/ 36 w 52"/>
                    <a:gd name="T31" fmla="*/ 80 h 82"/>
                    <a:gd name="T32" fmla="*/ 40 w 52"/>
                    <a:gd name="T33" fmla="*/ 76 h 82"/>
                    <a:gd name="T34" fmla="*/ 44 w 52"/>
                    <a:gd name="T35" fmla="*/ 72 h 82"/>
                    <a:gd name="T36" fmla="*/ 44 w 52"/>
                    <a:gd name="T37" fmla="*/ 72 h 82"/>
                    <a:gd name="T38" fmla="*/ 48 w 52"/>
                    <a:gd name="T39" fmla="*/ 68 h 82"/>
                    <a:gd name="T40" fmla="*/ 50 w 52"/>
                    <a:gd name="T41" fmla="*/ 60 h 82"/>
                    <a:gd name="T42" fmla="*/ 52 w 52"/>
                    <a:gd name="T43" fmla="*/ 40 h 82"/>
                    <a:gd name="T44" fmla="*/ 52 w 52"/>
                    <a:gd name="T45" fmla="*/ 40 h 82"/>
                    <a:gd name="T46" fmla="*/ 50 w 52"/>
                    <a:gd name="T47" fmla="*/ 20 h 82"/>
                    <a:gd name="T48" fmla="*/ 48 w 52"/>
                    <a:gd name="T49" fmla="*/ 14 h 82"/>
                    <a:gd name="T50" fmla="*/ 44 w 52"/>
                    <a:gd name="T51" fmla="*/ 8 h 82"/>
                    <a:gd name="T52" fmla="*/ 44 w 52"/>
                    <a:gd name="T53" fmla="*/ 8 h 82"/>
                    <a:gd name="T54" fmla="*/ 40 w 52"/>
                    <a:gd name="T55" fmla="*/ 4 h 82"/>
                    <a:gd name="T56" fmla="*/ 36 w 52"/>
                    <a:gd name="T57" fmla="*/ 2 h 82"/>
                    <a:gd name="T58" fmla="*/ 26 w 52"/>
                    <a:gd name="T59" fmla="*/ 0 h 82"/>
                    <a:gd name="T60" fmla="*/ 26 w 52"/>
                    <a:gd name="T61" fmla="*/ 0 h 82"/>
                    <a:gd name="T62" fmla="*/ 16 w 52"/>
                    <a:gd name="T63" fmla="*/ 2 h 82"/>
                    <a:gd name="T64" fmla="*/ 12 w 52"/>
                    <a:gd name="T65" fmla="*/ 4 h 82"/>
                    <a:gd name="T66" fmla="*/ 8 w 52"/>
                    <a:gd name="T67" fmla="*/ 8 h 82"/>
                    <a:gd name="T68" fmla="*/ 8 w 52"/>
                    <a:gd name="T69" fmla="*/ 8 h 82"/>
                    <a:gd name="T70" fmla="*/ 8 w 52"/>
                    <a:gd name="T71" fmla="*/ 8 h 82"/>
                    <a:gd name="T72" fmla="*/ 32 w 52"/>
                    <a:gd name="T73" fmla="*/ 14 h 82"/>
                    <a:gd name="T74" fmla="*/ 32 w 52"/>
                    <a:gd name="T75" fmla="*/ 14 h 82"/>
                    <a:gd name="T76" fmla="*/ 34 w 52"/>
                    <a:gd name="T77" fmla="*/ 20 h 82"/>
                    <a:gd name="T78" fmla="*/ 34 w 52"/>
                    <a:gd name="T79" fmla="*/ 20 h 82"/>
                    <a:gd name="T80" fmla="*/ 36 w 52"/>
                    <a:gd name="T81" fmla="*/ 40 h 82"/>
                    <a:gd name="T82" fmla="*/ 36 w 52"/>
                    <a:gd name="T83" fmla="*/ 40 h 82"/>
                    <a:gd name="T84" fmla="*/ 34 w 52"/>
                    <a:gd name="T85" fmla="*/ 60 h 82"/>
                    <a:gd name="T86" fmla="*/ 34 w 52"/>
                    <a:gd name="T87" fmla="*/ 60 h 82"/>
                    <a:gd name="T88" fmla="*/ 32 w 52"/>
                    <a:gd name="T89" fmla="*/ 66 h 82"/>
                    <a:gd name="T90" fmla="*/ 32 w 52"/>
                    <a:gd name="T91" fmla="*/ 66 h 82"/>
                    <a:gd name="T92" fmla="*/ 26 w 52"/>
                    <a:gd name="T93" fmla="*/ 68 h 82"/>
                    <a:gd name="T94" fmla="*/ 26 w 52"/>
                    <a:gd name="T95" fmla="*/ 68 h 82"/>
                    <a:gd name="T96" fmla="*/ 22 w 52"/>
                    <a:gd name="T97" fmla="*/ 66 h 82"/>
                    <a:gd name="T98" fmla="*/ 22 w 52"/>
                    <a:gd name="T99" fmla="*/ 66 h 82"/>
                    <a:gd name="T100" fmla="*/ 18 w 52"/>
                    <a:gd name="T101" fmla="*/ 60 h 82"/>
                    <a:gd name="T102" fmla="*/ 18 w 52"/>
                    <a:gd name="T103" fmla="*/ 60 h 82"/>
                    <a:gd name="T104" fmla="*/ 16 w 52"/>
                    <a:gd name="T105" fmla="*/ 40 h 82"/>
                    <a:gd name="T106" fmla="*/ 16 w 52"/>
                    <a:gd name="T107" fmla="*/ 40 h 82"/>
                    <a:gd name="T108" fmla="*/ 18 w 52"/>
                    <a:gd name="T109" fmla="*/ 20 h 82"/>
                    <a:gd name="T110" fmla="*/ 18 w 52"/>
                    <a:gd name="T111" fmla="*/ 20 h 82"/>
                    <a:gd name="T112" fmla="*/ 22 w 52"/>
                    <a:gd name="T113" fmla="*/ 14 h 82"/>
                    <a:gd name="T114" fmla="*/ 22 w 52"/>
                    <a:gd name="T115" fmla="*/ 14 h 82"/>
                    <a:gd name="T116" fmla="*/ 26 w 52"/>
                    <a:gd name="T117" fmla="*/ 12 h 82"/>
                    <a:gd name="T118" fmla="*/ 26 w 52"/>
                    <a:gd name="T119" fmla="*/ 12 h 82"/>
                    <a:gd name="T120" fmla="*/ 32 w 52"/>
                    <a:gd name="T121" fmla="*/ 14 h 82"/>
                    <a:gd name="T122" fmla="*/ 32 w 52"/>
                    <a:gd name="T123" fmla="*/ 14 h 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52" h="82">
                      <a:moveTo>
                        <a:pt x="8" y="8"/>
                      </a:moveTo>
                      <a:lnTo>
                        <a:pt x="8" y="8"/>
                      </a:lnTo>
                      <a:lnTo>
                        <a:pt x="4" y="14"/>
                      </a:lnTo>
                      <a:lnTo>
                        <a:pt x="2" y="20"/>
                      </a:lnTo>
                      <a:lnTo>
                        <a:pt x="0" y="40"/>
                      </a:lnTo>
                      <a:lnTo>
                        <a:pt x="0" y="40"/>
                      </a:lnTo>
                      <a:lnTo>
                        <a:pt x="2" y="60"/>
                      </a:lnTo>
                      <a:lnTo>
                        <a:pt x="4" y="66"/>
                      </a:lnTo>
                      <a:lnTo>
                        <a:pt x="8" y="72"/>
                      </a:lnTo>
                      <a:lnTo>
                        <a:pt x="8" y="72"/>
                      </a:lnTo>
                      <a:lnTo>
                        <a:pt x="12" y="76"/>
                      </a:lnTo>
                      <a:lnTo>
                        <a:pt x="16" y="78"/>
                      </a:lnTo>
                      <a:lnTo>
                        <a:pt x="20" y="80"/>
                      </a:lnTo>
                      <a:lnTo>
                        <a:pt x="26" y="82"/>
                      </a:lnTo>
                      <a:lnTo>
                        <a:pt x="26" y="82"/>
                      </a:lnTo>
                      <a:lnTo>
                        <a:pt x="36" y="80"/>
                      </a:lnTo>
                      <a:lnTo>
                        <a:pt x="40" y="76"/>
                      </a:lnTo>
                      <a:lnTo>
                        <a:pt x="44" y="72"/>
                      </a:lnTo>
                      <a:lnTo>
                        <a:pt x="44" y="72"/>
                      </a:lnTo>
                      <a:lnTo>
                        <a:pt x="48" y="68"/>
                      </a:lnTo>
                      <a:lnTo>
                        <a:pt x="50" y="60"/>
                      </a:lnTo>
                      <a:lnTo>
                        <a:pt x="52" y="40"/>
                      </a:lnTo>
                      <a:lnTo>
                        <a:pt x="52" y="40"/>
                      </a:lnTo>
                      <a:lnTo>
                        <a:pt x="50" y="20"/>
                      </a:lnTo>
                      <a:lnTo>
                        <a:pt x="48" y="14"/>
                      </a:lnTo>
                      <a:lnTo>
                        <a:pt x="44" y="8"/>
                      </a:lnTo>
                      <a:lnTo>
                        <a:pt x="44" y="8"/>
                      </a:lnTo>
                      <a:lnTo>
                        <a:pt x="40" y="4"/>
                      </a:lnTo>
                      <a:lnTo>
                        <a:pt x="36" y="2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16" y="2"/>
                      </a:lnTo>
                      <a:lnTo>
                        <a:pt x="12" y="4"/>
                      </a:lnTo>
                      <a:lnTo>
                        <a:pt x="8" y="8"/>
                      </a:lnTo>
                      <a:lnTo>
                        <a:pt x="8" y="8"/>
                      </a:lnTo>
                      <a:lnTo>
                        <a:pt x="8" y="8"/>
                      </a:lnTo>
                      <a:close/>
                      <a:moveTo>
                        <a:pt x="32" y="14"/>
                      </a:moveTo>
                      <a:lnTo>
                        <a:pt x="32" y="14"/>
                      </a:lnTo>
                      <a:lnTo>
                        <a:pt x="34" y="20"/>
                      </a:lnTo>
                      <a:lnTo>
                        <a:pt x="34" y="20"/>
                      </a:lnTo>
                      <a:lnTo>
                        <a:pt x="36" y="40"/>
                      </a:lnTo>
                      <a:lnTo>
                        <a:pt x="36" y="40"/>
                      </a:lnTo>
                      <a:lnTo>
                        <a:pt x="34" y="60"/>
                      </a:lnTo>
                      <a:lnTo>
                        <a:pt x="34" y="60"/>
                      </a:lnTo>
                      <a:lnTo>
                        <a:pt x="32" y="66"/>
                      </a:lnTo>
                      <a:lnTo>
                        <a:pt x="32" y="66"/>
                      </a:lnTo>
                      <a:lnTo>
                        <a:pt x="26" y="68"/>
                      </a:lnTo>
                      <a:lnTo>
                        <a:pt x="26" y="68"/>
                      </a:lnTo>
                      <a:lnTo>
                        <a:pt x="22" y="66"/>
                      </a:lnTo>
                      <a:lnTo>
                        <a:pt x="22" y="66"/>
                      </a:lnTo>
                      <a:lnTo>
                        <a:pt x="18" y="60"/>
                      </a:lnTo>
                      <a:lnTo>
                        <a:pt x="18" y="60"/>
                      </a:lnTo>
                      <a:lnTo>
                        <a:pt x="16" y="40"/>
                      </a:lnTo>
                      <a:lnTo>
                        <a:pt x="16" y="40"/>
                      </a:lnTo>
                      <a:lnTo>
                        <a:pt x="18" y="20"/>
                      </a:lnTo>
                      <a:lnTo>
                        <a:pt x="18" y="20"/>
                      </a:lnTo>
                      <a:lnTo>
                        <a:pt x="22" y="14"/>
                      </a:lnTo>
                      <a:lnTo>
                        <a:pt x="22" y="14"/>
                      </a:lnTo>
                      <a:lnTo>
                        <a:pt x="26" y="12"/>
                      </a:lnTo>
                      <a:lnTo>
                        <a:pt x="26" y="12"/>
                      </a:lnTo>
                      <a:lnTo>
                        <a:pt x="32" y="14"/>
                      </a:lnTo>
                      <a:lnTo>
                        <a:pt x="32" y="1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" pitchFamily="34" charset="0"/>
                  </a:endParaRPr>
                </a:p>
              </p:txBody>
            </p:sp>
            <p:sp>
              <p:nvSpPr>
                <p:cNvPr id="214" name="Freeform 53"/>
                <p:cNvSpPr>
                  <a:spLocks/>
                </p:cNvSpPr>
                <p:nvPr/>
              </p:nvSpPr>
              <p:spPr bwMode="auto">
                <a:xfrm>
                  <a:off x="5733140" y="5361291"/>
                  <a:ext cx="25888" cy="60914"/>
                </a:xfrm>
                <a:custGeom>
                  <a:avLst/>
                  <a:gdLst>
                    <a:gd name="T0" fmla="*/ 34 w 34"/>
                    <a:gd name="T1" fmla="*/ 0 h 80"/>
                    <a:gd name="T2" fmla="*/ 22 w 34"/>
                    <a:gd name="T3" fmla="*/ 0 h 80"/>
                    <a:gd name="T4" fmla="*/ 22 w 34"/>
                    <a:gd name="T5" fmla="*/ 0 h 80"/>
                    <a:gd name="T6" fmla="*/ 18 w 34"/>
                    <a:gd name="T7" fmla="*/ 6 h 80"/>
                    <a:gd name="T8" fmla="*/ 12 w 34"/>
                    <a:gd name="T9" fmla="*/ 12 h 80"/>
                    <a:gd name="T10" fmla="*/ 12 w 34"/>
                    <a:gd name="T11" fmla="*/ 12 h 80"/>
                    <a:gd name="T12" fmla="*/ 6 w 34"/>
                    <a:gd name="T13" fmla="*/ 16 h 80"/>
                    <a:gd name="T14" fmla="*/ 0 w 34"/>
                    <a:gd name="T15" fmla="*/ 20 h 80"/>
                    <a:gd name="T16" fmla="*/ 0 w 34"/>
                    <a:gd name="T17" fmla="*/ 34 h 80"/>
                    <a:gd name="T18" fmla="*/ 0 w 34"/>
                    <a:gd name="T19" fmla="*/ 34 h 80"/>
                    <a:gd name="T20" fmla="*/ 10 w 34"/>
                    <a:gd name="T21" fmla="*/ 28 h 80"/>
                    <a:gd name="T22" fmla="*/ 20 w 34"/>
                    <a:gd name="T23" fmla="*/ 22 h 80"/>
                    <a:gd name="T24" fmla="*/ 20 w 34"/>
                    <a:gd name="T25" fmla="*/ 80 h 80"/>
                    <a:gd name="T26" fmla="*/ 34 w 34"/>
                    <a:gd name="T27" fmla="*/ 80 h 80"/>
                    <a:gd name="T28" fmla="*/ 34 w 34"/>
                    <a:gd name="T29" fmla="*/ 0 h 80"/>
                    <a:gd name="T30" fmla="*/ 34 w 34"/>
                    <a:gd name="T31" fmla="*/ 0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4" h="80">
                      <a:moveTo>
                        <a:pt x="34" y="0"/>
                      </a:move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18" y="6"/>
                      </a:lnTo>
                      <a:lnTo>
                        <a:pt x="12" y="12"/>
                      </a:lnTo>
                      <a:lnTo>
                        <a:pt x="12" y="12"/>
                      </a:lnTo>
                      <a:lnTo>
                        <a:pt x="6" y="16"/>
                      </a:lnTo>
                      <a:lnTo>
                        <a:pt x="0" y="20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10" y="28"/>
                      </a:lnTo>
                      <a:lnTo>
                        <a:pt x="20" y="22"/>
                      </a:lnTo>
                      <a:lnTo>
                        <a:pt x="20" y="80"/>
                      </a:lnTo>
                      <a:lnTo>
                        <a:pt x="34" y="80"/>
                      </a:lnTo>
                      <a:lnTo>
                        <a:pt x="34" y="0"/>
                      </a:lnTo>
                      <a:lnTo>
                        <a:pt x="34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" pitchFamily="34" charset="0"/>
                  </a:endParaRPr>
                </a:p>
              </p:txBody>
            </p:sp>
            <p:sp>
              <p:nvSpPr>
                <p:cNvPr id="215" name="Freeform 54"/>
                <p:cNvSpPr>
                  <a:spLocks noEditPoints="1"/>
                </p:cNvSpPr>
                <p:nvPr/>
              </p:nvSpPr>
              <p:spPr bwMode="auto">
                <a:xfrm>
                  <a:off x="5844308" y="5361291"/>
                  <a:ext cx="39594" cy="62437"/>
                </a:xfrm>
                <a:custGeom>
                  <a:avLst/>
                  <a:gdLst>
                    <a:gd name="T0" fmla="*/ 8 w 52"/>
                    <a:gd name="T1" fmla="*/ 8 h 82"/>
                    <a:gd name="T2" fmla="*/ 8 w 52"/>
                    <a:gd name="T3" fmla="*/ 8 h 82"/>
                    <a:gd name="T4" fmla="*/ 4 w 52"/>
                    <a:gd name="T5" fmla="*/ 14 h 82"/>
                    <a:gd name="T6" fmla="*/ 2 w 52"/>
                    <a:gd name="T7" fmla="*/ 20 h 82"/>
                    <a:gd name="T8" fmla="*/ 0 w 52"/>
                    <a:gd name="T9" fmla="*/ 40 h 82"/>
                    <a:gd name="T10" fmla="*/ 0 w 52"/>
                    <a:gd name="T11" fmla="*/ 40 h 82"/>
                    <a:gd name="T12" fmla="*/ 0 w 52"/>
                    <a:gd name="T13" fmla="*/ 60 h 82"/>
                    <a:gd name="T14" fmla="*/ 4 w 52"/>
                    <a:gd name="T15" fmla="*/ 66 h 82"/>
                    <a:gd name="T16" fmla="*/ 6 w 52"/>
                    <a:gd name="T17" fmla="*/ 72 h 82"/>
                    <a:gd name="T18" fmla="*/ 6 w 52"/>
                    <a:gd name="T19" fmla="*/ 72 h 82"/>
                    <a:gd name="T20" fmla="*/ 10 w 52"/>
                    <a:gd name="T21" fmla="*/ 76 h 82"/>
                    <a:gd name="T22" fmla="*/ 14 w 52"/>
                    <a:gd name="T23" fmla="*/ 78 h 82"/>
                    <a:gd name="T24" fmla="*/ 20 w 52"/>
                    <a:gd name="T25" fmla="*/ 80 h 82"/>
                    <a:gd name="T26" fmla="*/ 26 w 52"/>
                    <a:gd name="T27" fmla="*/ 82 h 82"/>
                    <a:gd name="T28" fmla="*/ 26 w 52"/>
                    <a:gd name="T29" fmla="*/ 82 h 82"/>
                    <a:gd name="T30" fmla="*/ 36 w 52"/>
                    <a:gd name="T31" fmla="*/ 80 h 82"/>
                    <a:gd name="T32" fmla="*/ 40 w 52"/>
                    <a:gd name="T33" fmla="*/ 76 h 82"/>
                    <a:gd name="T34" fmla="*/ 44 w 52"/>
                    <a:gd name="T35" fmla="*/ 72 h 82"/>
                    <a:gd name="T36" fmla="*/ 44 w 52"/>
                    <a:gd name="T37" fmla="*/ 72 h 82"/>
                    <a:gd name="T38" fmla="*/ 48 w 52"/>
                    <a:gd name="T39" fmla="*/ 68 h 82"/>
                    <a:gd name="T40" fmla="*/ 50 w 52"/>
                    <a:gd name="T41" fmla="*/ 60 h 82"/>
                    <a:gd name="T42" fmla="*/ 52 w 52"/>
                    <a:gd name="T43" fmla="*/ 40 h 82"/>
                    <a:gd name="T44" fmla="*/ 52 w 52"/>
                    <a:gd name="T45" fmla="*/ 40 h 82"/>
                    <a:gd name="T46" fmla="*/ 50 w 52"/>
                    <a:gd name="T47" fmla="*/ 20 h 82"/>
                    <a:gd name="T48" fmla="*/ 48 w 52"/>
                    <a:gd name="T49" fmla="*/ 14 h 82"/>
                    <a:gd name="T50" fmla="*/ 44 w 52"/>
                    <a:gd name="T51" fmla="*/ 8 h 82"/>
                    <a:gd name="T52" fmla="*/ 44 w 52"/>
                    <a:gd name="T53" fmla="*/ 8 h 82"/>
                    <a:gd name="T54" fmla="*/ 40 w 52"/>
                    <a:gd name="T55" fmla="*/ 4 h 82"/>
                    <a:gd name="T56" fmla="*/ 36 w 52"/>
                    <a:gd name="T57" fmla="*/ 2 h 82"/>
                    <a:gd name="T58" fmla="*/ 26 w 52"/>
                    <a:gd name="T59" fmla="*/ 0 h 82"/>
                    <a:gd name="T60" fmla="*/ 26 w 52"/>
                    <a:gd name="T61" fmla="*/ 0 h 82"/>
                    <a:gd name="T62" fmla="*/ 14 w 52"/>
                    <a:gd name="T63" fmla="*/ 2 h 82"/>
                    <a:gd name="T64" fmla="*/ 10 w 52"/>
                    <a:gd name="T65" fmla="*/ 4 h 82"/>
                    <a:gd name="T66" fmla="*/ 8 w 52"/>
                    <a:gd name="T67" fmla="*/ 8 h 82"/>
                    <a:gd name="T68" fmla="*/ 8 w 52"/>
                    <a:gd name="T69" fmla="*/ 8 h 82"/>
                    <a:gd name="T70" fmla="*/ 8 w 52"/>
                    <a:gd name="T71" fmla="*/ 8 h 82"/>
                    <a:gd name="T72" fmla="*/ 30 w 52"/>
                    <a:gd name="T73" fmla="*/ 14 h 82"/>
                    <a:gd name="T74" fmla="*/ 30 w 52"/>
                    <a:gd name="T75" fmla="*/ 14 h 82"/>
                    <a:gd name="T76" fmla="*/ 34 w 52"/>
                    <a:gd name="T77" fmla="*/ 20 h 82"/>
                    <a:gd name="T78" fmla="*/ 34 w 52"/>
                    <a:gd name="T79" fmla="*/ 20 h 82"/>
                    <a:gd name="T80" fmla="*/ 36 w 52"/>
                    <a:gd name="T81" fmla="*/ 40 h 82"/>
                    <a:gd name="T82" fmla="*/ 36 w 52"/>
                    <a:gd name="T83" fmla="*/ 40 h 82"/>
                    <a:gd name="T84" fmla="*/ 34 w 52"/>
                    <a:gd name="T85" fmla="*/ 60 h 82"/>
                    <a:gd name="T86" fmla="*/ 34 w 52"/>
                    <a:gd name="T87" fmla="*/ 60 h 82"/>
                    <a:gd name="T88" fmla="*/ 30 w 52"/>
                    <a:gd name="T89" fmla="*/ 66 h 82"/>
                    <a:gd name="T90" fmla="*/ 30 w 52"/>
                    <a:gd name="T91" fmla="*/ 66 h 82"/>
                    <a:gd name="T92" fmla="*/ 26 w 52"/>
                    <a:gd name="T93" fmla="*/ 68 h 82"/>
                    <a:gd name="T94" fmla="*/ 26 w 52"/>
                    <a:gd name="T95" fmla="*/ 68 h 82"/>
                    <a:gd name="T96" fmla="*/ 20 w 52"/>
                    <a:gd name="T97" fmla="*/ 66 h 82"/>
                    <a:gd name="T98" fmla="*/ 20 w 52"/>
                    <a:gd name="T99" fmla="*/ 66 h 82"/>
                    <a:gd name="T100" fmla="*/ 16 w 52"/>
                    <a:gd name="T101" fmla="*/ 60 h 82"/>
                    <a:gd name="T102" fmla="*/ 16 w 52"/>
                    <a:gd name="T103" fmla="*/ 60 h 82"/>
                    <a:gd name="T104" fmla="*/ 16 w 52"/>
                    <a:gd name="T105" fmla="*/ 40 h 82"/>
                    <a:gd name="T106" fmla="*/ 16 w 52"/>
                    <a:gd name="T107" fmla="*/ 40 h 82"/>
                    <a:gd name="T108" fmla="*/ 16 w 52"/>
                    <a:gd name="T109" fmla="*/ 20 h 82"/>
                    <a:gd name="T110" fmla="*/ 16 w 52"/>
                    <a:gd name="T111" fmla="*/ 20 h 82"/>
                    <a:gd name="T112" fmla="*/ 20 w 52"/>
                    <a:gd name="T113" fmla="*/ 14 h 82"/>
                    <a:gd name="T114" fmla="*/ 20 w 52"/>
                    <a:gd name="T115" fmla="*/ 14 h 82"/>
                    <a:gd name="T116" fmla="*/ 26 w 52"/>
                    <a:gd name="T117" fmla="*/ 12 h 82"/>
                    <a:gd name="T118" fmla="*/ 26 w 52"/>
                    <a:gd name="T119" fmla="*/ 12 h 82"/>
                    <a:gd name="T120" fmla="*/ 30 w 52"/>
                    <a:gd name="T121" fmla="*/ 14 h 82"/>
                    <a:gd name="T122" fmla="*/ 30 w 52"/>
                    <a:gd name="T123" fmla="*/ 14 h 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52" h="82">
                      <a:moveTo>
                        <a:pt x="8" y="8"/>
                      </a:moveTo>
                      <a:lnTo>
                        <a:pt x="8" y="8"/>
                      </a:lnTo>
                      <a:lnTo>
                        <a:pt x="4" y="14"/>
                      </a:lnTo>
                      <a:lnTo>
                        <a:pt x="2" y="20"/>
                      </a:lnTo>
                      <a:lnTo>
                        <a:pt x="0" y="40"/>
                      </a:lnTo>
                      <a:lnTo>
                        <a:pt x="0" y="40"/>
                      </a:lnTo>
                      <a:lnTo>
                        <a:pt x="0" y="60"/>
                      </a:lnTo>
                      <a:lnTo>
                        <a:pt x="4" y="66"/>
                      </a:lnTo>
                      <a:lnTo>
                        <a:pt x="6" y="72"/>
                      </a:lnTo>
                      <a:lnTo>
                        <a:pt x="6" y="72"/>
                      </a:lnTo>
                      <a:lnTo>
                        <a:pt x="10" y="76"/>
                      </a:lnTo>
                      <a:lnTo>
                        <a:pt x="14" y="78"/>
                      </a:lnTo>
                      <a:lnTo>
                        <a:pt x="20" y="80"/>
                      </a:lnTo>
                      <a:lnTo>
                        <a:pt x="26" y="82"/>
                      </a:lnTo>
                      <a:lnTo>
                        <a:pt x="26" y="82"/>
                      </a:lnTo>
                      <a:lnTo>
                        <a:pt x="36" y="80"/>
                      </a:lnTo>
                      <a:lnTo>
                        <a:pt x="40" y="76"/>
                      </a:lnTo>
                      <a:lnTo>
                        <a:pt x="44" y="72"/>
                      </a:lnTo>
                      <a:lnTo>
                        <a:pt x="44" y="72"/>
                      </a:lnTo>
                      <a:lnTo>
                        <a:pt x="48" y="68"/>
                      </a:lnTo>
                      <a:lnTo>
                        <a:pt x="50" y="60"/>
                      </a:lnTo>
                      <a:lnTo>
                        <a:pt x="52" y="40"/>
                      </a:lnTo>
                      <a:lnTo>
                        <a:pt x="52" y="40"/>
                      </a:lnTo>
                      <a:lnTo>
                        <a:pt x="50" y="20"/>
                      </a:lnTo>
                      <a:lnTo>
                        <a:pt x="48" y="14"/>
                      </a:lnTo>
                      <a:lnTo>
                        <a:pt x="44" y="8"/>
                      </a:lnTo>
                      <a:lnTo>
                        <a:pt x="44" y="8"/>
                      </a:lnTo>
                      <a:lnTo>
                        <a:pt x="40" y="4"/>
                      </a:lnTo>
                      <a:lnTo>
                        <a:pt x="36" y="2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14" y="2"/>
                      </a:lnTo>
                      <a:lnTo>
                        <a:pt x="10" y="4"/>
                      </a:lnTo>
                      <a:lnTo>
                        <a:pt x="8" y="8"/>
                      </a:lnTo>
                      <a:lnTo>
                        <a:pt x="8" y="8"/>
                      </a:lnTo>
                      <a:lnTo>
                        <a:pt x="8" y="8"/>
                      </a:lnTo>
                      <a:close/>
                      <a:moveTo>
                        <a:pt x="30" y="14"/>
                      </a:moveTo>
                      <a:lnTo>
                        <a:pt x="30" y="14"/>
                      </a:lnTo>
                      <a:lnTo>
                        <a:pt x="34" y="20"/>
                      </a:lnTo>
                      <a:lnTo>
                        <a:pt x="34" y="20"/>
                      </a:lnTo>
                      <a:lnTo>
                        <a:pt x="36" y="40"/>
                      </a:lnTo>
                      <a:lnTo>
                        <a:pt x="36" y="40"/>
                      </a:lnTo>
                      <a:lnTo>
                        <a:pt x="34" y="60"/>
                      </a:lnTo>
                      <a:lnTo>
                        <a:pt x="34" y="60"/>
                      </a:lnTo>
                      <a:lnTo>
                        <a:pt x="30" y="66"/>
                      </a:lnTo>
                      <a:lnTo>
                        <a:pt x="30" y="66"/>
                      </a:lnTo>
                      <a:lnTo>
                        <a:pt x="26" y="68"/>
                      </a:lnTo>
                      <a:lnTo>
                        <a:pt x="26" y="68"/>
                      </a:lnTo>
                      <a:lnTo>
                        <a:pt x="20" y="66"/>
                      </a:lnTo>
                      <a:lnTo>
                        <a:pt x="20" y="66"/>
                      </a:lnTo>
                      <a:lnTo>
                        <a:pt x="16" y="60"/>
                      </a:lnTo>
                      <a:lnTo>
                        <a:pt x="16" y="60"/>
                      </a:lnTo>
                      <a:lnTo>
                        <a:pt x="16" y="40"/>
                      </a:lnTo>
                      <a:lnTo>
                        <a:pt x="16" y="40"/>
                      </a:lnTo>
                      <a:lnTo>
                        <a:pt x="16" y="20"/>
                      </a:lnTo>
                      <a:lnTo>
                        <a:pt x="16" y="20"/>
                      </a:lnTo>
                      <a:lnTo>
                        <a:pt x="20" y="14"/>
                      </a:lnTo>
                      <a:lnTo>
                        <a:pt x="20" y="14"/>
                      </a:lnTo>
                      <a:lnTo>
                        <a:pt x="26" y="12"/>
                      </a:lnTo>
                      <a:lnTo>
                        <a:pt x="26" y="12"/>
                      </a:lnTo>
                      <a:lnTo>
                        <a:pt x="30" y="14"/>
                      </a:lnTo>
                      <a:lnTo>
                        <a:pt x="30" y="1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" pitchFamily="34" charset="0"/>
                  </a:endParaRPr>
                </a:p>
              </p:txBody>
            </p:sp>
            <p:sp>
              <p:nvSpPr>
                <p:cNvPr id="216" name="Freeform 54"/>
                <p:cNvSpPr>
                  <a:spLocks noEditPoints="1"/>
                </p:cNvSpPr>
                <p:nvPr/>
              </p:nvSpPr>
              <p:spPr bwMode="auto">
                <a:xfrm>
                  <a:off x="6062075" y="5096315"/>
                  <a:ext cx="39594" cy="62437"/>
                </a:xfrm>
                <a:custGeom>
                  <a:avLst/>
                  <a:gdLst>
                    <a:gd name="T0" fmla="*/ 8 w 52"/>
                    <a:gd name="T1" fmla="*/ 8 h 82"/>
                    <a:gd name="T2" fmla="*/ 8 w 52"/>
                    <a:gd name="T3" fmla="*/ 8 h 82"/>
                    <a:gd name="T4" fmla="*/ 4 w 52"/>
                    <a:gd name="T5" fmla="*/ 14 h 82"/>
                    <a:gd name="T6" fmla="*/ 2 w 52"/>
                    <a:gd name="T7" fmla="*/ 20 h 82"/>
                    <a:gd name="T8" fmla="*/ 0 w 52"/>
                    <a:gd name="T9" fmla="*/ 40 h 82"/>
                    <a:gd name="T10" fmla="*/ 0 w 52"/>
                    <a:gd name="T11" fmla="*/ 40 h 82"/>
                    <a:gd name="T12" fmla="*/ 0 w 52"/>
                    <a:gd name="T13" fmla="*/ 60 h 82"/>
                    <a:gd name="T14" fmla="*/ 4 w 52"/>
                    <a:gd name="T15" fmla="*/ 66 h 82"/>
                    <a:gd name="T16" fmla="*/ 6 w 52"/>
                    <a:gd name="T17" fmla="*/ 72 h 82"/>
                    <a:gd name="T18" fmla="*/ 6 w 52"/>
                    <a:gd name="T19" fmla="*/ 72 h 82"/>
                    <a:gd name="T20" fmla="*/ 10 w 52"/>
                    <a:gd name="T21" fmla="*/ 76 h 82"/>
                    <a:gd name="T22" fmla="*/ 14 w 52"/>
                    <a:gd name="T23" fmla="*/ 78 h 82"/>
                    <a:gd name="T24" fmla="*/ 20 w 52"/>
                    <a:gd name="T25" fmla="*/ 80 h 82"/>
                    <a:gd name="T26" fmla="*/ 26 w 52"/>
                    <a:gd name="T27" fmla="*/ 82 h 82"/>
                    <a:gd name="T28" fmla="*/ 26 w 52"/>
                    <a:gd name="T29" fmla="*/ 82 h 82"/>
                    <a:gd name="T30" fmla="*/ 36 w 52"/>
                    <a:gd name="T31" fmla="*/ 80 h 82"/>
                    <a:gd name="T32" fmla="*/ 40 w 52"/>
                    <a:gd name="T33" fmla="*/ 76 h 82"/>
                    <a:gd name="T34" fmla="*/ 44 w 52"/>
                    <a:gd name="T35" fmla="*/ 72 h 82"/>
                    <a:gd name="T36" fmla="*/ 44 w 52"/>
                    <a:gd name="T37" fmla="*/ 72 h 82"/>
                    <a:gd name="T38" fmla="*/ 48 w 52"/>
                    <a:gd name="T39" fmla="*/ 68 h 82"/>
                    <a:gd name="T40" fmla="*/ 50 w 52"/>
                    <a:gd name="T41" fmla="*/ 60 h 82"/>
                    <a:gd name="T42" fmla="*/ 52 w 52"/>
                    <a:gd name="T43" fmla="*/ 40 h 82"/>
                    <a:gd name="T44" fmla="*/ 52 w 52"/>
                    <a:gd name="T45" fmla="*/ 40 h 82"/>
                    <a:gd name="T46" fmla="*/ 50 w 52"/>
                    <a:gd name="T47" fmla="*/ 20 h 82"/>
                    <a:gd name="T48" fmla="*/ 48 w 52"/>
                    <a:gd name="T49" fmla="*/ 14 h 82"/>
                    <a:gd name="T50" fmla="*/ 44 w 52"/>
                    <a:gd name="T51" fmla="*/ 8 h 82"/>
                    <a:gd name="T52" fmla="*/ 44 w 52"/>
                    <a:gd name="T53" fmla="*/ 8 h 82"/>
                    <a:gd name="T54" fmla="*/ 40 w 52"/>
                    <a:gd name="T55" fmla="*/ 4 h 82"/>
                    <a:gd name="T56" fmla="*/ 36 w 52"/>
                    <a:gd name="T57" fmla="*/ 2 h 82"/>
                    <a:gd name="T58" fmla="*/ 26 w 52"/>
                    <a:gd name="T59" fmla="*/ 0 h 82"/>
                    <a:gd name="T60" fmla="*/ 26 w 52"/>
                    <a:gd name="T61" fmla="*/ 0 h 82"/>
                    <a:gd name="T62" fmla="*/ 14 w 52"/>
                    <a:gd name="T63" fmla="*/ 2 h 82"/>
                    <a:gd name="T64" fmla="*/ 10 w 52"/>
                    <a:gd name="T65" fmla="*/ 4 h 82"/>
                    <a:gd name="T66" fmla="*/ 8 w 52"/>
                    <a:gd name="T67" fmla="*/ 8 h 82"/>
                    <a:gd name="T68" fmla="*/ 8 w 52"/>
                    <a:gd name="T69" fmla="*/ 8 h 82"/>
                    <a:gd name="T70" fmla="*/ 8 w 52"/>
                    <a:gd name="T71" fmla="*/ 8 h 82"/>
                    <a:gd name="T72" fmla="*/ 30 w 52"/>
                    <a:gd name="T73" fmla="*/ 14 h 82"/>
                    <a:gd name="T74" fmla="*/ 30 w 52"/>
                    <a:gd name="T75" fmla="*/ 14 h 82"/>
                    <a:gd name="T76" fmla="*/ 34 w 52"/>
                    <a:gd name="T77" fmla="*/ 20 h 82"/>
                    <a:gd name="T78" fmla="*/ 34 w 52"/>
                    <a:gd name="T79" fmla="*/ 20 h 82"/>
                    <a:gd name="T80" fmla="*/ 36 w 52"/>
                    <a:gd name="T81" fmla="*/ 40 h 82"/>
                    <a:gd name="T82" fmla="*/ 36 w 52"/>
                    <a:gd name="T83" fmla="*/ 40 h 82"/>
                    <a:gd name="T84" fmla="*/ 34 w 52"/>
                    <a:gd name="T85" fmla="*/ 60 h 82"/>
                    <a:gd name="T86" fmla="*/ 34 w 52"/>
                    <a:gd name="T87" fmla="*/ 60 h 82"/>
                    <a:gd name="T88" fmla="*/ 30 w 52"/>
                    <a:gd name="T89" fmla="*/ 66 h 82"/>
                    <a:gd name="T90" fmla="*/ 30 w 52"/>
                    <a:gd name="T91" fmla="*/ 66 h 82"/>
                    <a:gd name="T92" fmla="*/ 26 w 52"/>
                    <a:gd name="T93" fmla="*/ 68 h 82"/>
                    <a:gd name="T94" fmla="*/ 26 w 52"/>
                    <a:gd name="T95" fmla="*/ 68 h 82"/>
                    <a:gd name="T96" fmla="*/ 20 w 52"/>
                    <a:gd name="T97" fmla="*/ 66 h 82"/>
                    <a:gd name="T98" fmla="*/ 20 w 52"/>
                    <a:gd name="T99" fmla="*/ 66 h 82"/>
                    <a:gd name="T100" fmla="*/ 16 w 52"/>
                    <a:gd name="T101" fmla="*/ 60 h 82"/>
                    <a:gd name="T102" fmla="*/ 16 w 52"/>
                    <a:gd name="T103" fmla="*/ 60 h 82"/>
                    <a:gd name="T104" fmla="*/ 16 w 52"/>
                    <a:gd name="T105" fmla="*/ 40 h 82"/>
                    <a:gd name="T106" fmla="*/ 16 w 52"/>
                    <a:gd name="T107" fmla="*/ 40 h 82"/>
                    <a:gd name="T108" fmla="*/ 16 w 52"/>
                    <a:gd name="T109" fmla="*/ 20 h 82"/>
                    <a:gd name="T110" fmla="*/ 16 w 52"/>
                    <a:gd name="T111" fmla="*/ 20 h 82"/>
                    <a:gd name="T112" fmla="*/ 20 w 52"/>
                    <a:gd name="T113" fmla="*/ 14 h 82"/>
                    <a:gd name="T114" fmla="*/ 20 w 52"/>
                    <a:gd name="T115" fmla="*/ 14 h 82"/>
                    <a:gd name="T116" fmla="*/ 26 w 52"/>
                    <a:gd name="T117" fmla="*/ 12 h 82"/>
                    <a:gd name="T118" fmla="*/ 26 w 52"/>
                    <a:gd name="T119" fmla="*/ 12 h 82"/>
                    <a:gd name="T120" fmla="*/ 30 w 52"/>
                    <a:gd name="T121" fmla="*/ 14 h 82"/>
                    <a:gd name="T122" fmla="*/ 30 w 52"/>
                    <a:gd name="T123" fmla="*/ 14 h 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52" h="82">
                      <a:moveTo>
                        <a:pt x="8" y="8"/>
                      </a:moveTo>
                      <a:lnTo>
                        <a:pt x="8" y="8"/>
                      </a:lnTo>
                      <a:lnTo>
                        <a:pt x="4" y="14"/>
                      </a:lnTo>
                      <a:lnTo>
                        <a:pt x="2" y="20"/>
                      </a:lnTo>
                      <a:lnTo>
                        <a:pt x="0" y="40"/>
                      </a:lnTo>
                      <a:lnTo>
                        <a:pt x="0" y="40"/>
                      </a:lnTo>
                      <a:lnTo>
                        <a:pt x="0" y="60"/>
                      </a:lnTo>
                      <a:lnTo>
                        <a:pt x="4" y="66"/>
                      </a:lnTo>
                      <a:lnTo>
                        <a:pt x="6" y="72"/>
                      </a:lnTo>
                      <a:lnTo>
                        <a:pt x="6" y="72"/>
                      </a:lnTo>
                      <a:lnTo>
                        <a:pt x="10" y="76"/>
                      </a:lnTo>
                      <a:lnTo>
                        <a:pt x="14" y="78"/>
                      </a:lnTo>
                      <a:lnTo>
                        <a:pt x="20" y="80"/>
                      </a:lnTo>
                      <a:lnTo>
                        <a:pt x="26" y="82"/>
                      </a:lnTo>
                      <a:lnTo>
                        <a:pt x="26" y="82"/>
                      </a:lnTo>
                      <a:lnTo>
                        <a:pt x="36" y="80"/>
                      </a:lnTo>
                      <a:lnTo>
                        <a:pt x="40" y="76"/>
                      </a:lnTo>
                      <a:lnTo>
                        <a:pt x="44" y="72"/>
                      </a:lnTo>
                      <a:lnTo>
                        <a:pt x="44" y="72"/>
                      </a:lnTo>
                      <a:lnTo>
                        <a:pt x="48" y="68"/>
                      </a:lnTo>
                      <a:lnTo>
                        <a:pt x="50" y="60"/>
                      </a:lnTo>
                      <a:lnTo>
                        <a:pt x="52" y="40"/>
                      </a:lnTo>
                      <a:lnTo>
                        <a:pt x="52" y="40"/>
                      </a:lnTo>
                      <a:lnTo>
                        <a:pt x="50" y="20"/>
                      </a:lnTo>
                      <a:lnTo>
                        <a:pt x="48" y="14"/>
                      </a:lnTo>
                      <a:lnTo>
                        <a:pt x="44" y="8"/>
                      </a:lnTo>
                      <a:lnTo>
                        <a:pt x="44" y="8"/>
                      </a:lnTo>
                      <a:lnTo>
                        <a:pt x="40" y="4"/>
                      </a:lnTo>
                      <a:lnTo>
                        <a:pt x="36" y="2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14" y="2"/>
                      </a:lnTo>
                      <a:lnTo>
                        <a:pt x="10" y="4"/>
                      </a:lnTo>
                      <a:lnTo>
                        <a:pt x="8" y="8"/>
                      </a:lnTo>
                      <a:lnTo>
                        <a:pt x="8" y="8"/>
                      </a:lnTo>
                      <a:lnTo>
                        <a:pt x="8" y="8"/>
                      </a:lnTo>
                      <a:close/>
                      <a:moveTo>
                        <a:pt x="30" y="14"/>
                      </a:moveTo>
                      <a:lnTo>
                        <a:pt x="30" y="14"/>
                      </a:lnTo>
                      <a:lnTo>
                        <a:pt x="34" y="20"/>
                      </a:lnTo>
                      <a:lnTo>
                        <a:pt x="34" y="20"/>
                      </a:lnTo>
                      <a:lnTo>
                        <a:pt x="36" y="40"/>
                      </a:lnTo>
                      <a:lnTo>
                        <a:pt x="36" y="40"/>
                      </a:lnTo>
                      <a:lnTo>
                        <a:pt x="34" y="60"/>
                      </a:lnTo>
                      <a:lnTo>
                        <a:pt x="34" y="60"/>
                      </a:lnTo>
                      <a:lnTo>
                        <a:pt x="30" y="66"/>
                      </a:lnTo>
                      <a:lnTo>
                        <a:pt x="30" y="66"/>
                      </a:lnTo>
                      <a:lnTo>
                        <a:pt x="26" y="68"/>
                      </a:lnTo>
                      <a:lnTo>
                        <a:pt x="26" y="68"/>
                      </a:lnTo>
                      <a:lnTo>
                        <a:pt x="20" y="66"/>
                      </a:lnTo>
                      <a:lnTo>
                        <a:pt x="20" y="66"/>
                      </a:lnTo>
                      <a:lnTo>
                        <a:pt x="16" y="60"/>
                      </a:lnTo>
                      <a:lnTo>
                        <a:pt x="16" y="60"/>
                      </a:lnTo>
                      <a:lnTo>
                        <a:pt x="16" y="40"/>
                      </a:lnTo>
                      <a:lnTo>
                        <a:pt x="16" y="40"/>
                      </a:lnTo>
                      <a:lnTo>
                        <a:pt x="16" y="20"/>
                      </a:lnTo>
                      <a:lnTo>
                        <a:pt x="16" y="20"/>
                      </a:lnTo>
                      <a:lnTo>
                        <a:pt x="20" y="14"/>
                      </a:lnTo>
                      <a:lnTo>
                        <a:pt x="20" y="14"/>
                      </a:lnTo>
                      <a:lnTo>
                        <a:pt x="26" y="12"/>
                      </a:lnTo>
                      <a:lnTo>
                        <a:pt x="26" y="12"/>
                      </a:lnTo>
                      <a:lnTo>
                        <a:pt x="30" y="14"/>
                      </a:lnTo>
                      <a:lnTo>
                        <a:pt x="30" y="1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" pitchFamily="34" charset="0"/>
                  </a:endParaRPr>
                </a:p>
              </p:txBody>
            </p:sp>
            <p:sp>
              <p:nvSpPr>
                <p:cNvPr id="217" name="Freeform 50"/>
                <p:cNvSpPr>
                  <a:spLocks noEditPoints="1"/>
                </p:cNvSpPr>
                <p:nvPr/>
              </p:nvSpPr>
              <p:spPr bwMode="auto">
                <a:xfrm>
                  <a:off x="6065121" y="4828294"/>
                  <a:ext cx="39594" cy="62437"/>
                </a:xfrm>
                <a:custGeom>
                  <a:avLst/>
                  <a:gdLst>
                    <a:gd name="T0" fmla="*/ 8 w 52"/>
                    <a:gd name="T1" fmla="*/ 8 h 82"/>
                    <a:gd name="T2" fmla="*/ 8 w 52"/>
                    <a:gd name="T3" fmla="*/ 8 h 82"/>
                    <a:gd name="T4" fmla="*/ 4 w 52"/>
                    <a:gd name="T5" fmla="*/ 14 h 82"/>
                    <a:gd name="T6" fmla="*/ 2 w 52"/>
                    <a:gd name="T7" fmla="*/ 20 h 82"/>
                    <a:gd name="T8" fmla="*/ 0 w 52"/>
                    <a:gd name="T9" fmla="*/ 40 h 82"/>
                    <a:gd name="T10" fmla="*/ 0 w 52"/>
                    <a:gd name="T11" fmla="*/ 40 h 82"/>
                    <a:gd name="T12" fmla="*/ 2 w 52"/>
                    <a:gd name="T13" fmla="*/ 60 h 82"/>
                    <a:gd name="T14" fmla="*/ 4 w 52"/>
                    <a:gd name="T15" fmla="*/ 66 h 82"/>
                    <a:gd name="T16" fmla="*/ 8 w 52"/>
                    <a:gd name="T17" fmla="*/ 72 h 82"/>
                    <a:gd name="T18" fmla="*/ 8 w 52"/>
                    <a:gd name="T19" fmla="*/ 72 h 82"/>
                    <a:gd name="T20" fmla="*/ 10 w 52"/>
                    <a:gd name="T21" fmla="*/ 76 h 82"/>
                    <a:gd name="T22" fmla="*/ 16 w 52"/>
                    <a:gd name="T23" fmla="*/ 78 h 82"/>
                    <a:gd name="T24" fmla="*/ 20 w 52"/>
                    <a:gd name="T25" fmla="*/ 80 h 82"/>
                    <a:gd name="T26" fmla="*/ 26 w 52"/>
                    <a:gd name="T27" fmla="*/ 82 h 82"/>
                    <a:gd name="T28" fmla="*/ 26 w 52"/>
                    <a:gd name="T29" fmla="*/ 82 h 82"/>
                    <a:gd name="T30" fmla="*/ 36 w 52"/>
                    <a:gd name="T31" fmla="*/ 80 h 82"/>
                    <a:gd name="T32" fmla="*/ 40 w 52"/>
                    <a:gd name="T33" fmla="*/ 76 h 82"/>
                    <a:gd name="T34" fmla="*/ 44 w 52"/>
                    <a:gd name="T35" fmla="*/ 72 h 82"/>
                    <a:gd name="T36" fmla="*/ 44 w 52"/>
                    <a:gd name="T37" fmla="*/ 72 h 82"/>
                    <a:gd name="T38" fmla="*/ 48 w 52"/>
                    <a:gd name="T39" fmla="*/ 68 h 82"/>
                    <a:gd name="T40" fmla="*/ 50 w 52"/>
                    <a:gd name="T41" fmla="*/ 60 h 82"/>
                    <a:gd name="T42" fmla="*/ 52 w 52"/>
                    <a:gd name="T43" fmla="*/ 40 h 82"/>
                    <a:gd name="T44" fmla="*/ 52 w 52"/>
                    <a:gd name="T45" fmla="*/ 40 h 82"/>
                    <a:gd name="T46" fmla="*/ 50 w 52"/>
                    <a:gd name="T47" fmla="*/ 20 h 82"/>
                    <a:gd name="T48" fmla="*/ 48 w 52"/>
                    <a:gd name="T49" fmla="*/ 14 h 82"/>
                    <a:gd name="T50" fmla="*/ 44 w 52"/>
                    <a:gd name="T51" fmla="*/ 8 h 82"/>
                    <a:gd name="T52" fmla="*/ 44 w 52"/>
                    <a:gd name="T53" fmla="*/ 8 h 82"/>
                    <a:gd name="T54" fmla="*/ 40 w 52"/>
                    <a:gd name="T55" fmla="*/ 4 h 82"/>
                    <a:gd name="T56" fmla="*/ 36 w 52"/>
                    <a:gd name="T57" fmla="*/ 2 h 82"/>
                    <a:gd name="T58" fmla="*/ 26 w 52"/>
                    <a:gd name="T59" fmla="*/ 0 h 82"/>
                    <a:gd name="T60" fmla="*/ 26 w 52"/>
                    <a:gd name="T61" fmla="*/ 0 h 82"/>
                    <a:gd name="T62" fmla="*/ 16 w 52"/>
                    <a:gd name="T63" fmla="*/ 2 h 82"/>
                    <a:gd name="T64" fmla="*/ 12 w 52"/>
                    <a:gd name="T65" fmla="*/ 4 h 82"/>
                    <a:gd name="T66" fmla="*/ 8 w 52"/>
                    <a:gd name="T67" fmla="*/ 8 h 82"/>
                    <a:gd name="T68" fmla="*/ 8 w 52"/>
                    <a:gd name="T69" fmla="*/ 8 h 82"/>
                    <a:gd name="T70" fmla="*/ 8 w 52"/>
                    <a:gd name="T71" fmla="*/ 8 h 82"/>
                    <a:gd name="T72" fmla="*/ 32 w 52"/>
                    <a:gd name="T73" fmla="*/ 14 h 82"/>
                    <a:gd name="T74" fmla="*/ 32 w 52"/>
                    <a:gd name="T75" fmla="*/ 14 h 82"/>
                    <a:gd name="T76" fmla="*/ 34 w 52"/>
                    <a:gd name="T77" fmla="*/ 20 h 82"/>
                    <a:gd name="T78" fmla="*/ 34 w 52"/>
                    <a:gd name="T79" fmla="*/ 20 h 82"/>
                    <a:gd name="T80" fmla="*/ 36 w 52"/>
                    <a:gd name="T81" fmla="*/ 40 h 82"/>
                    <a:gd name="T82" fmla="*/ 36 w 52"/>
                    <a:gd name="T83" fmla="*/ 40 h 82"/>
                    <a:gd name="T84" fmla="*/ 34 w 52"/>
                    <a:gd name="T85" fmla="*/ 60 h 82"/>
                    <a:gd name="T86" fmla="*/ 34 w 52"/>
                    <a:gd name="T87" fmla="*/ 60 h 82"/>
                    <a:gd name="T88" fmla="*/ 32 w 52"/>
                    <a:gd name="T89" fmla="*/ 66 h 82"/>
                    <a:gd name="T90" fmla="*/ 32 w 52"/>
                    <a:gd name="T91" fmla="*/ 66 h 82"/>
                    <a:gd name="T92" fmla="*/ 26 w 52"/>
                    <a:gd name="T93" fmla="*/ 68 h 82"/>
                    <a:gd name="T94" fmla="*/ 26 w 52"/>
                    <a:gd name="T95" fmla="*/ 68 h 82"/>
                    <a:gd name="T96" fmla="*/ 22 w 52"/>
                    <a:gd name="T97" fmla="*/ 66 h 82"/>
                    <a:gd name="T98" fmla="*/ 22 w 52"/>
                    <a:gd name="T99" fmla="*/ 66 h 82"/>
                    <a:gd name="T100" fmla="*/ 18 w 52"/>
                    <a:gd name="T101" fmla="*/ 60 h 82"/>
                    <a:gd name="T102" fmla="*/ 18 w 52"/>
                    <a:gd name="T103" fmla="*/ 60 h 82"/>
                    <a:gd name="T104" fmla="*/ 16 w 52"/>
                    <a:gd name="T105" fmla="*/ 40 h 82"/>
                    <a:gd name="T106" fmla="*/ 16 w 52"/>
                    <a:gd name="T107" fmla="*/ 40 h 82"/>
                    <a:gd name="T108" fmla="*/ 18 w 52"/>
                    <a:gd name="T109" fmla="*/ 20 h 82"/>
                    <a:gd name="T110" fmla="*/ 18 w 52"/>
                    <a:gd name="T111" fmla="*/ 20 h 82"/>
                    <a:gd name="T112" fmla="*/ 22 w 52"/>
                    <a:gd name="T113" fmla="*/ 14 h 82"/>
                    <a:gd name="T114" fmla="*/ 22 w 52"/>
                    <a:gd name="T115" fmla="*/ 14 h 82"/>
                    <a:gd name="T116" fmla="*/ 26 w 52"/>
                    <a:gd name="T117" fmla="*/ 12 h 82"/>
                    <a:gd name="T118" fmla="*/ 26 w 52"/>
                    <a:gd name="T119" fmla="*/ 12 h 82"/>
                    <a:gd name="T120" fmla="*/ 32 w 52"/>
                    <a:gd name="T121" fmla="*/ 14 h 82"/>
                    <a:gd name="T122" fmla="*/ 32 w 52"/>
                    <a:gd name="T123" fmla="*/ 14 h 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52" h="82">
                      <a:moveTo>
                        <a:pt x="8" y="8"/>
                      </a:moveTo>
                      <a:lnTo>
                        <a:pt x="8" y="8"/>
                      </a:lnTo>
                      <a:lnTo>
                        <a:pt x="4" y="14"/>
                      </a:lnTo>
                      <a:lnTo>
                        <a:pt x="2" y="20"/>
                      </a:lnTo>
                      <a:lnTo>
                        <a:pt x="0" y="40"/>
                      </a:lnTo>
                      <a:lnTo>
                        <a:pt x="0" y="40"/>
                      </a:lnTo>
                      <a:lnTo>
                        <a:pt x="2" y="60"/>
                      </a:lnTo>
                      <a:lnTo>
                        <a:pt x="4" y="66"/>
                      </a:lnTo>
                      <a:lnTo>
                        <a:pt x="8" y="72"/>
                      </a:lnTo>
                      <a:lnTo>
                        <a:pt x="8" y="72"/>
                      </a:lnTo>
                      <a:lnTo>
                        <a:pt x="10" y="76"/>
                      </a:lnTo>
                      <a:lnTo>
                        <a:pt x="16" y="78"/>
                      </a:lnTo>
                      <a:lnTo>
                        <a:pt x="20" y="80"/>
                      </a:lnTo>
                      <a:lnTo>
                        <a:pt x="26" y="82"/>
                      </a:lnTo>
                      <a:lnTo>
                        <a:pt x="26" y="82"/>
                      </a:lnTo>
                      <a:lnTo>
                        <a:pt x="36" y="80"/>
                      </a:lnTo>
                      <a:lnTo>
                        <a:pt x="40" y="76"/>
                      </a:lnTo>
                      <a:lnTo>
                        <a:pt x="44" y="72"/>
                      </a:lnTo>
                      <a:lnTo>
                        <a:pt x="44" y="72"/>
                      </a:lnTo>
                      <a:lnTo>
                        <a:pt x="48" y="68"/>
                      </a:lnTo>
                      <a:lnTo>
                        <a:pt x="50" y="60"/>
                      </a:lnTo>
                      <a:lnTo>
                        <a:pt x="52" y="40"/>
                      </a:lnTo>
                      <a:lnTo>
                        <a:pt x="52" y="40"/>
                      </a:lnTo>
                      <a:lnTo>
                        <a:pt x="50" y="20"/>
                      </a:lnTo>
                      <a:lnTo>
                        <a:pt x="48" y="14"/>
                      </a:lnTo>
                      <a:lnTo>
                        <a:pt x="44" y="8"/>
                      </a:lnTo>
                      <a:lnTo>
                        <a:pt x="44" y="8"/>
                      </a:lnTo>
                      <a:lnTo>
                        <a:pt x="40" y="4"/>
                      </a:lnTo>
                      <a:lnTo>
                        <a:pt x="36" y="2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16" y="2"/>
                      </a:lnTo>
                      <a:lnTo>
                        <a:pt x="12" y="4"/>
                      </a:lnTo>
                      <a:lnTo>
                        <a:pt x="8" y="8"/>
                      </a:lnTo>
                      <a:lnTo>
                        <a:pt x="8" y="8"/>
                      </a:lnTo>
                      <a:lnTo>
                        <a:pt x="8" y="8"/>
                      </a:lnTo>
                      <a:close/>
                      <a:moveTo>
                        <a:pt x="32" y="14"/>
                      </a:moveTo>
                      <a:lnTo>
                        <a:pt x="32" y="14"/>
                      </a:lnTo>
                      <a:lnTo>
                        <a:pt x="34" y="20"/>
                      </a:lnTo>
                      <a:lnTo>
                        <a:pt x="34" y="20"/>
                      </a:lnTo>
                      <a:lnTo>
                        <a:pt x="36" y="40"/>
                      </a:lnTo>
                      <a:lnTo>
                        <a:pt x="36" y="40"/>
                      </a:lnTo>
                      <a:lnTo>
                        <a:pt x="34" y="60"/>
                      </a:lnTo>
                      <a:lnTo>
                        <a:pt x="34" y="60"/>
                      </a:lnTo>
                      <a:lnTo>
                        <a:pt x="32" y="66"/>
                      </a:lnTo>
                      <a:lnTo>
                        <a:pt x="32" y="66"/>
                      </a:lnTo>
                      <a:lnTo>
                        <a:pt x="26" y="68"/>
                      </a:lnTo>
                      <a:lnTo>
                        <a:pt x="26" y="68"/>
                      </a:lnTo>
                      <a:lnTo>
                        <a:pt x="22" y="66"/>
                      </a:lnTo>
                      <a:lnTo>
                        <a:pt x="22" y="66"/>
                      </a:lnTo>
                      <a:lnTo>
                        <a:pt x="18" y="60"/>
                      </a:lnTo>
                      <a:lnTo>
                        <a:pt x="18" y="60"/>
                      </a:lnTo>
                      <a:lnTo>
                        <a:pt x="16" y="40"/>
                      </a:lnTo>
                      <a:lnTo>
                        <a:pt x="16" y="40"/>
                      </a:lnTo>
                      <a:lnTo>
                        <a:pt x="18" y="20"/>
                      </a:lnTo>
                      <a:lnTo>
                        <a:pt x="18" y="20"/>
                      </a:lnTo>
                      <a:lnTo>
                        <a:pt x="22" y="14"/>
                      </a:lnTo>
                      <a:lnTo>
                        <a:pt x="22" y="14"/>
                      </a:lnTo>
                      <a:lnTo>
                        <a:pt x="26" y="12"/>
                      </a:lnTo>
                      <a:lnTo>
                        <a:pt x="26" y="12"/>
                      </a:lnTo>
                      <a:lnTo>
                        <a:pt x="32" y="14"/>
                      </a:lnTo>
                      <a:lnTo>
                        <a:pt x="32" y="1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" pitchFamily="34" charset="0"/>
                  </a:endParaRPr>
                </a:p>
              </p:txBody>
            </p:sp>
            <p:sp>
              <p:nvSpPr>
                <p:cNvPr id="218" name="Freeform 22"/>
                <p:cNvSpPr>
                  <a:spLocks/>
                </p:cNvSpPr>
                <p:nvPr/>
              </p:nvSpPr>
              <p:spPr bwMode="auto">
                <a:xfrm>
                  <a:off x="6072735" y="4958627"/>
                  <a:ext cx="25888" cy="60914"/>
                </a:xfrm>
                <a:custGeom>
                  <a:avLst/>
                  <a:gdLst>
                    <a:gd name="T0" fmla="*/ 34 w 34"/>
                    <a:gd name="T1" fmla="*/ 0 h 80"/>
                    <a:gd name="T2" fmla="*/ 22 w 34"/>
                    <a:gd name="T3" fmla="*/ 0 h 80"/>
                    <a:gd name="T4" fmla="*/ 22 w 34"/>
                    <a:gd name="T5" fmla="*/ 0 h 80"/>
                    <a:gd name="T6" fmla="*/ 18 w 34"/>
                    <a:gd name="T7" fmla="*/ 6 h 80"/>
                    <a:gd name="T8" fmla="*/ 12 w 34"/>
                    <a:gd name="T9" fmla="*/ 12 h 80"/>
                    <a:gd name="T10" fmla="*/ 12 w 34"/>
                    <a:gd name="T11" fmla="*/ 12 h 80"/>
                    <a:gd name="T12" fmla="*/ 6 w 34"/>
                    <a:gd name="T13" fmla="*/ 18 h 80"/>
                    <a:gd name="T14" fmla="*/ 0 w 34"/>
                    <a:gd name="T15" fmla="*/ 20 h 80"/>
                    <a:gd name="T16" fmla="*/ 0 w 34"/>
                    <a:gd name="T17" fmla="*/ 34 h 80"/>
                    <a:gd name="T18" fmla="*/ 0 w 34"/>
                    <a:gd name="T19" fmla="*/ 34 h 80"/>
                    <a:gd name="T20" fmla="*/ 10 w 34"/>
                    <a:gd name="T21" fmla="*/ 30 h 80"/>
                    <a:gd name="T22" fmla="*/ 20 w 34"/>
                    <a:gd name="T23" fmla="*/ 22 h 80"/>
                    <a:gd name="T24" fmla="*/ 20 w 34"/>
                    <a:gd name="T25" fmla="*/ 80 h 80"/>
                    <a:gd name="T26" fmla="*/ 34 w 34"/>
                    <a:gd name="T27" fmla="*/ 80 h 80"/>
                    <a:gd name="T28" fmla="*/ 34 w 34"/>
                    <a:gd name="T29" fmla="*/ 0 h 80"/>
                    <a:gd name="T30" fmla="*/ 34 w 34"/>
                    <a:gd name="T31" fmla="*/ 0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4" h="80">
                      <a:moveTo>
                        <a:pt x="34" y="0"/>
                      </a:move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18" y="6"/>
                      </a:lnTo>
                      <a:lnTo>
                        <a:pt x="12" y="12"/>
                      </a:lnTo>
                      <a:lnTo>
                        <a:pt x="12" y="12"/>
                      </a:lnTo>
                      <a:lnTo>
                        <a:pt x="6" y="18"/>
                      </a:lnTo>
                      <a:lnTo>
                        <a:pt x="0" y="20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10" y="30"/>
                      </a:lnTo>
                      <a:lnTo>
                        <a:pt x="20" y="22"/>
                      </a:lnTo>
                      <a:lnTo>
                        <a:pt x="20" y="80"/>
                      </a:lnTo>
                      <a:lnTo>
                        <a:pt x="34" y="80"/>
                      </a:lnTo>
                      <a:lnTo>
                        <a:pt x="34" y="0"/>
                      </a:lnTo>
                      <a:lnTo>
                        <a:pt x="34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" pitchFamily="34" charset="0"/>
                  </a:endParaRPr>
                </a:p>
              </p:txBody>
            </p:sp>
            <p:sp>
              <p:nvSpPr>
                <p:cNvPr id="220" name="Donut 219"/>
                <p:cNvSpPr/>
                <p:nvPr/>
              </p:nvSpPr>
              <p:spPr>
                <a:xfrm>
                  <a:off x="5246514" y="4540227"/>
                  <a:ext cx="931983" cy="931983"/>
                </a:xfrm>
                <a:prstGeom prst="donut">
                  <a:avLst>
                    <a:gd name="adj" fmla="val 4369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  <a:latin typeface="Segoe UI" pitchFamily="34" charset="0"/>
                  </a:endParaRPr>
                </a:p>
              </p:txBody>
            </p:sp>
          </p:grpSp>
          <p:grpSp>
            <p:nvGrpSpPr>
              <p:cNvPr id="245" name="Group 244"/>
              <p:cNvGrpSpPr/>
              <p:nvPr/>
            </p:nvGrpSpPr>
            <p:grpSpPr>
              <a:xfrm>
                <a:off x="7941928" y="2396285"/>
                <a:ext cx="479702" cy="476201"/>
                <a:chOff x="5036505" y="2981224"/>
                <a:chExt cx="479702" cy="476201"/>
              </a:xfrm>
            </p:grpSpPr>
            <p:sp>
              <p:nvSpPr>
                <p:cNvPr id="219" name="Trapezoid 5"/>
                <p:cNvSpPr/>
                <p:nvPr/>
              </p:nvSpPr>
              <p:spPr>
                <a:xfrm rot="16200000">
                  <a:off x="5038255" y="2979474"/>
                  <a:ext cx="476201" cy="4797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92837" h="1000137">
                      <a:moveTo>
                        <a:pt x="992837" y="605964"/>
                      </a:moveTo>
                      <a:lnTo>
                        <a:pt x="865595" y="605964"/>
                      </a:lnTo>
                      <a:lnTo>
                        <a:pt x="865595" y="990897"/>
                      </a:lnTo>
                      <a:cubicBezTo>
                        <a:pt x="865595" y="996000"/>
                        <a:pt x="861458" y="1000137"/>
                        <a:pt x="856355" y="1000137"/>
                      </a:cubicBezTo>
                      <a:lnTo>
                        <a:pt x="131990" y="1000137"/>
                      </a:lnTo>
                      <a:cubicBezTo>
                        <a:pt x="126887" y="1000137"/>
                        <a:pt x="122750" y="996000"/>
                        <a:pt x="122750" y="990897"/>
                      </a:cubicBezTo>
                      <a:lnTo>
                        <a:pt x="122750" y="605964"/>
                      </a:lnTo>
                      <a:lnTo>
                        <a:pt x="0" y="605964"/>
                      </a:lnTo>
                      <a:lnTo>
                        <a:pt x="116715" y="0"/>
                      </a:lnTo>
                      <a:lnTo>
                        <a:pt x="876122" y="0"/>
                      </a:lnTo>
                      <a:close/>
                    </a:path>
                  </a:pathLst>
                </a:custGeom>
                <a:solidFill>
                  <a:srgbClr val="0099F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latin typeface="Segoe UI" pitchFamily="34" charset="0"/>
                  </a:endParaRPr>
                </a:p>
              </p:txBody>
            </p:sp>
            <p:sp>
              <p:nvSpPr>
                <p:cNvPr id="221" name="Rectangle 4"/>
                <p:cNvSpPr/>
                <p:nvPr/>
              </p:nvSpPr>
              <p:spPr>
                <a:xfrm>
                  <a:off x="5052147" y="3007268"/>
                  <a:ext cx="446744" cy="4248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53672" h="2154513">
                      <a:moveTo>
                        <a:pt x="1738560" y="1548363"/>
                      </a:moveTo>
                      <a:lnTo>
                        <a:pt x="1738560" y="1758675"/>
                      </a:lnTo>
                      <a:lnTo>
                        <a:pt x="2104320" y="1758675"/>
                      </a:lnTo>
                      <a:lnTo>
                        <a:pt x="2104320" y="1548363"/>
                      </a:lnTo>
                      <a:close/>
                      <a:moveTo>
                        <a:pt x="1738560" y="1261283"/>
                      </a:moveTo>
                      <a:lnTo>
                        <a:pt x="1738560" y="1471595"/>
                      </a:lnTo>
                      <a:lnTo>
                        <a:pt x="2104320" y="1471595"/>
                      </a:lnTo>
                      <a:lnTo>
                        <a:pt x="2104320" y="1261283"/>
                      </a:lnTo>
                      <a:close/>
                      <a:moveTo>
                        <a:pt x="1738560" y="974205"/>
                      </a:moveTo>
                      <a:lnTo>
                        <a:pt x="1738560" y="1184517"/>
                      </a:lnTo>
                      <a:lnTo>
                        <a:pt x="2104320" y="1184517"/>
                      </a:lnTo>
                      <a:lnTo>
                        <a:pt x="2104320" y="974205"/>
                      </a:lnTo>
                      <a:close/>
                      <a:moveTo>
                        <a:pt x="1738560" y="687127"/>
                      </a:moveTo>
                      <a:lnTo>
                        <a:pt x="1738560" y="897439"/>
                      </a:lnTo>
                      <a:lnTo>
                        <a:pt x="2104320" y="897439"/>
                      </a:lnTo>
                      <a:lnTo>
                        <a:pt x="2104320" y="687127"/>
                      </a:lnTo>
                      <a:close/>
                      <a:moveTo>
                        <a:pt x="927711" y="672099"/>
                      </a:moveTo>
                      <a:lnTo>
                        <a:pt x="770548" y="681624"/>
                      </a:lnTo>
                      <a:lnTo>
                        <a:pt x="653867" y="953087"/>
                      </a:lnTo>
                      <a:lnTo>
                        <a:pt x="556236" y="691149"/>
                      </a:lnTo>
                      <a:lnTo>
                        <a:pt x="403836" y="698293"/>
                      </a:lnTo>
                      <a:lnTo>
                        <a:pt x="565761" y="1065006"/>
                      </a:lnTo>
                      <a:lnTo>
                        <a:pt x="387167" y="1431718"/>
                      </a:lnTo>
                      <a:lnTo>
                        <a:pt x="541948" y="1438862"/>
                      </a:lnTo>
                      <a:lnTo>
                        <a:pt x="653867" y="1176924"/>
                      </a:lnTo>
                      <a:lnTo>
                        <a:pt x="768167" y="1455531"/>
                      </a:lnTo>
                      <a:lnTo>
                        <a:pt x="932473" y="1457912"/>
                      </a:lnTo>
                      <a:lnTo>
                        <a:pt x="744354" y="1065006"/>
                      </a:lnTo>
                      <a:close/>
                      <a:moveTo>
                        <a:pt x="1738560" y="400049"/>
                      </a:moveTo>
                      <a:lnTo>
                        <a:pt x="1738560" y="610361"/>
                      </a:lnTo>
                      <a:lnTo>
                        <a:pt x="2104320" y="610361"/>
                      </a:lnTo>
                      <a:lnTo>
                        <a:pt x="2104320" y="400049"/>
                      </a:lnTo>
                      <a:close/>
                      <a:moveTo>
                        <a:pt x="1357560" y="249239"/>
                      </a:moveTo>
                      <a:lnTo>
                        <a:pt x="2230092" y="249239"/>
                      </a:lnTo>
                      <a:cubicBezTo>
                        <a:pt x="2243115" y="249239"/>
                        <a:pt x="2253672" y="259796"/>
                        <a:pt x="2253672" y="272819"/>
                      </a:cubicBezTo>
                      <a:lnTo>
                        <a:pt x="2253672" y="1880723"/>
                      </a:lnTo>
                      <a:cubicBezTo>
                        <a:pt x="2253672" y="1893746"/>
                        <a:pt x="2243115" y="1904303"/>
                        <a:pt x="2230092" y="1904303"/>
                      </a:cubicBezTo>
                      <a:lnTo>
                        <a:pt x="1357560" y="1904303"/>
                      </a:lnTo>
                      <a:lnTo>
                        <a:pt x="1357560" y="1758675"/>
                      </a:lnTo>
                      <a:lnTo>
                        <a:pt x="1677600" y="1758675"/>
                      </a:lnTo>
                      <a:lnTo>
                        <a:pt x="1677600" y="1548363"/>
                      </a:lnTo>
                      <a:lnTo>
                        <a:pt x="1357560" y="1548363"/>
                      </a:lnTo>
                      <a:lnTo>
                        <a:pt x="1357560" y="1471595"/>
                      </a:lnTo>
                      <a:lnTo>
                        <a:pt x="1677600" y="1471595"/>
                      </a:lnTo>
                      <a:lnTo>
                        <a:pt x="1677600" y="1261283"/>
                      </a:lnTo>
                      <a:lnTo>
                        <a:pt x="1357560" y="1261283"/>
                      </a:lnTo>
                      <a:lnTo>
                        <a:pt x="1357560" y="1184517"/>
                      </a:lnTo>
                      <a:lnTo>
                        <a:pt x="1677600" y="1184517"/>
                      </a:lnTo>
                      <a:lnTo>
                        <a:pt x="1677600" y="974205"/>
                      </a:lnTo>
                      <a:lnTo>
                        <a:pt x="1357560" y="974205"/>
                      </a:lnTo>
                      <a:lnTo>
                        <a:pt x="1357560" y="897439"/>
                      </a:lnTo>
                      <a:lnTo>
                        <a:pt x="1677600" y="897439"/>
                      </a:lnTo>
                      <a:lnTo>
                        <a:pt x="1677600" y="687127"/>
                      </a:lnTo>
                      <a:lnTo>
                        <a:pt x="1357560" y="687127"/>
                      </a:lnTo>
                      <a:lnTo>
                        <a:pt x="1357560" y="610361"/>
                      </a:lnTo>
                      <a:lnTo>
                        <a:pt x="1677600" y="610361"/>
                      </a:lnTo>
                      <a:lnTo>
                        <a:pt x="1677600" y="400049"/>
                      </a:lnTo>
                      <a:lnTo>
                        <a:pt x="1357560" y="400049"/>
                      </a:lnTo>
                      <a:close/>
                      <a:moveTo>
                        <a:pt x="1298713" y="0"/>
                      </a:moveTo>
                      <a:lnTo>
                        <a:pt x="1298713" y="2154513"/>
                      </a:lnTo>
                      <a:lnTo>
                        <a:pt x="0" y="1932953"/>
                      </a:lnTo>
                      <a:lnTo>
                        <a:pt x="0" y="223423"/>
                      </a:lnTo>
                      <a:close/>
                    </a:path>
                  </a:pathLst>
                </a:custGeom>
                <a:solidFill>
                  <a:srgbClr val="00206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latin typeface="Segoe UI" pitchFamily="34" charset="0"/>
                  </a:endParaRPr>
                </a:p>
              </p:txBody>
            </p:sp>
          </p:grpSp>
        </p:grpSp>
        <p:grpSp>
          <p:nvGrpSpPr>
            <p:cNvPr id="254" name="Group 253"/>
            <p:cNvGrpSpPr/>
            <p:nvPr/>
          </p:nvGrpSpPr>
          <p:grpSpPr>
            <a:xfrm>
              <a:off x="6436222" y="3013974"/>
              <a:ext cx="735943" cy="920450"/>
              <a:chOff x="4550613" y="2075367"/>
              <a:chExt cx="537531" cy="920450"/>
            </a:xfrm>
          </p:grpSpPr>
          <p:sp>
            <p:nvSpPr>
              <p:cNvPr id="251" name="Freeform 5"/>
              <p:cNvSpPr>
                <a:spLocks/>
              </p:cNvSpPr>
              <p:nvPr/>
            </p:nvSpPr>
            <p:spPr bwMode="auto">
              <a:xfrm>
                <a:off x="4649236" y="2075367"/>
                <a:ext cx="438908" cy="336813"/>
              </a:xfrm>
              <a:custGeom>
                <a:avLst/>
                <a:gdLst>
                  <a:gd name="T0" fmla="*/ 3780 w 3790"/>
                  <a:gd name="T1" fmla="*/ 1582 h 2332"/>
                  <a:gd name="T2" fmla="*/ 3710 w 3790"/>
                  <a:gd name="T3" fmla="*/ 1358 h 2332"/>
                  <a:gd name="T4" fmla="*/ 3580 w 3790"/>
                  <a:gd name="T5" fmla="*/ 1158 h 2332"/>
                  <a:gd name="T6" fmla="*/ 3400 w 3790"/>
                  <a:gd name="T7" fmla="*/ 1004 h 2332"/>
                  <a:gd name="T8" fmla="*/ 3286 w 3790"/>
                  <a:gd name="T9" fmla="*/ 944 h 2332"/>
                  <a:gd name="T10" fmla="*/ 3280 w 3790"/>
                  <a:gd name="T11" fmla="*/ 908 h 2332"/>
                  <a:gd name="T12" fmla="*/ 3260 w 3790"/>
                  <a:gd name="T13" fmla="*/ 796 h 2332"/>
                  <a:gd name="T14" fmla="*/ 3220 w 3790"/>
                  <a:gd name="T15" fmla="*/ 690 h 2332"/>
                  <a:gd name="T16" fmla="*/ 3162 w 3790"/>
                  <a:gd name="T17" fmla="*/ 596 h 2332"/>
                  <a:gd name="T18" fmla="*/ 3088 w 3790"/>
                  <a:gd name="T19" fmla="*/ 516 h 2332"/>
                  <a:gd name="T20" fmla="*/ 2998 w 3790"/>
                  <a:gd name="T21" fmla="*/ 450 h 2332"/>
                  <a:gd name="T22" fmla="*/ 2898 w 3790"/>
                  <a:gd name="T23" fmla="*/ 402 h 2332"/>
                  <a:gd name="T24" fmla="*/ 2788 w 3790"/>
                  <a:gd name="T25" fmla="*/ 374 h 2332"/>
                  <a:gd name="T26" fmla="*/ 2700 w 3790"/>
                  <a:gd name="T27" fmla="*/ 368 h 2332"/>
                  <a:gd name="T28" fmla="*/ 2522 w 3790"/>
                  <a:gd name="T29" fmla="*/ 396 h 2332"/>
                  <a:gd name="T30" fmla="*/ 2366 w 3790"/>
                  <a:gd name="T31" fmla="*/ 472 h 2332"/>
                  <a:gd name="T32" fmla="*/ 2256 w 3790"/>
                  <a:gd name="T33" fmla="*/ 324 h 2332"/>
                  <a:gd name="T34" fmla="*/ 2070 w 3790"/>
                  <a:gd name="T35" fmla="*/ 164 h 2332"/>
                  <a:gd name="T36" fmla="*/ 1848 w 3790"/>
                  <a:gd name="T37" fmla="*/ 54 h 2332"/>
                  <a:gd name="T38" fmla="*/ 1596 w 3790"/>
                  <a:gd name="T39" fmla="*/ 2 h 2332"/>
                  <a:gd name="T40" fmla="*/ 1430 w 3790"/>
                  <a:gd name="T41" fmla="*/ 6 h 2332"/>
                  <a:gd name="T42" fmla="*/ 1240 w 3790"/>
                  <a:gd name="T43" fmla="*/ 44 h 2332"/>
                  <a:gd name="T44" fmla="*/ 1064 w 3790"/>
                  <a:gd name="T45" fmla="*/ 118 h 2332"/>
                  <a:gd name="T46" fmla="*/ 908 w 3790"/>
                  <a:gd name="T47" fmla="*/ 224 h 2332"/>
                  <a:gd name="T48" fmla="*/ 776 w 3790"/>
                  <a:gd name="T49" fmla="*/ 356 h 2332"/>
                  <a:gd name="T50" fmla="*/ 672 w 3790"/>
                  <a:gd name="T51" fmla="*/ 512 h 2332"/>
                  <a:gd name="T52" fmla="*/ 598 w 3790"/>
                  <a:gd name="T53" fmla="*/ 688 h 2332"/>
                  <a:gd name="T54" fmla="*/ 558 w 3790"/>
                  <a:gd name="T55" fmla="*/ 878 h 2332"/>
                  <a:gd name="T56" fmla="*/ 554 w 3790"/>
                  <a:gd name="T57" fmla="*/ 1012 h 2332"/>
                  <a:gd name="T58" fmla="*/ 560 w 3790"/>
                  <a:gd name="T59" fmla="*/ 1056 h 2332"/>
                  <a:gd name="T60" fmla="*/ 388 w 3790"/>
                  <a:gd name="T61" fmla="*/ 1120 h 2332"/>
                  <a:gd name="T62" fmla="*/ 198 w 3790"/>
                  <a:gd name="T63" fmla="*/ 1252 h 2332"/>
                  <a:gd name="T64" fmla="*/ 92 w 3790"/>
                  <a:gd name="T65" fmla="*/ 1384 h 2332"/>
                  <a:gd name="T66" fmla="*/ 42 w 3790"/>
                  <a:gd name="T67" fmla="*/ 1484 h 2332"/>
                  <a:gd name="T68" fmla="*/ 10 w 3790"/>
                  <a:gd name="T69" fmla="*/ 1594 h 2332"/>
                  <a:gd name="T70" fmla="*/ 0 w 3790"/>
                  <a:gd name="T71" fmla="*/ 1712 h 2332"/>
                  <a:gd name="T72" fmla="*/ 8 w 3790"/>
                  <a:gd name="T73" fmla="*/ 1816 h 2332"/>
                  <a:gd name="T74" fmla="*/ 44 w 3790"/>
                  <a:gd name="T75" fmla="*/ 1942 h 2332"/>
                  <a:gd name="T76" fmla="*/ 106 w 3790"/>
                  <a:gd name="T77" fmla="*/ 2052 h 2332"/>
                  <a:gd name="T78" fmla="*/ 192 w 3790"/>
                  <a:gd name="T79" fmla="*/ 2146 h 2332"/>
                  <a:gd name="T80" fmla="*/ 298 w 3790"/>
                  <a:gd name="T81" fmla="*/ 2222 h 2332"/>
                  <a:gd name="T82" fmla="*/ 420 w 3790"/>
                  <a:gd name="T83" fmla="*/ 2278 h 2332"/>
                  <a:gd name="T84" fmla="*/ 558 w 3790"/>
                  <a:gd name="T85" fmla="*/ 2316 h 2332"/>
                  <a:gd name="T86" fmla="*/ 706 w 3790"/>
                  <a:gd name="T87" fmla="*/ 2332 h 2332"/>
                  <a:gd name="T88" fmla="*/ 3106 w 3790"/>
                  <a:gd name="T89" fmla="*/ 2322 h 2332"/>
                  <a:gd name="T90" fmla="*/ 3360 w 3790"/>
                  <a:gd name="T91" fmla="*/ 2260 h 2332"/>
                  <a:gd name="T92" fmla="*/ 3486 w 3790"/>
                  <a:gd name="T93" fmla="*/ 2204 h 2332"/>
                  <a:gd name="T94" fmla="*/ 3594 w 3790"/>
                  <a:gd name="T95" fmla="*/ 2132 h 2332"/>
                  <a:gd name="T96" fmla="*/ 3682 w 3790"/>
                  <a:gd name="T97" fmla="*/ 2044 h 2332"/>
                  <a:gd name="T98" fmla="*/ 3744 w 3790"/>
                  <a:gd name="T99" fmla="*/ 1936 h 2332"/>
                  <a:gd name="T100" fmla="*/ 3782 w 3790"/>
                  <a:gd name="T101" fmla="*/ 1810 h 2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790" h="2332">
                    <a:moveTo>
                      <a:pt x="3790" y="1700"/>
                    </a:moveTo>
                    <a:lnTo>
                      <a:pt x="3790" y="1700"/>
                    </a:lnTo>
                    <a:lnTo>
                      <a:pt x="3788" y="1642"/>
                    </a:lnTo>
                    <a:lnTo>
                      <a:pt x="3780" y="1582"/>
                    </a:lnTo>
                    <a:lnTo>
                      <a:pt x="3770" y="1524"/>
                    </a:lnTo>
                    <a:lnTo>
                      <a:pt x="3754" y="1468"/>
                    </a:lnTo>
                    <a:lnTo>
                      <a:pt x="3734" y="1412"/>
                    </a:lnTo>
                    <a:lnTo>
                      <a:pt x="3710" y="1358"/>
                    </a:lnTo>
                    <a:lnTo>
                      <a:pt x="3684" y="1304"/>
                    </a:lnTo>
                    <a:lnTo>
                      <a:pt x="3652" y="1254"/>
                    </a:lnTo>
                    <a:lnTo>
                      <a:pt x="3618" y="1206"/>
                    </a:lnTo>
                    <a:lnTo>
                      <a:pt x="3580" y="1158"/>
                    </a:lnTo>
                    <a:lnTo>
                      <a:pt x="3540" y="1116"/>
                    </a:lnTo>
                    <a:lnTo>
                      <a:pt x="3496" y="1076"/>
                    </a:lnTo>
                    <a:lnTo>
                      <a:pt x="3448" y="1038"/>
                    </a:lnTo>
                    <a:lnTo>
                      <a:pt x="3400" y="1004"/>
                    </a:lnTo>
                    <a:lnTo>
                      <a:pt x="3348" y="974"/>
                    </a:lnTo>
                    <a:lnTo>
                      <a:pt x="3294" y="948"/>
                    </a:lnTo>
                    <a:lnTo>
                      <a:pt x="3294" y="948"/>
                    </a:lnTo>
                    <a:lnTo>
                      <a:pt x="3286" y="944"/>
                    </a:lnTo>
                    <a:lnTo>
                      <a:pt x="3280" y="938"/>
                    </a:lnTo>
                    <a:lnTo>
                      <a:pt x="3280" y="938"/>
                    </a:lnTo>
                    <a:lnTo>
                      <a:pt x="3280" y="938"/>
                    </a:lnTo>
                    <a:lnTo>
                      <a:pt x="3280" y="908"/>
                    </a:lnTo>
                    <a:lnTo>
                      <a:pt x="3278" y="880"/>
                    </a:lnTo>
                    <a:lnTo>
                      <a:pt x="3272" y="852"/>
                    </a:lnTo>
                    <a:lnTo>
                      <a:pt x="3268" y="822"/>
                    </a:lnTo>
                    <a:lnTo>
                      <a:pt x="3260" y="796"/>
                    </a:lnTo>
                    <a:lnTo>
                      <a:pt x="3252" y="768"/>
                    </a:lnTo>
                    <a:lnTo>
                      <a:pt x="3244" y="742"/>
                    </a:lnTo>
                    <a:lnTo>
                      <a:pt x="3232" y="716"/>
                    </a:lnTo>
                    <a:lnTo>
                      <a:pt x="3220" y="690"/>
                    </a:lnTo>
                    <a:lnTo>
                      <a:pt x="3208" y="666"/>
                    </a:lnTo>
                    <a:lnTo>
                      <a:pt x="3194" y="642"/>
                    </a:lnTo>
                    <a:lnTo>
                      <a:pt x="3178" y="618"/>
                    </a:lnTo>
                    <a:lnTo>
                      <a:pt x="3162" y="596"/>
                    </a:lnTo>
                    <a:lnTo>
                      <a:pt x="3144" y="574"/>
                    </a:lnTo>
                    <a:lnTo>
                      <a:pt x="3126" y="554"/>
                    </a:lnTo>
                    <a:lnTo>
                      <a:pt x="3108" y="534"/>
                    </a:lnTo>
                    <a:lnTo>
                      <a:pt x="3088" y="516"/>
                    </a:lnTo>
                    <a:lnTo>
                      <a:pt x="3066" y="498"/>
                    </a:lnTo>
                    <a:lnTo>
                      <a:pt x="3044" y="480"/>
                    </a:lnTo>
                    <a:lnTo>
                      <a:pt x="3022" y="464"/>
                    </a:lnTo>
                    <a:lnTo>
                      <a:pt x="2998" y="450"/>
                    </a:lnTo>
                    <a:lnTo>
                      <a:pt x="2974" y="436"/>
                    </a:lnTo>
                    <a:lnTo>
                      <a:pt x="2950" y="424"/>
                    </a:lnTo>
                    <a:lnTo>
                      <a:pt x="2924" y="412"/>
                    </a:lnTo>
                    <a:lnTo>
                      <a:pt x="2898" y="402"/>
                    </a:lnTo>
                    <a:lnTo>
                      <a:pt x="2870" y="394"/>
                    </a:lnTo>
                    <a:lnTo>
                      <a:pt x="2844" y="386"/>
                    </a:lnTo>
                    <a:lnTo>
                      <a:pt x="2816" y="380"/>
                    </a:lnTo>
                    <a:lnTo>
                      <a:pt x="2788" y="374"/>
                    </a:lnTo>
                    <a:lnTo>
                      <a:pt x="2758" y="370"/>
                    </a:lnTo>
                    <a:lnTo>
                      <a:pt x="2730" y="368"/>
                    </a:lnTo>
                    <a:lnTo>
                      <a:pt x="2700" y="368"/>
                    </a:lnTo>
                    <a:lnTo>
                      <a:pt x="2700" y="368"/>
                    </a:lnTo>
                    <a:lnTo>
                      <a:pt x="2654" y="370"/>
                    </a:lnTo>
                    <a:lnTo>
                      <a:pt x="2608" y="374"/>
                    </a:lnTo>
                    <a:lnTo>
                      <a:pt x="2564" y="384"/>
                    </a:lnTo>
                    <a:lnTo>
                      <a:pt x="2522" y="396"/>
                    </a:lnTo>
                    <a:lnTo>
                      <a:pt x="2482" y="410"/>
                    </a:lnTo>
                    <a:lnTo>
                      <a:pt x="2442" y="428"/>
                    </a:lnTo>
                    <a:lnTo>
                      <a:pt x="2404" y="450"/>
                    </a:lnTo>
                    <a:lnTo>
                      <a:pt x="2366" y="472"/>
                    </a:lnTo>
                    <a:lnTo>
                      <a:pt x="2366" y="472"/>
                    </a:lnTo>
                    <a:lnTo>
                      <a:pt x="2334" y="420"/>
                    </a:lnTo>
                    <a:lnTo>
                      <a:pt x="2296" y="372"/>
                    </a:lnTo>
                    <a:lnTo>
                      <a:pt x="2256" y="324"/>
                    </a:lnTo>
                    <a:lnTo>
                      <a:pt x="2214" y="280"/>
                    </a:lnTo>
                    <a:lnTo>
                      <a:pt x="2168" y="238"/>
                    </a:lnTo>
                    <a:lnTo>
                      <a:pt x="2120" y="198"/>
                    </a:lnTo>
                    <a:lnTo>
                      <a:pt x="2070" y="164"/>
                    </a:lnTo>
                    <a:lnTo>
                      <a:pt x="2018" y="130"/>
                    </a:lnTo>
                    <a:lnTo>
                      <a:pt x="1962" y="102"/>
                    </a:lnTo>
                    <a:lnTo>
                      <a:pt x="1906" y="76"/>
                    </a:lnTo>
                    <a:lnTo>
                      <a:pt x="1848" y="54"/>
                    </a:lnTo>
                    <a:lnTo>
                      <a:pt x="1786" y="34"/>
                    </a:lnTo>
                    <a:lnTo>
                      <a:pt x="1724" y="20"/>
                    </a:lnTo>
                    <a:lnTo>
                      <a:pt x="1662" y="10"/>
                    </a:lnTo>
                    <a:lnTo>
                      <a:pt x="1596" y="2"/>
                    </a:lnTo>
                    <a:lnTo>
                      <a:pt x="1530" y="0"/>
                    </a:lnTo>
                    <a:lnTo>
                      <a:pt x="1530" y="0"/>
                    </a:lnTo>
                    <a:lnTo>
                      <a:pt x="1480" y="2"/>
                    </a:lnTo>
                    <a:lnTo>
                      <a:pt x="1430" y="6"/>
                    </a:lnTo>
                    <a:lnTo>
                      <a:pt x="1382" y="12"/>
                    </a:lnTo>
                    <a:lnTo>
                      <a:pt x="1334" y="20"/>
                    </a:lnTo>
                    <a:lnTo>
                      <a:pt x="1286" y="32"/>
                    </a:lnTo>
                    <a:lnTo>
                      <a:pt x="1240" y="44"/>
                    </a:lnTo>
                    <a:lnTo>
                      <a:pt x="1194" y="60"/>
                    </a:lnTo>
                    <a:lnTo>
                      <a:pt x="1150" y="78"/>
                    </a:lnTo>
                    <a:lnTo>
                      <a:pt x="1106" y="96"/>
                    </a:lnTo>
                    <a:lnTo>
                      <a:pt x="1064" y="118"/>
                    </a:lnTo>
                    <a:lnTo>
                      <a:pt x="1024" y="142"/>
                    </a:lnTo>
                    <a:lnTo>
                      <a:pt x="984" y="168"/>
                    </a:lnTo>
                    <a:lnTo>
                      <a:pt x="946" y="194"/>
                    </a:lnTo>
                    <a:lnTo>
                      <a:pt x="908" y="224"/>
                    </a:lnTo>
                    <a:lnTo>
                      <a:pt x="874" y="254"/>
                    </a:lnTo>
                    <a:lnTo>
                      <a:pt x="840" y="286"/>
                    </a:lnTo>
                    <a:lnTo>
                      <a:pt x="808" y="320"/>
                    </a:lnTo>
                    <a:lnTo>
                      <a:pt x="776" y="356"/>
                    </a:lnTo>
                    <a:lnTo>
                      <a:pt x="748" y="394"/>
                    </a:lnTo>
                    <a:lnTo>
                      <a:pt x="720" y="432"/>
                    </a:lnTo>
                    <a:lnTo>
                      <a:pt x="694" y="470"/>
                    </a:lnTo>
                    <a:lnTo>
                      <a:pt x="672" y="512"/>
                    </a:lnTo>
                    <a:lnTo>
                      <a:pt x="650" y="554"/>
                    </a:lnTo>
                    <a:lnTo>
                      <a:pt x="630" y="598"/>
                    </a:lnTo>
                    <a:lnTo>
                      <a:pt x="612" y="642"/>
                    </a:lnTo>
                    <a:lnTo>
                      <a:pt x="598" y="688"/>
                    </a:lnTo>
                    <a:lnTo>
                      <a:pt x="584" y="734"/>
                    </a:lnTo>
                    <a:lnTo>
                      <a:pt x="574" y="780"/>
                    </a:lnTo>
                    <a:lnTo>
                      <a:pt x="564" y="828"/>
                    </a:lnTo>
                    <a:lnTo>
                      <a:pt x="558" y="878"/>
                    </a:lnTo>
                    <a:lnTo>
                      <a:pt x="554" y="928"/>
                    </a:lnTo>
                    <a:lnTo>
                      <a:pt x="554" y="978"/>
                    </a:lnTo>
                    <a:lnTo>
                      <a:pt x="554" y="978"/>
                    </a:lnTo>
                    <a:lnTo>
                      <a:pt x="554" y="1012"/>
                    </a:lnTo>
                    <a:lnTo>
                      <a:pt x="556" y="1046"/>
                    </a:lnTo>
                    <a:lnTo>
                      <a:pt x="556" y="1046"/>
                    </a:lnTo>
                    <a:lnTo>
                      <a:pt x="556" y="1054"/>
                    </a:lnTo>
                    <a:lnTo>
                      <a:pt x="560" y="1056"/>
                    </a:lnTo>
                    <a:lnTo>
                      <a:pt x="560" y="1056"/>
                    </a:lnTo>
                    <a:lnTo>
                      <a:pt x="502" y="1074"/>
                    </a:lnTo>
                    <a:lnTo>
                      <a:pt x="444" y="1094"/>
                    </a:lnTo>
                    <a:lnTo>
                      <a:pt x="388" y="1120"/>
                    </a:lnTo>
                    <a:lnTo>
                      <a:pt x="336" y="1148"/>
                    </a:lnTo>
                    <a:lnTo>
                      <a:pt x="288" y="1180"/>
                    </a:lnTo>
                    <a:lnTo>
                      <a:pt x="242" y="1214"/>
                    </a:lnTo>
                    <a:lnTo>
                      <a:pt x="198" y="1252"/>
                    </a:lnTo>
                    <a:lnTo>
                      <a:pt x="158" y="1292"/>
                    </a:lnTo>
                    <a:lnTo>
                      <a:pt x="124" y="1336"/>
                    </a:lnTo>
                    <a:lnTo>
                      <a:pt x="106" y="1360"/>
                    </a:lnTo>
                    <a:lnTo>
                      <a:pt x="92" y="1384"/>
                    </a:lnTo>
                    <a:lnTo>
                      <a:pt x="78" y="1408"/>
                    </a:lnTo>
                    <a:lnTo>
                      <a:pt x="64" y="1432"/>
                    </a:lnTo>
                    <a:lnTo>
                      <a:pt x="52" y="1458"/>
                    </a:lnTo>
                    <a:lnTo>
                      <a:pt x="42" y="1484"/>
                    </a:lnTo>
                    <a:lnTo>
                      <a:pt x="32" y="1510"/>
                    </a:lnTo>
                    <a:lnTo>
                      <a:pt x="24" y="1538"/>
                    </a:lnTo>
                    <a:lnTo>
                      <a:pt x="16" y="1566"/>
                    </a:lnTo>
                    <a:lnTo>
                      <a:pt x="10" y="1594"/>
                    </a:lnTo>
                    <a:lnTo>
                      <a:pt x="6" y="1622"/>
                    </a:lnTo>
                    <a:lnTo>
                      <a:pt x="2" y="1652"/>
                    </a:lnTo>
                    <a:lnTo>
                      <a:pt x="0" y="1682"/>
                    </a:lnTo>
                    <a:lnTo>
                      <a:pt x="0" y="1712"/>
                    </a:lnTo>
                    <a:lnTo>
                      <a:pt x="0" y="1712"/>
                    </a:lnTo>
                    <a:lnTo>
                      <a:pt x="0" y="1748"/>
                    </a:lnTo>
                    <a:lnTo>
                      <a:pt x="2" y="1782"/>
                    </a:lnTo>
                    <a:lnTo>
                      <a:pt x="8" y="1816"/>
                    </a:lnTo>
                    <a:lnTo>
                      <a:pt x="14" y="1848"/>
                    </a:lnTo>
                    <a:lnTo>
                      <a:pt x="22" y="1880"/>
                    </a:lnTo>
                    <a:lnTo>
                      <a:pt x="32" y="1912"/>
                    </a:lnTo>
                    <a:lnTo>
                      <a:pt x="44" y="1942"/>
                    </a:lnTo>
                    <a:lnTo>
                      <a:pt x="58" y="1970"/>
                    </a:lnTo>
                    <a:lnTo>
                      <a:pt x="72" y="1998"/>
                    </a:lnTo>
                    <a:lnTo>
                      <a:pt x="88" y="2026"/>
                    </a:lnTo>
                    <a:lnTo>
                      <a:pt x="106" y="2052"/>
                    </a:lnTo>
                    <a:lnTo>
                      <a:pt x="126" y="2076"/>
                    </a:lnTo>
                    <a:lnTo>
                      <a:pt x="146" y="2100"/>
                    </a:lnTo>
                    <a:lnTo>
                      <a:pt x="170" y="2124"/>
                    </a:lnTo>
                    <a:lnTo>
                      <a:pt x="192" y="2146"/>
                    </a:lnTo>
                    <a:lnTo>
                      <a:pt x="218" y="2166"/>
                    </a:lnTo>
                    <a:lnTo>
                      <a:pt x="244" y="2186"/>
                    </a:lnTo>
                    <a:lnTo>
                      <a:pt x="270" y="2204"/>
                    </a:lnTo>
                    <a:lnTo>
                      <a:pt x="298" y="2222"/>
                    </a:lnTo>
                    <a:lnTo>
                      <a:pt x="328" y="2238"/>
                    </a:lnTo>
                    <a:lnTo>
                      <a:pt x="358" y="2252"/>
                    </a:lnTo>
                    <a:lnTo>
                      <a:pt x="388" y="2266"/>
                    </a:lnTo>
                    <a:lnTo>
                      <a:pt x="420" y="2278"/>
                    </a:lnTo>
                    <a:lnTo>
                      <a:pt x="454" y="2290"/>
                    </a:lnTo>
                    <a:lnTo>
                      <a:pt x="488" y="2300"/>
                    </a:lnTo>
                    <a:lnTo>
                      <a:pt x="522" y="2308"/>
                    </a:lnTo>
                    <a:lnTo>
                      <a:pt x="558" y="2316"/>
                    </a:lnTo>
                    <a:lnTo>
                      <a:pt x="594" y="2322"/>
                    </a:lnTo>
                    <a:lnTo>
                      <a:pt x="630" y="2326"/>
                    </a:lnTo>
                    <a:lnTo>
                      <a:pt x="668" y="2330"/>
                    </a:lnTo>
                    <a:lnTo>
                      <a:pt x="706" y="2332"/>
                    </a:lnTo>
                    <a:lnTo>
                      <a:pt x="744" y="2332"/>
                    </a:lnTo>
                    <a:lnTo>
                      <a:pt x="3026" y="2332"/>
                    </a:lnTo>
                    <a:lnTo>
                      <a:pt x="3026" y="2332"/>
                    </a:lnTo>
                    <a:lnTo>
                      <a:pt x="3106" y="2322"/>
                    </a:lnTo>
                    <a:lnTo>
                      <a:pt x="3182" y="2308"/>
                    </a:lnTo>
                    <a:lnTo>
                      <a:pt x="3256" y="2292"/>
                    </a:lnTo>
                    <a:lnTo>
                      <a:pt x="3326" y="2272"/>
                    </a:lnTo>
                    <a:lnTo>
                      <a:pt x="3360" y="2260"/>
                    </a:lnTo>
                    <a:lnTo>
                      <a:pt x="3394" y="2248"/>
                    </a:lnTo>
                    <a:lnTo>
                      <a:pt x="3426" y="2234"/>
                    </a:lnTo>
                    <a:lnTo>
                      <a:pt x="3456" y="2220"/>
                    </a:lnTo>
                    <a:lnTo>
                      <a:pt x="3486" y="2204"/>
                    </a:lnTo>
                    <a:lnTo>
                      <a:pt x="3516" y="2188"/>
                    </a:lnTo>
                    <a:lnTo>
                      <a:pt x="3544" y="2170"/>
                    </a:lnTo>
                    <a:lnTo>
                      <a:pt x="3570" y="2152"/>
                    </a:lnTo>
                    <a:lnTo>
                      <a:pt x="3594" y="2132"/>
                    </a:lnTo>
                    <a:lnTo>
                      <a:pt x="3618" y="2112"/>
                    </a:lnTo>
                    <a:lnTo>
                      <a:pt x="3640" y="2090"/>
                    </a:lnTo>
                    <a:lnTo>
                      <a:pt x="3662" y="2068"/>
                    </a:lnTo>
                    <a:lnTo>
                      <a:pt x="3682" y="2044"/>
                    </a:lnTo>
                    <a:lnTo>
                      <a:pt x="3700" y="2018"/>
                    </a:lnTo>
                    <a:lnTo>
                      <a:pt x="3716" y="1992"/>
                    </a:lnTo>
                    <a:lnTo>
                      <a:pt x="3732" y="1964"/>
                    </a:lnTo>
                    <a:lnTo>
                      <a:pt x="3744" y="1936"/>
                    </a:lnTo>
                    <a:lnTo>
                      <a:pt x="3756" y="1906"/>
                    </a:lnTo>
                    <a:lnTo>
                      <a:pt x="3766" y="1876"/>
                    </a:lnTo>
                    <a:lnTo>
                      <a:pt x="3774" y="1844"/>
                    </a:lnTo>
                    <a:lnTo>
                      <a:pt x="3782" y="1810"/>
                    </a:lnTo>
                    <a:lnTo>
                      <a:pt x="3786" y="1774"/>
                    </a:lnTo>
                    <a:lnTo>
                      <a:pt x="3790" y="1738"/>
                    </a:lnTo>
                    <a:lnTo>
                      <a:pt x="3790" y="170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27" tIns="45714" rIns="91427" bIns="457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268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252" name="Rectangle 30"/>
              <p:cNvSpPr/>
              <p:nvPr/>
            </p:nvSpPr>
            <p:spPr>
              <a:xfrm>
                <a:off x="4710927" y="2550167"/>
                <a:ext cx="247901" cy="445650"/>
              </a:xfrm>
              <a:custGeom>
                <a:avLst/>
                <a:gdLst/>
                <a:ahLst/>
                <a:cxnLst/>
                <a:rect l="l" t="t" r="r" b="b"/>
                <a:pathLst>
                  <a:path w="720878" h="1096858">
                    <a:moveTo>
                      <a:pt x="398934" y="811889"/>
                    </a:moveTo>
                    <a:lnTo>
                      <a:pt x="398934" y="981222"/>
                    </a:lnTo>
                    <a:lnTo>
                      <a:pt x="562623" y="981222"/>
                    </a:lnTo>
                    <a:lnTo>
                      <a:pt x="562623" y="811889"/>
                    </a:lnTo>
                    <a:close/>
                    <a:moveTo>
                      <a:pt x="140837" y="811889"/>
                    </a:moveTo>
                    <a:lnTo>
                      <a:pt x="140837" y="981222"/>
                    </a:lnTo>
                    <a:lnTo>
                      <a:pt x="304526" y="981222"/>
                    </a:lnTo>
                    <a:lnTo>
                      <a:pt x="304526" y="811889"/>
                    </a:lnTo>
                    <a:close/>
                    <a:moveTo>
                      <a:pt x="398934" y="583580"/>
                    </a:moveTo>
                    <a:lnTo>
                      <a:pt x="398934" y="752913"/>
                    </a:lnTo>
                    <a:lnTo>
                      <a:pt x="562623" y="752913"/>
                    </a:lnTo>
                    <a:lnTo>
                      <a:pt x="562623" y="583580"/>
                    </a:lnTo>
                    <a:close/>
                    <a:moveTo>
                      <a:pt x="140837" y="583580"/>
                    </a:moveTo>
                    <a:lnTo>
                      <a:pt x="140837" y="752913"/>
                    </a:lnTo>
                    <a:lnTo>
                      <a:pt x="304526" y="752913"/>
                    </a:lnTo>
                    <a:lnTo>
                      <a:pt x="304526" y="583580"/>
                    </a:lnTo>
                    <a:close/>
                    <a:moveTo>
                      <a:pt x="398934" y="362353"/>
                    </a:moveTo>
                    <a:lnTo>
                      <a:pt x="398934" y="531686"/>
                    </a:lnTo>
                    <a:lnTo>
                      <a:pt x="562623" y="531686"/>
                    </a:lnTo>
                    <a:lnTo>
                      <a:pt x="562623" y="362353"/>
                    </a:lnTo>
                    <a:close/>
                    <a:moveTo>
                      <a:pt x="140837" y="362353"/>
                    </a:moveTo>
                    <a:lnTo>
                      <a:pt x="140837" y="531686"/>
                    </a:lnTo>
                    <a:lnTo>
                      <a:pt x="304526" y="531686"/>
                    </a:lnTo>
                    <a:lnTo>
                      <a:pt x="304526" y="362353"/>
                    </a:lnTo>
                    <a:close/>
                    <a:moveTo>
                      <a:pt x="398934" y="121463"/>
                    </a:moveTo>
                    <a:lnTo>
                      <a:pt x="398934" y="290796"/>
                    </a:lnTo>
                    <a:lnTo>
                      <a:pt x="562623" y="290796"/>
                    </a:lnTo>
                    <a:lnTo>
                      <a:pt x="562623" y="121463"/>
                    </a:lnTo>
                    <a:close/>
                    <a:moveTo>
                      <a:pt x="140837" y="121463"/>
                    </a:moveTo>
                    <a:lnTo>
                      <a:pt x="140837" y="290796"/>
                    </a:lnTo>
                    <a:lnTo>
                      <a:pt x="304526" y="290796"/>
                    </a:lnTo>
                    <a:lnTo>
                      <a:pt x="304526" y="121463"/>
                    </a:lnTo>
                    <a:close/>
                    <a:moveTo>
                      <a:pt x="0" y="0"/>
                    </a:moveTo>
                    <a:lnTo>
                      <a:pt x="720878" y="0"/>
                    </a:lnTo>
                    <a:lnTo>
                      <a:pt x="720878" y="1096858"/>
                    </a:lnTo>
                    <a:lnTo>
                      <a:pt x="0" y="1096858"/>
                    </a:lnTo>
                    <a:close/>
                  </a:path>
                </a:pathLst>
              </a:custGeom>
              <a:solidFill>
                <a:srgbClr val="333333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253" name="Rectangle 31"/>
              <p:cNvSpPr/>
              <p:nvPr/>
            </p:nvSpPr>
            <p:spPr>
              <a:xfrm>
                <a:off x="4550613" y="2258773"/>
                <a:ext cx="263733" cy="737044"/>
              </a:xfrm>
              <a:custGeom>
                <a:avLst/>
                <a:gdLst/>
                <a:ahLst/>
                <a:cxnLst/>
                <a:rect l="l" t="t" r="r" b="b"/>
                <a:pathLst>
                  <a:path w="766916" h="1814051">
                    <a:moveTo>
                      <a:pt x="167877" y="1280651"/>
                    </a:moveTo>
                    <a:lnTo>
                      <a:pt x="167877" y="1449984"/>
                    </a:lnTo>
                    <a:lnTo>
                      <a:pt x="331566" y="1449984"/>
                    </a:lnTo>
                    <a:lnTo>
                      <a:pt x="331566" y="1280651"/>
                    </a:lnTo>
                    <a:close/>
                    <a:moveTo>
                      <a:pt x="167877" y="1066800"/>
                    </a:moveTo>
                    <a:lnTo>
                      <a:pt x="167877" y="1236133"/>
                    </a:lnTo>
                    <a:lnTo>
                      <a:pt x="331566" y="1236133"/>
                    </a:lnTo>
                    <a:lnTo>
                      <a:pt x="331566" y="1066800"/>
                    </a:lnTo>
                    <a:close/>
                    <a:moveTo>
                      <a:pt x="167877" y="838200"/>
                    </a:moveTo>
                    <a:lnTo>
                      <a:pt x="167877" y="1007533"/>
                    </a:lnTo>
                    <a:lnTo>
                      <a:pt x="331566" y="1007533"/>
                    </a:lnTo>
                    <a:lnTo>
                      <a:pt x="331566" y="838200"/>
                    </a:lnTo>
                    <a:close/>
                    <a:moveTo>
                      <a:pt x="167877" y="599477"/>
                    </a:moveTo>
                    <a:lnTo>
                      <a:pt x="167877" y="768810"/>
                    </a:lnTo>
                    <a:lnTo>
                      <a:pt x="331566" y="768810"/>
                    </a:lnTo>
                    <a:lnTo>
                      <a:pt x="331566" y="599477"/>
                    </a:lnTo>
                    <a:close/>
                    <a:moveTo>
                      <a:pt x="433348" y="366252"/>
                    </a:moveTo>
                    <a:lnTo>
                      <a:pt x="433348" y="535585"/>
                    </a:lnTo>
                    <a:lnTo>
                      <a:pt x="597037" y="535585"/>
                    </a:lnTo>
                    <a:lnTo>
                      <a:pt x="597037" y="366252"/>
                    </a:lnTo>
                    <a:close/>
                    <a:moveTo>
                      <a:pt x="167877" y="366251"/>
                    </a:moveTo>
                    <a:lnTo>
                      <a:pt x="167877" y="535584"/>
                    </a:lnTo>
                    <a:lnTo>
                      <a:pt x="331566" y="535584"/>
                    </a:lnTo>
                    <a:lnTo>
                      <a:pt x="331566" y="366251"/>
                    </a:lnTo>
                    <a:close/>
                    <a:moveTo>
                      <a:pt x="433348" y="130277"/>
                    </a:moveTo>
                    <a:lnTo>
                      <a:pt x="433348" y="299610"/>
                    </a:lnTo>
                    <a:lnTo>
                      <a:pt x="597037" y="299610"/>
                    </a:lnTo>
                    <a:lnTo>
                      <a:pt x="597037" y="130277"/>
                    </a:lnTo>
                    <a:close/>
                    <a:moveTo>
                      <a:pt x="167876" y="130277"/>
                    </a:moveTo>
                    <a:lnTo>
                      <a:pt x="167876" y="299610"/>
                    </a:lnTo>
                    <a:lnTo>
                      <a:pt x="331565" y="299610"/>
                    </a:lnTo>
                    <a:lnTo>
                      <a:pt x="331565" y="130277"/>
                    </a:lnTo>
                    <a:close/>
                    <a:moveTo>
                      <a:pt x="0" y="0"/>
                    </a:moveTo>
                    <a:lnTo>
                      <a:pt x="766916" y="0"/>
                    </a:lnTo>
                    <a:lnTo>
                      <a:pt x="766916" y="661479"/>
                    </a:lnTo>
                    <a:lnTo>
                      <a:pt x="406219" y="661479"/>
                    </a:lnTo>
                    <a:lnTo>
                      <a:pt x="406219" y="1814051"/>
                    </a:lnTo>
                    <a:lnTo>
                      <a:pt x="0" y="1814051"/>
                    </a:lnTo>
                    <a:close/>
                  </a:path>
                </a:pathLst>
              </a:custGeom>
              <a:solidFill>
                <a:srgbClr val="333333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</p:grpSp>
      </p:grpSp>
      <p:grpSp>
        <p:nvGrpSpPr>
          <p:cNvPr id="266" name="Group 265"/>
          <p:cNvGrpSpPr/>
          <p:nvPr/>
        </p:nvGrpSpPr>
        <p:grpSpPr>
          <a:xfrm>
            <a:off x="5614570" y="4699966"/>
            <a:ext cx="1354171" cy="1357298"/>
            <a:chOff x="5614570" y="4699966"/>
            <a:chExt cx="1354171" cy="1357298"/>
          </a:xfrm>
        </p:grpSpPr>
        <p:sp>
          <p:nvSpPr>
            <p:cNvPr id="258" name="Rectangle 257"/>
            <p:cNvSpPr/>
            <p:nvPr/>
          </p:nvSpPr>
          <p:spPr bwMode="auto">
            <a:xfrm>
              <a:off x="5614570" y="4699966"/>
              <a:ext cx="1354171" cy="1357298"/>
            </a:xfrm>
            <a:prstGeom prst="rect">
              <a:avLst/>
            </a:prstGeom>
            <a:solidFill>
              <a:srgbClr val="CCECF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248694" tIns="124347" rIns="248694" bIns="19895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74320" marR="0" lvl="0" indent="0" defTabSz="1268069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4" b="0" i="0" u="none" strike="noStrike" kern="0" cap="none" spc="0" normalizeH="0" baseline="0" noProof="0" dirty="0" smtClean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61" name="Freeform 8"/>
            <p:cNvSpPr>
              <a:spLocks noEditPoints="1"/>
            </p:cNvSpPr>
            <p:nvPr/>
          </p:nvSpPr>
          <p:spPr bwMode="black">
            <a:xfrm>
              <a:off x="5815427" y="4929591"/>
              <a:ext cx="952455" cy="952454"/>
            </a:xfrm>
            <a:custGeom>
              <a:avLst/>
              <a:gdLst>
                <a:gd name="T0" fmla="*/ 226 w 300"/>
                <a:gd name="T1" fmla="*/ 193 h 300"/>
                <a:gd name="T2" fmla="*/ 233 w 300"/>
                <a:gd name="T3" fmla="*/ 157 h 300"/>
                <a:gd name="T4" fmla="*/ 233 w 300"/>
                <a:gd name="T5" fmla="*/ 128 h 300"/>
                <a:gd name="T6" fmla="*/ 142 w 300"/>
                <a:gd name="T7" fmla="*/ 51 h 300"/>
                <a:gd name="T8" fmla="*/ 52 w 300"/>
                <a:gd name="T9" fmla="*/ 128 h 300"/>
                <a:gd name="T10" fmla="*/ 52 w 300"/>
                <a:gd name="T11" fmla="*/ 157 h 300"/>
                <a:gd name="T12" fmla="*/ 142 w 300"/>
                <a:gd name="T13" fmla="*/ 234 h 300"/>
                <a:gd name="T14" fmla="*/ 183 w 300"/>
                <a:gd name="T15" fmla="*/ 224 h 300"/>
                <a:gd name="T16" fmla="*/ 193 w 300"/>
                <a:gd name="T17" fmla="*/ 226 h 300"/>
                <a:gd name="T18" fmla="*/ 270 w 300"/>
                <a:gd name="T19" fmla="*/ 300 h 300"/>
                <a:gd name="T20" fmla="*/ 298 w 300"/>
                <a:gd name="T21" fmla="*/ 275 h 300"/>
                <a:gd name="T22" fmla="*/ 206 w 300"/>
                <a:gd name="T23" fmla="*/ 157 h 300"/>
                <a:gd name="T24" fmla="*/ 142 w 300"/>
                <a:gd name="T25" fmla="*/ 208 h 300"/>
                <a:gd name="T26" fmla="*/ 78 w 300"/>
                <a:gd name="T27" fmla="*/ 157 h 300"/>
                <a:gd name="T28" fmla="*/ 78 w 300"/>
                <a:gd name="T29" fmla="*/ 128 h 300"/>
                <a:gd name="T30" fmla="*/ 142 w 300"/>
                <a:gd name="T31" fmla="*/ 77 h 300"/>
                <a:gd name="T32" fmla="*/ 206 w 300"/>
                <a:gd name="T33" fmla="*/ 128 h 300"/>
                <a:gd name="T34" fmla="*/ 206 w 300"/>
                <a:gd name="T35" fmla="*/ 157 h 300"/>
                <a:gd name="T36" fmla="*/ 197 w 300"/>
                <a:gd name="T37" fmla="*/ 142 h 300"/>
                <a:gd name="T38" fmla="*/ 156 w 300"/>
                <a:gd name="T39" fmla="*/ 157 h 300"/>
                <a:gd name="T40" fmla="*/ 142 w 300"/>
                <a:gd name="T41" fmla="*/ 197 h 300"/>
                <a:gd name="T42" fmla="*/ 128 w 300"/>
                <a:gd name="T43" fmla="*/ 157 h 300"/>
                <a:gd name="T44" fmla="*/ 87 w 300"/>
                <a:gd name="T45" fmla="*/ 142 h 300"/>
                <a:gd name="T46" fmla="*/ 128 w 300"/>
                <a:gd name="T47" fmla="*/ 128 h 300"/>
                <a:gd name="T48" fmla="*/ 142 w 300"/>
                <a:gd name="T49" fmla="*/ 88 h 300"/>
                <a:gd name="T50" fmla="*/ 156 w 300"/>
                <a:gd name="T51" fmla="*/ 128 h 300"/>
                <a:gd name="T52" fmla="*/ 142 w 300"/>
                <a:gd name="T53" fmla="*/ 40 h 300"/>
                <a:gd name="T54" fmla="*/ 128 w 300"/>
                <a:gd name="T55" fmla="*/ 0 h 300"/>
                <a:gd name="T56" fmla="*/ 156 w 300"/>
                <a:gd name="T57" fmla="*/ 41 h 300"/>
                <a:gd name="T58" fmla="*/ 40 w 300"/>
                <a:gd name="T59" fmla="*/ 142 h 300"/>
                <a:gd name="T60" fmla="*/ 0 w 300"/>
                <a:gd name="T61" fmla="*/ 157 h 300"/>
                <a:gd name="T62" fmla="*/ 41 w 300"/>
                <a:gd name="T63" fmla="*/ 128 h 300"/>
                <a:gd name="T64" fmla="*/ 142 w 300"/>
                <a:gd name="T65" fmla="*/ 245 h 300"/>
                <a:gd name="T66" fmla="*/ 156 w 300"/>
                <a:gd name="T67" fmla="*/ 285 h 300"/>
                <a:gd name="T68" fmla="*/ 128 w 300"/>
                <a:gd name="T69" fmla="*/ 244 h 300"/>
                <a:gd name="T70" fmla="*/ 245 w 300"/>
                <a:gd name="T71" fmla="*/ 142 h 300"/>
                <a:gd name="T72" fmla="*/ 285 w 300"/>
                <a:gd name="T73" fmla="*/ 128 h 300"/>
                <a:gd name="T74" fmla="*/ 243 w 300"/>
                <a:gd name="T75" fmla="*/ 157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00" h="300">
                  <a:moveTo>
                    <a:pt x="298" y="266"/>
                  </a:moveTo>
                  <a:cubicBezTo>
                    <a:pt x="226" y="193"/>
                    <a:pt x="226" y="193"/>
                    <a:pt x="226" y="193"/>
                  </a:cubicBezTo>
                  <a:cubicBezTo>
                    <a:pt x="223" y="191"/>
                    <a:pt x="222" y="186"/>
                    <a:pt x="224" y="183"/>
                  </a:cubicBezTo>
                  <a:cubicBezTo>
                    <a:pt x="228" y="175"/>
                    <a:pt x="231" y="166"/>
                    <a:pt x="233" y="157"/>
                  </a:cubicBezTo>
                  <a:cubicBezTo>
                    <a:pt x="233" y="152"/>
                    <a:pt x="234" y="147"/>
                    <a:pt x="234" y="142"/>
                  </a:cubicBezTo>
                  <a:cubicBezTo>
                    <a:pt x="234" y="138"/>
                    <a:pt x="233" y="133"/>
                    <a:pt x="233" y="128"/>
                  </a:cubicBezTo>
                  <a:cubicBezTo>
                    <a:pt x="227" y="89"/>
                    <a:pt x="196" y="58"/>
                    <a:pt x="156" y="52"/>
                  </a:cubicBezTo>
                  <a:cubicBezTo>
                    <a:pt x="152" y="51"/>
                    <a:pt x="147" y="51"/>
                    <a:pt x="142" y="51"/>
                  </a:cubicBezTo>
                  <a:cubicBezTo>
                    <a:pt x="137" y="51"/>
                    <a:pt x="133" y="51"/>
                    <a:pt x="128" y="52"/>
                  </a:cubicBezTo>
                  <a:cubicBezTo>
                    <a:pt x="89" y="58"/>
                    <a:pt x="58" y="89"/>
                    <a:pt x="52" y="128"/>
                  </a:cubicBezTo>
                  <a:cubicBezTo>
                    <a:pt x="51" y="133"/>
                    <a:pt x="51" y="138"/>
                    <a:pt x="51" y="142"/>
                  </a:cubicBezTo>
                  <a:cubicBezTo>
                    <a:pt x="51" y="147"/>
                    <a:pt x="51" y="152"/>
                    <a:pt x="52" y="157"/>
                  </a:cubicBezTo>
                  <a:cubicBezTo>
                    <a:pt x="58" y="196"/>
                    <a:pt x="89" y="227"/>
                    <a:pt x="128" y="233"/>
                  </a:cubicBezTo>
                  <a:cubicBezTo>
                    <a:pt x="133" y="234"/>
                    <a:pt x="137" y="234"/>
                    <a:pt x="142" y="234"/>
                  </a:cubicBezTo>
                  <a:cubicBezTo>
                    <a:pt x="147" y="234"/>
                    <a:pt x="152" y="234"/>
                    <a:pt x="156" y="233"/>
                  </a:cubicBezTo>
                  <a:cubicBezTo>
                    <a:pt x="166" y="231"/>
                    <a:pt x="175" y="228"/>
                    <a:pt x="183" y="224"/>
                  </a:cubicBezTo>
                  <a:cubicBezTo>
                    <a:pt x="184" y="224"/>
                    <a:pt x="185" y="223"/>
                    <a:pt x="187" y="223"/>
                  </a:cubicBezTo>
                  <a:cubicBezTo>
                    <a:pt x="189" y="223"/>
                    <a:pt x="192" y="224"/>
                    <a:pt x="193" y="226"/>
                  </a:cubicBezTo>
                  <a:cubicBezTo>
                    <a:pt x="265" y="298"/>
                    <a:pt x="265" y="298"/>
                    <a:pt x="265" y="298"/>
                  </a:cubicBezTo>
                  <a:cubicBezTo>
                    <a:pt x="267" y="299"/>
                    <a:pt x="268" y="300"/>
                    <a:pt x="270" y="300"/>
                  </a:cubicBezTo>
                  <a:cubicBezTo>
                    <a:pt x="272" y="300"/>
                    <a:pt x="273" y="299"/>
                    <a:pt x="275" y="298"/>
                  </a:cubicBezTo>
                  <a:cubicBezTo>
                    <a:pt x="298" y="275"/>
                    <a:pt x="298" y="275"/>
                    <a:pt x="298" y="275"/>
                  </a:cubicBezTo>
                  <a:cubicBezTo>
                    <a:pt x="300" y="272"/>
                    <a:pt x="300" y="268"/>
                    <a:pt x="298" y="266"/>
                  </a:cubicBezTo>
                  <a:close/>
                  <a:moveTo>
                    <a:pt x="206" y="157"/>
                  </a:moveTo>
                  <a:cubicBezTo>
                    <a:pt x="201" y="181"/>
                    <a:pt x="181" y="201"/>
                    <a:pt x="156" y="206"/>
                  </a:cubicBezTo>
                  <a:cubicBezTo>
                    <a:pt x="152" y="207"/>
                    <a:pt x="147" y="208"/>
                    <a:pt x="142" y="208"/>
                  </a:cubicBezTo>
                  <a:cubicBezTo>
                    <a:pt x="137" y="208"/>
                    <a:pt x="133" y="207"/>
                    <a:pt x="128" y="206"/>
                  </a:cubicBezTo>
                  <a:cubicBezTo>
                    <a:pt x="103" y="201"/>
                    <a:pt x="84" y="181"/>
                    <a:pt x="78" y="157"/>
                  </a:cubicBezTo>
                  <a:cubicBezTo>
                    <a:pt x="77" y="152"/>
                    <a:pt x="77" y="147"/>
                    <a:pt x="77" y="142"/>
                  </a:cubicBezTo>
                  <a:cubicBezTo>
                    <a:pt x="77" y="138"/>
                    <a:pt x="77" y="133"/>
                    <a:pt x="78" y="128"/>
                  </a:cubicBezTo>
                  <a:cubicBezTo>
                    <a:pt x="84" y="103"/>
                    <a:pt x="103" y="84"/>
                    <a:pt x="128" y="79"/>
                  </a:cubicBezTo>
                  <a:cubicBezTo>
                    <a:pt x="133" y="78"/>
                    <a:pt x="137" y="77"/>
                    <a:pt x="142" y="77"/>
                  </a:cubicBezTo>
                  <a:cubicBezTo>
                    <a:pt x="147" y="77"/>
                    <a:pt x="152" y="78"/>
                    <a:pt x="156" y="79"/>
                  </a:cubicBezTo>
                  <a:cubicBezTo>
                    <a:pt x="181" y="84"/>
                    <a:pt x="201" y="103"/>
                    <a:pt x="206" y="128"/>
                  </a:cubicBezTo>
                  <a:cubicBezTo>
                    <a:pt x="207" y="133"/>
                    <a:pt x="208" y="138"/>
                    <a:pt x="208" y="142"/>
                  </a:cubicBezTo>
                  <a:cubicBezTo>
                    <a:pt x="208" y="147"/>
                    <a:pt x="207" y="152"/>
                    <a:pt x="206" y="157"/>
                  </a:cubicBezTo>
                  <a:close/>
                  <a:moveTo>
                    <a:pt x="195" y="128"/>
                  </a:moveTo>
                  <a:cubicBezTo>
                    <a:pt x="196" y="133"/>
                    <a:pt x="197" y="138"/>
                    <a:pt x="197" y="142"/>
                  </a:cubicBezTo>
                  <a:cubicBezTo>
                    <a:pt x="197" y="147"/>
                    <a:pt x="196" y="152"/>
                    <a:pt x="195" y="157"/>
                  </a:cubicBezTo>
                  <a:cubicBezTo>
                    <a:pt x="156" y="157"/>
                    <a:pt x="156" y="157"/>
                    <a:pt x="156" y="157"/>
                  </a:cubicBezTo>
                  <a:cubicBezTo>
                    <a:pt x="156" y="195"/>
                    <a:pt x="156" y="195"/>
                    <a:pt x="156" y="195"/>
                  </a:cubicBezTo>
                  <a:cubicBezTo>
                    <a:pt x="152" y="197"/>
                    <a:pt x="147" y="197"/>
                    <a:pt x="142" y="197"/>
                  </a:cubicBezTo>
                  <a:cubicBezTo>
                    <a:pt x="137" y="197"/>
                    <a:pt x="133" y="197"/>
                    <a:pt x="128" y="195"/>
                  </a:cubicBezTo>
                  <a:cubicBezTo>
                    <a:pt x="128" y="157"/>
                    <a:pt x="128" y="157"/>
                    <a:pt x="128" y="157"/>
                  </a:cubicBezTo>
                  <a:cubicBezTo>
                    <a:pt x="89" y="157"/>
                    <a:pt x="89" y="157"/>
                    <a:pt x="89" y="157"/>
                  </a:cubicBezTo>
                  <a:cubicBezTo>
                    <a:pt x="88" y="152"/>
                    <a:pt x="87" y="147"/>
                    <a:pt x="87" y="142"/>
                  </a:cubicBezTo>
                  <a:cubicBezTo>
                    <a:pt x="87" y="138"/>
                    <a:pt x="88" y="133"/>
                    <a:pt x="89" y="128"/>
                  </a:cubicBezTo>
                  <a:cubicBezTo>
                    <a:pt x="128" y="128"/>
                    <a:pt x="128" y="128"/>
                    <a:pt x="128" y="128"/>
                  </a:cubicBezTo>
                  <a:cubicBezTo>
                    <a:pt x="128" y="90"/>
                    <a:pt x="128" y="90"/>
                    <a:pt x="128" y="90"/>
                  </a:cubicBezTo>
                  <a:cubicBezTo>
                    <a:pt x="133" y="88"/>
                    <a:pt x="137" y="88"/>
                    <a:pt x="142" y="88"/>
                  </a:cubicBezTo>
                  <a:cubicBezTo>
                    <a:pt x="147" y="88"/>
                    <a:pt x="152" y="88"/>
                    <a:pt x="156" y="90"/>
                  </a:cubicBezTo>
                  <a:cubicBezTo>
                    <a:pt x="156" y="128"/>
                    <a:pt x="156" y="128"/>
                    <a:pt x="156" y="128"/>
                  </a:cubicBezTo>
                  <a:lnTo>
                    <a:pt x="195" y="128"/>
                  </a:lnTo>
                  <a:close/>
                  <a:moveTo>
                    <a:pt x="142" y="40"/>
                  </a:moveTo>
                  <a:cubicBezTo>
                    <a:pt x="137" y="40"/>
                    <a:pt x="133" y="41"/>
                    <a:pt x="128" y="41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56" y="0"/>
                    <a:pt x="156" y="0"/>
                    <a:pt x="156" y="0"/>
                  </a:cubicBezTo>
                  <a:cubicBezTo>
                    <a:pt x="156" y="41"/>
                    <a:pt x="156" y="41"/>
                    <a:pt x="156" y="41"/>
                  </a:cubicBezTo>
                  <a:cubicBezTo>
                    <a:pt x="152" y="41"/>
                    <a:pt x="147" y="40"/>
                    <a:pt x="142" y="40"/>
                  </a:cubicBezTo>
                  <a:close/>
                  <a:moveTo>
                    <a:pt x="40" y="142"/>
                  </a:moveTo>
                  <a:cubicBezTo>
                    <a:pt x="40" y="147"/>
                    <a:pt x="40" y="152"/>
                    <a:pt x="41" y="157"/>
                  </a:cubicBezTo>
                  <a:cubicBezTo>
                    <a:pt x="0" y="157"/>
                    <a:pt x="0" y="157"/>
                    <a:pt x="0" y="157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41" y="128"/>
                    <a:pt x="41" y="128"/>
                    <a:pt x="41" y="128"/>
                  </a:cubicBezTo>
                  <a:cubicBezTo>
                    <a:pt x="40" y="133"/>
                    <a:pt x="40" y="138"/>
                    <a:pt x="40" y="142"/>
                  </a:cubicBezTo>
                  <a:close/>
                  <a:moveTo>
                    <a:pt x="142" y="245"/>
                  </a:moveTo>
                  <a:cubicBezTo>
                    <a:pt x="147" y="245"/>
                    <a:pt x="152" y="244"/>
                    <a:pt x="156" y="244"/>
                  </a:cubicBezTo>
                  <a:cubicBezTo>
                    <a:pt x="156" y="285"/>
                    <a:pt x="156" y="285"/>
                    <a:pt x="156" y="285"/>
                  </a:cubicBezTo>
                  <a:cubicBezTo>
                    <a:pt x="128" y="285"/>
                    <a:pt x="128" y="285"/>
                    <a:pt x="128" y="285"/>
                  </a:cubicBezTo>
                  <a:cubicBezTo>
                    <a:pt x="128" y="244"/>
                    <a:pt x="128" y="244"/>
                    <a:pt x="128" y="244"/>
                  </a:cubicBezTo>
                  <a:cubicBezTo>
                    <a:pt x="133" y="244"/>
                    <a:pt x="137" y="245"/>
                    <a:pt x="142" y="245"/>
                  </a:cubicBezTo>
                  <a:close/>
                  <a:moveTo>
                    <a:pt x="245" y="142"/>
                  </a:moveTo>
                  <a:cubicBezTo>
                    <a:pt x="245" y="138"/>
                    <a:pt x="244" y="133"/>
                    <a:pt x="243" y="128"/>
                  </a:cubicBezTo>
                  <a:cubicBezTo>
                    <a:pt x="285" y="128"/>
                    <a:pt x="285" y="128"/>
                    <a:pt x="285" y="128"/>
                  </a:cubicBezTo>
                  <a:cubicBezTo>
                    <a:pt x="285" y="157"/>
                    <a:pt x="285" y="157"/>
                    <a:pt x="285" y="157"/>
                  </a:cubicBezTo>
                  <a:cubicBezTo>
                    <a:pt x="243" y="157"/>
                    <a:pt x="243" y="157"/>
                    <a:pt x="243" y="157"/>
                  </a:cubicBezTo>
                  <a:cubicBezTo>
                    <a:pt x="244" y="152"/>
                    <a:pt x="245" y="147"/>
                    <a:pt x="245" y="142"/>
                  </a:cubicBez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/>
            <a:p>
              <a:endParaRPr lang="en-US" sz="1600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267" name="Group 266"/>
          <p:cNvGrpSpPr/>
          <p:nvPr/>
        </p:nvGrpSpPr>
        <p:grpSpPr>
          <a:xfrm>
            <a:off x="7173740" y="4684567"/>
            <a:ext cx="1354171" cy="1357298"/>
            <a:chOff x="7173740" y="4684567"/>
            <a:chExt cx="1354171" cy="1357298"/>
          </a:xfrm>
        </p:grpSpPr>
        <p:sp>
          <p:nvSpPr>
            <p:cNvPr id="260" name="Rectangle 259"/>
            <p:cNvSpPr/>
            <p:nvPr/>
          </p:nvSpPr>
          <p:spPr bwMode="auto">
            <a:xfrm>
              <a:off x="7173740" y="4684567"/>
              <a:ext cx="1354171" cy="1357298"/>
            </a:xfrm>
            <a:prstGeom prst="rect">
              <a:avLst/>
            </a:prstGeom>
            <a:solidFill>
              <a:srgbClr val="0099F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248694" tIns="124347" rIns="248694" bIns="19895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74320" marR="0" lvl="0" indent="0" defTabSz="1268069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4" b="0" i="0" u="none" strike="noStrike" kern="0" cap="none" spc="0" normalizeH="0" baseline="0" noProof="0" dirty="0" smtClean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262" name="Group 261"/>
            <p:cNvGrpSpPr/>
            <p:nvPr/>
          </p:nvGrpSpPr>
          <p:grpSpPr>
            <a:xfrm flipH="1">
              <a:off x="7485944" y="4898629"/>
              <a:ext cx="729762" cy="1010978"/>
              <a:chOff x="1539997" y="3780827"/>
              <a:chExt cx="800271" cy="1108369"/>
            </a:xfrm>
            <a:solidFill>
              <a:srgbClr val="FFFFFF"/>
            </a:solidFill>
          </p:grpSpPr>
          <p:sp>
            <p:nvSpPr>
              <p:cNvPr id="263" name="Rectangle 24"/>
              <p:cNvSpPr/>
              <p:nvPr/>
            </p:nvSpPr>
            <p:spPr>
              <a:xfrm>
                <a:off x="1539997" y="3780827"/>
                <a:ext cx="800271" cy="1108369"/>
              </a:xfrm>
              <a:custGeom>
                <a:avLst/>
                <a:gdLst/>
                <a:ahLst/>
                <a:cxnLst/>
                <a:rect l="l" t="t" r="r" b="b"/>
                <a:pathLst>
                  <a:path w="1518158" h="2102639">
                    <a:moveTo>
                      <a:pt x="664962" y="48"/>
                    </a:moveTo>
                    <a:cubicBezTo>
                      <a:pt x="990735" y="4734"/>
                      <a:pt x="1250103" y="195355"/>
                      <a:pt x="1311820" y="389100"/>
                    </a:cubicBezTo>
                    <a:cubicBezTo>
                      <a:pt x="1373537" y="582844"/>
                      <a:pt x="1310258" y="419568"/>
                      <a:pt x="1400880" y="656280"/>
                    </a:cubicBezTo>
                    <a:cubicBezTo>
                      <a:pt x="1411818" y="757059"/>
                      <a:pt x="1339163" y="742996"/>
                      <a:pt x="1358694" y="815651"/>
                    </a:cubicBezTo>
                    <a:cubicBezTo>
                      <a:pt x="1378225" y="888305"/>
                      <a:pt x="1514158" y="1033614"/>
                      <a:pt x="1518064" y="1092206"/>
                    </a:cubicBezTo>
                    <a:cubicBezTo>
                      <a:pt x="1521971" y="1150798"/>
                      <a:pt x="1404005" y="1135955"/>
                      <a:pt x="1382130" y="1167204"/>
                    </a:cubicBezTo>
                    <a:cubicBezTo>
                      <a:pt x="1360256" y="1198453"/>
                      <a:pt x="1390724" y="1255483"/>
                      <a:pt x="1386818" y="1279701"/>
                    </a:cubicBezTo>
                    <a:cubicBezTo>
                      <a:pt x="1382912" y="1303919"/>
                      <a:pt x="1361038" y="1303137"/>
                      <a:pt x="1358694" y="1312512"/>
                    </a:cubicBezTo>
                    <a:cubicBezTo>
                      <a:pt x="1356350" y="1321887"/>
                      <a:pt x="1382912" y="1320325"/>
                      <a:pt x="1372756" y="1335949"/>
                    </a:cubicBezTo>
                    <a:cubicBezTo>
                      <a:pt x="1362600" y="1351574"/>
                      <a:pt x="1313382" y="1359387"/>
                      <a:pt x="1297758" y="1406260"/>
                    </a:cubicBezTo>
                    <a:cubicBezTo>
                      <a:pt x="1282134" y="1453134"/>
                      <a:pt x="1409474" y="1567974"/>
                      <a:pt x="1279008" y="1617192"/>
                    </a:cubicBezTo>
                    <a:cubicBezTo>
                      <a:pt x="1148544" y="1666410"/>
                      <a:pt x="978235" y="1565631"/>
                      <a:pt x="936830" y="1645316"/>
                    </a:cubicBezTo>
                    <a:cubicBezTo>
                      <a:pt x="895425" y="1725002"/>
                      <a:pt x="843864" y="1864060"/>
                      <a:pt x="1030577" y="2095304"/>
                    </a:cubicBezTo>
                    <a:cubicBezTo>
                      <a:pt x="762616" y="2092179"/>
                      <a:pt x="244660" y="2113272"/>
                      <a:pt x="18105" y="2095304"/>
                    </a:cubicBezTo>
                    <a:cubicBezTo>
                      <a:pt x="72790" y="1927340"/>
                      <a:pt x="250130" y="1765625"/>
                      <a:pt x="247786" y="1537506"/>
                    </a:cubicBezTo>
                    <a:cubicBezTo>
                      <a:pt x="245442" y="1309387"/>
                      <a:pt x="51697" y="1118768"/>
                      <a:pt x="4042" y="726591"/>
                    </a:cubicBezTo>
                    <a:cubicBezTo>
                      <a:pt x="-20283" y="526408"/>
                      <a:pt x="67548" y="340065"/>
                      <a:pt x="203379" y="206900"/>
                    </a:cubicBezTo>
                    <a:lnTo>
                      <a:pt x="203379" y="206708"/>
                    </a:lnTo>
                    <a:lnTo>
                      <a:pt x="203605" y="206708"/>
                    </a:lnTo>
                    <a:cubicBezTo>
                      <a:pt x="332512" y="77755"/>
                      <a:pt x="505564" y="-2246"/>
                      <a:pt x="664962" y="48"/>
                    </a:cubicBezTo>
                    <a:close/>
                  </a:path>
                </a:pathLst>
              </a:custGeom>
              <a:solidFill>
                <a:srgbClr val="333333"/>
              </a:solidFill>
              <a:ln w="10795" cap="flat" cmpd="sng" algn="ctr">
                <a:noFill/>
                <a:prstDash val="solid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endParaRPr>
              </a:p>
            </p:txBody>
          </p:sp>
          <p:sp>
            <p:nvSpPr>
              <p:cNvPr id="264" name="Freeform 263"/>
              <p:cNvSpPr>
                <a:spLocks noEditPoints="1"/>
              </p:cNvSpPr>
              <p:nvPr/>
            </p:nvSpPr>
            <p:spPr bwMode="black">
              <a:xfrm rot="17995606">
                <a:off x="1607408" y="3900729"/>
                <a:ext cx="429800" cy="337492"/>
              </a:xfrm>
              <a:custGeom>
                <a:avLst/>
                <a:gdLst>
                  <a:gd name="T0" fmla="*/ 1304 w 1423"/>
                  <a:gd name="T1" fmla="*/ 301 h 1114"/>
                  <a:gd name="T2" fmla="*/ 1302 w 1423"/>
                  <a:gd name="T3" fmla="*/ 297 h 1114"/>
                  <a:gd name="T4" fmla="*/ 719 w 1423"/>
                  <a:gd name="T5" fmla="*/ 113 h 1114"/>
                  <a:gd name="T6" fmla="*/ 496 w 1423"/>
                  <a:gd name="T7" fmla="*/ 416 h 1114"/>
                  <a:gd name="T8" fmla="*/ 441 w 1423"/>
                  <a:gd name="T9" fmla="*/ 482 h 1114"/>
                  <a:gd name="T10" fmla="*/ 375 w 1423"/>
                  <a:gd name="T11" fmla="*/ 536 h 1114"/>
                  <a:gd name="T12" fmla="*/ 290 w 1423"/>
                  <a:gd name="T13" fmla="*/ 648 h 1114"/>
                  <a:gd name="T14" fmla="*/ 470 w 1423"/>
                  <a:gd name="T15" fmla="*/ 973 h 1114"/>
                  <a:gd name="T16" fmla="*/ 610 w 1423"/>
                  <a:gd name="T17" fmla="*/ 960 h 1114"/>
                  <a:gd name="T18" fmla="*/ 775 w 1423"/>
                  <a:gd name="T19" fmla="*/ 921 h 1114"/>
                  <a:gd name="T20" fmla="*/ 932 w 1423"/>
                  <a:gd name="T21" fmla="*/ 927 h 1114"/>
                  <a:gd name="T22" fmla="*/ 1151 w 1423"/>
                  <a:gd name="T23" fmla="*/ 893 h 1114"/>
                  <a:gd name="T24" fmla="*/ 1304 w 1423"/>
                  <a:gd name="T25" fmla="*/ 301 h 1114"/>
                  <a:gd name="T26" fmla="*/ 1024 w 1423"/>
                  <a:gd name="T27" fmla="*/ 311 h 1114"/>
                  <a:gd name="T28" fmla="*/ 1024 w 1423"/>
                  <a:gd name="T29" fmla="*/ 311 h 1114"/>
                  <a:gd name="T30" fmla="*/ 873 w 1423"/>
                  <a:gd name="T31" fmla="*/ 299 h 1114"/>
                  <a:gd name="T32" fmla="*/ 873 w 1423"/>
                  <a:gd name="T33" fmla="*/ 299 h 1114"/>
                  <a:gd name="T34" fmla="*/ 799 w 1423"/>
                  <a:gd name="T35" fmla="*/ 278 h 1114"/>
                  <a:gd name="T36" fmla="*/ 821 w 1423"/>
                  <a:gd name="T37" fmla="*/ 203 h 1114"/>
                  <a:gd name="T38" fmla="*/ 828 w 1423"/>
                  <a:gd name="T39" fmla="*/ 200 h 1114"/>
                  <a:gd name="T40" fmla="*/ 1101 w 1423"/>
                  <a:gd name="T41" fmla="*/ 234 h 1114"/>
                  <a:gd name="T42" fmla="*/ 1108 w 1423"/>
                  <a:gd name="T43" fmla="*/ 244 h 1114"/>
                  <a:gd name="T44" fmla="*/ 1087 w 1423"/>
                  <a:gd name="T45" fmla="*/ 318 h 1114"/>
                  <a:gd name="T46" fmla="*/ 1024 w 1423"/>
                  <a:gd name="T47" fmla="*/ 311 h 1114"/>
                  <a:gd name="T48" fmla="*/ 14 w 1423"/>
                  <a:gd name="T49" fmla="*/ 967 h 1114"/>
                  <a:gd name="T50" fmla="*/ 53 w 1423"/>
                  <a:gd name="T51" fmla="*/ 1037 h 1114"/>
                  <a:gd name="T52" fmla="*/ 115 w 1423"/>
                  <a:gd name="T53" fmla="*/ 1064 h 1114"/>
                  <a:gd name="T54" fmla="*/ 24 w 1423"/>
                  <a:gd name="T55" fmla="*/ 900 h 1114"/>
                  <a:gd name="T56" fmla="*/ 14 w 1423"/>
                  <a:gd name="T57" fmla="*/ 967 h 1114"/>
                  <a:gd name="T58" fmla="*/ 400 w 1423"/>
                  <a:gd name="T59" fmla="*/ 959 h 1114"/>
                  <a:gd name="T60" fmla="*/ 265 w 1423"/>
                  <a:gd name="T61" fmla="*/ 714 h 1114"/>
                  <a:gd name="T62" fmla="*/ 190 w 1423"/>
                  <a:gd name="T63" fmla="*/ 686 h 1114"/>
                  <a:gd name="T64" fmla="*/ 175 w 1423"/>
                  <a:gd name="T65" fmla="*/ 764 h 1114"/>
                  <a:gd name="T66" fmla="*/ 310 w 1423"/>
                  <a:gd name="T67" fmla="*/ 1008 h 1114"/>
                  <a:gd name="T68" fmla="*/ 385 w 1423"/>
                  <a:gd name="T69" fmla="*/ 1037 h 1114"/>
                  <a:gd name="T70" fmla="*/ 400 w 1423"/>
                  <a:gd name="T71" fmla="*/ 959 h 1114"/>
                  <a:gd name="T72" fmla="*/ 266 w 1423"/>
                  <a:gd name="T73" fmla="*/ 1026 h 1114"/>
                  <a:gd name="T74" fmla="*/ 136 w 1423"/>
                  <a:gd name="T75" fmla="*/ 792 h 1114"/>
                  <a:gd name="T76" fmla="*/ 65 w 1423"/>
                  <a:gd name="T77" fmla="*/ 764 h 1114"/>
                  <a:gd name="T78" fmla="*/ 50 w 1423"/>
                  <a:gd name="T79" fmla="*/ 840 h 1114"/>
                  <a:gd name="T80" fmla="*/ 180 w 1423"/>
                  <a:gd name="T81" fmla="*/ 1074 h 1114"/>
                  <a:gd name="T82" fmla="*/ 251 w 1423"/>
                  <a:gd name="T83" fmla="*/ 1101 h 1114"/>
                  <a:gd name="T84" fmla="*/ 266 w 1423"/>
                  <a:gd name="T85" fmla="*/ 1026 h 1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423" h="1114">
                    <a:moveTo>
                      <a:pt x="1304" y="301"/>
                    </a:moveTo>
                    <a:cubicBezTo>
                      <a:pt x="1303" y="298"/>
                      <a:pt x="1304" y="300"/>
                      <a:pt x="1302" y="297"/>
                    </a:cubicBezTo>
                    <a:cubicBezTo>
                      <a:pt x="1184" y="83"/>
                      <a:pt x="922" y="0"/>
                      <a:pt x="719" y="113"/>
                    </a:cubicBezTo>
                    <a:cubicBezTo>
                      <a:pt x="602" y="177"/>
                      <a:pt x="570" y="311"/>
                      <a:pt x="496" y="416"/>
                    </a:cubicBezTo>
                    <a:cubicBezTo>
                      <a:pt x="476" y="444"/>
                      <a:pt x="458" y="465"/>
                      <a:pt x="441" y="482"/>
                    </a:cubicBezTo>
                    <a:cubicBezTo>
                      <a:pt x="418" y="504"/>
                      <a:pt x="397" y="520"/>
                      <a:pt x="375" y="536"/>
                    </a:cubicBezTo>
                    <a:cubicBezTo>
                      <a:pt x="334" y="566"/>
                      <a:pt x="296" y="593"/>
                      <a:pt x="290" y="648"/>
                    </a:cubicBezTo>
                    <a:cubicBezTo>
                      <a:pt x="470" y="973"/>
                      <a:pt x="470" y="973"/>
                      <a:pt x="470" y="973"/>
                    </a:cubicBezTo>
                    <a:cubicBezTo>
                      <a:pt x="519" y="997"/>
                      <a:pt x="563" y="978"/>
                      <a:pt x="610" y="960"/>
                    </a:cubicBezTo>
                    <a:cubicBezTo>
                      <a:pt x="654" y="943"/>
                      <a:pt x="697" y="925"/>
                      <a:pt x="775" y="921"/>
                    </a:cubicBezTo>
                    <a:cubicBezTo>
                      <a:pt x="827" y="918"/>
                      <a:pt x="880" y="924"/>
                      <a:pt x="932" y="927"/>
                    </a:cubicBezTo>
                    <a:cubicBezTo>
                      <a:pt x="1008" y="932"/>
                      <a:pt x="1082" y="931"/>
                      <a:pt x="1151" y="893"/>
                    </a:cubicBezTo>
                    <a:cubicBezTo>
                      <a:pt x="1354" y="780"/>
                      <a:pt x="1423" y="515"/>
                      <a:pt x="1304" y="301"/>
                    </a:cubicBezTo>
                    <a:close/>
                    <a:moveTo>
                      <a:pt x="1024" y="311"/>
                    </a:moveTo>
                    <a:cubicBezTo>
                      <a:pt x="1024" y="311"/>
                      <a:pt x="1024" y="311"/>
                      <a:pt x="1024" y="311"/>
                    </a:cubicBezTo>
                    <a:cubicBezTo>
                      <a:pt x="983" y="270"/>
                      <a:pt x="917" y="279"/>
                      <a:pt x="873" y="299"/>
                    </a:cubicBezTo>
                    <a:cubicBezTo>
                      <a:pt x="873" y="299"/>
                      <a:pt x="873" y="299"/>
                      <a:pt x="873" y="299"/>
                    </a:cubicBezTo>
                    <a:cubicBezTo>
                      <a:pt x="847" y="313"/>
                      <a:pt x="814" y="304"/>
                      <a:pt x="799" y="278"/>
                    </a:cubicBezTo>
                    <a:cubicBezTo>
                      <a:pt x="785" y="251"/>
                      <a:pt x="794" y="218"/>
                      <a:pt x="821" y="203"/>
                    </a:cubicBezTo>
                    <a:cubicBezTo>
                      <a:pt x="823" y="202"/>
                      <a:pt x="828" y="200"/>
                      <a:pt x="828" y="200"/>
                    </a:cubicBezTo>
                    <a:cubicBezTo>
                      <a:pt x="927" y="155"/>
                      <a:pt x="1035" y="168"/>
                      <a:pt x="1101" y="234"/>
                    </a:cubicBezTo>
                    <a:cubicBezTo>
                      <a:pt x="1101" y="234"/>
                      <a:pt x="1106" y="240"/>
                      <a:pt x="1108" y="244"/>
                    </a:cubicBezTo>
                    <a:cubicBezTo>
                      <a:pt x="1122" y="270"/>
                      <a:pt x="1113" y="303"/>
                      <a:pt x="1087" y="318"/>
                    </a:cubicBezTo>
                    <a:cubicBezTo>
                      <a:pt x="1066" y="329"/>
                      <a:pt x="1041" y="326"/>
                      <a:pt x="1024" y="311"/>
                    </a:cubicBezTo>
                    <a:close/>
                    <a:moveTo>
                      <a:pt x="14" y="967"/>
                    </a:moveTo>
                    <a:cubicBezTo>
                      <a:pt x="53" y="1037"/>
                      <a:pt x="53" y="1037"/>
                      <a:pt x="53" y="1037"/>
                    </a:cubicBezTo>
                    <a:cubicBezTo>
                      <a:pt x="67" y="1062"/>
                      <a:pt x="94" y="1074"/>
                      <a:pt x="115" y="1064"/>
                    </a:cubicBezTo>
                    <a:cubicBezTo>
                      <a:pt x="24" y="900"/>
                      <a:pt x="24" y="900"/>
                      <a:pt x="24" y="900"/>
                    </a:cubicBezTo>
                    <a:cubicBezTo>
                      <a:pt x="5" y="912"/>
                      <a:pt x="0" y="941"/>
                      <a:pt x="14" y="967"/>
                    </a:cubicBezTo>
                    <a:close/>
                    <a:moveTo>
                      <a:pt x="400" y="959"/>
                    </a:moveTo>
                    <a:cubicBezTo>
                      <a:pt x="265" y="714"/>
                      <a:pt x="265" y="714"/>
                      <a:pt x="265" y="714"/>
                    </a:cubicBezTo>
                    <a:cubicBezTo>
                      <a:pt x="248" y="685"/>
                      <a:pt x="215" y="672"/>
                      <a:pt x="190" y="686"/>
                    </a:cubicBezTo>
                    <a:cubicBezTo>
                      <a:pt x="166" y="699"/>
                      <a:pt x="159" y="734"/>
                      <a:pt x="175" y="764"/>
                    </a:cubicBezTo>
                    <a:cubicBezTo>
                      <a:pt x="310" y="1008"/>
                      <a:pt x="310" y="1008"/>
                      <a:pt x="310" y="1008"/>
                    </a:cubicBezTo>
                    <a:cubicBezTo>
                      <a:pt x="327" y="1038"/>
                      <a:pt x="360" y="1051"/>
                      <a:pt x="385" y="1037"/>
                    </a:cubicBezTo>
                    <a:cubicBezTo>
                      <a:pt x="410" y="1023"/>
                      <a:pt x="416" y="988"/>
                      <a:pt x="400" y="959"/>
                    </a:cubicBezTo>
                    <a:close/>
                    <a:moveTo>
                      <a:pt x="266" y="1026"/>
                    </a:moveTo>
                    <a:cubicBezTo>
                      <a:pt x="136" y="792"/>
                      <a:pt x="136" y="792"/>
                      <a:pt x="136" y="792"/>
                    </a:cubicBezTo>
                    <a:cubicBezTo>
                      <a:pt x="121" y="764"/>
                      <a:pt x="89" y="751"/>
                      <a:pt x="65" y="764"/>
                    </a:cubicBezTo>
                    <a:cubicBezTo>
                      <a:pt x="41" y="778"/>
                      <a:pt x="35" y="811"/>
                      <a:pt x="50" y="840"/>
                    </a:cubicBezTo>
                    <a:cubicBezTo>
                      <a:pt x="180" y="1074"/>
                      <a:pt x="180" y="1074"/>
                      <a:pt x="180" y="1074"/>
                    </a:cubicBezTo>
                    <a:cubicBezTo>
                      <a:pt x="196" y="1102"/>
                      <a:pt x="228" y="1114"/>
                      <a:pt x="251" y="1101"/>
                    </a:cubicBezTo>
                    <a:cubicBezTo>
                      <a:pt x="275" y="1088"/>
                      <a:pt x="282" y="1055"/>
                      <a:pt x="266" y="1026"/>
                    </a:cubicBezTo>
                    <a:close/>
                  </a:path>
                </a:pathLst>
              </a:custGeom>
              <a:solidFill>
                <a:srgbClr val="00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600" dirty="0">
                  <a:ln>
                    <a:solidFill>
                      <a:srgbClr val="505050">
                        <a:alpha val="0"/>
                      </a:srgbClr>
                    </a:solidFill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endParaRPr>
              </a:p>
            </p:txBody>
          </p:sp>
        </p:grpSp>
      </p:grpSp>
      <p:grpSp>
        <p:nvGrpSpPr>
          <p:cNvPr id="268" name="Group 267"/>
          <p:cNvGrpSpPr/>
          <p:nvPr/>
        </p:nvGrpSpPr>
        <p:grpSpPr>
          <a:xfrm>
            <a:off x="8732910" y="4684567"/>
            <a:ext cx="1354171" cy="1357298"/>
            <a:chOff x="8732910" y="4684567"/>
            <a:chExt cx="1354171" cy="1357298"/>
          </a:xfrm>
        </p:grpSpPr>
        <p:sp>
          <p:nvSpPr>
            <p:cNvPr id="259" name="Rectangle 258"/>
            <p:cNvSpPr/>
            <p:nvPr/>
          </p:nvSpPr>
          <p:spPr bwMode="auto">
            <a:xfrm>
              <a:off x="8732910" y="4684567"/>
              <a:ext cx="1354171" cy="1357298"/>
            </a:xfrm>
            <a:prstGeom prst="rect">
              <a:avLst/>
            </a:prstGeom>
            <a:solidFill>
              <a:srgbClr val="99FFCC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248694" tIns="124347" rIns="248694" bIns="19895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74320" marR="0" lvl="0" indent="0" defTabSz="1268069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4" b="0" i="0" u="none" strike="noStrike" kern="0" cap="none" spc="0" normalizeH="0" baseline="0" noProof="0" dirty="0" smtClean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65" name="Freeform 264"/>
            <p:cNvSpPr/>
            <p:nvPr>
              <p:custDataLst>
                <p:tags r:id="rId1"/>
              </p:custDataLst>
            </p:nvPr>
          </p:nvSpPr>
          <p:spPr>
            <a:xfrm>
              <a:off x="8965168" y="4957358"/>
              <a:ext cx="889654" cy="896920"/>
            </a:xfrm>
            <a:custGeom>
              <a:avLst/>
              <a:gdLst/>
              <a:ahLst/>
              <a:cxnLst/>
              <a:rect l="l" t="t" r="r" b="b"/>
              <a:pathLst>
                <a:path w="1188720" h="1198117">
                  <a:moveTo>
                    <a:pt x="0" y="1179829"/>
                  </a:moveTo>
                  <a:lnTo>
                    <a:pt x="1188720" y="1179829"/>
                  </a:lnTo>
                  <a:lnTo>
                    <a:pt x="1188720" y="1198117"/>
                  </a:lnTo>
                  <a:lnTo>
                    <a:pt x="0" y="1198117"/>
                  </a:lnTo>
                  <a:close/>
                  <a:moveTo>
                    <a:pt x="85725" y="629228"/>
                  </a:moveTo>
                  <a:lnTo>
                    <a:pt x="228600" y="629228"/>
                  </a:lnTo>
                  <a:lnTo>
                    <a:pt x="228600" y="1174749"/>
                  </a:lnTo>
                  <a:lnTo>
                    <a:pt x="85725" y="1174749"/>
                  </a:lnTo>
                  <a:close/>
                  <a:moveTo>
                    <a:pt x="160954" y="560521"/>
                  </a:moveTo>
                  <a:lnTo>
                    <a:pt x="134893" y="565433"/>
                  </a:lnTo>
                  <a:lnTo>
                    <a:pt x="135875" y="570646"/>
                  </a:lnTo>
                  <a:lnTo>
                    <a:pt x="161936" y="565734"/>
                  </a:lnTo>
                  <a:close/>
                  <a:moveTo>
                    <a:pt x="200045" y="527408"/>
                  </a:moveTo>
                  <a:lnTo>
                    <a:pt x="95801" y="547055"/>
                  </a:lnTo>
                  <a:lnTo>
                    <a:pt x="96784" y="552268"/>
                  </a:lnTo>
                  <a:lnTo>
                    <a:pt x="201028" y="532620"/>
                  </a:lnTo>
                  <a:close/>
                  <a:moveTo>
                    <a:pt x="193530" y="502890"/>
                  </a:moveTo>
                  <a:lnTo>
                    <a:pt x="102316" y="520082"/>
                  </a:lnTo>
                  <a:lnTo>
                    <a:pt x="103299" y="525294"/>
                  </a:lnTo>
                  <a:lnTo>
                    <a:pt x="194512" y="508102"/>
                  </a:lnTo>
                  <a:close/>
                  <a:moveTo>
                    <a:pt x="180500" y="479600"/>
                  </a:moveTo>
                  <a:lnTo>
                    <a:pt x="115347" y="491880"/>
                  </a:lnTo>
                  <a:lnTo>
                    <a:pt x="116329" y="497092"/>
                  </a:lnTo>
                  <a:lnTo>
                    <a:pt x="181482" y="484813"/>
                  </a:lnTo>
                  <a:close/>
                  <a:moveTo>
                    <a:pt x="378883" y="434974"/>
                  </a:moveTo>
                  <a:lnTo>
                    <a:pt x="521758" y="434974"/>
                  </a:lnTo>
                  <a:lnTo>
                    <a:pt x="521758" y="1174749"/>
                  </a:lnTo>
                  <a:lnTo>
                    <a:pt x="378883" y="1174749"/>
                  </a:lnTo>
                  <a:close/>
                  <a:moveTo>
                    <a:pt x="672041" y="225425"/>
                  </a:moveTo>
                  <a:lnTo>
                    <a:pt x="814916" y="225425"/>
                  </a:lnTo>
                  <a:lnTo>
                    <a:pt x="814916" y="1174749"/>
                  </a:lnTo>
                  <a:lnTo>
                    <a:pt x="672041" y="1174749"/>
                  </a:lnTo>
                  <a:close/>
                  <a:moveTo>
                    <a:pt x="144046" y="189143"/>
                  </a:moveTo>
                  <a:cubicBezTo>
                    <a:pt x="151107" y="189037"/>
                    <a:pt x="156647" y="189144"/>
                    <a:pt x="164251" y="190420"/>
                  </a:cubicBezTo>
                  <a:cubicBezTo>
                    <a:pt x="171855" y="191696"/>
                    <a:pt x="181740" y="194037"/>
                    <a:pt x="189670" y="196802"/>
                  </a:cubicBezTo>
                  <a:cubicBezTo>
                    <a:pt x="197599" y="199568"/>
                    <a:pt x="204877" y="202865"/>
                    <a:pt x="211830" y="207013"/>
                  </a:cubicBezTo>
                  <a:cubicBezTo>
                    <a:pt x="218782" y="211162"/>
                    <a:pt x="225516" y="216161"/>
                    <a:pt x="231382" y="221693"/>
                  </a:cubicBezTo>
                  <a:cubicBezTo>
                    <a:pt x="237248" y="227224"/>
                    <a:pt x="242679" y="233712"/>
                    <a:pt x="247025" y="240201"/>
                  </a:cubicBezTo>
                  <a:cubicBezTo>
                    <a:pt x="251370" y="246689"/>
                    <a:pt x="254411" y="253923"/>
                    <a:pt x="257453" y="260624"/>
                  </a:cubicBezTo>
                  <a:cubicBezTo>
                    <a:pt x="260495" y="267325"/>
                    <a:pt x="263319" y="273282"/>
                    <a:pt x="265274" y="280409"/>
                  </a:cubicBezTo>
                  <a:cubicBezTo>
                    <a:pt x="267230" y="287536"/>
                    <a:pt x="268967" y="295194"/>
                    <a:pt x="269185" y="303385"/>
                  </a:cubicBezTo>
                  <a:cubicBezTo>
                    <a:pt x="269402" y="311575"/>
                    <a:pt x="268641" y="320510"/>
                    <a:pt x="266578" y="329552"/>
                  </a:cubicBezTo>
                  <a:cubicBezTo>
                    <a:pt x="264514" y="338593"/>
                    <a:pt x="261146" y="347528"/>
                    <a:pt x="256801" y="357633"/>
                  </a:cubicBezTo>
                  <a:cubicBezTo>
                    <a:pt x="252456" y="367738"/>
                    <a:pt x="246373" y="378375"/>
                    <a:pt x="240507" y="390182"/>
                  </a:cubicBezTo>
                  <a:cubicBezTo>
                    <a:pt x="234641" y="401989"/>
                    <a:pt x="226277" y="418902"/>
                    <a:pt x="221606" y="428476"/>
                  </a:cubicBezTo>
                  <a:cubicBezTo>
                    <a:pt x="216935" y="438049"/>
                    <a:pt x="213568" y="443048"/>
                    <a:pt x="212481" y="447622"/>
                  </a:cubicBezTo>
                  <a:cubicBezTo>
                    <a:pt x="211395" y="452196"/>
                    <a:pt x="215414" y="453260"/>
                    <a:pt x="215088" y="455919"/>
                  </a:cubicBezTo>
                  <a:cubicBezTo>
                    <a:pt x="214762" y="458578"/>
                    <a:pt x="210743" y="461025"/>
                    <a:pt x="210526" y="463578"/>
                  </a:cubicBezTo>
                  <a:cubicBezTo>
                    <a:pt x="210309" y="466130"/>
                    <a:pt x="214219" y="467620"/>
                    <a:pt x="213785" y="471236"/>
                  </a:cubicBezTo>
                  <a:lnTo>
                    <a:pt x="207919" y="485277"/>
                  </a:lnTo>
                  <a:cubicBezTo>
                    <a:pt x="207267" y="489213"/>
                    <a:pt x="209005" y="491766"/>
                    <a:pt x="209874" y="494850"/>
                  </a:cubicBezTo>
                  <a:cubicBezTo>
                    <a:pt x="210743" y="497935"/>
                    <a:pt x="213567" y="499743"/>
                    <a:pt x="213133" y="503785"/>
                  </a:cubicBezTo>
                  <a:cubicBezTo>
                    <a:pt x="212698" y="507827"/>
                    <a:pt x="207158" y="514954"/>
                    <a:pt x="207267" y="519102"/>
                  </a:cubicBezTo>
                  <a:cubicBezTo>
                    <a:pt x="207376" y="523251"/>
                    <a:pt x="213024" y="525166"/>
                    <a:pt x="213785" y="528676"/>
                  </a:cubicBezTo>
                  <a:lnTo>
                    <a:pt x="211830" y="540164"/>
                  </a:lnTo>
                  <a:cubicBezTo>
                    <a:pt x="210743" y="542929"/>
                    <a:pt x="207484" y="543461"/>
                    <a:pt x="207267" y="545270"/>
                  </a:cubicBezTo>
                  <a:cubicBezTo>
                    <a:pt x="207050" y="547078"/>
                    <a:pt x="209440" y="548780"/>
                    <a:pt x="210526" y="551013"/>
                  </a:cubicBezTo>
                  <a:cubicBezTo>
                    <a:pt x="211612" y="553247"/>
                    <a:pt x="213676" y="555587"/>
                    <a:pt x="213785" y="558672"/>
                  </a:cubicBezTo>
                  <a:cubicBezTo>
                    <a:pt x="213893" y="561757"/>
                    <a:pt x="213242" y="566437"/>
                    <a:pt x="211178" y="569522"/>
                  </a:cubicBezTo>
                  <a:cubicBezTo>
                    <a:pt x="209114" y="572606"/>
                    <a:pt x="207593" y="574628"/>
                    <a:pt x="201401" y="577180"/>
                  </a:cubicBezTo>
                  <a:cubicBezTo>
                    <a:pt x="195209" y="579733"/>
                    <a:pt x="179024" y="582606"/>
                    <a:pt x="174027" y="584839"/>
                  </a:cubicBezTo>
                  <a:cubicBezTo>
                    <a:pt x="169031" y="587073"/>
                    <a:pt x="172724" y="588137"/>
                    <a:pt x="171420" y="590583"/>
                  </a:cubicBezTo>
                  <a:cubicBezTo>
                    <a:pt x="170117" y="593030"/>
                    <a:pt x="169248" y="597072"/>
                    <a:pt x="166206" y="599518"/>
                  </a:cubicBezTo>
                  <a:cubicBezTo>
                    <a:pt x="163164" y="601964"/>
                    <a:pt x="157733" y="604198"/>
                    <a:pt x="153171" y="605262"/>
                  </a:cubicBezTo>
                  <a:cubicBezTo>
                    <a:pt x="148608" y="606326"/>
                    <a:pt x="142960" y="606645"/>
                    <a:pt x="138832" y="605900"/>
                  </a:cubicBezTo>
                  <a:cubicBezTo>
                    <a:pt x="134704" y="605156"/>
                    <a:pt x="131011" y="602603"/>
                    <a:pt x="128404" y="600794"/>
                  </a:cubicBezTo>
                  <a:cubicBezTo>
                    <a:pt x="125797" y="598986"/>
                    <a:pt x="124276" y="597391"/>
                    <a:pt x="123189" y="595051"/>
                  </a:cubicBezTo>
                  <a:lnTo>
                    <a:pt x="121886" y="586754"/>
                  </a:lnTo>
                  <a:cubicBezTo>
                    <a:pt x="118084" y="584626"/>
                    <a:pt x="110806" y="581648"/>
                    <a:pt x="110806" y="581648"/>
                  </a:cubicBezTo>
                  <a:cubicBezTo>
                    <a:pt x="107004" y="580052"/>
                    <a:pt x="100704" y="577712"/>
                    <a:pt x="97119" y="575904"/>
                  </a:cubicBezTo>
                  <a:cubicBezTo>
                    <a:pt x="93534" y="574096"/>
                    <a:pt x="91471" y="572713"/>
                    <a:pt x="89298" y="570798"/>
                  </a:cubicBezTo>
                  <a:cubicBezTo>
                    <a:pt x="87125" y="568883"/>
                    <a:pt x="84844" y="566756"/>
                    <a:pt x="84084" y="564416"/>
                  </a:cubicBezTo>
                  <a:cubicBezTo>
                    <a:pt x="83324" y="562076"/>
                    <a:pt x="83975" y="559417"/>
                    <a:pt x="84736" y="556757"/>
                  </a:cubicBezTo>
                  <a:lnTo>
                    <a:pt x="88646" y="548461"/>
                  </a:lnTo>
                  <a:cubicBezTo>
                    <a:pt x="88972" y="546546"/>
                    <a:pt x="87668" y="546759"/>
                    <a:pt x="86691" y="545270"/>
                  </a:cubicBezTo>
                  <a:cubicBezTo>
                    <a:pt x="85713" y="543780"/>
                    <a:pt x="83650" y="541866"/>
                    <a:pt x="82780" y="539526"/>
                  </a:cubicBezTo>
                  <a:cubicBezTo>
                    <a:pt x="81911" y="537185"/>
                    <a:pt x="81151" y="533994"/>
                    <a:pt x="81477" y="531229"/>
                  </a:cubicBezTo>
                  <a:cubicBezTo>
                    <a:pt x="81803" y="528463"/>
                    <a:pt x="83758" y="525166"/>
                    <a:pt x="84736" y="522932"/>
                  </a:cubicBezTo>
                  <a:cubicBezTo>
                    <a:pt x="85713" y="520698"/>
                    <a:pt x="87451" y="519315"/>
                    <a:pt x="87343" y="517826"/>
                  </a:cubicBezTo>
                  <a:cubicBezTo>
                    <a:pt x="87234" y="516337"/>
                    <a:pt x="85061" y="515699"/>
                    <a:pt x="84084" y="513997"/>
                  </a:cubicBezTo>
                  <a:cubicBezTo>
                    <a:pt x="83106" y="512295"/>
                    <a:pt x="81803" y="509955"/>
                    <a:pt x="81477" y="507615"/>
                  </a:cubicBezTo>
                  <a:cubicBezTo>
                    <a:pt x="81151" y="505274"/>
                    <a:pt x="81042" y="502615"/>
                    <a:pt x="82129" y="499956"/>
                  </a:cubicBezTo>
                  <a:lnTo>
                    <a:pt x="87994" y="491659"/>
                  </a:lnTo>
                  <a:cubicBezTo>
                    <a:pt x="88646" y="489319"/>
                    <a:pt x="87125" y="488681"/>
                    <a:pt x="86039" y="485915"/>
                  </a:cubicBezTo>
                  <a:cubicBezTo>
                    <a:pt x="84953" y="483150"/>
                    <a:pt x="82346" y="478469"/>
                    <a:pt x="81477" y="475065"/>
                  </a:cubicBezTo>
                  <a:cubicBezTo>
                    <a:pt x="80608" y="471662"/>
                    <a:pt x="80282" y="468790"/>
                    <a:pt x="80825" y="465492"/>
                  </a:cubicBezTo>
                  <a:cubicBezTo>
                    <a:pt x="81368" y="462195"/>
                    <a:pt x="86148" y="458259"/>
                    <a:pt x="85387" y="453366"/>
                  </a:cubicBezTo>
                  <a:cubicBezTo>
                    <a:pt x="84627" y="448473"/>
                    <a:pt x="80173" y="444005"/>
                    <a:pt x="76263" y="436134"/>
                  </a:cubicBezTo>
                  <a:cubicBezTo>
                    <a:pt x="72352" y="428263"/>
                    <a:pt x="68116" y="418583"/>
                    <a:pt x="61924" y="406138"/>
                  </a:cubicBezTo>
                  <a:cubicBezTo>
                    <a:pt x="55732" y="393693"/>
                    <a:pt x="44761" y="373695"/>
                    <a:pt x="39112" y="361463"/>
                  </a:cubicBezTo>
                  <a:cubicBezTo>
                    <a:pt x="33464" y="349230"/>
                    <a:pt x="30313" y="342635"/>
                    <a:pt x="28032" y="332743"/>
                  </a:cubicBezTo>
                  <a:cubicBezTo>
                    <a:pt x="25751" y="322850"/>
                    <a:pt x="24664" y="313064"/>
                    <a:pt x="25425" y="302108"/>
                  </a:cubicBezTo>
                  <a:cubicBezTo>
                    <a:pt x="26186" y="291152"/>
                    <a:pt x="29118" y="277324"/>
                    <a:pt x="32595" y="267006"/>
                  </a:cubicBezTo>
                  <a:cubicBezTo>
                    <a:pt x="36071" y="256688"/>
                    <a:pt x="40525" y="248498"/>
                    <a:pt x="46282" y="240201"/>
                  </a:cubicBezTo>
                  <a:cubicBezTo>
                    <a:pt x="52039" y="231904"/>
                    <a:pt x="58991" y="223820"/>
                    <a:pt x="67138" y="217225"/>
                  </a:cubicBezTo>
                  <a:cubicBezTo>
                    <a:pt x="75285" y="210630"/>
                    <a:pt x="86039" y="204992"/>
                    <a:pt x="95164" y="200631"/>
                  </a:cubicBezTo>
                  <a:cubicBezTo>
                    <a:pt x="104289" y="196270"/>
                    <a:pt x="113739" y="192973"/>
                    <a:pt x="121886" y="191058"/>
                  </a:cubicBezTo>
                  <a:cubicBezTo>
                    <a:pt x="130033" y="189143"/>
                    <a:pt x="136985" y="189250"/>
                    <a:pt x="144046" y="189143"/>
                  </a:cubicBezTo>
                  <a:close/>
                  <a:moveTo>
                    <a:pt x="965198" y="0"/>
                  </a:moveTo>
                  <a:lnTo>
                    <a:pt x="1108073" y="0"/>
                  </a:lnTo>
                  <a:lnTo>
                    <a:pt x="1108073" y="1174749"/>
                  </a:lnTo>
                  <a:lnTo>
                    <a:pt x="965198" y="1174749"/>
                  </a:lnTo>
                  <a:close/>
                </a:path>
              </a:pathLst>
            </a:custGeom>
            <a:solidFill>
              <a:srgbClr val="333333"/>
            </a:solidFill>
            <a:ln w="19050" cap="flat" cmpd="sng" algn="ctr">
              <a:solidFill>
                <a:srgbClr val="333333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sym typeface="Segoe UI"/>
              </a:endParaRPr>
            </a:p>
          </p:txBody>
        </p:sp>
      </p:grpSp>
      <p:sp>
        <p:nvSpPr>
          <p:cNvPr id="270" name="Rectangle 269"/>
          <p:cNvSpPr/>
          <p:nvPr/>
        </p:nvSpPr>
        <p:spPr>
          <a:xfrm>
            <a:off x="822732" y="3563464"/>
            <a:ext cx="1449722" cy="1393894"/>
          </a:xfrm>
          <a:prstGeom prst="rect">
            <a:avLst/>
          </a:prstGeom>
          <a:solidFill>
            <a:srgbClr val="00808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" name="Group 5"/>
          <p:cNvGrpSpPr/>
          <p:nvPr/>
        </p:nvGrpSpPr>
        <p:grpSpPr>
          <a:xfrm>
            <a:off x="646747" y="633316"/>
            <a:ext cx="3123230" cy="2743200"/>
            <a:chOff x="646747" y="633316"/>
            <a:chExt cx="3123230" cy="2743200"/>
          </a:xfrm>
        </p:grpSpPr>
        <p:sp>
          <p:nvSpPr>
            <p:cNvPr id="68" name="Rectangle 67"/>
            <p:cNvSpPr/>
            <p:nvPr/>
          </p:nvSpPr>
          <p:spPr>
            <a:xfrm>
              <a:off x="646747" y="633316"/>
              <a:ext cx="3123228" cy="2743200"/>
            </a:xfrm>
            <a:prstGeom prst="rect">
              <a:avLst/>
            </a:prstGeom>
            <a:solidFill>
              <a:srgbClr val="6699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/>
                <a:t>660066</a:t>
              </a:r>
            </a:p>
          </p:txBody>
        </p:sp>
        <p:sp>
          <p:nvSpPr>
            <p:cNvPr id="69" name="Rectangle 68"/>
            <p:cNvSpPr/>
            <p:nvPr/>
          </p:nvSpPr>
          <p:spPr>
            <a:xfrm>
              <a:off x="1268403" y="633316"/>
              <a:ext cx="2501573" cy="2743200"/>
            </a:xfrm>
            <a:prstGeom prst="rect">
              <a:avLst/>
            </a:prstGeom>
            <a:solidFill>
              <a:srgbClr val="E9E9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Isosceles Triangle 27"/>
            <p:cNvSpPr/>
            <p:nvPr/>
          </p:nvSpPr>
          <p:spPr>
            <a:xfrm rot="14400000">
              <a:off x="1385687" y="744898"/>
              <a:ext cx="1702487" cy="2047859"/>
            </a:xfrm>
            <a:custGeom>
              <a:avLst/>
              <a:gdLst>
                <a:gd name="connsiteX0" fmla="*/ 0 w 1460090"/>
                <a:gd name="connsiteY0" fmla="*/ 1194619 h 1194619"/>
                <a:gd name="connsiteX1" fmla="*/ 730045 w 1460090"/>
                <a:gd name="connsiteY1" fmla="*/ 0 h 1194619"/>
                <a:gd name="connsiteX2" fmla="*/ 1460090 w 1460090"/>
                <a:gd name="connsiteY2" fmla="*/ 1194619 h 1194619"/>
                <a:gd name="connsiteX3" fmla="*/ 0 w 1460090"/>
                <a:gd name="connsiteY3" fmla="*/ 1194619 h 1194619"/>
                <a:gd name="connsiteX0" fmla="*/ 0 w 2733537"/>
                <a:gd name="connsiteY0" fmla="*/ 1194619 h 3084316"/>
                <a:gd name="connsiteX1" fmla="*/ 730045 w 2733537"/>
                <a:gd name="connsiteY1" fmla="*/ 0 h 3084316"/>
                <a:gd name="connsiteX2" fmla="*/ 2733537 w 2733537"/>
                <a:gd name="connsiteY2" fmla="*/ 3084316 h 3084316"/>
                <a:gd name="connsiteX3" fmla="*/ 0 w 2733537"/>
                <a:gd name="connsiteY3" fmla="*/ 1194619 h 3084316"/>
                <a:gd name="connsiteX0" fmla="*/ 0 w 2733537"/>
                <a:gd name="connsiteY0" fmla="*/ 2559076 h 4448773"/>
                <a:gd name="connsiteX1" fmla="*/ 1884698 w 2733537"/>
                <a:gd name="connsiteY1" fmla="*/ 0 h 4448773"/>
                <a:gd name="connsiteX2" fmla="*/ 2733537 w 2733537"/>
                <a:gd name="connsiteY2" fmla="*/ 4448773 h 4448773"/>
                <a:gd name="connsiteX3" fmla="*/ 0 w 2733537"/>
                <a:gd name="connsiteY3" fmla="*/ 2559076 h 4448773"/>
                <a:gd name="connsiteX0" fmla="*/ 0 w 4576524"/>
                <a:gd name="connsiteY0" fmla="*/ 4248749 h 4448773"/>
                <a:gd name="connsiteX1" fmla="*/ 3727685 w 4576524"/>
                <a:gd name="connsiteY1" fmla="*/ 0 h 4448773"/>
                <a:gd name="connsiteX2" fmla="*/ 4576524 w 4576524"/>
                <a:gd name="connsiteY2" fmla="*/ 4448773 h 4448773"/>
                <a:gd name="connsiteX3" fmla="*/ 0 w 4576524"/>
                <a:gd name="connsiteY3" fmla="*/ 4248749 h 4448773"/>
                <a:gd name="connsiteX0" fmla="*/ 0 w 4576524"/>
                <a:gd name="connsiteY0" fmla="*/ 4248749 h 4448773"/>
                <a:gd name="connsiteX1" fmla="*/ 3261751 w 4576524"/>
                <a:gd name="connsiteY1" fmla="*/ 547881 h 4448773"/>
                <a:gd name="connsiteX2" fmla="*/ 3727685 w 4576524"/>
                <a:gd name="connsiteY2" fmla="*/ 0 h 4448773"/>
                <a:gd name="connsiteX3" fmla="*/ 4576524 w 4576524"/>
                <a:gd name="connsiteY3" fmla="*/ 4448773 h 4448773"/>
                <a:gd name="connsiteX4" fmla="*/ 0 w 4576524"/>
                <a:gd name="connsiteY4" fmla="*/ 4248749 h 4448773"/>
                <a:gd name="connsiteX0" fmla="*/ 0 w 4576524"/>
                <a:gd name="connsiteY0" fmla="*/ 4248749 h 4448773"/>
                <a:gd name="connsiteX1" fmla="*/ 3478405 w 4576524"/>
                <a:gd name="connsiteY1" fmla="*/ 664666 h 4448773"/>
                <a:gd name="connsiteX2" fmla="*/ 3727685 w 4576524"/>
                <a:gd name="connsiteY2" fmla="*/ 0 h 4448773"/>
                <a:gd name="connsiteX3" fmla="*/ 4576524 w 4576524"/>
                <a:gd name="connsiteY3" fmla="*/ 4448773 h 4448773"/>
                <a:gd name="connsiteX4" fmla="*/ 0 w 4576524"/>
                <a:gd name="connsiteY4" fmla="*/ 4248749 h 4448773"/>
                <a:gd name="connsiteX0" fmla="*/ 0 w 4576524"/>
                <a:gd name="connsiteY0" fmla="*/ 4248749 h 4448773"/>
                <a:gd name="connsiteX1" fmla="*/ 3158632 w 4576524"/>
                <a:gd name="connsiteY1" fmla="*/ 988760 h 4448773"/>
                <a:gd name="connsiteX2" fmla="*/ 3478405 w 4576524"/>
                <a:gd name="connsiteY2" fmla="*/ 664666 h 4448773"/>
                <a:gd name="connsiteX3" fmla="*/ 3727685 w 4576524"/>
                <a:gd name="connsiteY3" fmla="*/ 0 h 4448773"/>
                <a:gd name="connsiteX4" fmla="*/ 4576524 w 4576524"/>
                <a:gd name="connsiteY4" fmla="*/ 4448773 h 4448773"/>
                <a:gd name="connsiteX5" fmla="*/ 0 w 4576524"/>
                <a:gd name="connsiteY5" fmla="*/ 4248749 h 4448773"/>
                <a:gd name="connsiteX0" fmla="*/ 0 w 4576524"/>
                <a:gd name="connsiteY0" fmla="*/ 4248749 h 4448773"/>
                <a:gd name="connsiteX1" fmla="*/ 2964687 w 4576524"/>
                <a:gd name="connsiteY1" fmla="*/ 480619 h 4448773"/>
                <a:gd name="connsiteX2" fmla="*/ 3478405 w 4576524"/>
                <a:gd name="connsiteY2" fmla="*/ 664666 h 4448773"/>
                <a:gd name="connsiteX3" fmla="*/ 3727685 w 4576524"/>
                <a:gd name="connsiteY3" fmla="*/ 0 h 4448773"/>
                <a:gd name="connsiteX4" fmla="*/ 4576524 w 4576524"/>
                <a:gd name="connsiteY4" fmla="*/ 4448773 h 4448773"/>
                <a:gd name="connsiteX5" fmla="*/ 0 w 4576524"/>
                <a:gd name="connsiteY5" fmla="*/ 4248749 h 4448773"/>
                <a:gd name="connsiteX0" fmla="*/ 0 w 4576524"/>
                <a:gd name="connsiteY0" fmla="*/ 4248749 h 4448773"/>
                <a:gd name="connsiteX1" fmla="*/ 2768014 w 4576524"/>
                <a:gd name="connsiteY1" fmla="*/ 723486 h 4448773"/>
                <a:gd name="connsiteX2" fmla="*/ 2964687 w 4576524"/>
                <a:gd name="connsiteY2" fmla="*/ 480619 h 4448773"/>
                <a:gd name="connsiteX3" fmla="*/ 3478405 w 4576524"/>
                <a:gd name="connsiteY3" fmla="*/ 664666 h 4448773"/>
                <a:gd name="connsiteX4" fmla="*/ 3727685 w 4576524"/>
                <a:gd name="connsiteY4" fmla="*/ 0 h 4448773"/>
                <a:gd name="connsiteX5" fmla="*/ 4576524 w 4576524"/>
                <a:gd name="connsiteY5" fmla="*/ 4448773 h 4448773"/>
                <a:gd name="connsiteX6" fmla="*/ 0 w 4576524"/>
                <a:gd name="connsiteY6" fmla="*/ 4248749 h 4448773"/>
                <a:gd name="connsiteX0" fmla="*/ 0 w 4576524"/>
                <a:gd name="connsiteY0" fmla="*/ 4248749 h 4448773"/>
                <a:gd name="connsiteX1" fmla="*/ 2901908 w 4576524"/>
                <a:gd name="connsiteY1" fmla="*/ 262301 h 4448773"/>
                <a:gd name="connsiteX2" fmla="*/ 2964687 w 4576524"/>
                <a:gd name="connsiteY2" fmla="*/ 480619 h 4448773"/>
                <a:gd name="connsiteX3" fmla="*/ 3478405 w 4576524"/>
                <a:gd name="connsiteY3" fmla="*/ 664666 h 4448773"/>
                <a:gd name="connsiteX4" fmla="*/ 3727685 w 4576524"/>
                <a:gd name="connsiteY4" fmla="*/ 0 h 4448773"/>
                <a:gd name="connsiteX5" fmla="*/ 4576524 w 4576524"/>
                <a:gd name="connsiteY5" fmla="*/ 4448773 h 4448773"/>
                <a:gd name="connsiteX6" fmla="*/ 0 w 4576524"/>
                <a:gd name="connsiteY6" fmla="*/ 4248749 h 4448773"/>
                <a:gd name="connsiteX0" fmla="*/ 0 w 4576524"/>
                <a:gd name="connsiteY0" fmla="*/ 4248749 h 4448773"/>
                <a:gd name="connsiteX1" fmla="*/ 2495087 w 4576524"/>
                <a:gd name="connsiteY1" fmla="*/ 829368 h 4448773"/>
                <a:gd name="connsiteX2" fmla="*/ 2901908 w 4576524"/>
                <a:gd name="connsiteY2" fmla="*/ 262301 h 4448773"/>
                <a:gd name="connsiteX3" fmla="*/ 2964687 w 4576524"/>
                <a:gd name="connsiteY3" fmla="*/ 480619 h 4448773"/>
                <a:gd name="connsiteX4" fmla="*/ 3478405 w 4576524"/>
                <a:gd name="connsiteY4" fmla="*/ 664666 h 4448773"/>
                <a:gd name="connsiteX5" fmla="*/ 3727685 w 4576524"/>
                <a:gd name="connsiteY5" fmla="*/ 0 h 4448773"/>
                <a:gd name="connsiteX6" fmla="*/ 4576524 w 4576524"/>
                <a:gd name="connsiteY6" fmla="*/ 4448773 h 4448773"/>
                <a:gd name="connsiteX7" fmla="*/ 0 w 4576524"/>
                <a:gd name="connsiteY7" fmla="*/ 4248749 h 4448773"/>
                <a:gd name="connsiteX0" fmla="*/ 0 w 4576524"/>
                <a:gd name="connsiteY0" fmla="*/ 4248749 h 4448773"/>
                <a:gd name="connsiteX1" fmla="*/ 2648853 w 4576524"/>
                <a:gd name="connsiteY1" fmla="*/ 837457 h 4448773"/>
                <a:gd name="connsiteX2" fmla="*/ 2901908 w 4576524"/>
                <a:gd name="connsiteY2" fmla="*/ 262301 h 4448773"/>
                <a:gd name="connsiteX3" fmla="*/ 2964687 w 4576524"/>
                <a:gd name="connsiteY3" fmla="*/ 480619 h 4448773"/>
                <a:gd name="connsiteX4" fmla="*/ 3478405 w 4576524"/>
                <a:gd name="connsiteY4" fmla="*/ 664666 h 4448773"/>
                <a:gd name="connsiteX5" fmla="*/ 3727685 w 4576524"/>
                <a:gd name="connsiteY5" fmla="*/ 0 h 4448773"/>
                <a:gd name="connsiteX6" fmla="*/ 4576524 w 4576524"/>
                <a:gd name="connsiteY6" fmla="*/ 4448773 h 4448773"/>
                <a:gd name="connsiteX7" fmla="*/ 0 w 4576524"/>
                <a:gd name="connsiteY7" fmla="*/ 4248749 h 4448773"/>
                <a:gd name="connsiteX0" fmla="*/ 0 w 4576524"/>
                <a:gd name="connsiteY0" fmla="*/ 4248749 h 4448773"/>
                <a:gd name="connsiteX1" fmla="*/ 2648853 w 4576524"/>
                <a:gd name="connsiteY1" fmla="*/ 837457 h 4448773"/>
                <a:gd name="connsiteX2" fmla="*/ 2860254 w 4576524"/>
                <a:gd name="connsiteY2" fmla="*/ 247378 h 4448773"/>
                <a:gd name="connsiteX3" fmla="*/ 2964687 w 4576524"/>
                <a:gd name="connsiteY3" fmla="*/ 480619 h 4448773"/>
                <a:gd name="connsiteX4" fmla="*/ 3478405 w 4576524"/>
                <a:gd name="connsiteY4" fmla="*/ 664666 h 4448773"/>
                <a:gd name="connsiteX5" fmla="*/ 3727685 w 4576524"/>
                <a:gd name="connsiteY5" fmla="*/ 0 h 4448773"/>
                <a:gd name="connsiteX6" fmla="*/ 4576524 w 4576524"/>
                <a:gd name="connsiteY6" fmla="*/ 4448773 h 4448773"/>
                <a:gd name="connsiteX7" fmla="*/ 0 w 4576524"/>
                <a:gd name="connsiteY7" fmla="*/ 4248749 h 4448773"/>
                <a:gd name="connsiteX0" fmla="*/ 0 w 4576524"/>
                <a:gd name="connsiteY0" fmla="*/ 4248749 h 4448773"/>
                <a:gd name="connsiteX1" fmla="*/ 2211774 w 4576524"/>
                <a:gd name="connsiteY1" fmla="*/ 1401519 h 4448773"/>
                <a:gd name="connsiteX2" fmla="*/ 2648853 w 4576524"/>
                <a:gd name="connsiteY2" fmla="*/ 837457 h 4448773"/>
                <a:gd name="connsiteX3" fmla="*/ 2860254 w 4576524"/>
                <a:gd name="connsiteY3" fmla="*/ 247378 h 4448773"/>
                <a:gd name="connsiteX4" fmla="*/ 2964687 w 4576524"/>
                <a:gd name="connsiteY4" fmla="*/ 480619 h 4448773"/>
                <a:gd name="connsiteX5" fmla="*/ 3478405 w 4576524"/>
                <a:gd name="connsiteY5" fmla="*/ 664666 h 4448773"/>
                <a:gd name="connsiteX6" fmla="*/ 3727685 w 4576524"/>
                <a:gd name="connsiteY6" fmla="*/ 0 h 4448773"/>
                <a:gd name="connsiteX7" fmla="*/ 4576524 w 4576524"/>
                <a:gd name="connsiteY7" fmla="*/ 4448773 h 4448773"/>
                <a:gd name="connsiteX8" fmla="*/ 0 w 4576524"/>
                <a:gd name="connsiteY8" fmla="*/ 4248749 h 4448773"/>
                <a:gd name="connsiteX0" fmla="*/ 0 w 4576524"/>
                <a:gd name="connsiteY0" fmla="*/ 4248749 h 4448773"/>
                <a:gd name="connsiteX1" fmla="*/ 1695813 w 4576524"/>
                <a:gd name="connsiteY1" fmla="*/ 480352 h 4448773"/>
                <a:gd name="connsiteX2" fmla="*/ 2648853 w 4576524"/>
                <a:gd name="connsiteY2" fmla="*/ 837457 h 4448773"/>
                <a:gd name="connsiteX3" fmla="*/ 2860254 w 4576524"/>
                <a:gd name="connsiteY3" fmla="*/ 247378 h 4448773"/>
                <a:gd name="connsiteX4" fmla="*/ 2964687 w 4576524"/>
                <a:gd name="connsiteY4" fmla="*/ 480619 h 4448773"/>
                <a:gd name="connsiteX5" fmla="*/ 3478405 w 4576524"/>
                <a:gd name="connsiteY5" fmla="*/ 664666 h 4448773"/>
                <a:gd name="connsiteX6" fmla="*/ 3727685 w 4576524"/>
                <a:gd name="connsiteY6" fmla="*/ 0 h 4448773"/>
                <a:gd name="connsiteX7" fmla="*/ 4576524 w 4576524"/>
                <a:gd name="connsiteY7" fmla="*/ 4448773 h 4448773"/>
                <a:gd name="connsiteX8" fmla="*/ 0 w 4576524"/>
                <a:gd name="connsiteY8" fmla="*/ 4248749 h 4448773"/>
                <a:gd name="connsiteX0" fmla="*/ 0 w 4576524"/>
                <a:gd name="connsiteY0" fmla="*/ 4248749 h 4448773"/>
                <a:gd name="connsiteX1" fmla="*/ 1695813 w 4576524"/>
                <a:gd name="connsiteY1" fmla="*/ 480352 h 4448773"/>
                <a:gd name="connsiteX2" fmla="*/ 2648853 w 4576524"/>
                <a:gd name="connsiteY2" fmla="*/ 837457 h 4448773"/>
                <a:gd name="connsiteX3" fmla="*/ 2860254 w 4576524"/>
                <a:gd name="connsiteY3" fmla="*/ 247378 h 4448773"/>
                <a:gd name="connsiteX4" fmla="*/ 2964687 w 4576524"/>
                <a:gd name="connsiteY4" fmla="*/ 480619 h 4448773"/>
                <a:gd name="connsiteX5" fmla="*/ 3478405 w 4576524"/>
                <a:gd name="connsiteY5" fmla="*/ 664666 h 4448773"/>
                <a:gd name="connsiteX6" fmla="*/ 3727685 w 4576524"/>
                <a:gd name="connsiteY6" fmla="*/ 0 h 4448773"/>
                <a:gd name="connsiteX7" fmla="*/ 4576524 w 4576524"/>
                <a:gd name="connsiteY7" fmla="*/ 4448773 h 4448773"/>
                <a:gd name="connsiteX8" fmla="*/ 2569932 w 4576524"/>
                <a:gd name="connsiteY8" fmla="*/ 4381104 h 4448773"/>
                <a:gd name="connsiteX9" fmla="*/ 0 w 4576524"/>
                <a:gd name="connsiteY9" fmla="*/ 4248749 h 4448773"/>
                <a:gd name="connsiteX0" fmla="*/ 0 w 4576524"/>
                <a:gd name="connsiteY0" fmla="*/ 4248749 h 4448773"/>
                <a:gd name="connsiteX1" fmla="*/ 1695813 w 4576524"/>
                <a:gd name="connsiteY1" fmla="*/ 480352 h 4448773"/>
                <a:gd name="connsiteX2" fmla="*/ 2648853 w 4576524"/>
                <a:gd name="connsiteY2" fmla="*/ 837457 h 4448773"/>
                <a:gd name="connsiteX3" fmla="*/ 2860254 w 4576524"/>
                <a:gd name="connsiteY3" fmla="*/ 247378 h 4448773"/>
                <a:gd name="connsiteX4" fmla="*/ 2964687 w 4576524"/>
                <a:gd name="connsiteY4" fmla="*/ 480619 h 4448773"/>
                <a:gd name="connsiteX5" fmla="*/ 3478405 w 4576524"/>
                <a:gd name="connsiteY5" fmla="*/ 664666 h 4448773"/>
                <a:gd name="connsiteX6" fmla="*/ 3727685 w 4576524"/>
                <a:gd name="connsiteY6" fmla="*/ 0 h 4448773"/>
                <a:gd name="connsiteX7" fmla="*/ 4576524 w 4576524"/>
                <a:gd name="connsiteY7" fmla="*/ 4448773 h 4448773"/>
                <a:gd name="connsiteX8" fmla="*/ 2472793 w 4576524"/>
                <a:gd name="connsiteY8" fmla="*/ 3296659 h 4448773"/>
                <a:gd name="connsiteX9" fmla="*/ 0 w 4576524"/>
                <a:gd name="connsiteY9" fmla="*/ 4248749 h 4448773"/>
                <a:gd name="connsiteX0" fmla="*/ 0 w 4576524"/>
                <a:gd name="connsiteY0" fmla="*/ 4248749 h 4448773"/>
                <a:gd name="connsiteX1" fmla="*/ 1695813 w 4576524"/>
                <a:gd name="connsiteY1" fmla="*/ 480352 h 4448773"/>
                <a:gd name="connsiteX2" fmla="*/ 2648853 w 4576524"/>
                <a:gd name="connsiteY2" fmla="*/ 837457 h 4448773"/>
                <a:gd name="connsiteX3" fmla="*/ 2860254 w 4576524"/>
                <a:gd name="connsiteY3" fmla="*/ 247378 h 4448773"/>
                <a:gd name="connsiteX4" fmla="*/ 2964687 w 4576524"/>
                <a:gd name="connsiteY4" fmla="*/ 480619 h 4448773"/>
                <a:gd name="connsiteX5" fmla="*/ 3478405 w 4576524"/>
                <a:gd name="connsiteY5" fmla="*/ 664666 h 4448773"/>
                <a:gd name="connsiteX6" fmla="*/ 3727685 w 4576524"/>
                <a:gd name="connsiteY6" fmla="*/ 0 h 4448773"/>
                <a:gd name="connsiteX7" fmla="*/ 4576524 w 4576524"/>
                <a:gd name="connsiteY7" fmla="*/ 4448773 h 4448773"/>
                <a:gd name="connsiteX8" fmla="*/ 2472793 w 4576524"/>
                <a:gd name="connsiteY8" fmla="*/ 3296659 h 4448773"/>
                <a:gd name="connsiteX9" fmla="*/ 0 w 4576524"/>
                <a:gd name="connsiteY9" fmla="*/ 4248749 h 4448773"/>
                <a:gd name="connsiteX0" fmla="*/ 0 w 4576524"/>
                <a:gd name="connsiteY0" fmla="*/ 4248749 h 4448773"/>
                <a:gd name="connsiteX1" fmla="*/ 1695813 w 4576524"/>
                <a:gd name="connsiteY1" fmla="*/ 480352 h 4448773"/>
                <a:gd name="connsiteX2" fmla="*/ 2648853 w 4576524"/>
                <a:gd name="connsiteY2" fmla="*/ 837457 h 4448773"/>
                <a:gd name="connsiteX3" fmla="*/ 2860254 w 4576524"/>
                <a:gd name="connsiteY3" fmla="*/ 247378 h 4448773"/>
                <a:gd name="connsiteX4" fmla="*/ 2964687 w 4576524"/>
                <a:gd name="connsiteY4" fmla="*/ 480619 h 4448773"/>
                <a:gd name="connsiteX5" fmla="*/ 3478405 w 4576524"/>
                <a:gd name="connsiteY5" fmla="*/ 664666 h 4448773"/>
                <a:gd name="connsiteX6" fmla="*/ 3727685 w 4576524"/>
                <a:gd name="connsiteY6" fmla="*/ 0 h 4448773"/>
                <a:gd name="connsiteX7" fmla="*/ 4576524 w 4576524"/>
                <a:gd name="connsiteY7" fmla="*/ 4448773 h 4448773"/>
                <a:gd name="connsiteX8" fmla="*/ 2472793 w 4576524"/>
                <a:gd name="connsiteY8" fmla="*/ 3296659 h 4448773"/>
                <a:gd name="connsiteX9" fmla="*/ 0 w 4576524"/>
                <a:gd name="connsiteY9" fmla="*/ 4248749 h 4448773"/>
                <a:gd name="connsiteX0" fmla="*/ 0 w 4576524"/>
                <a:gd name="connsiteY0" fmla="*/ 4248749 h 4487737"/>
                <a:gd name="connsiteX1" fmla="*/ 1695813 w 4576524"/>
                <a:gd name="connsiteY1" fmla="*/ 480352 h 4487737"/>
                <a:gd name="connsiteX2" fmla="*/ 2648853 w 4576524"/>
                <a:gd name="connsiteY2" fmla="*/ 837457 h 4487737"/>
                <a:gd name="connsiteX3" fmla="*/ 2860254 w 4576524"/>
                <a:gd name="connsiteY3" fmla="*/ 247378 h 4487737"/>
                <a:gd name="connsiteX4" fmla="*/ 2964687 w 4576524"/>
                <a:gd name="connsiteY4" fmla="*/ 480619 h 4487737"/>
                <a:gd name="connsiteX5" fmla="*/ 3478405 w 4576524"/>
                <a:gd name="connsiteY5" fmla="*/ 664666 h 4487737"/>
                <a:gd name="connsiteX6" fmla="*/ 3727685 w 4576524"/>
                <a:gd name="connsiteY6" fmla="*/ 0 h 4487737"/>
                <a:gd name="connsiteX7" fmla="*/ 4576524 w 4576524"/>
                <a:gd name="connsiteY7" fmla="*/ 4448773 h 4487737"/>
                <a:gd name="connsiteX8" fmla="*/ 2472793 w 4576524"/>
                <a:gd name="connsiteY8" fmla="*/ 3296659 h 4487737"/>
                <a:gd name="connsiteX9" fmla="*/ 0 w 4576524"/>
                <a:gd name="connsiteY9" fmla="*/ 4248749 h 4487737"/>
                <a:gd name="connsiteX0" fmla="*/ 100 w 4576624"/>
                <a:gd name="connsiteY0" fmla="*/ 4248749 h 4487737"/>
                <a:gd name="connsiteX1" fmla="*/ 1695913 w 4576624"/>
                <a:gd name="connsiteY1" fmla="*/ 480352 h 4487737"/>
                <a:gd name="connsiteX2" fmla="*/ 2648953 w 4576624"/>
                <a:gd name="connsiteY2" fmla="*/ 837457 h 4487737"/>
                <a:gd name="connsiteX3" fmla="*/ 2860354 w 4576624"/>
                <a:gd name="connsiteY3" fmla="*/ 247378 h 4487737"/>
                <a:gd name="connsiteX4" fmla="*/ 2964787 w 4576624"/>
                <a:gd name="connsiteY4" fmla="*/ 480619 h 4487737"/>
                <a:gd name="connsiteX5" fmla="*/ 3478505 w 4576624"/>
                <a:gd name="connsiteY5" fmla="*/ 664666 h 4487737"/>
                <a:gd name="connsiteX6" fmla="*/ 3727785 w 4576624"/>
                <a:gd name="connsiteY6" fmla="*/ 0 h 4487737"/>
                <a:gd name="connsiteX7" fmla="*/ 4576624 w 4576624"/>
                <a:gd name="connsiteY7" fmla="*/ 4448773 h 4487737"/>
                <a:gd name="connsiteX8" fmla="*/ 2472893 w 4576624"/>
                <a:gd name="connsiteY8" fmla="*/ 3296659 h 4487737"/>
                <a:gd name="connsiteX9" fmla="*/ 100 w 4576624"/>
                <a:gd name="connsiteY9" fmla="*/ 4248749 h 4487737"/>
                <a:gd name="connsiteX0" fmla="*/ 0 w 4576524"/>
                <a:gd name="connsiteY0" fmla="*/ 4248749 h 4487737"/>
                <a:gd name="connsiteX1" fmla="*/ 1695813 w 4576524"/>
                <a:gd name="connsiteY1" fmla="*/ 480352 h 4487737"/>
                <a:gd name="connsiteX2" fmla="*/ 2648853 w 4576524"/>
                <a:gd name="connsiteY2" fmla="*/ 837457 h 4487737"/>
                <a:gd name="connsiteX3" fmla="*/ 2860254 w 4576524"/>
                <a:gd name="connsiteY3" fmla="*/ 247378 h 4487737"/>
                <a:gd name="connsiteX4" fmla="*/ 2964687 w 4576524"/>
                <a:gd name="connsiteY4" fmla="*/ 480619 h 4487737"/>
                <a:gd name="connsiteX5" fmla="*/ 3478405 w 4576524"/>
                <a:gd name="connsiteY5" fmla="*/ 664666 h 4487737"/>
                <a:gd name="connsiteX6" fmla="*/ 3727685 w 4576524"/>
                <a:gd name="connsiteY6" fmla="*/ 0 h 4487737"/>
                <a:gd name="connsiteX7" fmla="*/ 4576524 w 4576524"/>
                <a:gd name="connsiteY7" fmla="*/ 4448773 h 4487737"/>
                <a:gd name="connsiteX8" fmla="*/ 2472793 w 4576524"/>
                <a:gd name="connsiteY8" fmla="*/ 3296659 h 4487737"/>
                <a:gd name="connsiteX9" fmla="*/ 0 w 4576524"/>
                <a:gd name="connsiteY9" fmla="*/ 4248749 h 4487737"/>
                <a:gd name="connsiteX0" fmla="*/ 0 w 4576524"/>
                <a:gd name="connsiteY0" fmla="*/ 4248749 h 4487737"/>
                <a:gd name="connsiteX1" fmla="*/ 1695813 w 4576524"/>
                <a:gd name="connsiteY1" fmla="*/ 480352 h 4487737"/>
                <a:gd name="connsiteX2" fmla="*/ 2648853 w 4576524"/>
                <a:gd name="connsiteY2" fmla="*/ 837457 h 4487737"/>
                <a:gd name="connsiteX3" fmla="*/ 2860254 w 4576524"/>
                <a:gd name="connsiteY3" fmla="*/ 247378 h 4487737"/>
                <a:gd name="connsiteX4" fmla="*/ 2964687 w 4576524"/>
                <a:gd name="connsiteY4" fmla="*/ 480619 h 4487737"/>
                <a:gd name="connsiteX5" fmla="*/ 3478405 w 4576524"/>
                <a:gd name="connsiteY5" fmla="*/ 664666 h 4487737"/>
                <a:gd name="connsiteX6" fmla="*/ 3727685 w 4576524"/>
                <a:gd name="connsiteY6" fmla="*/ 0 h 4487737"/>
                <a:gd name="connsiteX7" fmla="*/ 4576524 w 4576524"/>
                <a:gd name="connsiteY7" fmla="*/ 4448773 h 4487737"/>
                <a:gd name="connsiteX8" fmla="*/ 2472793 w 4576524"/>
                <a:gd name="connsiteY8" fmla="*/ 3296659 h 4487737"/>
                <a:gd name="connsiteX9" fmla="*/ 0 w 4576524"/>
                <a:gd name="connsiteY9" fmla="*/ 4248749 h 4487737"/>
                <a:gd name="connsiteX0" fmla="*/ 0 w 4576524"/>
                <a:gd name="connsiteY0" fmla="*/ 4248749 h 4487737"/>
                <a:gd name="connsiteX1" fmla="*/ 1695813 w 4576524"/>
                <a:gd name="connsiteY1" fmla="*/ 480352 h 4487737"/>
                <a:gd name="connsiteX2" fmla="*/ 2648853 w 4576524"/>
                <a:gd name="connsiteY2" fmla="*/ 837457 h 4487737"/>
                <a:gd name="connsiteX3" fmla="*/ 2860254 w 4576524"/>
                <a:gd name="connsiteY3" fmla="*/ 247378 h 4487737"/>
                <a:gd name="connsiteX4" fmla="*/ 2964687 w 4576524"/>
                <a:gd name="connsiteY4" fmla="*/ 480619 h 4487737"/>
                <a:gd name="connsiteX5" fmla="*/ 3478405 w 4576524"/>
                <a:gd name="connsiteY5" fmla="*/ 664666 h 4487737"/>
                <a:gd name="connsiteX6" fmla="*/ 3727685 w 4576524"/>
                <a:gd name="connsiteY6" fmla="*/ 0 h 4487737"/>
                <a:gd name="connsiteX7" fmla="*/ 4576524 w 4576524"/>
                <a:gd name="connsiteY7" fmla="*/ 4448773 h 4487737"/>
                <a:gd name="connsiteX8" fmla="*/ 2472793 w 4576524"/>
                <a:gd name="connsiteY8" fmla="*/ 3296659 h 4487737"/>
                <a:gd name="connsiteX9" fmla="*/ 0 w 4576524"/>
                <a:gd name="connsiteY9" fmla="*/ 4248749 h 4487737"/>
                <a:gd name="connsiteX0" fmla="*/ 0 w 4576524"/>
                <a:gd name="connsiteY0" fmla="*/ 4248749 h 4486167"/>
                <a:gd name="connsiteX1" fmla="*/ 1695813 w 4576524"/>
                <a:gd name="connsiteY1" fmla="*/ 480352 h 4486167"/>
                <a:gd name="connsiteX2" fmla="*/ 2648853 w 4576524"/>
                <a:gd name="connsiteY2" fmla="*/ 837457 h 4486167"/>
                <a:gd name="connsiteX3" fmla="*/ 2860254 w 4576524"/>
                <a:gd name="connsiteY3" fmla="*/ 247378 h 4486167"/>
                <a:gd name="connsiteX4" fmla="*/ 2964687 w 4576524"/>
                <a:gd name="connsiteY4" fmla="*/ 480619 h 4486167"/>
                <a:gd name="connsiteX5" fmla="*/ 3478405 w 4576524"/>
                <a:gd name="connsiteY5" fmla="*/ 664666 h 4486167"/>
                <a:gd name="connsiteX6" fmla="*/ 3727685 w 4576524"/>
                <a:gd name="connsiteY6" fmla="*/ 0 h 4486167"/>
                <a:gd name="connsiteX7" fmla="*/ 4576524 w 4576524"/>
                <a:gd name="connsiteY7" fmla="*/ 4448773 h 4486167"/>
                <a:gd name="connsiteX8" fmla="*/ 2472793 w 4576524"/>
                <a:gd name="connsiteY8" fmla="*/ 3296659 h 4486167"/>
                <a:gd name="connsiteX9" fmla="*/ 0 w 4576524"/>
                <a:gd name="connsiteY9" fmla="*/ 4248749 h 4486167"/>
                <a:gd name="connsiteX0" fmla="*/ 0 w 4533502"/>
                <a:gd name="connsiteY0" fmla="*/ 4248749 h 5442538"/>
                <a:gd name="connsiteX1" fmla="*/ 1695813 w 4533502"/>
                <a:gd name="connsiteY1" fmla="*/ 480352 h 5442538"/>
                <a:gd name="connsiteX2" fmla="*/ 2648853 w 4533502"/>
                <a:gd name="connsiteY2" fmla="*/ 837457 h 5442538"/>
                <a:gd name="connsiteX3" fmla="*/ 2860254 w 4533502"/>
                <a:gd name="connsiteY3" fmla="*/ 247378 h 5442538"/>
                <a:gd name="connsiteX4" fmla="*/ 2964687 w 4533502"/>
                <a:gd name="connsiteY4" fmla="*/ 480619 h 5442538"/>
                <a:gd name="connsiteX5" fmla="*/ 3478405 w 4533502"/>
                <a:gd name="connsiteY5" fmla="*/ 664666 h 5442538"/>
                <a:gd name="connsiteX6" fmla="*/ 3727685 w 4533502"/>
                <a:gd name="connsiteY6" fmla="*/ 0 h 5442538"/>
                <a:gd name="connsiteX7" fmla="*/ 4533502 w 4533502"/>
                <a:gd name="connsiteY7" fmla="*/ 5420477 h 5442538"/>
                <a:gd name="connsiteX8" fmla="*/ 2472793 w 4533502"/>
                <a:gd name="connsiteY8" fmla="*/ 3296659 h 5442538"/>
                <a:gd name="connsiteX9" fmla="*/ 0 w 4533502"/>
                <a:gd name="connsiteY9" fmla="*/ 4248749 h 5442538"/>
                <a:gd name="connsiteX0" fmla="*/ 243878 w 3027719"/>
                <a:gd name="connsiteY0" fmla="*/ 7039716 h 7043485"/>
                <a:gd name="connsiteX1" fmla="*/ 190030 w 3027719"/>
                <a:gd name="connsiteY1" fmla="*/ 480352 h 7043485"/>
                <a:gd name="connsiteX2" fmla="*/ 1143070 w 3027719"/>
                <a:gd name="connsiteY2" fmla="*/ 837457 h 7043485"/>
                <a:gd name="connsiteX3" fmla="*/ 1354471 w 3027719"/>
                <a:gd name="connsiteY3" fmla="*/ 247378 h 7043485"/>
                <a:gd name="connsiteX4" fmla="*/ 1458904 w 3027719"/>
                <a:gd name="connsiteY4" fmla="*/ 480619 h 7043485"/>
                <a:gd name="connsiteX5" fmla="*/ 1972622 w 3027719"/>
                <a:gd name="connsiteY5" fmla="*/ 664666 h 7043485"/>
                <a:gd name="connsiteX6" fmla="*/ 2221902 w 3027719"/>
                <a:gd name="connsiteY6" fmla="*/ 0 h 7043485"/>
                <a:gd name="connsiteX7" fmla="*/ 3027719 w 3027719"/>
                <a:gd name="connsiteY7" fmla="*/ 5420477 h 7043485"/>
                <a:gd name="connsiteX8" fmla="*/ 967010 w 3027719"/>
                <a:gd name="connsiteY8" fmla="*/ 3296659 h 7043485"/>
                <a:gd name="connsiteX9" fmla="*/ 243878 w 3027719"/>
                <a:gd name="connsiteY9" fmla="*/ 7039716 h 7043485"/>
                <a:gd name="connsiteX0" fmla="*/ 53848 w 2837689"/>
                <a:gd name="connsiteY0" fmla="*/ 7039716 h 7051959"/>
                <a:gd name="connsiteX1" fmla="*/ 0 w 2837689"/>
                <a:gd name="connsiteY1" fmla="*/ 480352 h 7051959"/>
                <a:gd name="connsiteX2" fmla="*/ 953040 w 2837689"/>
                <a:gd name="connsiteY2" fmla="*/ 837457 h 7051959"/>
                <a:gd name="connsiteX3" fmla="*/ 1164441 w 2837689"/>
                <a:gd name="connsiteY3" fmla="*/ 247378 h 7051959"/>
                <a:gd name="connsiteX4" fmla="*/ 1268874 w 2837689"/>
                <a:gd name="connsiteY4" fmla="*/ 480619 h 7051959"/>
                <a:gd name="connsiteX5" fmla="*/ 1782592 w 2837689"/>
                <a:gd name="connsiteY5" fmla="*/ 664666 h 7051959"/>
                <a:gd name="connsiteX6" fmla="*/ 2031872 w 2837689"/>
                <a:gd name="connsiteY6" fmla="*/ 0 h 7051959"/>
                <a:gd name="connsiteX7" fmla="*/ 2837689 w 2837689"/>
                <a:gd name="connsiteY7" fmla="*/ 5420477 h 7051959"/>
                <a:gd name="connsiteX8" fmla="*/ 1497050 w 2837689"/>
                <a:gd name="connsiteY8" fmla="*/ 6027584 h 7051959"/>
                <a:gd name="connsiteX9" fmla="*/ 53848 w 2837689"/>
                <a:gd name="connsiteY9" fmla="*/ 7039716 h 7051959"/>
                <a:gd name="connsiteX0" fmla="*/ 53848 w 2837689"/>
                <a:gd name="connsiteY0" fmla="*/ 7039716 h 7302614"/>
                <a:gd name="connsiteX1" fmla="*/ 0 w 2837689"/>
                <a:gd name="connsiteY1" fmla="*/ 480352 h 7302614"/>
                <a:gd name="connsiteX2" fmla="*/ 953040 w 2837689"/>
                <a:gd name="connsiteY2" fmla="*/ 837457 h 7302614"/>
                <a:gd name="connsiteX3" fmla="*/ 1164441 w 2837689"/>
                <a:gd name="connsiteY3" fmla="*/ 247378 h 7302614"/>
                <a:gd name="connsiteX4" fmla="*/ 1268874 w 2837689"/>
                <a:gd name="connsiteY4" fmla="*/ 480619 h 7302614"/>
                <a:gd name="connsiteX5" fmla="*/ 1782592 w 2837689"/>
                <a:gd name="connsiteY5" fmla="*/ 664666 h 7302614"/>
                <a:gd name="connsiteX6" fmla="*/ 2031872 w 2837689"/>
                <a:gd name="connsiteY6" fmla="*/ 0 h 7302614"/>
                <a:gd name="connsiteX7" fmla="*/ 2837689 w 2837689"/>
                <a:gd name="connsiteY7" fmla="*/ 5420477 h 7302614"/>
                <a:gd name="connsiteX8" fmla="*/ 53848 w 2837689"/>
                <a:gd name="connsiteY8" fmla="*/ 7039716 h 7302614"/>
                <a:gd name="connsiteX0" fmla="*/ 53848 w 2837689"/>
                <a:gd name="connsiteY0" fmla="*/ 7039716 h 7039716"/>
                <a:gd name="connsiteX1" fmla="*/ 0 w 2837689"/>
                <a:gd name="connsiteY1" fmla="*/ 480352 h 7039716"/>
                <a:gd name="connsiteX2" fmla="*/ 953040 w 2837689"/>
                <a:gd name="connsiteY2" fmla="*/ 837457 h 7039716"/>
                <a:gd name="connsiteX3" fmla="*/ 1164441 w 2837689"/>
                <a:gd name="connsiteY3" fmla="*/ 247378 h 7039716"/>
                <a:gd name="connsiteX4" fmla="*/ 1268874 w 2837689"/>
                <a:gd name="connsiteY4" fmla="*/ 480619 h 7039716"/>
                <a:gd name="connsiteX5" fmla="*/ 1782592 w 2837689"/>
                <a:gd name="connsiteY5" fmla="*/ 664666 h 7039716"/>
                <a:gd name="connsiteX6" fmla="*/ 2031872 w 2837689"/>
                <a:gd name="connsiteY6" fmla="*/ 0 h 7039716"/>
                <a:gd name="connsiteX7" fmla="*/ 2837689 w 2837689"/>
                <a:gd name="connsiteY7" fmla="*/ 5420477 h 7039716"/>
                <a:gd name="connsiteX8" fmla="*/ 53848 w 2837689"/>
                <a:gd name="connsiteY8" fmla="*/ 7039716 h 7039716"/>
                <a:gd name="connsiteX0" fmla="*/ 53848 w 2837689"/>
                <a:gd name="connsiteY0" fmla="*/ 7039716 h 7039716"/>
                <a:gd name="connsiteX1" fmla="*/ 0 w 2837689"/>
                <a:gd name="connsiteY1" fmla="*/ 480352 h 7039716"/>
                <a:gd name="connsiteX2" fmla="*/ 953040 w 2837689"/>
                <a:gd name="connsiteY2" fmla="*/ 837457 h 7039716"/>
                <a:gd name="connsiteX3" fmla="*/ 1164441 w 2837689"/>
                <a:gd name="connsiteY3" fmla="*/ 247378 h 7039716"/>
                <a:gd name="connsiteX4" fmla="*/ 1268874 w 2837689"/>
                <a:gd name="connsiteY4" fmla="*/ 480619 h 7039716"/>
                <a:gd name="connsiteX5" fmla="*/ 1782592 w 2837689"/>
                <a:gd name="connsiteY5" fmla="*/ 664666 h 7039716"/>
                <a:gd name="connsiteX6" fmla="*/ 2031872 w 2837689"/>
                <a:gd name="connsiteY6" fmla="*/ 0 h 7039716"/>
                <a:gd name="connsiteX7" fmla="*/ 2837689 w 2837689"/>
                <a:gd name="connsiteY7" fmla="*/ 5420477 h 7039716"/>
                <a:gd name="connsiteX8" fmla="*/ 53848 w 2837689"/>
                <a:gd name="connsiteY8" fmla="*/ 7039716 h 7039716"/>
                <a:gd name="connsiteX0" fmla="*/ 85951 w 2837689"/>
                <a:gd name="connsiteY0" fmla="*/ 6972781 h 6972781"/>
                <a:gd name="connsiteX1" fmla="*/ 0 w 2837689"/>
                <a:gd name="connsiteY1" fmla="*/ 480352 h 6972781"/>
                <a:gd name="connsiteX2" fmla="*/ 953040 w 2837689"/>
                <a:gd name="connsiteY2" fmla="*/ 837457 h 6972781"/>
                <a:gd name="connsiteX3" fmla="*/ 1164441 w 2837689"/>
                <a:gd name="connsiteY3" fmla="*/ 247378 h 6972781"/>
                <a:gd name="connsiteX4" fmla="*/ 1268874 w 2837689"/>
                <a:gd name="connsiteY4" fmla="*/ 480619 h 6972781"/>
                <a:gd name="connsiteX5" fmla="*/ 1782592 w 2837689"/>
                <a:gd name="connsiteY5" fmla="*/ 664666 h 6972781"/>
                <a:gd name="connsiteX6" fmla="*/ 2031872 w 2837689"/>
                <a:gd name="connsiteY6" fmla="*/ 0 h 6972781"/>
                <a:gd name="connsiteX7" fmla="*/ 2837689 w 2837689"/>
                <a:gd name="connsiteY7" fmla="*/ 5420477 h 6972781"/>
                <a:gd name="connsiteX8" fmla="*/ 85951 w 2837689"/>
                <a:gd name="connsiteY8" fmla="*/ 6972781 h 6972781"/>
                <a:gd name="connsiteX0" fmla="*/ 62231 w 2837689"/>
                <a:gd name="connsiteY0" fmla="*/ 6666701 h 6666701"/>
                <a:gd name="connsiteX1" fmla="*/ 0 w 2837689"/>
                <a:gd name="connsiteY1" fmla="*/ 480352 h 6666701"/>
                <a:gd name="connsiteX2" fmla="*/ 953040 w 2837689"/>
                <a:gd name="connsiteY2" fmla="*/ 837457 h 6666701"/>
                <a:gd name="connsiteX3" fmla="*/ 1164441 w 2837689"/>
                <a:gd name="connsiteY3" fmla="*/ 247378 h 6666701"/>
                <a:gd name="connsiteX4" fmla="*/ 1268874 w 2837689"/>
                <a:gd name="connsiteY4" fmla="*/ 480619 h 6666701"/>
                <a:gd name="connsiteX5" fmla="*/ 1782592 w 2837689"/>
                <a:gd name="connsiteY5" fmla="*/ 664666 h 6666701"/>
                <a:gd name="connsiteX6" fmla="*/ 2031872 w 2837689"/>
                <a:gd name="connsiteY6" fmla="*/ 0 h 6666701"/>
                <a:gd name="connsiteX7" fmla="*/ 2837689 w 2837689"/>
                <a:gd name="connsiteY7" fmla="*/ 5420477 h 6666701"/>
                <a:gd name="connsiteX8" fmla="*/ 62231 w 2837689"/>
                <a:gd name="connsiteY8" fmla="*/ 6666701 h 6666701"/>
                <a:gd name="connsiteX0" fmla="*/ 95272 w 2870730"/>
                <a:gd name="connsiteY0" fmla="*/ 6666701 h 6666701"/>
                <a:gd name="connsiteX1" fmla="*/ 0 w 2870730"/>
                <a:gd name="connsiteY1" fmla="*/ 484287 h 6666701"/>
                <a:gd name="connsiteX2" fmla="*/ 986081 w 2870730"/>
                <a:gd name="connsiteY2" fmla="*/ 837457 h 6666701"/>
                <a:gd name="connsiteX3" fmla="*/ 1197482 w 2870730"/>
                <a:gd name="connsiteY3" fmla="*/ 247378 h 6666701"/>
                <a:gd name="connsiteX4" fmla="*/ 1301915 w 2870730"/>
                <a:gd name="connsiteY4" fmla="*/ 480619 h 6666701"/>
                <a:gd name="connsiteX5" fmla="*/ 1815633 w 2870730"/>
                <a:gd name="connsiteY5" fmla="*/ 664666 h 6666701"/>
                <a:gd name="connsiteX6" fmla="*/ 2064913 w 2870730"/>
                <a:gd name="connsiteY6" fmla="*/ 0 h 6666701"/>
                <a:gd name="connsiteX7" fmla="*/ 2870730 w 2870730"/>
                <a:gd name="connsiteY7" fmla="*/ 5420477 h 6666701"/>
                <a:gd name="connsiteX8" fmla="*/ 95272 w 2870730"/>
                <a:gd name="connsiteY8" fmla="*/ 6666701 h 6666701"/>
                <a:gd name="connsiteX0" fmla="*/ 95272 w 2870730"/>
                <a:gd name="connsiteY0" fmla="*/ 6613133 h 6613133"/>
                <a:gd name="connsiteX1" fmla="*/ 0 w 2870730"/>
                <a:gd name="connsiteY1" fmla="*/ 430719 h 6613133"/>
                <a:gd name="connsiteX2" fmla="*/ 986081 w 2870730"/>
                <a:gd name="connsiteY2" fmla="*/ 783889 h 6613133"/>
                <a:gd name="connsiteX3" fmla="*/ 1197482 w 2870730"/>
                <a:gd name="connsiteY3" fmla="*/ 193810 h 6613133"/>
                <a:gd name="connsiteX4" fmla="*/ 1301915 w 2870730"/>
                <a:gd name="connsiteY4" fmla="*/ 427051 h 6613133"/>
                <a:gd name="connsiteX5" fmla="*/ 1815633 w 2870730"/>
                <a:gd name="connsiteY5" fmla="*/ 611098 h 6613133"/>
                <a:gd name="connsiteX6" fmla="*/ 2061355 w 2870730"/>
                <a:gd name="connsiteY6" fmla="*/ 0 h 6613133"/>
                <a:gd name="connsiteX7" fmla="*/ 2870730 w 2870730"/>
                <a:gd name="connsiteY7" fmla="*/ 5366909 h 6613133"/>
                <a:gd name="connsiteX8" fmla="*/ 95272 w 2870730"/>
                <a:gd name="connsiteY8" fmla="*/ 6613133 h 6613133"/>
                <a:gd name="connsiteX0" fmla="*/ 95272 w 2870730"/>
                <a:gd name="connsiteY0" fmla="*/ 6613133 h 6613133"/>
                <a:gd name="connsiteX1" fmla="*/ 0 w 2870730"/>
                <a:gd name="connsiteY1" fmla="*/ 430719 h 6613133"/>
                <a:gd name="connsiteX2" fmla="*/ 986081 w 2870730"/>
                <a:gd name="connsiteY2" fmla="*/ 783889 h 6613133"/>
                <a:gd name="connsiteX3" fmla="*/ 1197482 w 2870730"/>
                <a:gd name="connsiteY3" fmla="*/ 193810 h 6613133"/>
                <a:gd name="connsiteX4" fmla="*/ 1301915 w 2870730"/>
                <a:gd name="connsiteY4" fmla="*/ 427051 h 6613133"/>
                <a:gd name="connsiteX5" fmla="*/ 1815633 w 2870730"/>
                <a:gd name="connsiteY5" fmla="*/ 611098 h 6613133"/>
                <a:gd name="connsiteX6" fmla="*/ 2061355 w 2870730"/>
                <a:gd name="connsiteY6" fmla="*/ 0 h 6613133"/>
                <a:gd name="connsiteX7" fmla="*/ 2082534 w 2870730"/>
                <a:gd name="connsiteY7" fmla="*/ 20091 h 6613133"/>
                <a:gd name="connsiteX8" fmla="*/ 2870730 w 2870730"/>
                <a:gd name="connsiteY8" fmla="*/ 5366909 h 6613133"/>
                <a:gd name="connsiteX9" fmla="*/ 95272 w 2870730"/>
                <a:gd name="connsiteY9" fmla="*/ 6613133 h 6613133"/>
                <a:gd name="connsiteX0" fmla="*/ 130269 w 2905727"/>
                <a:gd name="connsiteY0" fmla="*/ 6613133 h 6613133"/>
                <a:gd name="connsiteX1" fmla="*/ 0 w 2905727"/>
                <a:gd name="connsiteY1" fmla="*/ 425597 h 6613133"/>
                <a:gd name="connsiteX2" fmla="*/ 1021078 w 2905727"/>
                <a:gd name="connsiteY2" fmla="*/ 783889 h 6613133"/>
                <a:gd name="connsiteX3" fmla="*/ 1232479 w 2905727"/>
                <a:gd name="connsiteY3" fmla="*/ 193810 h 6613133"/>
                <a:gd name="connsiteX4" fmla="*/ 1336912 w 2905727"/>
                <a:gd name="connsiteY4" fmla="*/ 427051 h 6613133"/>
                <a:gd name="connsiteX5" fmla="*/ 1850630 w 2905727"/>
                <a:gd name="connsiteY5" fmla="*/ 611098 h 6613133"/>
                <a:gd name="connsiteX6" fmla="*/ 2096352 w 2905727"/>
                <a:gd name="connsiteY6" fmla="*/ 0 h 6613133"/>
                <a:gd name="connsiteX7" fmla="*/ 2117531 w 2905727"/>
                <a:gd name="connsiteY7" fmla="*/ 20091 h 6613133"/>
                <a:gd name="connsiteX8" fmla="*/ 2905727 w 2905727"/>
                <a:gd name="connsiteY8" fmla="*/ 5366909 h 6613133"/>
                <a:gd name="connsiteX9" fmla="*/ 130269 w 2905727"/>
                <a:gd name="connsiteY9" fmla="*/ 6613133 h 6613133"/>
                <a:gd name="connsiteX0" fmla="*/ 130269 w 2905727"/>
                <a:gd name="connsiteY0" fmla="*/ 6636045 h 6636045"/>
                <a:gd name="connsiteX1" fmla="*/ 0 w 2905727"/>
                <a:gd name="connsiteY1" fmla="*/ 448509 h 6636045"/>
                <a:gd name="connsiteX2" fmla="*/ 1021078 w 2905727"/>
                <a:gd name="connsiteY2" fmla="*/ 806801 h 6636045"/>
                <a:gd name="connsiteX3" fmla="*/ 1232479 w 2905727"/>
                <a:gd name="connsiteY3" fmla="*/ 216722 h 6636045"/>
                <a:gd name="connsiteX4" fmla="*/ 1336912 w 2905727"/>
                <a:gd name="connsiteY4" fmla="*/ 449963 h 6636045"/>
                <a:gd name="connsiteX5" fmla="*/ 1850630 w 2905727"/>
                <a:gd name="connsiteY5" fmla="*/ 634010 h 6636045"/>
                <a:gd name="connsiteX6" fmla="*/ 2096352 w 2905727"/>
                <a:gd name="connsiteY6" fmla="*/ 22912 h 6636045"/>
                <a:gd name="connsiteX7" fmla="*/ 2125039 w 2905727"/>
                <a:gd name="connsiteY7" fmla="*/ 1850 h 6636045"/>
                <a:gd name="connsiteX8" fmla="*/ 2905727 w 2905727"/>
                <a:gd name="connsiteY8" fmla="*/ 5389821 h 6636045"/>
                <a:gd name="connsiteX9" fmla="*/ 130269 w 2905727"/>
                <a:gd name="connsiteY9" fmla="*/ 6636045 h 6636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05727" h="6636045">
                  <a:moveTo>
                    <a:pt x="130269" y="6636045"/>
                  </a:moveTo>
                  <a:lnTo>
                    <a:pt x="0" y="448509"/>
                  </a:lnTo>
                  <a:lnTo>
                    <a:pt x="1021078" y="806801"/>
                  </a:lnTo>
                  <a:lnTo>
                    <a:pt x="1232479" y="216722"/>
                  </a:lnTo>
                  <a:lnTo>
                    <a:pt x="1336912" y="449963"/>
                  </a:lnTo>
                  <a:lnTo>
                    <a:pt x="1850630" y="634010"/>
                  </a:lnTo>
                  <a:lnTo>
                    <a:pt x="2096352" y="22912"/>
                  </a:lnTo>
                  <a:cubicBezTo>
                    <a:pt x="2093896" y="34064"/>
                    <a:pt x="2127495" y="-9302"/>
                    <a:pt x="2125039" y="1850"/>
                  </a:cubicBezTo>
                  <a:lnTo>
                    <a:pt x="2905727" y="5389821"/>
                  </a:lnTo>
                  <a:cubicBezTo>
                    <a:pt x="1831724" y="6063851"/>
                    <a:pt x="1354961" y="6057829"/>
                    <a:pt x="130269" y="6636045"/>
                  </a:cubicBezTo>
                  <a:close/>
                </a:path>
              </a:pathLst>
            </a:custGeom>
            <a:solidFill>
              <a:srgbClr val="6DC2E9">
                <a:alpha val="30196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40">
                <a:defRPr/>
              </a:pPr>
              <a:endParaRPr lang="en-US" sz="1200" kern="0" dirty="0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35" name="Freeform 5"/>
            <p:cNvSpPr>
              <a:spLocks/>
            </p:cNvSpPr>
            <p:nvPr/>
          </p:nvSpPr>
          <p:spPr bwMode="auto">
            <a:xfrm>
              <a:off x="1371601" y="654214"/>
              <a:ext cx="2398376" cy="1514580"/>
            </a:xfrm>
            <a:custGeom>
              <a:avLst/>
              <a:gdLst>
                <a:gd name="T0" fmla="*/ 3780 w 3790"/>
                <a:gd name="T1" fmla="*/ 1582 h 2332"/>
                <a:gd name="T2" fmla="*/ 3710 w 3790"/>
                <a:gd name="T3" fmla="*/ 1358 h 2332"/>
                <a:gd name="T4" fmla="*/ 3580 w 3790"/>
                <a:gd name="T5" fmla="*/ 1158 h 2332"/>
                <a:gd name="T6" fmla="*/ 3400 w 3790"/>
                <a:gd name="T7" fmla="*/ 1004 h 2332"/>
                <a:gd name="T8" fmla="*/ 3286 w 3790"/>
                <a:gd name="T9" fmla="*/ 944 h 2332"/>
                <a:gd name="T10" fmla="*/ 3280 w 3790"/>
                <a:gd name="T11" fmla="*/ 908 h 2332"/>
                <a:gd name="T12" fmla="*/ 3260 w 3790"/>
                <a:gd name="T13" fmla="*/ 796 h 2332"/>
                <a:gd name="T14" fmla="*/ 3220 w 3790"/>
                <a:gd name="T15" fmla="*/ 690 h 2332"/>
                <a:gd name="T16" fmla="*/ 3162 w 3790"/>
                <a:gd name="T17" fmla="*/ 596 h 2332"/>
                <a:gd name="T18" fmla="*/ 3088 w 3790"/>
                <a:gd name="T19" fmla="*/ 516 h 2332"/>
                <a:gd name="T20" fmla="*/ 2998 w 3790"/>
                <a:gd name="T21" fmla="*/ 450 h 2332"/>
                <a:gd name="T22" fmla="*/ 2898 w 3790"/>
                <a:gd name="T23" fmla="*/ 402 h 2332"/>
                <a:gd name="T24" fmla="*/ 2788 w 3790"/>
                <a:gd name="T25" fmla="*/ 374 h 2332"/>
                <a:gd name="T26" fmla="*/ 2700 w 3790"/>
                <a:gd name="T27" fmla="*/ 368 h 2332"/>
                <a:gd name="T28" fmla="*/ 2522 w 3790"/>
                <a:gd name="T29" fmla="*/ 396 h 2332"/>
                <a:gd name="T30" fmla="*/ 2366 w 3790"/>
                <a:gd name="T31" fmla="*/ 472 h 2332"/>
                <a:gd name="T32" fmla="*/ 2256 w 3790"/>
                <a:gd name="T33" fmla="*/ 324 h 2332"/>
                <a:gd name="T34" fmla="*/ 2070 w 3790"/>
                <a:gd name="T35" fmla="*/ 164 h 2332"/>
                <a:gd name="T36" fmla="*/ 1848 w 3790"/>
                <a:gd name="T37" fmla="*/ 54 h 2332"/>
                <a:gd name="T38" fmla="*/ 1596 w 3790"/>
                <a:gd name="T39" fmla="*/ 2 h 2332"/>
                <a:gd name="T40" fmla="*/ 1430 w 3790"/>
                <a:gd name="T41" fmla="*/ 6 h 2332"/>
                <a:gd name="T42" fmla="*/ 1240 w 3790"/>
                <a:gd name="T43" fmla="*/ 44 h 2332"/>
                <a:gd name="T44" fmla="*/ 1064 w 3790"/>
                <a:gd name="T45" fmla="*/ 118 h 2332"/>
                <a:gd name="T46" fmla="*/ 908 w 3790"/>
                <a:gd name="T47" fmla="*/ 224 h 2332"/>
                <a:gd name="T48" fmla="*/ 776 w 3790"/>
                <a:gd name="T49" fmla="*/ 356 h 2332"/>
                <a:gd name="T50" fmla="*/ 672 w 3790"/>
                <a:gd name="T51" fmla="*/ 512 h 2332"/>
                <a:gd name="T52" fmla="*/ 598 w 3790"/>
                <a:gd name="T53" fmla="*/ 688 h 2332"/>
                <a:gd name="T54" fmla="*/ 558 w 3790"/>
                <a:gd name="T55" fmla="*/ 878 h 2332"/>
                <a:gd name="T56" fmla="*/ 554 w 3790"/>
                <a:gd name="T57" fmla="*/ 1012 h 2332"/>
                <a:gd name="T58" fmla="*/ 560 w 3790"/>
                <a:gd name="T59" fmla="*/ 1056 h 2332"/>
                <a:gd name="T60" fmla="*/ 388 w 3790"/>
                <a:gd name="T61" fmla="*/ 1120 h 2332"/>
                <a:gd name="T62" fmla="*/ 198 w 3790"/>
                <a:gd name="T63" fmla="*/ 1252 h 2332"/>
                <a:gd name="T64" fmla="*/ 92 w 3790"/>
                <a:gd name="T65" fmla="*/ 1384 h 2332"/>
                <a:gd name="T66" fmla="*/ 42 w 3790"/>
                <a:gd name="T67" fmla="*/ 1484 h 2332"/>
                <a:gd name="T68" fmla="*/ 10 w 3790"/>
                <a:gd name="T69" fmla="*/ 1594 h 2332"/>
                <a:gd name="T70" fmla="*/ 0 w 3790"/>
                <a:gd name="T71" fmla="*/ 1712 h 2332"/>
                <a:gd name="T72" fmla="*/ 8 w 3790"/>
                <a:gd name="T73" fmla="*/ 1816 h 2332"/>
                <a:gd name="T74" fmla="*/ 44 w 3790"/>
                <a:gd name="T75" fmla="*/ 1942 h 2332"/>
                <a:gd name="T76" fmla="*/ 106 w 3790"/>
                <a:gd name="T77" fmla="*/ 2052 h 2332"/>
                <a:gd name="T78" fmla="*/ 192 w 3790"/>
                <a:gd name="T79" fmla="*/ 2146 h 2332"/>
                <a:gd name="T80" fmla="*/ 298 w 3790"/>
                <a:gd name="T81" fmla="*/ 2222 h 2332"/>
                <a:gd name="T82" fmla="*/ 420 w 3790"/>
                <a:gd name="T83" fmla="*/ 2278 h 2332"/>
                <a:gd name="T84" fmla="*/ 558 w 3790"/>
                <a:gd name="T85" fmla="*/ 2316 h 2332"/>
                <a:gd name="T86" fmla="*/ 706 w 3790"/>
                <a:gd name="T87" fmla="*/ 2332 h 2332"/>
                <a:gd name="T88" fmla="*/ 3106 w 3790"/>
                <a:gd name="T89" fmla="*/ 2322 h 2332"/>
                <a:gd name="T90" fmla="*/ 3360 w 3790"/>
                <a:gd name="T91" fmla="*/ 2260 h 2332"/>
                <a:gd name="T92" fmla="*/ 3486 w 3790"/>
                <a:gd name="T93" fmla="*/ 2204 h 2332"/>
                <a:gd name="T94" fmla="*/ 3594 w 3790"/>
                <a:gd name="T95" fmla="*/ 2132 h 2332"/>
                <a:gd name="T96" fmla="*/ 3682 w 3790"/>
                <a:gd name="T97" fmla="*/ 2044 h 2332"/>
                <a:gd name="T98" fmla="*/ 3744 w 3790"/>
                <a:gd name="T99" fmla="*/ 1936 h 2332"/>
                <a:gd name="T100" fmla="*/ 3782 w 3790"/>
                <a:gd name="T101" fmla="*/ 1810 h 2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790" h="2332">
                  <a:moveTo>
                    <a:pt x="3790" y="1700"/>
                  </a:moveTo>
                  <a:lnTo>
                    <a:pt x="3790" y="1700"/>
                  </a:lnTo>
                  <a:lnTo>
                    <a:pt x="3788" y="1642"/>
                  </a:lnTo>
                  <a:lnTo>
                    <a:pt x="3780" y="1582"/>
                  </a:lnTo>
                  <a:lnTo>
                    <a:pt x="3770" y="1524"/>
                  </a:lnTo>
                  <a:lnTo>
                    <a:pt x="3754" y="1468"/>
                  </a:lnTo>
                  <a:lnTo>
                    <a:pt x="3734" y="1412"/>
                  </a:lnTo>
                  <a:lnTo>
                    <a:pt x="3710" y="1358"/>
                  </a:lnTo>
                  <a:lnTo>
                    <a:pt x="3684" y="1304"/>
                  </a:lnTo>
                  <a:lnTo>
                    <a:pt x="3652" y="1254"/>
                  </a:lnTo>
                  <a:lnTo>
                    <a:pt x="3618" y="1206"/>
                  </a:lnTo>
                  <a:lnTo>
                    <a:pt x="3580" y="1158"/>
                  </a:lnTo>
                  <a:lnTo>
                    <a:pt x="3540" y="1116"/>
                  </a:lnTo>
                  <a:lnTo>
                    <a:pt x="3496" y="1076"/>
                  </a:lnTo>
                  <a:lnTo>
                    <a:pt x="3448" y="1038"/>
                  </a:lnTo>
                  <a:lnTo>
                    <a:pt x="3400" y="1004"/>
                  </a:lnTo>
                  <a:lnTo>
                    <a:pt x="3348" y="974"/>
                  </a:lnTo>
                  <a:lnTo>
                    <a:pt x="3294" y="948"/>
                  </a:lnTo>
                  <a:lnTo>
                    <a:pt x="3294" y="948"/>
                  </a:lnTo>
                  <a:lnTo>
                    <a:pt x="3286" y="944"/>
                  </a:lnTo>
                  <a:lnTo>
                    <a:pt x="3280" y="938"/>
                  </a:lnTo>
                  <a:lnTo>
                    <a:pt x="3280" y="938"/>
                  </a:lnTo>
                  <a:lnTo>
                    <a:pt x="3280" y="938"/>
                  </a:lnTo>
                  <a:lnTo>
                    <a:pt x="3280" y="908"/>
                  </a:lnTo>
                  <a:lnTo>
                    <a:pt x="3278" y="880"/>
                  </a:lnTo>
                  <a:lnTo>
                    <a:pt x="3272" y="852"/>
                  </a:lnTo>
                  <a:lnTo>
                    <a:pt x="3268" y="822"/>
                  </a:lnTo>
                  <a:lnTo>
                    <a:pt x="3260" y="796"/>
                  </a:lnTo>
                  <a:lnTo>
                    <a:pt x="3252" y="768"/>
                  </a:lnTo>
                  <a:lnTo>
                    <a:pt x="3244" y="742"/>
                  </a:lnTo>
                  <a:lnTo>
                    <a:pt x="3232" y="716"/>
                  </a:lnTo>
                  <a:lnTo>
                    <a:pt x="3220" y="690"/>
                  </a:lnTo>
                  <a:lnTo>
                    <a:pt x="3208" y="666"/>
                  </a:lnTo>
                  <a:lnTo>
                    <a:pt x="3194" y="642"/>
                  </a:lnTo>
                  <a:lnTo>
                    <a:pt x="3178" y="618"/>
                  </a:lnTo>
                  <a:lnTo>
                    <a:pt x="3162" y="596"/>
                  </a:lnTo>
                  <a:lnTo>
                    <a:pt x="3144" y="574"/>
                  </a:lnTo>
                  <a:lnTo>
                    <a:pt x="3126" y="554"/>
                  </a:lnTo>
                  <a:lnTo>
                    <a:pt x="3108" y="534"/>
                  </a:lnTo>
                  <a:lnTo>
                    <a:pt x="3088" y="516"/>
                  </a:lnTo>
                  <a:lnTo>
                    <a:pt x="3066" y="498"/>
                  </a:lnTo>
                  <a:lnTo>
                    <a:pt x="3044" y="480"/>
                  </a:lnTo>
                  <a:lnTo>
                    <a:pt x="3022" y="464"/>
                  </a:lnTo>
                  <a:lnTo>
                    <a:pt x="2998" y="450"/>
                  </a:lnTo>
                  <a:lnTo>
                    <a:pt x="2974" y="436"/>
                  </a:lnTo>
                  <a:lnTo>
                    <a:pt x="2950" y="424"/>
                  </a:lnTo>
                  <a:lnTo>
                    <a:pt x="2924" y="412"/>
                  </a:lnTo>
                  <a:lnTo>
                    <a:pt x="2898" y="402"/>
                  </a:lnTo>
                  <a:lnTo>
                    <a:pt x="2870" y="394"/>
                  </a:lnTo>
                  <a:lnTo>
                    <a:pt x="2844" y="386"/>
                  </a:lnTo>
                  <a:lnTo>
                    <a:pt x="2816" y="380"/>
                  </a:lnTo>
                  <a:lnTo>
                    <a:pt x="2788" y="374"/>
                  </a:lnTo>
                  <a:lnTo>
                    <a:pt x="2758" y="370"/>
                  </a:lnTo>
                  <a:lnTo>
                    <a:pt x="2730" y="368"/>
                  </a:lnTo>
                  <a:lnTo>
                    <a:pt x="2700" y="368"/>
                  </a:lnTo>
                  <a:lnTo>
                    <a:pt x="2700" y="368"/>
                  </a:lnTo>
                  <a:lnTo>
                    <a:pt x="2654" y="370"/>
                  </a:lnTo>
                  <a:lnTo>
                    <a:pt x="2608" y="374"/>
                  </a:lnTo>
                  <a:lnTo>
                    <a:pt x="2564" y="384"/>
                  </a:lnTo>
                  <a:lnTo>
                    <a:pt x="2522" y="396"/>
                  </a:lnTo>
                  <a:lnTo>
                    <a:pt x="2482" y="410"/>
                  </a:lnTo>
                  <a:lnTo>
                    <a:pt x="2442" y="428"/>
                  </a:lnTo>
                  <a:lnTo>
                    <a:pt x="2404" y="450"/>
                  </a:lnTo>
                  <a:lnTo>
                    <a:pt x="2366" y="472"/>
                  </a:lnTo>
                  <a:lnTo>
                    <a:pt x="2366" y="472"/>
                  </a:lnTo>
                  <a:lnTo>
                    <a:pt x="2334" y="420"/>
                  </a:lnTo>
                  <a:lnTo>
                    <a:pt x="2296" y="372"/>
                  </a:lnTo>
                  <a:lnTo>
                    <a:pt x="2256" y="324"/>
                  </a:lnTo>
                  <a:lnTo>
                    <a:pt x="2214" y="280"/>
                  </a:lnTo>
                  <a:lnTo>
                    <a:pt x="2168" y="238"/>
                  </a:lnTo>
                  <a:lnTo>
                    <a:pt x="2120" y="198"/>
                  </a:lnTo>
                  <a:lnTo>
                    <a:pt x="2070" y="164"/>
                  </a:lnTo>
                  <a:lnTo>
                    <a:pt x="2018" y="130"/>
                  </a:lnTo>
                  <a:lnTo>
                    <a:pt x="1962" y="102"/>
                  </a:lnTo>
                  <a:lnTo>
                    <a:pt x="1906" y="76"/>
                  </a:lnTo>
                  <a:lnTo>
                    <a:pt x="1848" y="54"/>
                  </a:lnTo>
                  <a:lnTo>
                    <a:pt x="1786" y="34"/>
                  </a:lnTo>
                  <a:lnTo>
                    <a:pt x="1724" y="20"/>
                  </a:lnTo>
                  <a:lnTo>
                    <a:pt x="1662" y="10"/>
                  </a:lnTo>
                  <a:lnTo>
                    <a:pt x="1596" y="2"/>
                  </a:lnTo>
                  <a:lnTo>
                    <a:pt x="1530" y="0"/>
                  </a:lnTo>
                  <a:lnTo>
                    <a:pt x="1530" y="0"/>
                  </a:lnTo>
                  <a:lnTo>
                    <a:pt x="1480" y="2"/>
                  </a:lnTo>
                  <a:lnTo>
                    <a:pt x="1430" y="6"/>
                  </a:lnTo>
                  <a:lnTo>
                    <a:pt x="1382" y="12"/>
                  </a:lnTo>
                  <a:lnTo>
                    <a:pt x="1334" y="20"/>
                  </a:lnTo>
                  <a:lnTo>
                    <a:pt x="1286" y="32"/>
                  </a:lnTo>
                  <a:lnTo>
                    <a:pt x="1240" y="44"/>
                  </a:lnTo>
                  <a:lnTo>
                    <a:pt x="1194" y="60"/>
                  </a:lnTo>
                  <a:lnTo>
                    <a:pt x="1150" y="78"/>
                  </a:lnTo>
                  <a:lnTo>
                    <a:pt x="1106" y="96"/>
                  </a:lnTo>
                  <a:lnTo>
                    <a:pt x="1064" y="118"/>
                  </a:lnTo>
                  <a:lnTo>
                    <a:pt x="1024" y="142"/>
                  </a:lnTo>
                  <a:lnTo>
                    <a:pt x="984" y="168"/>
                  </a:lnTo>
                  <a:lnTo>
                    <a:pt x="946" y="194"/>
                  </a:lnTo>
                  <a:lnTo>
                    <a:pt x="908" y="224"/>
                  </a:lnTo>
                  <a:lnTo>
                    <a:pt x="874" y="254"/>
                  </a:lnTo>
                  <a:lnTo>
                    <a:pt x="840" y="286"/>
                  </a:lnTo>
                  <a:lnTo>
                    <a:pt x="808" y="320"/>
                  </a:lnTo>
                  <a:lnTo>
                    <a:pt x="776" y="356"/>
                  </a:lnTo>
                  <a:lnTo>
                    <a:pt x="748" y="394"/>
                  </a:lnTo>
                  <a:lnTo>
                    <a:pt x="720" y="432"/>
                  </a:lnTo>
                  <a:lnTo>
                    <a:pt x="694" y="470"/>
                  </a:lnTo>
                  <a:lnTo>
                    <a:pt x="672" y="512"/>
                  </a:lnTo>
                  <a:lnTo>
                    <a:pt x="650" y="554"/>
                  </a:lnTo>
                  <a:lnTo>
                    <a:pt x="630" y="598"/>
                  </a:lnTo>
                  <a:lnTo>
                    <a:pt x="612" y="642"/>
                  </a:lnTo>
                  <a:lnTo>
                    <a:pt x="598" y="688"/>
                  </a:lnTo>
                  <a:lnTo>
                    <a:pt x="584" y="734"/>
                  </a:lnTo>
                  <a:lnTo>
                    <a:pt x="574" y="780"/>
                  </a:lnTo>
                  <a:lnTo>
                    <a:pt x="564" y="828"/>
                  </a:lnTo>
                  <a:lnTo>
                    <a:pt x="558" y="878"/>
                  </a:lnTo>
                  <a:lnTo>
                    <a:pt x="554" y="928"/>
                  </a:lnTo>
                  <a:lnTo>
                    <a:pt x="554" y="978"/>
                  </a:lnTo>
                  <a:lnTo>
                    <a:pt x="554" y="978"/>
                  </a:lnTo>
                  <a:lnTo>
                    <a:pt x="554" y="1012"/>
                  </a:lnTo>
                  <a:lnTo>
                    <a:pt x="556" y="1046"/>
                  </a:lnTo>
                  <a:lnTo>
                    <a:pt x="556" y="1046"/>
                  </a:lnTo>
                  <a:lnTo>
                    <a:pt x="556" y="1054"/>
                  </a:lnTo>
                  <a:lnTo>
                    <a:pt x="560" y="1056"/>
                  </a:lnTo>
                  <a:lnTo>
                    <a:pt x="560" y="1056"/>
                  </a:lnTo>
                  <a:lnTo>
                    <a:pt x="502" y="1074"/>
                  </a:lnTo>
                  <a:lnTo>
                    <a:pt x="444" y="1094"/>
                  </a:lnTo>
                  <a:lnTo>
                    <a:pt x="388" y="1120"/>
                  </a:lnTo>
                  <a:lnTo>
                    <a:pt x="336" y="1148"/>
                  </a:lnTo>
                  <a:lnTo>
                    <a:pt x="288" y="1180"/>
                  </a:lnTo>
                  <a:lnTo>
                    <a:pt x="242" y="1214"/>
                  </a:lnTo>
                  <a:lnTo>
                    <a:pt x="198" y="1252"/>
                  </a:lnTo>
                  <a:lnTo>
                    <a:pt x="158" y="1292"/>
                  </a:lnTo>
                  <a:lnTo>
                    <a:pt x="124" y="1336"/>
                  </a:lnTo>
                  <a:lnTo>
                    <a:pt x="106" y="1360"/>
                  </a:lnTo>
                  <a:lnTo>
                    <a:pt x="92" y="1384"/>
                  </a:lnTo>
                  <a:lnTo>
                    <a:pt x="78" y="1408"/>
                  </a:lnTo>
                  <a:lnTo>
                    <a:pt x="64" y="1432"/>
                  </a:lnTo>
                  <a:lnTo>
                    <a:pt x="52" y="1458"/>
                  </a:lnTo>
                  <a:lnTo>
                    <a:pt x="42" y="1484"/>
                  </a:lnTo>
                  <a:lnTo>
                    <a:pt x="32" y="1510"/>
                  </a:lnTo>
                  <a:lnTo>
                    <a:pt x="24" y="1538"/>
                  </a:lnTo>
                  <a:lnTo>
                    <a:pt x="16" y="1566"/>
                  </a:lnTo>
                  <a:lnTo>
                    <a:pt x="10" y="1594"/>
                  </a:lnTo>
                  <a:lnTo>
                    <a:pt x="6" y="1622"/>
                  </a:lnTo>
                  <a:lnTo>
                    <a:pt x="2" y="1652"/>
                  </a:lnTo>
                  <a:lnTo>
                    <a:pt x="0" y="1682"/>
                  </a:lnTo>
                  <a:lnTo>
                    <a:pt x="0" y="1712"/>
                  </a:lnTo>
                  <a:lnTo>
                    <a:pt x="0" y="1712"/>
                  </a:lnTo>
                  <a:lnTo>
                    <a:pt x="0" y="1748"/>
                  </a:lnTo>
                  <a:lnTo>
                    <a:pt x="2" y="1782"/>
                  </a:lnTo>
                  <a:lnTo>
                    <a:pt x="8" y="1816"/>
                  </a:lnTo>
                  <a:lnTo>
                    <a:pt x="14" y="1848"/>
                  </a:lnTo>
                  <a:lnTo>
                    <a:pt x="22" y="1880"/>
                  </a:lnTo>
                  <a:lnTo>
                    <a:pt x="32" y="1912"/>
                  </a:lnTo>
                  <a:lnTo>
                    <a:pt x="44" y="1942"/>
                  </a:lnTo>
                  <a:lnTo>
                    <a:pt x="58" y="1970"/>
                  </a:lnTo>
                  <a:lnTo>
                    <a:pt x="72" y="1998"/>
                  </a:lnTo>
                  <a:lnTo>
                    <a:pt x="88" y="2026"/>
                  </a:lnTo>
                  <a:lnTo>
                    <a:pt x="106" y="2052"/>
                  </a:lnTo>
                  <a:lnTo>
                    <a:pt x="126" y="2076"/>
                  </a:lnTo>
                  <a:lnTo>
                    <a:pt x="146" y="2100"/>
                  </a:lnTo>
                  <a:lnTo>
                    <a:pt x="170" y="2124"/>
                  </a:lnTo>
                  <a:lnTo>
                    <a:pt x="192" y="2146"/>
                  </a:lnTo>
                  <a:lnTo>
                    <a:pt x="218" y="2166"/>
                  </a:lnTo>
                  <a:lnTo>
                    <a:pt x="244" y="2186"/>
                  </a:lnTo>
                  <a:lnTo>
                    <a:pt x="270" y="2204"/>
                  </a:lnTo>
                  <a:lnTo>
                    <a:pt x="298" y="2222"/>
                  </a:lnTo>
                  <a:lnTo>
                    <a:pt x="328" y="2238"/>
                  </a:lnTo>
                  <a:lnTo>
                    <a:pt x="358" y="2252"/>
                  </a:lnTo>
                  <a:lnTo>
                    <a:pt x="388" y="2266"/>
                  </a:lnTo>
                  <a:lnTo>
                    <a:pt x="420" y="2278"/>
                  </a:lnTo>
                  <a:lnTo>
                    <a:pt x="454" y="2290"/>
                  </a:lnTo>
                  <a:lnTo>
                    <a:pt x="488" y="2300"/>
                  </a:lnTo>
                  <a:lnTo>
                    <a:pt x="522" y="2308"/>
                  </a:lnTo>
                  <a:lnTo>
                    <a:pt x="558" y="2316"/>
                  </a:lnTo>
                  <a:lnTo>
                    <a:pt x="594" y="2322"/>
                  </a:lnTo>
                  <a:lnTo>
                    <a:pt x="630" y="2326"/>
                  </a:lnTo>
                  <a:lnTo>
                    <a:pt x="668" y="2330"/>
                  </a:lnTo>
                  <a:lnTo>
                    <a:pt x="706" y="2332"/>
                  </a:lnTo>
                  <a:lnTo>
                    <a:pt x="744" y="2332"/>
                  </a:lnTo>
                  <a:lnTo>
                    <a:pt x="3026" y="2332"/>
                  </a:lnTo>
                  <a:lnTo>
                    <a:pt x="3026" y="2332"/>
                  </a:lnTo>
                  <a:lnTo>
                    <a:pt x="3106" y="2322"/>
                  </a:lnTo>
                  <a:lnTo>
                    <a:pt x="3182" y="2308"/>
                  </a:lnTo>
                  <a:lnTo>
                    <a:pt x="3256" y="2292"/>
                  </a:lnTo>
                  <a:lnTo>
                    <a:pt x="3326" y="2272"/>
                  </a:lnTo>
                  <a:lnTo>
                    <a:pt x="3360" y="2260"/>
                  </a:lnTo>
                  <a:lnTo>
                    <a:pt x="3394" y="2248"/>
                  </a:lnTo>
                  <a:lnTo>
                    <a:pt x="3426" y="2234"/>
                  </a:lnTo>
                  <a:lnTo>
                    <a:pt x="3456" y="2220"/>
                  </a:lnTo>
                  <a:lnTo>
                    <a:pt x="3486" y="2204"/>
                  </a:lnTo>
                  <a:lnTo>
                    <a:pt x="3516" y="2188"/>
                  </a:lnTo>
                  <a:lnTo>
                    <a:pt x="3544" y="2170"/>
                  </a:lnTo>
                  <a:lnTo>
                    <a:pt x="3570" y="2152"/>
                  </a:lnTo>
                  <a:lnTo>
                    <a:pt x="3594" y="2132"/>
                  </a:lnTo>
                  <a:lnTo>
                    <a:pt x="3618" y="2112"/>
                  </a:lnTo>
                  <a:lnTo>
                    <a:pt x="3640" y="2090"/>
                  </a:lnTo>
                  <a:lnTo>
                    <a:pt x="3662" y="2068"/>
                  </a:lnTo>
                  <a:lnTo>
                    <a:pt x="3682" y="2044"/>
                  </a:lnTo>
                  <a:lnTo>
                    <a:pt x="3700" y="2018"/>
                  </a:lnTo>
                  <a:lnTo>
                    <a:pt x="3716" y="1992"/>
                  </a:lnTo>
                  <a:lnTo>
                    <a:pt x="3732" y="1964"/>
                  </a:lnTo>
                  <a:lnTo>
                    <a:pt x="3744" y="1936"/>
                  </a:lnTo>
                  <a:lnTo>
                    <a:pt x="3756" y="1906"/>
                  </a:lnTo>
                  <a:lnTo>
                    <a:pt x="3766" y="1876"/>
                  </a:lnTo>
                  <a:lnTo>
                    <a:pt x="3774" y="1844"/>
                  </a:lnTo>
                  <a:lnTo>
                    <a:pt x="3782" y="1810"/>
                  </a:lnTo>
                  <a:lnTo>
                    <a:pt x="3786" y="1774"/>
                  </a:lnTo>
                  <a:lnTo>
                    <a:pt x="3790" y="1738"/>
                  </a:lnTo>
                  <a:lnTo>
                    <a:pt x="3790" y="1700"/>
                  </a:lnTo>
                  <a:close/>
                </a:path>
              </a:pathLst>
            </a:custGeom>
            <a:solidFill>
              <a:srgbClr val="0072C6">
                <a:lumMod val="60000"/>
                <a:lumOff val="40000"/>
              </a:srgbClr>
            </a:solidFill>
            <a:ln>
              <a:noFill/>
            </a:ln>
            <a:extLst/>
          </p:spPr>
          <p:txBody>
            <a:bodyPr vert="horz" wrap="square" lIns="91427" tIns="45714" rIns="91427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6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39" name="Freeform 5"/>
            <p:cNvSpPr>
              <a:spLocks/>
            </p:cNvSpPr>
            <p:nvPr/>
          </p:nvSpPr>
          <p:spPr bwMode="auto">
            <a:xfrm>
              <a:off x="2600271" y="707531"/>
              <a:ext cx="1153861" cy="810187"/>
            </a:xfrm>
            <a:custGeom>
              <a:avLst/>
              <a:gdLst>
                <a:gd name="T0" fmla="*/ 3780 w 3790"/>
                <a:gd name="T1" fmla="*/ 1582 h 2332"/>
                <a:gd name="T2" fmla="*/ 3710 w 3790"/>
                <a:gd name="T3" fmla="*/ 1358 h 2332"/>
                <a:gd name="T4" fmla="*/ 3580 w 3790"/>
                <a:gd name="T5" fmla="*/ 1158 h 2332"/>
                <a:gd name="T6" fmla="*/ 3400 w 3790"/>
                <a:gd name="T7" fmla="*/ 1004 h 2332"/>
                <a:gd name="T8" fmla="*/ 3286 w 3790"/>
                <a:gd name="T9" fmla="*/ 944 h 2332"/>
                <a:gd name="T10" fmla="*/ 3280 w 3790"/>
                <a:gd name="T11" fmla="*/ 908 h 2332"/>
                <a:gd name="T12" fmla="*/ 3260 w 3790"/>
                <a:gd name="T13" fmla="*/ 796 h 2332"/>
                <a:gd name="T14" fmla="*/ 3220 w 3790"/>
                <a:gd name="T15" fmla="*/ 690 h 2332"/>
                <a:gd name="T16" fmla="*/ 3162 w 3790"/>
                <a:gd name="T17" fmla="*/ 596 h 2332"/>
                <a:gd name="T18" fmla="*/ 3088 w 3790"/>
                <a:gd name="T19" fmla="*/ 516 h 2332"/>
                <a:gd name="T20" fmla="*/ 2998 w 3790"/>
                <a:gd name="T21" fmla="*/ 450 h 2332"/>
                <a:gd name="T22" fmla="*/ 2898 w 3790"/>
                <a:gd name="T23" fmla="*/ 402 h 2332"/>
                <a:gd name="T24" fmla="*/ 2788 w 3790"/>
                <a:gd name="T25" fmla="*/ 374 h 2332"/>
                <a:gd name="T26" fmla="*/ 2700 w 3790"/>
                <a:gd name="T27" fmla="*/ 368 h 2332"/>
                <a:gd name="T28" fmla="*/ 2522 w 3790"/>
                <a:gd name="T29" fmla="*/ 396 h 2332"/>
                <a:gd name="T30" fmla="*/ 2366 w 3790"/>
                <a:gd name="T31" fmla="*/ 472 h 2332"/>
                <a:gd name="T32" fmla="*/ 2256 w 3790"/>
                <a:gd name="T33" fmla="*/ 324 h 2332"/>
                <a:gd name="T34" fmla="*/ 2070 w 3790"/>
                <a:gd name="T35" fmla="*/ 164 h 2332"/>
                <a:gd name="T36" fmla="*/ 1848 w 3790"/>
                <a:gd name="T37" fmla="*/ 54 h 2332"/>
                <a:gd name="T38" fmla="*/ 1596 w 3790"/>
                <a:gd name="T39" fmla="*/ 2 h 2332"/>
                <a:gd name="T40" fmla="*/ 1430 w 3790"/>
                <a:gd name="T41" fmla="*/ 6 h 2332"/>
                <a:gd name="T42" fmla="*/ 1240 w 3790"/>
                <a:gd name="T43" fmla="*/ 44 h 2332"/>
                <a:gd name="T44" fmla="*/ 1064 w 3790"/>
                <a:gd name="T45" fmla="*/ 118 h 2332"/>
                <a:gd name="T46" fmla="*/ 908 w 3790"/>
                <a:gd name="T47" fmla="*/ 224 h 2332"/>
                <a:gd name="T48" fmla="*/ 776 w 3790"/>
                <a:gd name="T49" fmla="*/ 356 h 2332"/>
                <a:gd name="T50" fmla="*/ 672 w 3790"/>
                <a:gd name="T51" fmla="*/ 512 h 2332"/>
                <a:gd name="T52" fmla="*/ 598 w 3790"/>
                <a:gd name="T53" fmla="*/ 688 h 2332"/>
                <a:gd name="T54" fmla="*/ 558 w 3790"/>
                <a:gd name="T55" fmla="*/ 878 h 2332"/>
                <a:gd name="T56" fmla="*/ 554 w 3790"/>
                <a:gd name="T57" fmla="*/ 1012 h 2332"/>
                <a:gd name="T58" fmla="*/ 560 w 3790"/>
                <a:gd name="T59" fmla="*/ 1056 h 2332"/>
                <a:gd name="T60" fmla="*/ 388 w 3790"/>
                <a:gd name="T61" fmla="*/ 1120 h 2332"/>
                <a:gd name="T62" fmla="*/ 198 w 3790"/>
                <a:gd name="T63" fmla="*/ 1252 h 2332"/>
                <a:gd name="T64" fmla="*/ 92 w 3790"/>
                <a:gd name="T65" fmla="*/ 1384 h 2332"/>
                <a:gd name="T66" fmla="*/ 42 w 3790"/>
                <a:gd name="T67" fmla="*/ 1484 h 2332"/>
                <a:gd name="T68" fmla="*/ 10 w 3790"/>
                <a:gd name="T69" fmla="*/ 1594 h 2332"/>
                <a:gd name="T70" fmla="*/ 0 w 3790"/>
                <a:gd name="T71" fmla="*/ 1712 h 2332"/>
                <a:gd name="T72" fmla="*/ 8 w 3790"/>
                <a:gd name="T73" fmla="*/ 1816 h 2332"/>
                <a:gd name="T74" fmla="*/ 44 w 3790"/>
                <a:gd name="T75" fmla="*/ 1942 h 2332"/>
                <a:gd name="T76" fmla="*/ 106 w 3790"/>
                <a:gd name="T77" fmla="*/ 2052 h 2332"/>
                <a:gd name="T78" fmla="*/ 192 w 3790"/>
                <a:gd name="T79" fmla="*/ 2146 h 2332"/>
                <a:gd name="T80" fmla="*/ 298 w 3790"/>
                <a:gd name="T81" fmla="*/ 2222 h 2332"/>
                <a:gd name="T82" fmla="*/ 420 w 3790"/>
                <a:gd name="T83" fmla="*/ 2278 h 2332"/>
                <a:gd name="T84" fmla="*/ 558 w 3790"/>
                <a:gd name="T85" fmla="*/ 2316 h 2332"/>
                <a:gd name="T86" fmla="*/ 706 w 3790"/>
                <a:gd name="T87" fmla="*/ 2332 h 2332"/>
                <a:gd name="T88" fmla="*/ 3106 w 3790"/>
                <a:gd name="T89" fmla="*/ 2322 h 2332"/>
                <a:gd name="T90" fmla="*/ 3360 w 3790"/>
                <a:gd name="T91" fmla="*/ 2260 h 2332"/>
                <a:gd name="T92" fmla="*/ 3486 w 3790"/>
                <a:gd name="T93" fmla="*/ 2204 h 2332"/>
                <a:gd name="T94" fmla="*/ 3594 w 3790"/>
                <a:gd name="T95" fmla="*/ 2132 h 2332"/>
                <a:gd name="T96" fmla="*/ 3682 w 3790"/>
                <a:gd name="T97" fmla="*/ 2044 h 2332"/>
                <a:gd name="T98" fmla="*/ 3744 w 3790"/>
                <a:gd name="T99" fmla="*/ 1936 h 2332"/>
                <a:gd name="T100" fmla="*/ 3782 w 3790"/>
                <a:gd name="T101" fmla="*/ 1810 h 2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790" h="2332">
                  <a:moveTo>
                    <a:pt x="3790" y="1700"/>
                  </a:moveTo>
                  <a:lnTo>
                    <a:pt x="3790" y="1700"/>
                  </a:lnTo>
                  <a:lnTo>
                    <a:pt x="3788" y="1642"/>
                  </a:lnTo>
                  <a:lnTo>
                    <a:pt x="3780" y="1582"/>
                  </a:lnTo>
                  <a:lnTo>
                    <a:pt x="3770" y="1524"/>
                  </a:lnTo>
                  <a:lnTo>
                    <a:pt x="3754" y="1468"/>
                  </a:lnTo>
                  <a:lnTo>
                    <a:pt x="3734" y="1412"/>
                  </a:lnTo>
                  <a:lnTo>
                    <a:pt x="3710" y="1358"/>
                  </a:lnTo>
                  <a:lnTo>
                    <a:pt x="3684" y="1304"/>
                  </a:lnTo>
                  <a:lnTo>
                    <a:pt x="3652" y="1254"/>
                  </a:lnTo>
                  <a:lnTo>
                    <a:pt x="3618" y="1206"/>
                  </a:lnTo>
                  <a:lnTo>
                    <a:pt x="3580" y="1158"/>
                  </a:lnTo>
                  <a:lnTo>
                    <a:pt x="3540" y="1116"/>
                  </a:lnTo>
                  <a:lnTo>
                    <a:pt x="3496" y="1076"/>
                  </a:lnTo>
                  <a:lnTo>
                    <a:pt x="3448" y="1038"/>
                  </a:lnTo>
                  <a:lnTo>
                    <a:pt x="3400" y="1004"/>
                  </a:lnTo>
                  <a:lnTo>
                    <a:pt x="3348" y="974"/>
                  </a:lnTo>
                  <a:lnTo>
                    <a:pt x="3294" y="948"/>
                  </a:lnTo>
                  <a:lnTo>
                    <a:pt x="3294" y="948"/>
                  </a:lnTo>
                  <a:lnTo>
                    <a:pt x="3286" y="944"/>
                  </a:lnTo>
                  <a:lnTo>
                    <a:pt x="3280" y="938"/>
                  </a:lnTo>
                  <a:lnTo>
                    <a:pt x="3280" y="938"/>
                  </a:lnTo>
                  <a:lnTo>
                    <a:pt x="3280" y="938"/>
                  </a:lnTo>
                  <a:lnTo>
                    <a:pt x="3280" y="908"/>
                  </a:lnTo>
                  <a:lnTo>
                    <a:pt x="3278" y="880"/>
                  </a:lnTo>
                  <a:lnTo>
                    <a:pt x="3272" y="852"/>
                  </a:lnTo>
                  <a:lnTo>
                    <a:pt x="3268" y="822"/>
                  </a:lnTo>
                  <a:lnTo>
                    <a:pt x="3260" y="796"/>
                  </a:lnTo>
                  <a:lnTo>
                    <a:pt x="3252" y="768"/>
                  </a:lnTo>
                  <a:lnTo>
                    <a:pt x="3244" y="742"/>
                  </a:lnTo>
                  <a:lnTo>
                    <a:pt x="3232" y="716"/>
                  </a:lnTo>
                  <a:lnTo>
                    <a:pt x="3220" y="690"/>
                  </a:lnTo>
                  <a:lnTo>
                    <a:pt x="3208" y="666"/>
                  </a:lnTo>
                  <a:lnTo>
                    <a:pt x="3194" y="642"/>
                  </a:lnTo>
                  <a:lnTo>
                    <a:pt x="3178" y="618"/>
                  </a:lnTo>
                  <a:lnTo>
                    <a:pt x="3162" y="596"/>
                  </a:lnTo>
                  <a:lnTo>
                    <a:pt x="3144" y="574"/>
                  </a:lnTo>
                  <a:lnTo>
                    <a:pt x="3126" y="554"/>
                  </a:lnTo>
                  <a:lnTo>
                    <a:pt x="3108" y="534"/>
                  </a:lnTo>
                  <a:lnTo>
                    <a:pt x="3088" y="516"/>
                  </a:lnTo>
                  <a:lnTo>
                    <a:pt x="3066" y="498"/>
                  </a:lnTo>
                  <a:lnTo>
                    <a:pt x="3044" y="480"/>
                  </a:lnTo>
                  <a:lnTo>
                    <a:pt x="3022" y="464"/>
                  </a:lnTo>
                  <a:lnTo>
                    <a:pt x="2998" y="450"/>
                  </a:lnTo>
                  <a:lnTo>
                    <a:pt x="2974" y="436"/>
                  </a:lnTo>
                  <a:lnTo>
                    <a:pt x="2950" y="424"/>
                  </a:lnTo>
                  <a:lnTo>
                    <a:pt x="2924" y="412"/>
                  </a:lnTo>
                  <a:lnTo>
                    <a:pt x="2898" y="402"/>
                  </a:lnTo>
                  <a:lnTo>
                    <a:pt x="2870" y="394"/>
                  </a:lnTo>
                  <a:lnTo>
                    <a:pt x="2844" y="386"/>
                  </a:lnTo>
                  <a:lnTo>
                    <a:pt x="2816" y="380"/>
                  </a:lnTo>
                  <a:lnTo>
                    <a:pt x="2788" y="374"/>
                  </a:lnTo>
                  <a:lnTo>
                    <a:pt x="2758" y="370"/>
                  </a:lnTo>
                  <a:lnTo>
                    <a:pt x="2730" y="368"/>
                  </a:lnTo>
                  <a:lnTo>
                    <a:pt x="2700" y="368"/>
                  </a:lnTo>
                  <a:lnTo>
                    <a:pt x="2700" y="368"/>
                  </a:lnTo>
                  <a:lnTo>
                    <a:pt x="2654" y="370"/>
                  </a:lnTo>
                  <a:lnTo>
                    <a:pt x="2608" y="374"/>
                  </a:lnTo>
                  <a:lnTo>
                    <a:pt x="2564" y="384"/>
                  </a:lnTo>
                  <a:lnTo>
                    <a:pt x="2522" y="396"/>
                  </a:lnTo>
                  <a:lnTo>
                    <a:pt x="2482" y="410"/>
                  </a:lnTo>
                  <a:lnTo>
                    <a:pt x="2442" y="428"/>
                  </a:lnTo>
                  <a:lnTo>
                    <a:pt x="2404" y="450"/>
                  </a:lnTo>
                  <a:lnTo>
                    <a:pt x="2366" y="472"/>
                  </a:lnTo>
                  <a:lnTo>
                    <a:pt x="2366" y="472"/>
                  </a:lnTo>
                  <a:lnTo>
                    <a:pt x="2334" y="420"/>
                  </a:lnTo>
                  <a:lnTo>
                    <a:pt x="2296" y="372"/>
                  </a:lnTo>
                  <a:lnTo>
                    <a:pt x="2256" y="324"/>
                  </a:lnTo>
                  <a:lnTo>
                    <a:pt x="2214" y="280"/>
                  </a:lnTo>
                  <a:lnTo>
                    <a:pt x="2168" y="238"/>
                  </a:lnTo>
                  <a:lnTo>
                    <a:pt x="2120" y="198"/>
                  </a:lnTo>
                  <a:lnTo>
                    <a:pt x="2070" y="164"/>
                  </a:lnTo>
                  <a:lnTo>
                    <a:pt x="2018" y="130"/>
                  </a:lnTo>
                  <a:lnTo>
                    <a:pt x="1962" y="102"/>
                  </a:lnTo>
                  <a:lnTo>
                    <a:pt x="1906" y="76"/>
                  </a:lnTo>
                  <a:lnTo>
                    <a:pt x="1848" y="54"/>
                  </a:lnTo>
                  <a:lnTo>
                    <a:pt x="1786" y="34"/>
                  </a:lnTo>
                  <a:lnTo>
                    <a:pt x="1724" y="20"/>
                  </a:lnTo>
                  <a:lnTo>
                    <a:pt x="1662" y="10"/>
                  </a:lnTo>
                  <a:lnTo>
                    <a:pt x="1596" y="2"/>
                  </a:lnTo>
                  <a:lnTo>
                    <a:pt x="1530" y="0"/>
                  </a:lnTo>
                  <a:lnTo>
                    <a:pt x="1530" y="0"/>
                  </a:lnTo>
                  <a:lnTo>
                    <a:pt x="1480" y="2"/>
                  </a:lnTo>
                  <a:lnTo>
                    <a:pt x="1430" y="6"/>
                  </a:lnTo>
                  <a:lnTo>
                    <a:pt x="1382" y="12"/>
                  </a:lnTo>
                  <a:lnTo>
                    <a:pt x="1334" y="20"/>
                  </a:lnTo>
                  <a:lnTo>
                    <a:pt x="1286" y="32"/>
                  </a:lnTo>
                  <a:lnTo>
                    <a:pt x="1240" y="44"/>
                  </a:lnTo>
                  <a:lnTo>
                    <a:pt x="1194" y="60"/>
                  </a:lnTo>
                  <a:lnTo>
                    <a:pt x="1150" y="78"/>
                  </a:lnTo>
                  <a:lnTo>
                    <a:pt x="1106" y="96"/>
                  </a:lnTo>
                  <a:lnTo>
                    <a:pt x="1064" y="118"/>
                  </a:lnTo>
                  <a:lnTo>
                    <a:pt x="1024" y="142"/>
                  </a:lnTo>
                  <a:lnTo>
                    <a:pt x="984" y="168"/>
                  </a:lnTo>
                  <a:lnTo>
                    <a:pt x="946" y="194"/>
                  </a:lnTo>
                  <a:lnTo>
                    <a:pt x="908" y="224"/>
                  </a:lnTo>
                  <a:lnTo>
                    <a:pt x="874" y="254"/>
                  </a:lnTo>
                  <a:lnTo>
                    <a:pt x="840" y="286"/>
                  </a:lnTo>
                  <a:lnTo>
                    <a:pt x="808" y="320"/>
                  </a:lnTo>
                  <a:lnTo>
                    <a:pt x="776" y="356"/>
                  </a:lnTo>
                  <a:lnTo>
                    <a:pt x="748" y="394"/>
                  </a:lnTo>
                  <a:lnTo>
                    <a:pt x="720" y="432"/>
                  </a:lnTo>
                  <a:lnTo>
                    <a:pt x="694" y="470"/>
                  </a:lnTo>
                  <a:lnTo>
                    <a:pt x="672" y="512"/>
                  </a:lnTo>
                  <a:lnTo>
                    <a:pt x="650" y="554"/>
                  </a:lnTo>
                  <a:lnTo>
                    <a:pt x="630" y="598"/>
                  </a:lnTo>
                  <a:lnTo>
                    <a:pt x="612" y="642"/>
                  </a:lnTo>
                  <a:lnTo>
                    <a:pt x="598" y="688"/>
                  </a:lnTo>
                  <a:lnTo>
                    <a:pt x="584" y="734"/>
                  </a:lnTo>
                  <a:lnTo>
                    <a:pt x="574" y="780"/>
                  </a:lnTo>
                  <a:lnTo>
                    <a:pt x="564" y="828"/>
                  </a:lnTo>
                  <a:lnTo>
                    <a:pt x="558" y="878"/>
                  </a:lnTo>
                  <a:lnTo>
                    <a:pt x="554" y="928"/>
                  </a:lnTo>
                  <a:lnTo>
                    <a:pt x="554" y="978"/>
                  </a:lnTo>
                  <a:lnTo>
                    <a:pt x="554" y="978"/>
                  </a:lnTo>
                  <a:lnTo>
                    <a:pt x="554" y="1012"/>
                  </a:lnTo>
                  <a:lnTo>
                    <a:pt x="556" y="1046"/>
                  </a:lnTo>
                  <a:lnTo>
                    <a:pt x="556" y="1046"/>
                  </a:lnTo>
                  <a:lnTo>
                    <a:pt x="556" y="1054"/>
                  </a:lnTo>
                  <a:lnTo>
                    <a:pt x="560" y="1056"/>
                  </a:lnTo>
                  <a:lnTo>
                    <a:pt x="560" y="1056"/>
                  </a:lnTo>
                  <a:lnTo>
                    <a:pt x="502" y="1074"/>
                  </a:lnTo>
                  <a:lnTo>
                    <a:pt x="444" y="1094"/>
                  </a:lnTo>
                  <a:lnTo>
                    <a:pt x="388" y="1120"/>
                  </a:lnTo>
                  <a:lnTo>
                    <a:pt x="336" y="1148"/>
                  </a:lnTo>
                  <a:lnTo>
                    <a:pt x="288" y="1180"/>
                  </a:lnTo>
                  <a:lnTo>
                    <a:pt x="242" y="1214"/>
                  </a:lnTo>
                  <a:lnTo>
                    <a:pt x="198" y="1252"/>
                  </a:lnTo>
                  <a:lnTo>
                    <a:pt x="158" y="1292"/>
                  </a:lnTo>
                  <a:lnTo>
                    <a:pt x="124" y="1336"/>
                  </a:lnTo>
                  <a:lnTo>
                    <a:pt x="106" y="1360"/>
                  </a:lnTo>
                  <a:lnTo>
                    <a:pt x="92" y="1384"/>
                  </a:lnTo>
                  <a:lnTo>
                    <a:pt x="78" y="1408"/>
                  </a:lnTo>
                  <a:lnTo>
                    <a:pt x="64" y="1432"/>
                  </a:lnTo>
                  <a:lnTo>
                    <a:pt x="52" y="1458"/>
                  </a:lnTo>
                  <a:lnTo>
                    <a:pt x="42" y="1484"/>
                  </a:lnTo>
                  <a:lnTo>
                    <a:pt x="32" y="1510"/>
                  </a:lnTo>
                  <a:lnTo>
                    <a:pt x="24" y="1538"/>
                  </a:lnTo>
                  <a:lnTo>
                    <a:pt x="16" y="1566"/>
                  </a:lnTo>
                  <a:lnTo>
                    <a:pt x="10" y="1594"/>
                  </a:lnTo>
                  <a:lnTo>
                    <a:pt x="6" y="1622"/>
                  </a:lnTo>
                  <a:lnTo>
                    <a:pt x="2" y="1652"/>
                  </a:lnTo>
                  <a:lnTo>
                    <a:pt x="0" y="1682"/>
                  </a:lnTo>
                  <a:lnTo>
                    <a:pt x="0" y="1712"/>
                  </a:lnTo>
                  <a:lnTo>
                    <a:pt x="0" y="1712"/>
                  </a:lnTo>
                  <a:lnTo>
                    <a:pt x="0" y="1748"/>
                  </a:lnTo>
                  <a:lnTo>
                    <a:pt x="2" y="1782"/>
                  </a:lnTo>
                  <a:lnTo>
                    <a:pt x="8" y="1816"/>
                  </a:lnTo>
                  <a:lnTo>
                    <a:pt x="14" y="1848"/>
                  </a:lnTo>
                  <a:lnTo>
                    <a:pt x="22" y="1880"/>
                  </a:lnTo>
                  <a:lnTo>
                    <a:pt x="32" y="1912"/>
                  </a:lnTo>
                  <a:lnTo>
                    <a:pt x="44" y="1942"/>
                  </a:lnTo>
                  <a:lnTo>
                    <a:pt x="58" y="1970"/>
                  </a:lnTo>
                  <a:lnTo>
                    <a:pt x="72" y="1998"/>
                  </a:lnTo>
                  <a:lnTo>
                    <a:pt x="88" y="2026"/>
                  </a:lnTo>
                  <a:lnTo>
                    <a:pt x="106" y="2052"/>
                  </a:lnTo>
                  <a:lnTo>
                    <a:pt x="126" y="2076"/>
                  </a:lnTo>
                  <a:lnTo>
                    <a:pt x="146" y="2100"/>
                  </a:lnTo>
                  <a:lnTo>
                    <a:pt x="170" y="2124"/>
                  </a:lnTo>
                  <a:lnTo>
                    <a:pt x="192" y="2146"/>
                  </a:lnTo>
                  <a:lnTo>
                    <a:pt x="218" y="2166"/>
                  </a:lnTo>
                  <a:lnTo>
                    <a:pt x="244" y="2186"/>
                  </a:lnTo>
                  <a:lnTo>
                    <a:pt x="270" y="2204"/>
                  </a:lnTo>
                  <a:lnTo>
                    <a:pt x="298" y="2222"/>
                  </a:lnTo>
                  <a:lnTo>
                    <a:pt x="328" y="2238"/>
                  </a:lnTo>
                  <a:lnTo>
                    <a:pt x="358" y="2252"/>
                  </a:lnTo>
                  <a:lnTo>
                    <a:pt x="388" y="2266"/>
                  </a:lnTo>
                  <a:lnTo>
                    <a:pt x="420" y="2278"/>
                  </a:lnTo>
                  <a:lnTo>
                    <a:pt x="454" y="2290"/>
                  </a:lnTo>
                  <a:lnTo>
                    <a:pt x="488" y="2300"/>
                  </a:lnTo>
                  <a:lnTo>
                    <a:pt x="522" y="2308"/>
                  </a:lnTo>
                  <a:lnTo>
                    <a:pt x="558" y="2316"/>
                  </a:lnTo>
                  <a:lnTo>
                    <a:pt x="594" y="2322"/>
                  </a:lnTo>
                  <a:lnTo>
                    <a:pt x="630" y="2326"/>
                  </a:lnTo>
                  <a:lnTo>
                    <a:pt x="668" y="2330"/>
                  </a:lnTo>
                  <a:lnTo>
                    <a:pt x="706" y="2332"/>
                  </a:lnTo>
                  <a:lnTo>
                    <a:pt x="744" y="2332"/>
                  </a:lnTo>
                  <a:lnTo>
                    <a:pt x="3026" y="2332"/>
                  </a:lnTo>
                  <a:lnTo>
                    <a:pt x="3026" y="2332"/>
                  </a:lnTo>
                  <a:lnTo>
                    <a:pt x="3106" y="2322"/>
                  </a:lnTo>
                  <a:lnTo>
                    <a:pt x="3182" y="2308"/>
                  </a:lnTo>
                  <a:lnTo>
                    <a:pt x="3256" y="2292"/>
                  </a:lnTo>
                  <a:lnTo>
                    <a:pt x="3326" y="2272"/>
                  </a:lnTo>
                  <a:lnTo>
                    <a:pt x="3360" y="2260"/>
                  </a:lnTo>
                  <a:lnTo>
                    <a:pt x="3394" y="2248"/>
                  </a:lnTo>
                  <a:lnTo>
                    <a:pt x="3426" y="2234"/>
                  </a:lnTo>
                  <a:lnTo>
                    <a:pt x="3456" y="2220"/>
                  </a:lnTo>
                  <a:lnTo>
                    <a:pt x="3486" y="2204"/>
                  </a:lnTo>
                  <a:lnTo>
                    <a:pt x="3516" y="2188"/>
                  </a:lnTo>
                  <a:lnTo>
                    <a:pt x="3544" y="2170"/>
                  </a:lnTo>
                  <a:lnTo>
                    <a:pt x="3570" y="2152"/>
                  </a:lnTo>
                  <a:lnTo>
                    <a:pt x="3594" y="2132"/>
                  </a:lnTo>
                  <a:lnTo>
                    <a:pt x="3618" y="2112"/>
                  </a:lnTo>
                  <a:lnTo>
                    <a:pt x="3640" y="2090"/>
                  </a:lnTo>
                  <a:lnTo>
                    <a:pt x="3662" y="2068"/>
                  </a:lnTo>
                  <a:lnTo>
                    <a:pt x="3682" y="2044"/>
                  </a:lnTo>
                  <a:lnTo>
                    <a:pt x="3700" y="2018"/>
                  </a:lnTo>
                  <a:lnTo>
                    <a:pt x="3716" y="1992"/>
                  </a:lnTo>
                  <a:lnTo>
                    <a:pt x="3732" y="1964"/>
                  </a:lnTo>
                  <a:lnTo>
                    <a:pt x="3744" y="1936"/>
                  </a:lnTo>
                  <a:lnTo>
                    <a:pt x="3756" y="1906"/>
                  </a:lnTo>
                  <a:lnTo>
                    <a:pt x="3766" y="1876"/>
                  </a:lnTo>
                  <a:lnTo>
                    <a:pt x="3774" y="1844"/>
                  </a:lnTo>
                  <a:lnTo>
                    <a:pt x="3782" y="1810"/>
                  </a:lnTo>
                  <a:lnTo>
                    <a:pt x="3786" y="1774"/>
                  </a:lnTo>
                  <a:lnTo>
                    <a:pt x="3790" y="1738"/>
                  </a:lnTo>
                  <a:lnTo>
                    <a:pt x="3790" y="1700"/>
                  </a:lnTo>
                  <a:close/>
                </a:path>
              </a:pathLst>
            </a:custGeom>
            <a:solidFill>
              <a:srgbClr val="0072C6">
                <a:lumMod val="75000"/>
              </a:srgbClr>
            </a:solidFill>
            <a:ln>
              <a:noFill/>
            </a:ln>
          </p:spPr>
          <p:txBody>
            <a:bodyPr vert="horz" wrap="square" lIns="91427" tIns="45714" rIns="91427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6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40" name="Freeform 5"/>
            <p:cNvSpPr>
              <a:spLocks/>
            </p:cNvSpPr>
            <p:nvPr/>
          </p:nvSpPr>
          <p:spPr bwMode="auto">
            <a:xfrm>
              <a:off x="2205560" y="764445"/>
              <a:ext cx="511009" cy="336813"/>
            </a:xfrm>
            <a:custGeom>
              <a:avLst/>
              <a:gdLst>
                <a:gd name="T0" fmla="*/ 3780 w 3790"/>
                <a:gd name="T1" fmla="*/ 1582 h 2332"/>
                <a:gd name="T2" fmla="*/ 3710 w 3790"/>
                <a:gd name="T3" fmla="*/ 1358 h 2332"/>
                <a:gd name="T4" fmla="*/ 3580 w 3790"/>
                <a:gd name="T5" fmla="*/ 1158 h 2332"/>
                <a:gd name="T6" fmla="*/ 3400 w 3790"/>
                <a:gd name="T7" fmla="*/ 1004 h 2332"/>
                <a:gd name="T8" fmla="*/ 3286 w 3790"/>
                <a:gd name="T9" fmla="*/ 944 h 2332"/>
                <a:gd name="T10" fmla="*/ 3280 w 3790"/>
                <a:gd name="T11" fmla="*/ 908 h 2332"/>
                <a:gd name="T12" fmla="*/ 3260 w 3790"/>
                <a:gd name="T13" fmla="*/ 796 h 2332"/>
                <a:gd name="T14" fmla="*/ 3220 w 3790"/>
                <a:gd name="T15" fmla="*/ 690 h 2332"/>
                <a:gd name="T16" fmla="*/ 3162 w 3790"/>
                <a:gd name="T17" fmla="*/ 596 h 2332"/>
                <a:gd name="T18" fmla="*/ 3088 w 3790"/>
                <a:gd name="T19" fmla="*/ 516 h 2332"/>
                <a:gd name="T20" fmla="*/ 2998 w 3790"/>
                <a:gd name="T21" fmla="*/ 450 h 2332"/>
                <a:gd name="T22" fmla="*/ 2898 w 3790"/>
                <a:gd name="T23" fmla="*/ 402 h 2332"/>
                <a:gd name="T24" fmla="*/ 2788 w 3790"/>
                <a:gd name="T25" fmla="*/ 374 h 2332"/>
                <a:gd name="T26" fmla="*/ 2700 w 3790"/>
                <a:gd name="T27" fmla="*/ 368 h 2332"/>
                <a:gd name="T28" fmla="*/ 2522 w 3790"/>
                <a:gd name="T29" fmla="*/ 396 h 2332"/>
                <a:gd name="T30" fmla="*/ 2366 w 3790"/>
                <a:gd name="T31" fmla="*/ 472 h 2332"/>
                <a:gd name="T32" fmla="*/ 2256 w 3790"/>
                <a:gd name="T33" fmla="*/ 324 h 2332"/>
                <a:gd name="T34" fmla="*/ 2070 w 3790"/>
                <a:gd name="T35" fmla="*/ 164 h 2332"/>
                <a:gd name="T36" fmla="*/ 1848 w 3790"/>
                <a:gd name="T37" fmla="*/ 54 h 2332"/>
                <a:gd name="T38" fmla="*/ 1596 w 3790"/>
                <a:gd name="T39" fmla="*/ 2 h 2332"/>
                <a:gd name="T40" fmla="*/ 1430 w 3790"/>
                <a:gd name="T41" fmla="*/ 6 h 2332"/>
                <a:gd name="T42" fmla="*/ 1240 w 3790"/>
                <a:gd name="T43" fmla="*/ 44 h 2332"/>
                <a:gd name="T44" fmla="*/ 1064 w 3790"/>
                <a:gd name="T45" fmla="*/ 118 h 2332"/>
                <a:gd name="T46" fmla="*/ 908 w 3790"/>
                <a:gd name="T47" fmla="*/ 224 h 2332"/>
                <a:gd name="T48" fmla="*/ 776 w 3790"/>
                <a:gd name="T49" fmla="*/ 356 h 2332"/>
                <a:gd name="T50" fmla="*/ 672 w 3790"/>
                <a:gd name="T51" fmla="*/ 512 h 2332"/>
                <a:gd name="T52" fmla="*/ 598 w 3790"/>
                <a:gd name="T53" fmla="*/ 688 h 2332"/>
                <a:gd name="T54" fmla="*/ 558 w 3790"/>
                <a:gd name="T55" fmla="*/ 878 h 2332"/>
                <a:gd name="T56" fmla="*/ 554 w 3790"/>
                <a:gd name="T57" fmla="*/ 1012 h 2332"/>
                <a:gd name="T58" fmla="*/ 560 w 3790"/>
                <a:gd name="T59" fmla="*/ 1056 h 2332"/>
                <a:gd name="T60" fmla="*/ 388 w 3790"/>
                <a:gd name="T61" fmla="*/ 1120 h 2332"/>
                <a:gd name="T62" fmla="*/ 198 w 3790"/>
                <a:gd name="T63" fmla="*/ 1252 h 2332"/>
                <a:gd name="T64" fmla="*/ 92 w 3790"/>
                <a:gd name="T65" fmla="*/ 1384 h 2332"/>
                <a:gd name="T66" fmla="*/ 42 w 3790"/>
                <a:gd name="T67" fmla="*/ 1484 h 2332"/>
                <a:gd name="T68" fmla="*/ 10 w 3790"/>
                <a:gd name="T69" fmla="*/ 1594 h 2332"/>
                <a:gd name="T70" fmla="*/ 0 w 3790"/>
                <a:gd name="T71" fmla="*/ 1712 h 2332"/>
                <a:gd name="T72" fmla="*/ 8 w 3790"/>
                <a:gd name="T73" fmla="*/ 1816 h 2332"/>
                <a:gd name="T74" fmla="*/ 44 w 3790"/>
                <a:gd name="T75" fmla="*/ 1942 h 2332"/>
                <a:gd name="T76" fmla="*/ 106 w 3790"/>
                <a:gd name="T77" fmla="*/ 2052 h 2332"/>
                <a:gd name="T78" fmla="*/ 192 w 3790"/>
                <a:gd name="T79" fmla="*/ 2146 h 2332"/>
                <a:gd name="T80" fmla="*/ 298 w 3790"/>
                <a:gd name="T81" fmla="*/ 2222 h 2332"/>
                <a:gd name="T82" fmla="*/ 420 w 3790"/>
                <a:gd name="T83" fmla="*/ 2278 h 2332"/>
                <a:gd name="T84" fmla="*/ 558 w 3790"/>
                <a:gd name="T85" fmla="*/ 2316 h 2332"/>
                <a:gd name="T86" fmla="*/ 706 w 3790"/>
                <a:gd name="T87" fmla="*/ 2332 h 2332"/>
                <a:gd name="T88" fmla="*/ 3106 w 3790"/>
                <a:gd name="T89" fmla="*/ 2322 h 2332"/>
                <a:gd name="T90" fmla="*/ 3360 w 3790"/>
                <a:gd name="T91" fmla="*/ 2260 h 2332"/>
                <a:gd name="T92" fmla="*/ 3486 w 3790"/>
                <a:gd name="T93" fmla="*/ 2204 h 2332"/>
                <a:gd name="T94" fmla="*/ 3594 w 3790"/>
                <a:gd name="T95" fmla="*/ 2132 h 2332"/>
                <a:gd name="T96" fmla="*/ 3682 w 3790"/>
                <a:gd name="T97" fmla="*/ 2044 h 2332"/>
                <a:gd name="T98" fmla="*/ 3744 w 3790"/>
                <a:gd name="T99" fmla="*/ 1936 h 2332"/>
                <a:gd name="T100" fmla="*/ 3782 w 3790"/>
                <a:gd name="T101" fmla="*/ 1810 h 2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790" h="2332">
                  <a:moveTo>
                    <a:pt x="3790" y="1700"/>
                  </a:moveTo>
                  <a:lnTo>
                    <a:pt x="3790" y="1700"/>
                  </a:lnTo>
                  <a:lnTo>
                    <a:pt x="3788" y="1642"/>
                  </a:lnTo>
                  <a:lnTo>
                    <a:pt x="3780" y="1582"/>
                  </a:lnTo>
                  <a:lnTo>
                    <a:pt x="3770" y="1524"/>
                  </a:lnTo>
                  <a:lnTo>
                    <a:pt x="3754" y="1468"/>
                  </a:lnTo>
                  <a:lnTo>
                    <a:pt x="3734" y="1412"/>
                  </a:lnTo>
                  <a:lnTo>
                    <a:pt x="3710" y="1358"/>
                  </a:lnTo>
                  <a:lnTo>
                    <a:pt x="3684" y="1304"/>
                  </a:lnTo>
                  <a:lnTo>
                    <a:pt x="3652" y="1254"/>
                  </a:lnTo>
                  <a:lnTo>
                    <a:pt x="3618" y="1206"/>
                  </a:lnTo>
                  <a:lnTo>
                    <a:pt x="3580" y="1158"/>
                  </a:lnTo>
                  <a:lnTo>
                    <a:pt x="3540" y="1116"/>
                  </a:lnTo>
                  <a:lnTo>
                    <a:pt x="3496" y="1076"/>
                  </a:lnTo>
                  <a:lnTo>
                    <a:pt x="3448" y="1038"/>
                  </a:lnTo>
                  <a:lnTo>
                    <a:pt x="3400" y="1004"/>
                  </a:lnTo>
                  <a:lnTo>
                    <a:pt x="3348" y="974"/>
                  </a:lnTo>
                  <a:lnTo>
                    <a:pt x="3294" y="948"/>
                  </a:lnTo>
                  <a:lnTo>
                    <a:pt x="3294" y="948"/>
                  </a:lnTo>
                  <a:lnTo>
                    <a:pt x="3286" y="944"/>
                  </a:lnTo>
                  <a:lnTo>
                    <a:pt x="3280" y="938"/>
                  </a:lnTo>
                  <a:lnTo>
                    <a:pt x="3280" y="938"/>
                  </a:lnTo>
                  <a:lnTo>
                    <a:pt x="3280" y="938"/>
                  </a:lnTo>
                  <a:lnTo>
                    <a:pt x="3280" y="908"/>
                  </a:lnTo>
                  <a:lnTo>
                    <a:pt x="3278" y="880"/>
                  </a:lnTo>
                  <a:lnTo>
                    <a:pt x="3272" y="852"/>
                  </a:lnTo>
                  <a:lnTo>
                    <a:pt x="3268" y="822"/>
                  </a:lnTo>
                  <a:lnTo>
                    <a:pt x="3260" y="796"/>
                  </a:lnTo>
                  <a:lnTo>
                    <a:pt x="3252" y="768"/>
                  </a:lnTo>
                  <a:lnTo>
                    <a:pt x="3244" y="742"/>
                  </a:lnTo>
                  <a:lnTo>
                    <a:pt x="3232" y="716"/>
                  </a:lnTo>
                  <a:lnTo>
                    <a:pt x="3220" y="690"/>
                  </a:lnTo>
                  <a:lnTo>
                    <a:pt x="3208" y="666"/>
                  </a:lnTo>
                  <a:lnTo>
                    <a:pt x="3194" y="642"/>
                  </a:lnTo>
                  <a:lnTo>
                    <a:pt x="3178" y="618"/>
                  </a:lnTo>
                  <a:lnTo>
                    <a:pt x="3162" y="596"/>
                  </a:lnTo>
                  <a:lnTo>
                    <a:pt x="3144" y="574"/>
                  </a:lnTo>
                  <a:lnTo>
                    <a:pt x="3126" y="554"/>
                  </a:lnTo>
                  <a:lnTo>
                    <a:pt x="3108" y="534"/>
                  </a:lnTo>
                  <a:lnTo>
                    <a:pt x="3088" y="516"/>
                  </a:lnTo>
                  <a:lnTo>
                    <a:pt x="3066" y="498"/>
                  </a:lnTo>
                  <a:lnTo>
                    <a:pt x="3044" y="480"/>
                  </a:lnTo>
                  <a:lnTo>
                    <a:pt x="3022" y="464"/>
                  </a:lnTo>
                  <a:lnTo>
                    <a:pt x="2998" y="450"/>
                  </a:lnTo>
                  <a:lnTo>
                    <a:pt x="2974" y="436"/>
                  </a:lnTo>
                  <a:lnTo>
                    <a:pt x="2950" y="424"/>
                  </a:lnTo>
                  <a:lnTo>
                    <a:pt x="2924" y="412"/>
                  </a:lnTo>
                  <a:lnTo>
                    <a:pt x="2898" y="402"/>
                  </a:lnTo>
                  <a:lnTo>
                    <a:pt x="2870" y="394"/>
                  </a:lnTo>
                  <a:lnTo>
                    <a:pt x="2844" y="386"/>
                  </a:lnTo>
                  <a:lnTo>
                    <a:pt x="2816" y="380"/>
                  </a:lnTo>
                  <a:lnTo>
                    <a:pt x="2788" y="374"/>
                  </a:lnTo>
                  <a:lnTo>
                    <a:pt x="2758" y="370"/>
                  </a:lnTo>
                  <a:lnTo>
                    <a:pt x="2730" y="368"/>
                  </a:lnTo>
                  <a:lnTo>
                    <a:pt x="2700" y="368"/>
                  </a:lnTo>
                  <a:lnTo>
                    <a:pt x="2700" y="368"/>
                  </a:lnTo>
                  <a:lnTo>
                    <a:pt x="2654" y="370"/>
                  </a:lnTo>
                  <a:lnTo>
                    <a:pt x="2608" y="374"/>
                  </a:lnTo>
                  <a:lnTo>
                    <a:pt x="2564" y="384"/>
                  </a:lnTo>
                  <a:lnTo>
                    <a:pt x="2522" y="396"/>
                  </a:lnTo>
                  <a:lnTo>
                    <a:pt x="2482" y="410"/>
                  </a:lnTo>
                  <a:lnTo>
                    <a:pt x="2442" y="428"/>
                  </a:lnTo>
                  <a:lnTo>
                    <a:pt x="2404" y="450"/>
                  </a:lnTo>
                  <a:lnTo>
                    <a:pt x="2366" y="472"/>
                  </a:lnTo>
                  <a:lnTo>
                    <a:pt x="2366" y="472"/>
                  </a:lnTo>
                  <a:lnTo>
                    <a:pt x="2334" y="420"/>
                  </a:lnTo>
                  <a:lnTo>
                    <a:pt x="2296" y="372"/>
                  </a:lnTo>
                  <a:lnTo>
                    <a:pt x="2256" y="324"/>
                  </a:lnTo>
                  <a:lnTo>
                    <a:pt x="2214" y="280"/>
                  </a:lnTo>
                  <a:lnTo>
                    <a:pt x="2168" y="238"/>
                  </a:lnTo>
                  <a:lnTo>
                    <a:pt x="2120" y="198"/>
                  </a:lnTo>
                  <a:lnTo>
                    <a:pt x="2070" y="164"/>
                  </a:lnTo>
                  <a:lnTo>
                    <a:pt x="2018" y="130"/>
                  </a:lnTo>
                  <a:lnTo>
                    <a:pt x="1962" y="102"/>
                  </a:lnTo>
                  <a:lnTo>
                    <a:pt x="1906" y="76"/>
                  </a:lnTo>
                  <a:lnTo>
                    <a:pt x="1848" y="54"/>
                  </a:lnTo>
                  <a:lnTo>
                    <a:pt x="1786" y="34"/>
                  </a:lnTo>
                  <a:lnTo>
                    <a:pt x="1724" y="20"/>
                  </a:lnTo>
                  <a:lnTo>
                    <a:pt x="1662" y="10"/>
                  </a:lnTo>
                  <a:lnTo>
                    <a:pt x="1596" y="2"/>
                  </a:lnTo>
                  <a:lnTo>
                    <a:pt x="1530" y="0"/>
                  </a:lnTo>
                  <a:lnTo>
                    <a:pt x="1530" y="0"/>
                  </a:lnTo>
                  <a:lnTo>
                    <a:pt x="1480" y="2"/>
                  </a:lnTo>
                  <a:lnTo>
                    <a:pt x="1430" y="6"/>
                  </a:lnTo>
                  <a:lnTo>
                    <a:pt x="1382" y="12"/>
                  </a:lnTo>
                  <a:lnTo>
                    <a:pt x="1334" y="20"/>
                  </a:lnTo>
                  <a:lnTo>
                    <a:pt x="1286" y="32"/>
                  </a:lnTo>
                  <a:lnTo>
                    <a:pt x="1240" y="44"/>
                  </a:lnTo>
                  <a:lnTo>
                    <a:pt x="1194" y="60"/>
                  </a:lnTo>
                  <a:lnTo>
                    <a:pt x="1150" y="78"/>
                  </a:lnTo>
                  <a:lnTo>
                    <a:pt x="1106" y="96"/>
                  </a:lnTo>
                  <a:lnTo>
                    <a:pt x="1064" y="118"/>
                  </a:lnTo>
                  <a:lnTo>
                    <a:pt x="1024" y="142"/>
                  </a:lnTo>
                  <a:lnTo>
                    <a:pt x="984" y="168"/>
                  </a:lnTo>
                  <a:lnTo>
                    <a:pt x="946" y="194"/>
                  </a:lnTo>
                  <a:lnTo>
                    <a:pt x="908" y="224"/>
                  </a:lnTo>
                  <a:lnTo>
                    <a:pt x="874" y="254"/>
                  </a:lnTo>
                  <a:lnTo>
                    <a:pt x="840" y="286"/>
                  </a:lnTo>
                  <a:lnTo>
                    <a:pt x="808" y="320"/>
                  </a:lnTo>
                  <a:lnTo>
                    <a:pt x="776" y="356"/>
                  </a:lnTo>
                  <a:lnTo>
                    <a:pt x="748" y="394"/>
                  </a:lnTo>
                  <a:lnTo>
                    <a:pt x="720" y="432"/>
                  </a:lnTo>
                  <a:lnTo>
                    <a:pt x="694" y="470"/>
                  </a:lnTo>
                  <a:lnTo>
                    <a:pt x="672" y="512"/>
                  </a:lnTo>
                  <a:lnTo>
                    <a:pt x="650" y="554"/>
                  </a:lnTo>
                  <a:lnTo>
                    <a:pt x="630" y="598"/>
                  </a:lnTo>
                  <a:lnTo>
                    <a:pt x="612" y="642"/>
                  </a:lnTo>
                  <a:lnTo>
                    <a:pt x="598" y="688"/>
                  </a:lnTo>
                  <a:lnTo>
                    <a:pt x="584" y="734"/>
                  </a:lnTo>
                  <a:lnTo>
                    <a:pt x="574" y="780"/>
                  </a:lnTo>
                  <a:lnTo>
                    <a:pt x="564" y="828"/>
                  </a:lnTo>
                  <a:lnTo>
                    <a:pt x="558" y="878"/>
                  </a:lnTo>
                  <a:lnTo>
                    <a:pt x="554" y="928"/>
                  </a:lnTo>
                  <a:lnTo>
                    <a:pt x="554" y="978"/>
                  </a:lnTo>
                  <a:lnTo>
                    <a:pt x="554" y="978"/>
                  </a:lnTo>
                  <a:lnTo>
                    <a:pt x="554" y="1012"/>
                  </a:lnTo>
                  <a:lnTo>
                    <a:pt x="556" y="1046"/>
                  </a:lnTo>
                  <a:lnTo>
                    <a:pt x="556" y="1046"/>
                  </a:lnTo>
                  <a:lnTo>
                    <a:pt x="556" y="1054"/>
                  </a:lnTo>
                  <a:lnTo>
                    <a:pt x="560" y="1056"/>
                  </a:lnTo>
                  <a:lnTo>
                    <a:pt x="560" y="1056"/>
                  </a:lnTo>
                  <a:lnTo>
                    <a:pt x="502" y="1074"/>
                  </a:lnTo>
                  <a:lnTo>
                    <a:pt x="444" y="1094"/>
                  </a:lnTo>
                  <a:lnTo>
                    <a:pt x="388" y="1120"/>
                  </a:lnTo>
                  <a:lnTo>
                    <a:pt x="336" y="1148"/>
                  </a:lnTo>
                  <a:lnTo>
                    <a:pt x="288" y="1180"/>
                  </a:lnTo>
                  <a:lnTo>
                    <a:pt x="242" y="1214"/>
                  </a:lnTo>
                  <a:lnTo>
                    <a:pt x="198" y="1252"/>
                  </a:lnTo>
                  <a:lnTo>
                    <a:pt x="158" y="1292"/>
                  </a:lnTo>
                  <a:lnTo>
                    <a:pt x="124" y="1336"/>
                  </a:lnTo>
                  <a:lnTo>
                    <a:pt x="106" y="1360"/>
                  </a:lnTo>
                  <a:lnTo>
                    <a:pt x="92" y="1384"/>
                  </a:lnTo>
                  <a:lnTo>
                    <a:pt x="78" y="1408"/>
                  </a:lnTo>
                  <a:lnTo>
                    <a:pt x="64" y="1432"/>
                  </a:lnTo>
                  <a:lnTo>
                    <a:pt x="52" y="1458"/>
                  </a:lnTo>
                  <a:lnTo>
                    <a:pt x="42" y="1484"/>
                  </a:lnTo>
                  <a:lnTo>
                    <a:pt x="32" y="1510"/>
                  </a:lnTo>
                  <a:lnTo>
                    <a:pt x="24" y="1538"/>
                  </a:lnTo>
                  <a:lnTo>
                    <a:pt x="16" y="1566"/>
                  </a:lnTo>
                  <a:lnTo>
                    <a:pt x="10" y="1594"/>
                  </a:lnTo>
                  <a:lnTo>
                    <a:pt x="6" y="1622"/>
                  </a:lnTo>
                  <a:lnTo>
                    <a:pt x="2" y="1652"/>
                  </a:lnTo>
                  <a:lnTo>
                    <a:pt x="0" y="1682"/>
                  </a:lnTo>
                  <a:lnTo>
                    <a:pt x="0" y="1712"/>
                  </a:lnTo>
                  <a:lnTo>
                    <a:pt x="0" y="1712"/>
                  </a:lnTo>
                  <a:lnTo>
                    <a:pt x="0" y="1748"/>
                  </a:lnTo>
                  <a:lnTo>
                    <a:pt x="2" y="1782"/>
                  </a:lnTo>
                  <a:lnTo>
                    <a:pt x="8" y="1816"/>
                  </a:lnTo>
                  <a:lnTo>
                    <a:pt x="14" y="1848"/>
                  </a:lnTo>
                  <a:lnTo>
                    <a:pt x="22" y="1880"/>
                  </a:lnTo>
                  <a:lnTo>
                    <a:pt x="32" y="1912"/>
                  </a:lnTo>
                  <a:lnTo>
                    <a:pt x="44" y="1942"/>
                  </a:lnTo>
                  <a:lnTo>
                    <a:pt x="58" y="1970"/>
                  </a:lnTo>
                  <a:lnTo>
                    <a:pt x="72" y="1998"/>
                  </a:lnTo>
                  <a:lnTo>
                    <a:pt x="88" y="2026"/>
                  </a:lnTo>
                  <a:lnTo>
                    <a:pt x="106" y="2052"/>
                  </a:lnTo>
                  <a:lnTo>
                    <a:pt x="126" y="2076"/>
                  </a:lnTo>
                  <a:lnTo>
                    <a:pt x="146" y="2100"/>
                  </a:lnTo>
                  <a:lnTo>
                    <a:pt x="170" y="2124"/>
                  </a:lnTo>
                  <a:lnTo>
                    <a:pt x="192" y="2146"/>
                  </a:lnTo>
                  <a:lnTo>
                    <a:pt x="218" y="2166"/>
                  </a:lnTo>
                  <a:lnTo>
                    <a:pt x="244" y="2186"/>
                  </a:lnTo>
                  <a:lnTo>
                    <a:pt x="270" y="2204"/>
                  </a:lnTo>
                  <a:lnTo>
                    <a:pt x="298" y="2222"/>
                  </a:lnTo>
                  <a:lnTo>
                    <a:pt x="328" y="2238"/>
                  </a:lnTo>
                  <a:lnTo>
                    <a:pt x="358" y="2252"/>
                  </a:lnTo>
                  <a:lnTo>
                    <a:pt x="388" y="2266"/>
                  </a:lnTo>
                  <a:lnTo>
                    <a:pt x="420" y="2278"/>
                  </a:lnTo>
                  <a:lnTo>
                    <a:pt x="454" y="2290"/>
                  </a:lnTo>
                  <a:lnTo>
                    <a:pt x="488" y="2300"/>
                  </a:lnTo>
                  <a:lnTo>
                    <a:pt x="522" y="2308"/>
                  </a:lnTo>
                  <a:lnTo>
                    <a:pt x="558" y="2316"/>
                  </a:lnTo>
                  <a:lnTo>
                    <a:pt x="594" y="2322"/>
                  </a:lnTo>
                  <a:lnTo>
                    <a:pt x="630" y="2326"/>
                  </a:lnTo>
                  <a:lnTo>
                    <a:pt x="668" y="2330"/>
                  </a:lnTo>
                  <a:lnTo>
                    <a:pt x="706" y="2332"/>
                  </a:lnTo>
                  <a:lnTo>
                    <a:pt x="744" y="2332"/>
                  </a:lnTo>
                  <a:lnTo>
                    <a:pt x="3026" y="2332"/>
                  </a:lnTo>
                  <a:lnTo>
                    <a:pt x="3026" y="2332"/>
                  </a:lnTo>
                  <a:lnTo>
                    <a:pt x="3106" y="2322"/>
                  </a:lnTo>
                  <a:lnTo>
                    <a:pt x="3182" y="2308"/>
                  </a:lnTo>
                  <a:lnTo>
                    <a:pt x="3256" y="2292"/>
                  </a:lnTo>
                  <a:lnTo>
                    <a:pt x="3326" y="2272"/>
                  </a:lnTo>
                  <a:lnTo>
                    <a:pt x="3360" y="2260"/>
                  </a:lnTo>
                  <a:lnTo>
                    <a:pt x="3394" y="2248"/>
                  </a:lnTo>
                  <a:lnTo>
                    <a:pt x="3426" y="2234"/>
                  </a:lnTo>
                  <a:lnTo>
                    <a:pt x="3456" y="2220"/>
                  </a:lnTo>
                  <a:lnTo>
                    <a:pt x="3486" y="2204"/>
                  </a:lnTo>
                  <a:lnTo>
                    <a:pt x="3516" y="2188"/>
                  </a:lnTo>
                  <a:lnTo>
                    <a:pt x="3544" y="2170"/>
                  </a:lnTo>
                  <a:lnTo>
                    <a:pt x="3570" y="2152"/>
                  </a:lnTo>
                  <a:lnTo>
                    <a:pt x="3594" y="2132"/>
                  </a:lnTo>
                  <a:lnTo>
                    <a:pt x="3618" y="2112"/>
                  </a:lnTo>
                  <a:lnTo>
                    <a:pt x="3640" y="2090"/>
                  </a:lnTo>
                  <a:lnTo>
                    <a:pt x="3662" y="2068"/>
                  </a:lnTo>
                  <a:lnTo>
                    <a:pt x="3682" y="2044"/>
                  </a:lnTo>
                  <a:lnTo>
                    <a:pt x="3700" y="2018"/>
                  </a:lnTo>
                  <a:lnTo>
                    <a:pt x="3716" y="1992"/>
                  </a:lnTo>
                  <a:lnTo>
                    <a:pt x="3732" y="1964"/>
                  </a:lnTo>
                  <a:lnTo>
                    <a:pt x="3744" y="1936"/>
                  </a:lnTo>
                  <a:lnTo>
                    <a:pt x="3756" y="1906"/>
                  </a:lnTo>
                  <a:lnTo>
                    <a:pt x="3766" y="1876"/>
                  </a:lnTo>
                  <a:lnTo>
                    <a:pt x="3774" y="1844"/>
                  </a:lnTo>
                  <a:lnTo>
                    <a:pt x="3782" y="1810"/>
                  </a:lnTo>
                  <a:lnTo>
                    <a:pt x="3786" y="1774"/>
                  </a:lnTo>
                  <a:lnTo>
                    <a:pt x="3790" y="1738"/>
                  </a:lnTo>
                  <a:lnTo>
                    <a:pt x="3790" y="17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27" tIns="45714" rIns="91427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6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1819400" y="1673299"/>
              <a:ext cx="1638584" cy="297229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defTabSz="932681"/>
              <a:r>
                <a:rPr lang="en-US" dirty="0">
                  <a:solidFill>
                    <a:srgbClr val="FFFFFF"/>
                  </a:solidFill>
                  <a:latin typeface="Segoe UI Light"/>
                </a:rPr>
                <a:t>Hybrid cloud</a:t>
              </a:r>
            </a:p>
          </p:txBody>
        </p:sp>
        <p:grpSp>
          <p:nvGrpSpPr>
            <p:cNvPr id="36" name="Group 35"/>
            <p:cNvGrpSpPr/>
            <p:nvPr/>
          </p:nvGrpSpPr>
          <p:grpSpPr>
            <a:xfrm>
              <a:off x="696826" y="1862584"/>
              <a:ext cx="1215874" cy="1510179"/>
              <a:chOff x="537043" y="4222841"/>
              <a:chExt cx="1352558" cy="1818415"/>
            </a:xfrm>
            <a:solidFill>
              <a:srgbClr val="0072C6">
                <a:lumMod val="75000"/>
              </a:srgbClr>
            </a:solidFill>
          </p:grpSpPr>
          <p:sp>
            <p:nvSpPr>
              <p:cNvPr id="37" name="Rectangle 30"/>
              <p:cNvSpPr/>
              <p:nvPr/>
            </p:nvSpPr>
            <p:spPr>
              <a:xfrm>
                <a:off x="1003228" y="4775598"/>
                <a:ext cx="886373" cy="1265658"/>
              </a:xfrm>
              <a:custGeom>
                <a:avLst/>
                <a:gdLst/>
                <a:ahLst/>
                <a:cxnLst/>
                <a:rect l="l" t="t" r="r" b="b"/>
                <a:pathLst>
                  <a:path w="720878" h="1096858">
                    <a:moveTo>
                      <a:pt x="398934" y="811889"/>
                    </a:moveTo>
                    <a:lnTo>
                      <a:pt x="398934" y="981222"/>
                    </a:lnTo>
                    <a:lnTo>
                      <a:pt x="562623" y="981222"/>
                    </a:lnTo>
                    <a:lnTo>
                      <a:pt x="562623" y="811889"/>
                    </a:lnTo>
                    <a:close/>
                    <a:moveTo>
                      <a:pt x="140837" y="811889"/>
                    </a:moveTo>
                    <a:lnTo>
                      <a:pt x="140837" y="981222"/>
                    </a:lnTo>
                    <a:lnTo>
                      <a:pt x="304526" y="981222"/>
                    </a:lnTo>
                    <a:lnTo>
                      <a:pt x="304526" y="811889"/>
                    </a:lnTo>
                    <a:close/>
                    <a:moveTo>
                      <a:pt x="398934" y="583580"/>
                    </a:moveTo>
                    <a:lnTo>
                      <a:pt x="398934" y="752913"/>
                    </a:lnTo>
                    <a:lnTo>
                      <a:pt x="562623" y="752913"/>
                    </a:lnTo>
                    <a:lnTo>
                      <a:pt x="562623" y="583580"/>
                    </a:lnTo>
                    <a:close/>
                    <a:moveTo>
                      <a:pt x="140837" y="583580"/>
                    </a:moveTo>
                    <a:lnTo>
                      <a:pt x="140837" y="752913"/>
                    </a:lnTo>
                    <a:lnTo>
                      <a:pt x="304526" y="752913"/>
                    </a:lnTo>
                    <a:lnTo>
                      <a:pt x="304526" y="583580"/>
                    </a:lnTo>
                    <a:close/>
                    <a:moveTo>
                      <a:pt x="398934" y="362353"/>
                    </a:moveTo>
                    <a:lnTo>
                      <a:pt x="398934" y="531686"/>
                    </a:lnTo>
                    <a:lnTo>
                      <a:pt x="562623" y="531686"/>
                    </a:lnTo>
                    <a:lnTo>
                      <a:pt x="562623" y="362353"/>
                    </a:lnTo>
                    <a:close/>
                    <a:moveTo>
                      <a:pt x="140837" y="362353"/>
                    </a:moveTo>
                    <a:lnTo>
                      <a:pt x="140837" y="531686"/>
                    </a:lnTo>
                    <a:lnTo>
                      <a:pt x="304526" y="531686"/>
                    </a:lnTo>
                    <a:lnTo>
                      <a:pt x="304526" y="362353"/>
                    </a:lnTo>
                    <a:close/>
                    <a:moveTo>
                      <a:pt x="398934" y="121463"/>
                    </a:moveTo>
                    <a:lnTo>
                      <a:pt x="398934" y="290796"/>
                    </a:lnTo>
                    <a:lnTo>
                      <a:pt x="562623" y="290796"/>
                    </a:lnTo>
                    <a:lnTo>
                      <a:pt x="562623" y="121463"/>
                    </a:lnTo>
                    <a:close/>
                    <a:moveTo>
                      <a:pt x="140837" y="121463"/>
                    </a:moveTo>
                    <a:lnTo>
                      <a:pt x="140837" y="290796"/>
                    </a:lnTo>
                    <a:lnTo>
                      <a:pt x="304526" y="290796"/>
                    </a:lnTo>
                    <a:lnTo>
                      <a:pt x="304526" y="121463"/>
                    </a:lnTo>
                    <a:close/>
                    <a:moveTo>
                      <a:pt x="0" y="0"/>
                    </a:moveTo>
                    <a:lnTo>
                      <a:pt x="720878" y="0"/>
                    </a:lnTo>
                    <a:lnTo>
                      <a:pt x="720878" y="1096858"/>
                    </a:lnTo>
                    <a:lnTo>
                      <a:pt x="0" y="1096858"/>
                    </a:lnTo>
                    <a:close/>
                  </a:path>
                </a:pathLst>
              </a:custGeom>
              <a:solidFill>
                <a:srgbClr val="660066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38" name="Rectangle 31"/>
              <p:cNvSpPr/>
              <p:nvPr/>
            </p:nvSpPr>
            <p:spPr>
              <a:xfrm>
                <a:off x="537043" y="4222841"/>
                <a:ext cx="942980" cy="1818409"/>
              </a:xfrm>
              <a:custGeom>
                <a:avLst/>
                <a:gdLst/>
                <a:ahLst/>
                <a:cxnLst/>
                <a:rect l="l" t="t" r="r" b="b"/>
                <a:pathLst>
                  <a:path w="766916" h="1814051">
                    <a:moveTo>
                      <a:pt x="167877" y="1280651"/>
                    </a:moveTo>
                    <a:lnTo>
                      <a:pt x="167877" y="1449984"/>
                    </a:lnTo>
                    <a:lnTo>
                      <a:pt x="331566" y="1449984"/>
                    </a:lnTo>
                    <a:lnTo>
                      <a:pt x="331566" y="1280651"/>
                    </a:lnTo>
                    <a:close/>
                    <a:moveTo>
                      <a:pt x="167877" y="1066800"/>
                    </a:moveTo>
                    <a:lnTo>
                      <a:pt x="167877" y="1236133"/>
                    </a:lnTo>
                    <a:lnTo>
                      <a:pt x="331566" y="1236133"/>
                    </a:lnTo>
                    <a:lnTo>
                      <a:pt x="331566" y="1066800"/>
                    </a:lnTo>
                    <a:close/>
                    <a:moveTo>
                      <a:pt x="167877" y="838200"/>
                    </a:moveTo>
                    <a:lnTo>
                      <a:pt x="167877" y="1007533"/>
                    </a:lnTo>
                    <a:lnTo>
                      <a:pt x="331566" y="1007533"/>
                    </a:lnTo>
                    <a:lnTo>
                      <a:pt x="331566" y="838200"/>
                    </a:lnTo>
                    <a:close/>
                    <a:moveTo>
                      <a:pt x="167877" y="599477"/>
                    </a:moveTo>
                    <a:lnTo>
                      <a:pt x="167877" y="768810"/>
                    </a:lnTo>
                    <a:lnTo>
                      <a:pt x="331566" y="768810"/>
                    </a:lnTo>
                    <a:lnTo>
                      <a:pt x="331566" y="599477"/>
                    </a:lnTo>
                    <a:close/>
                    <a:moveTo>
                      <a:pt x="433348" y="366252"/>
                    </a:moveTo>
                    <a:lnTo>
                      <a:pt x="433348" y="535585"/>
                    </a:lnTo>
                    <a:lnTo>
                      <a:pt x="597037" y="535585"/>
                    </a:lnTo>
                    <a:lnTo>
                      <a:pt x="597037" y="366252"/>
                    </a:lnTo>
                    <a:close/>
                    <a:moveTo>
                      <a:pt x="167877" y="366251"/>
                    </a:moveTo>
                    <a:lnTo>
                      <a:pt x="167877" y="535584"/>
                    </a:lnTo>
                    <a:lnTo>
                      <a:pt x="331566" y="535584"/>
                    </a:lnTo>
                    <a:lnTo>
                      <a:pt x="331566" y="366251"/>
                    </a:lnTo>
                    <a:close/>
                    <a:moveTo>
                      <a:pt x="433348" y="130277"/>
                    </a:moveTo>
                    <a:lnTo>
                      <a:pt x="433348" y="299610"/>
                    </a:lnTo>
                    <a:lnTo>
                      <a:pt x="597037" y="299610"/>
                    </a:lnTo>
                    <a:lnTo>
                      <a:pt x="597037" y="130277"/>
                    </a:lnTo>
                    <a:close/>
                    <a:moveTo>
                      <a:pt x="167876" y="130277"/>
                    </a:moveTo>
                    <a:lnTo>
                      <a:pt x="167876" y="299610"/>
                    </a:lnTo>
                    <a:lnTo>
                      <a:pt x="331565" y="299610"/>
                    </a:lnTo>
                    <a:lnTo>
                      <a:pt x="331565" y="130277"/>
                    </a:lnTo>
                    <a:close/>
                    <a:moveTo>
                      <a:pt x="0" y="0"/>
                    </a:moveTo>
                    <a:lnTo>
                      <a:pt x="766916" y="0"/>
                    </a:lnTo>
                    <a:lnTo>
                      <a:pt x="766916" y="661479"/>
                    </a:lnTo>
                    <a:lnTo>
                      <a:pt x="406219" y="661479"/>
                    </a:lnTo>
                    <a:lnTo>
                      <a:pt x="406219" y="1814051"/>
                    </a:lnTo>
                    <a:lnTo>
                      <a:pt x="0" y="1814051"/>
                    </a:lnTo>
                    <a:close/>
                  </a:path>
                </a:pathLst>
              </a:custGeom>
              <a:solidFill>
                <a:srgbClr val="660066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</p:grpSp>
        <p:sp>
          <p:nvSpPr>
            <p:cNvPr id="65" name="TextBox 64"/>
            <p:cNvSpPr txBox="1"/>
            <p:nvPr/>
          </p:nvSpPr>
          <p:spPr>
            <a:xfrm>
              <a:off x="1862726" y="2915793"/>
              <a:ext cx="1309341" cy="403829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defTabSz="932681"/>
              <a:r>
                <a:rPr lang="en-US" sz="1200" spc="-30" dirty="0" smtClean="0">
                  <a:latin typeface="Segoe UI"/>
                </a:rPr>
                <a:t>Today’s </a:t>
              </a:r>
            </a:p>
            <a:p>
              <a:pPr defTabSz="932681"/>
              <a:r>
                <a:rPr lang="en-US" sz="1200" spc="-30" dirty="0" smtClean="0">
                  <a:latin typeface="Segoe UI"/>
                </a:rPr>
                <a:t>datacenter</a:t>
              </a:r>
              <a:endParaRPr lang="en-US" sz="1200" spc="-30" dirty="0">
                <a:latin typeface="Segoe UI"/>
              </a:endParaRPr>
            </a:p>
          </p:txBody>
        </p:sp>
        <p:grpSp>
          <p:nvGrpSpPr>
            <p:cNvPr id="117" name="Group 116"/>
            <p:cNvGrpSpPr/>
            <p:nvPr/>
          </p:nvGrpSpPr>
          <p:grpSpPr>
            <a:xfrm>
              <a:off x="1901471" y="962025"/>
              <a:ext cx="522784" cy="632547"/>
              <a:chOff x="516277" y="4072241"/>
              <a:chExt cx="1434495" cy="1878738"/>
            </a:xfrm>
            <a:solidFill>
              <a:srgbClr val="0072C6">
                <a:lumMod val="75000"/>
              </a:srgbClr>
            </a:solidFill>
          </p:grpSpPr>
          <p:sp>
            <p:nvSpPr>
              <p:cNvPr id="118" name="Rectangle 30"/>
              <p:cNvSpPr/>
              <p:nvPr/>
            </p:nvSpPr>
            <p:spPr>
              <a:xfrm>
                <a:off x="1064398" y="4813178"/>
                <a:ext cx="886374" cy="1137801"/>
              </a:xfrm>
              <a:custGeom>
                <a:avLst/>
                <a:gdLst/>
                <a:ahLst/>
                <a:cxnLst/>
                <a:rect l="l" t="t" r="r" b="b"/>
                <a:pathLst>
                  <a:path w="720878" h="1096858">
                    <a:moveTo>
                      <a:pt x="398934" y="811889"/>
                    </a:moveTo>
                    <a:lnTo>
                      <a:pt x="398934" y="981222"/>
                    </a:lnTo>
                    <a:lnTo>
                      <a:pt x="562623" y="981222"/>
                    </a:lnTo>
                    <a:lnTo>
                      <a:pt x="562623" y="811889"/>
                    </a:lnTo>
                    <a:close/>
                    <a:moveTo>
                      <a:pt x="140837" y="811889"/>
                    </a:moveTo>
                    <a:lnTo>
                      <a:pt x="140837" y="981222"/>
                    </a:lnTo>
                    <a:lnTo>
                      <a:pt x="304526" y="981222"/>
                    </a:lnTo>
                    <a:lnTo>
                      <a:pt x="304526" y="811889"/>
                    </a:lnTo>
                    <a:close/>
                    <a:moveTo>
                      <a:pt x="398934" y="583580"/>
                    </a:moveTo>
                    <a:lnTo>
                      <a:pt x="398934" y="752913"/>
                    </a:lnTo>
                    <a:lnTo>
                      <a:pt x="562623" y="752913"/>
                    </a:lnTo>
                    <a:lnTo>
                      <a:pt x="562623" y="583580"/>
                    </a:lnTo>
                    <a:close/>
                    <a:moveTo>
                      <a:pt x="140837" y="583580"/>
                    </a:moveTo>
                    <a:lnTo>
                      <a:pt x="140837" y="752913"/>
                    </a:lnTo>
                    <a:lnTo>
                      <a:pt x="304526" y="752913"/>
                    </a:lnTo>
                    <a:lnTo>
                      <a:pt x="304526" y="583580"/>
                    </a:lnTo>
                    <a:close/>
                    <a:moveTo>
                      <a:pt x="398934" y="362353"/>
                    </a:moveTo>
                    <a:lnTo>
                      <a:pt x="398934" y="531686"/>
                    </a:lnTo>
                    <a:lnTo>
                      <a:pt x="562623" y="531686"/>
                    </a:lnTo>
                    <a:lnTo>
                      <a:pt x="562623" y="362353"/>
                    </a:lnTo>
                    <a:close/>
                    <a:moveTo>
                      <a:pt x="140837" y="362353"/>
                    </a:moveTo>
                    <a:lnTo>
                      <a:pt x="140837" y="531686"/>
                    </a:lnTo>
                    <a:lnTo>
                      <a:pt x="304526" y="531686"/>
                    </a:lnTo>
                    <a:lnTo>
                      <a:pt x="304526" y="362353"/>
                    </a:lnTo>
                    <a:close/>
                    <a:moveTo>
                      <a:pt x="398934" y="121463"/>
                    </a:moveTo>
                    <a:lnTo>
                      <a:pt x="398934" y="290796"/>
                    </a:lnTo>
                    <a:lnTo>
                      <a:pt x="562623" y="290796"/>
                    </a:lnTo>
                    <a:lnTo>
                      <a:pt x="562623" y="121463"/>
                    </a:lnTo>
                    <a:close/>
                    <a:moveTo>
                      <a:pt x="140837" y="121463"/>
                    </a:moveTo>
                    <a:lnTo>
                      <a:pt x="140837" y="290796"/>
                    </a:lnTo>
                    <a:lnTo>
                      <a:pt x="304526" y="290796"/>
                    </a:lnTo>
                    <a:lnTo>
                      <a:pt x="304526" y="121463"/>
                    </a:lnTo>
                    <a:close/>
                    <a:moveTo>
                      <a:pt x="0" y="0"/>
                    </a:moveTo>
                    <a:lnTo>
                      <a:pt x="720878" y="0"/>
                    </a:lnTo>
                    <a:lnTo>
                      <a:pt x="720878" y="1096858"/>
                    </a:lnTo>
                    <a:lnTo>
                      <a:pt x="0" y="1096858"/>
                    </a:lnTo>
                    <a:close/>
                  </a:path>
                </a:pathLst>
              </a:custGeom>
              <a:solidFill>
                <a:srgbClr val="660066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19" name="Rectangle 31"/>
              <p:cNvSpPr/>
              <p:nvPr/>
            </p:nvSpPr>
            <p:spPr>
              <a:xfrm>
                <a:off x="516277" y="4072241"/>
                <a:ext cx="942979" cy="1878738"/>
              </a:xfrm>
              <a:custGeom>
                <a:avLst/>
                <a:gdLst/>
                <a:ahLst/>
                <a:cxnLst/>
                <a:rect l="l" t="t" r="r" b="b"/>
                <a:pathLst>
                  <a:path w="766916" h="1814051">
                    <a:moveTo>
                      <a:pt x="167877" y="1280651"/>
                    </a:moveTo>
                    <a:lnTo>
                      <a:pt x="167877" y="1449984"/>
                    </a:lnTo>
                    <a:lnTo>
                      <a:pt x="331566" y="1449984"/>
                    </a:lnTo>
                    <a:lnTo>
                      <a:pt x="331566" y="1280651"/>
                    </a:lnTo>
                    <a:close/>
                    <a:moveTo>
                      <a:pt x="167877" y="1066800"/>
                    </a:moveTo>
                    <a:lnTo>
                      <a:pt x="167877" y="1236133"/>
                    </a:lnTo>
                    <a:lnTo>
                      <a:pt x="331566" y="1236133"/>
                    </a:lnTo>
                    <a:lnTo>
                      <a:pt x="331566" y="1066800"/>
                    </a:lnTo>
                    <a:close/>
                    <a:moveTo>
                      <a:pt x="167877" y="838200"/>
                    </a:moveTo>
                    <a:lnTo>
                      <a:pt x="167877" y="1007533"/>
                    </a:lnTo>
                    <a:lnTo>
                      <a:pt x="331566" y="1007533"/>
                    </a:lnTo>
                    <a:lnTo>
                      <a:pt x="331566" y="838200"/>
                    </a:lnTo>
                    <a:close/>
                    <a:moveTo>
                      <a:pt x="167877" y="599477"/>
                    </a:moveTo>
                    <a:lnTo>
                      <a:pt x="167877" y="768810"/>
                    </a:lnTo>
                    <a:lnTo>
                      <a:pt x="331566" y="768810"/>
                    </a:lnTo>
                    <a:lnTo>
                      <a:pt x="331566" y="599477"/>
                    </a:lnTo>
                    <a:close/>
                    <a:moveTo>
                      <a:pt x="433348" y="366252"/>
                    </a:moveTo>
                    <a:lnTo>
                      <a:pt x="433348" y="535585"/>
                    </a:lnTo>
                    <a:lnTo>
                      <a:pt x="597037" y="535585"/>
                    </a:lnTo>
                    <a:lnTo>
                      <a:pt x="597037" y="366252"/>
                    </a:lnTo>
                    <a:close/>
                    <a:moveTo>
                      <a:pt x="167877" y="366251"/>
                    </a:moveTo>
                    <a:lnTo>
                      <a:pt x="167877" y="535584"/>
                    </a:lnTo>
                    <a:lnTo>
                      <a:pt x="331566" y="535584"/>
                    </a:lnTo>
                    <a:lnTo>
                      <a:pt x="331566" y="366251"/>
                    </a:lnTo>
                    <a:close/>
                    <a:moveTo>
                      <a:pt x="433348" y="130277"/>
                    </a:moveTo>
                    <a:lnTo>
                      <a:pt x="433348" y="299610"/>
                    </a:lnTo>
                    <a:lnTo>
                      <a:pt x="597037" y="299610"/>
                    </a:lnTo>
                    <a:lnTo>
                      <a:pt x="597037" y="130277"/>
                    </a:lnTo>
                    <a:close/>
                    <a:moveTo>
                      <a:pt x="167876" y="130277"/>
                    </a:moveTo>
                    <a:lnTo>
                      <a:pt x="167876" y="299610"/>
                    </a:lnTo>
                    <a:lnTo>
                      <a:pt x="331565" y="299610"/>
                    </a:lnTo>
                    <a:lnTo>
                      <a:pt x="331565" y="130277"/>
                    </a:lnTo>
                    <a:close/>
                    <a:moveTo>
                      <a:pt x="0" y="0"/>
                    </a:moveTo>
                    <a:lnTo>
                      <a:pt x="766916" y="0"/>
                    </a:lnTo>
                    <a:lnTo>
                      <a:pt x="766916" y="661479"/>
                    </a:lnTo>
                    <a:lnTo>
                      <a:pt x="406219" y="661479"/>
                    </a:lnTo>
                    <a:lnTo>
                      <a:pt x="406219" y="1814051"/>
                    </a:lnTo>
                    <a:lnTo>
                      <a:pt x="0" y="1814051"/>
                    </a:lnTo>
                    <a:close/>
                  </a:path>
                </a:pathLst>
              </a:custGeom>
              <a:solidFill>
                <a:srgbClr val="660066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59835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1" name="Group 150"/>
          <p:cNvGrpSpPr/>
          <p:nvPr/>
        </p:nvGrpSpPr>
        <p:grpSpPr>
          <a:xfrm>
            <a:off x="4110029" y="2220281"/>
            <a:ext cx="3126525" cy="2743200"/>
            <a:chOff x="4110029" y="2220281"/>
            <a:chExt cx="3126525" cy="2743200"/>
          </a:xfrm>
        </p:grpSpPr>
        <p:sp>
          <p:nvSpPr>
            <p:cNvPr id="8" name="Rectangle 7"/>
            <p:cNvSpPr/>
            <p:nvPr/>
          </p:nvSpPr>
          <p:spPr>
            <a:xfrm>
              <a:off x="4110029" y="2220281"/>
              <a:ext cx="3122757" cy="2743200"/>
            </a:xfrm>
            <a:prstGeom prst="rect">
              <a:avLst/>
            </a:prstGeom>
            <a:solidFill>
              <a:srgbClr val="00F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4735358" y="2220281"/>
              <a:ext cx="2501196" cy="2743200"/>
            </a:xfrm>
            <a:prstGeom prst="rect">
              <a:avLst/>
            </a:prstGeom>
            <a:solidFill>
              <a:srgbClr val="E9E9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49" name="Group 148"/>
            <p:cNvGrpSpPr/>
            <p:nvPr/>
          </p:nvGrpSpPr>
          <p:grpSpPr>
            <a:xfrm>
              <a:off x="4113214" y="2220281"/>
              <a:ext cx="3118926" cy="2739561"/>
              <a:chOff x="4110039" y="2222964"/>
              <a:chExt cx="3118926" cy="2739561"/>
            </a:xfrm>
          </p:grpSpPr>
          <p:sp>
            <p:nvSpPr>
              <p:cNvPr id="11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4473588" y="2909242"/>
                <a:ext cx="2701465" cy="18017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83" name="Freeform 5"/>
              <p:cNvSpPr>
                <a:spLocks/>
              </p:cNvSpPr>
              <p:nvPr/>
            </p:nvSpPr>
            <p:spPr bwMode="auto">
              <a:xfrm>
                <a:off x="4161986" y="2945169"/>
                <a:ext cx="327025" cy="214312"/>
              </a:xfrm>
              <a:custGeom>
                <a:avLst/>
                <a:gdLst>
                  <a:gd name="T0" fmla="*/ 34 w 213"/>
                  <a:gd name="T1" fmla="*/ 62 h 140"/>
                  <a:gd name="T2" fmla="*/ 34 w 213"/>
                  <a:gd name="T3" fmla="*/ 59 h 140"/>
                  <a:gd name="T4" fmla="*/ 92 w 213"/>
                  <a:gd name="T5" fmla="*/ 0 h 140"/>
                  <a:gd name="T6" fmla="*/ 141 w 213"/>
                  <a:gd name="T7" fmla="*/ 27 h 140"/>
                  <a:gd name="T8" fmla="*/ 157 w 213"/>
                  <a:gd name="T9" fmla="*/ 22 h 140"/>
                  <a:gd name="T10" fmla="*/ 176 w 213"/>
                  <a:gd name="T11" fmla="*/ 28 h 140"/>
                  <a:gd name="T12" fmla="*/ 192 w 213"/>
                  <a:gd name="T13" fmla="*/ 55 h 140"/>
                  <a:gd name="T14" fmla="*/ 213 w 213"/>
                  <a:gd name="T15" fmla="*/ 94 h 140"/>
                  <a:gd name="T16" fmla="*/ 172 w 213"/>
                  <a:gd name="T17" fmla="*/ 140 h 140"/>
                  <a:gd name="T18" fmla="*/ 166 w 213"/>
                  <a:gd name="T19" fmla="*/ 140 h 140"/>
                  <a:gd name="T20" fmla="*/ 162 w 213"/>
                  <a:gd name="T21" fmla="*/ 140 h 140"/>
                  <a:gd name="T22" fmla="*/ 66 w 213"/>
                  <a:gd name="T23" fmla="*/ 140 h 140"/>
                  <a:gd name="T24" fmla="*/ 64 w 213"/>
                  <a:gd name="T25" fmla="*/ 140 h 140"/>
                  <a:gd name="T26" fmla="*/ 61 w 213"/>
                  <a:gd name="T27" fmla="*/ 140 h 140"/>
                  <a:gd name="T28" fmla="*/ 54 w 213"/>
                  <a:gd name="T29" fmla="*/ 140 h 140"/>
                  <a:gd name="T30" fmla="*/ 39 w 213"/>
                  <a:gd name="T31" fmla="*/ 140 h 140"/>
                  <a:gd name="T32" fmla="*/ 0 w 213"/>
                  <a:gd name="T33" fmla="*/ 101 h 140"/>
                  <a:gd name="T34" fmla="*/ 34 w 213"/>
                  <a:gd name="T35" fmla="*/ 62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13" h="140">
                    <a:moveTo>
                      <a:pt x="34" y="62"/>
                    </a:moveTo>
                    <a:cubicBezTo>
                      <a:pt x="34" y="61"/>
                      <a:pt x="34" y="60"/>
                      <a:pt x="34" y="59"/>
                    </a:cubicBezTo>
                    <a:cubicBezTo>
                      <a:pt x="34" y="27"/>
                      <a:pt x="60" y="0"/>
                      <a:pt x="92" y="0"/>
                    </a:cubicBezTo>
                    <a:cubicBezTo>
                      <a:pt x="113" y="0"/>
                      <a:pt x="131" y="11"/>
                      <a:pt x="141" y="27"/>
                    </a:cubicBezTo>
                    <a:cubicBezTo>
                      <a:pt x="146" y="24"/>
                      <a:pt x="152" y="22"/>
                      <a:pt x="157" y="22"/>
                    </a:cubicBezTo>
                    <a:cubicBezTo>
                      <a:pt x="165" y="22"/>
                      <a:pt x="171" y="24"/>
                      <a:pt x="176" y="28"/>
                    </a:cubicBezTo>
                    <a:cubicBezTo>
                      <a:pt x="185" y="34"/>
                      <a:pt x="191" y="44"/>
                      <a:pt x="192" y="55"/>
                    </a:cubicBezTo>
                    <a:cubicBezTo>
                      <a:pt x="204" y="64"/>
                      <a:pt x="213" y="78"/>
                      <a:pt x="213" y="94"/>
                    </a:cubicBezTo>
                    <a:cubicBezTo>
                      <a:pt x="213" y="118"/>
                      <a:pt x="195" y="137"/>
                      <a:pt x="172" y="140"/>
                    </a:cubicBezTo>
                    <a:cubicBezTo>
                      <a:pt x="170" y="140"/>
                      <a:pt x="168" y="140"/>
                      <a:pt x="166" y="140"/>
                    </a:cubicBezTo>
                    <a:cubicBezTo>
                      <a:pt x="165" y="140"/>
                      <a:pt x="163" y="140"/>
                      <a:pt x="162" y="140"/>
                    </a:cubicBezTo>
                    <a:cubicBezTo>
                      <a:pt x="140" y="140"/>
                      <a:pt x="90" y="140"/>
                      <a:pt x="66" y="140"/>
                    </a:cubicBezTo>
                    <a:cubicBezTo>
                      <a:pt x="65" y="140"/>
                      <a:pt x="64" y="140"/>
                      <a:pt x="64" y="140"/>
                    </a:cubicBezTo>
                    <a:cubicBezTo>
                      <a:pt x="61" y="140"/>
                      <a:pt x="61" y="140"/>
                      <a:pt x="61" y="140"/>
                    </a:cubicBezTo>
                    <a:cubicBezTo>
                      <a:pt x="60" y="140"/>
                      <a:pt x="57" y="140"/>
                      <a:pt x="54" y="140"/>
                    </a:cubicBezTo>
                    <a:cubicBezTo>
                      <a:pt x="39" y="140"/>
                      <a:pt x="39" y="140"/>
                      <a:pt x="39" y="140"/>
                    </a:cubicBezTo>
                    <a:cubicBezTo>
                      <a:pt x="17" y="139"/>
                      <a:pt x="0" y="122"/>
                      <a:pt x="0" y="101"/>
                    </a:cubicBezTo>
                    <a:cubicBezTo>
                      <a:pt x="0" y="81"/>
                      <a:pt x="14" y="64"/>
                      <a:pt x="34" y="6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8"/>
              <p:cNvSpPr>
                <a:spLocks/>
              </p:cNvSpPr>
              <p:nvPr/>
            </p:nvSpPr>
            <p:spPr bwMode="auto">
              <a:xfrm>
                <a:off x="6654801" y="2945169"/>
                <a:ext cx="327025" cy="214312"/>
              </a:xfrm>
              <a:custGeom>
                <a:avLst/>
                <a:gdLst>
                  <a:gd name="T0" fmla="*/ 34 w 213"/>
                  <a:gd name="T1" fmla="*/ 62 h 140"/>
                  <a:gd name="T2" fmla="*/ 34 w 213"/>
                  <a:gd name="T3" fmla="*/ 59 h 140"/>
                  <a:gd name="T4" fmla="*/ 93 w 213"/>
                  <a:gd name="T5" fmla="*/ 0 h 140"/>
                  <a:gd name="T6" fmla="*/ 142 w 213"/>
                  <a:gd name="T7" fmla="*/ 27 h 140"/>
                  <a:gd name="T8" fmla="*/ 158 w 213"/>
                  <a:gd name="T9" fmla="*/ 22 h 140"/>
                  <a:gd name="T10" fmla="*/ 177 w 213"/>
                  <a:gd name="T11" fmla="*/ 28 h 140"/>
                  <a:gd name="T12" fmla="*/ 192 w 213"/>
                  <a:gd name="T13" fmla="*/ 55 h 140"/>
                  <a:gd name="T14" fmla="*/ 213 w 213"/>
                  <a:gd name="T15" fmla="*/ 94 h 140"/>
                  <a:gd name="T16" fmla="*/ 172 w 213"/>
                  <a:gd name="T17" fmla="*/ 140 h 140"/>
                  <a:gd name="T18" fmla="*/ 167 w 213"/>
                  <a:gd name="T19" fmla="*/ 140 h 140"/>
                  <a:gd name="T20" fmla="*/ 162 w 213"/>
                  <a:gd name="T21" fmla="*/ 140 h 140"/>
                  <a:gd name="T22" fmla="*/ 66 w 213"/>
                  <a:gd name="T23" fmla="*/ 140 h 140"/>
                  <a:gd name="T24" fmla="*/ 64 w 213"/>
                  <a:gd name="T25" fmla="*/ 140 h 140"/>
                  <a:gd name="T26" fmla="*/ 62 w 213"/>
                  <a:gd name="T27" fmla="*/ 140 h 140"/>
                  <a:gd name="T28" fmla="*/ 55 w 213"/>
                  <a:gd name="T29" fmla="*/ 140 h 140"/>
                  <a:gd name="T30" fmla="*/ 40 w 213"/>
                  <a:gd name="T31" fmla="*/ 140 h 140"/>
                  <a:gd name="T32" fmla="*/ 0 w 213"/>
                  <a:gd name="T33" fmla="*/ 101 h 140"/>
                  <a:gd name="T34" fmla="*/ 34 w 213"/>
                  <a:gd name="T35" fmla="*/ 62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13" h="140">
                    <a:moveTo>
                      <a:pt x="34" y="62"/>
                    </a:moveTo>
                    <a:cubicBezTo>
                      <a:pt x="34" y="61"/>
                      <a:pt x="34" y="60"/>
                      <a:pt x="34" y="59"/>
                    </a:cubicBezTo>
                    <a:cubicBezTo>
                      <a:pt x="34" y="27"/>
                      <a:pt x="60" y="0"/>
                      <a:pt x="93" y="0"/>
                    </a:cubicBezTo>
                    <a:cubicBezTo>
                      <a:pt x="113" y="0"/>
                      <a:pt x="131" y="11"/>
                      <a:pt x="142" y="27"/>
                    </a:cubicBezTo>
                    <a:cubicBezTo>
                      <a:pt x="147" y="24"/>
                      <a:pt x="152" y="22"/>
                      <a:pt x="158" y="22"/>
                    </a:cubicBezTo>
                    <a:cubicBezTo>
                      <a:pt x="165" y="22"/>
                      <a:pt x="172" y="24"/>
                      <a:pt x="177" y="28"/>
                    </a:cubicBezTo>
                    <a:cubicBezTo>
                      <a:pt x="186" y="34"/>
                      <a:pt x="192" y="44"/>
                      <a:pt x="192" y="55"/>
                    </a:cubicBezTo>
                    <a:cubicBezTo>
                      <a:pt x="205" y="64"/>
                      <a:pt x="213" y="78"/>
                      <a:pt x="213" y="94"/>
                    </a:cubicBezTo>
                    <a:cubicBezTo>
                      <a:pt x="213" y="118"/>
                      <a:pt x="195" y="137"/>
                      <a:pt x="172" y="140"/>
                    </a:cubicBezTo>
                    <a:cubicBezTo>
                      <a:pt x="171" y="140"/>
                      <a:pt x="169" y="140"/>
                      <a:pt x="167" y="140"/>
                    </a:cubicBezTo>
                    <a:cubicBezTo>
                      <a:pt x="165" y="140"/>
                      <a:pt x="164" y="140"/>
                      <a:pt x="162" y="140"/>
                    </a:cubicBezTo>
                    <a:cubicBezTo>
                      <a:pt x="141" y="140"/>
                      <a:pt x="90" y="140"/>
                      <a:pt x="66" y="140"/>
                    </a:cubicBezTo>
                    <a:cubicBezTo>
                      <a:pt x="66" y="140"/>
                      <a:pt x="65" y="140"/>
                      <a:pt x="64" y="140"/>
                    </a:cubicBezTo>
                    <a:cubicBezTo>
                      <a:pt x="62" y="140"/>
                      <a:pt x="62" y="140"/>
                      <a:pt x="62" y="140"/>
                    </a:cubicBezTo>
                    <a:cubicBezTo>
                      <a:pt x="61" y="140"/>
                      <a:pt x="57" y="140"/>
                      <a:pt x="55" y="140"/>
                    </a:cubicBezTo>
                    <a:cubicBezTo>
                      <a:pt x="40" y="140"/>
                      <a:pt x="40" y="140"/>
                      <a:pt x="40" y="140"/>
                    </a:cubicBezTo>
                    <a:cubicBezTo>
                      <a:pt x="18" y="139"/>
                      <a:pt x="0" y="122"/>
                      <a:pt x="0" y="101"/>
                    </a:cubicBezTo>
                    <a:cubicBezTo>
                      <a:pt x="0" y="81"/>
                      <a:pt x="15" y="64"/>
                      <a:pt x="34" y="6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53"/>
              <p:cNvSpPr>
                <a:spLocks/>
              </p:cNvSpPr>
              <p:nvPr/>
            </p:nvSpPr>
            <p:spPr bwMode="auto">
              <a:xfrm rot="20912493">
                <a:off x="5501048" y="3021811"/>
                <a:ext cx="240590" cy="275820"/>
              </a:xfrm>
              <a:custGeom>
                <a:avLst/>
                <a:gdLst>
                  <a:gd name="T0" fmla="*/ 200 w 200"/>
                  <a:gd name="T1" fmla="*/ 229 h 229"/>
                  <a:gd name="T2" fmla="*/ 156 w 200"/>
                  <a:gd name="T3" fmla="*/ 229 h 229"/>
                  <a:gd name="T4" fmla="*/ 156 w 200"/>
                  <a:gd name="T5" fmla="*/ 100 h 229"/>
                  <a:gd name="T6" fmla="*/ 100 w 200"/>
                  <a:gd name="T7" fmla="*/ 44 h 229"/>
                  <a:gd name="T8" fmla="*/ 44 w 200"/>
                  <a:gd name="T9" fmla="*/ 100 h 229"/>
                  <a:gd name="T10" fmla="*/ 44 w 200"/>
                  <a:gd name="T11" fmla="*/ 229 h 229"/>
                  <a:gd name="T12" fmla="*/ 0 w 200"/>
                  <a:gd name="T13" fmla="*/ 229 h 229"/>
                  <a:gd name="T14" fmla="*/ 0 w 200"/>
                  <a:gd name="T15" fmla="*/ 100 h 229"/>
                  <a:gd name="T16" fmla="*/ 100 w 200"/>
                  <a:gd name="T17" fmla="*/ 0 h 229"/>
                  <a:gd name="T18" fmla="*/ 200 w 200"/>
                  <a:gd name="T19" fmla="*/ 100 h 229"/>
                  <a:gd name="T20" fmla="*/ 200 w 200"/>
                  <a:gd name="T21" fmla="*/ 229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00" h="229">
                    <a:moveTo>
                      <a:pt x="200" y="229"/>
                    </a:moveTo>
                    <a:cubicBezTo>
                      <a:pt x="156" y="229"/>
                      <a:pt x="156" y="229"/>
                      <a:pt x="156" y="229"/>
                    </a:cubicBezTo>
                    <a:cubicBezTo>
                      <a:pt x="156" y="100"/>
                      <a:pt x="156" y="100"/>
                      <a:pt x="156" y="100"/>
                    </a:cubicBezTo>
                    <a:cubicBezTo>
                      <a:pt x="156" y="69"/>
                      <a:pt x="131" y="44"/>
                      <a:pt x="100" y="44"/>
                    </a:cubicBezTo>
                    <a:cubicBezTo>
                      <a:pt x="69" y="44"/>
                      <a:pt x="44" y="69"/>
                      <a:pt x="44" y="100"/>
                    </a:cubicBezTo>
                    <a:cubicBezTo>
                      <a:pt x="44" y="229"/>
                      <a:pt x="44" y="229"/>
                      <a:pt x="44" y="229"/>
                    </a:cubicBezTo>
                    <a:cubicBezTo>
                      <a:pt x="0" y="229"/>
                      <a:pt x="0" y="229"/>
                      <a:pt x="0" y="229"/>
                    </a:cubicBezTo>
                    <a:cubicBezTo>
                      <a:pt x="0" y="100"/>
                      <a:pt x="0" y="100"/>
                      <a:pt x="0" y="100"/>
                    </a:cubicBezTo>
                    <a:cubicBezTo>
                      <a:pt x="0" y="45"/>
                      <a:pt x="45" y="0"/>
                      <a:pt x="100" y="0"/>
                    </a:cubicBezTo>
                    <a:cubicBezTo>
                      <a:pt x="155" y="0"/>
                      <a:pt x="200" y="45"/>
                      <a:pt x="200" y="100"/>
                    </a:cubicBezTo>
                    <a:lnTo>
                      <a:pt x="200" y="229"/>
                    </a:lnTo>
                    <a:close/>
                  </a:path>
                </a:pathLst>
              </a:custGeom>
              <a:solidFill>
                <a:srgbClr val="EB3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46"/>
              <p:cNvSpPr>
                <a:spLocks/>
              </p:cNvSpPr>
              <p:nvPr/>
            </p:nvSpPr>
            <p:spPr bwMode="auto">
              <a:xfrm>
                <a:off x="5450159" y="2222964"/>
                <a:ext cx="1079500" cy="706437"/>
              </a:xfrm>
              <a:custGeom>
                <a:avLst/>
                <a:gdLst>
                  <a:gd name="T0" fmla="*/ 113 w 703"/>
                  <a:gd name="T1" fmla="*/ 202 h 460"/>
                  <a:gd name="T2" fmla="*/ 113 w 703"/>
                  <a:gd name="T3" fmla="*/ 193 h 460"/>
                  <a:gd name="T4" fmla="*/ 307 w 703"/>
                  <a:gd name="T5" fmla="*/ 0 h 460"/>
                  <a:gd name="T6" fmla="*/ 468 w 703"/>
                  <a:gd name="T7" fmla="*/ 86 h 460"/>
                  <a:gd name="T8" fmla="*/ 521 w 703"/>
                  <a:gd name="T9" fmla="*/ 72 h 460"/>
                  <a:gd name="T10" fmla="*/ 584 w 703"/>
                  <a:gd name="T11" fmla="*/ 91 h 460"/>
                  <a:gd name="T12" fmla="*/ 634 w 703"/>
                  <a:gd name="T13" fmla="*/ 181 h 460"/>
                  <a:gd name="T14" fmla="*/ 703 w 703"/>
                  <a:gd name="T15" fmla="*/ 308 h 460"/>
                  <a:gd name="T16" fmla="*/ 568 w 703"/>
                  <a:gd name="T17" fmla="*/ 460 h 460"/>
                  <a:gd name="T18" fmla="*/ 551 w 703"/>
                  <a:gd name="T19" fmla="*/ 460 h 460"/>
                  <a:gd name="T20" fmla="*/ 535 w 703"/>
                  <a:gd name="T21" fmla="*/ 460 h 460"/>
                  <a:gd name="T22" fmla="*/ 219 w 703"/>
                  <a:gd name="T23" fmla="*/ 460 h 460"/>
                  <a:gd name="T24" fmla="*/ 213 w 703"/>
                  <a:gd name="T25" fmla="*/ 460 h 460"/>
                  <a:gd name="T26" fmla="*/ 205 w 703"/>
                  <a:gd name="T27" fmla="*/ 460 h 460"/>
                  <a:gd name="T28" fmla="*/ 181 w 703"/>
                  <a:gd name="T29" fmla="*/ 460 h 460"/>
                  <a:gd name="T30" fmla="*/ 131 w 703"/>
                  <a:gd name="T31" fmla="*/ 460 h 460"/>
                  <a:gd name="T32" fmla="*/ 0 w 703"/>
                  <a:gd name="T33" fmla="*/ 330 h 460"/>
                  <a:gd name="T34" fmla="*/ 113 w 703"/>
                  <a:gd name="T35" fmla="*/ 202 h 4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03" h="460">
                    <a:moveTo>
                      <a:pt x="113" y="202"/>
                    </a:moveTo>
                    <a:cubicBezTo>
                      <a:pt x="113" y="199"/>
                      <a:pt x="113" y="195"/>
                      <a:pt x="113" y="193"/>
                    </a:cubicBezTo>
                    <a:cubicBezTo>
                      <a:pt x="113" y="86"/>
                      <a:pt x="199" y="0"/>
                      <a:pt x="307" y="0"/>
                    </a:cubicBezTo>
                    <a:cubicBezTo>
                      <a:pt x="374" y="0"/>
                      <a:pt x="433" y="35"/>
                      <a:pt x="468" y="86"/>
                    </a:cubicBezTo>
                    <a:cubicBezTo>
                      <a:pt x="484" y="77"/>
                      <a:pt x="502" y="72"/>
                      <a:pt x="521" y="72"/>
                    </a:cubicBezTo>
                    <a:cubicBezTo>
                      <a:pt x="544" y="72"/>
                      <a:pt x="566" y="79"/>
                      <a:pt x="584" y="91"/>
                    </a:cubicBezTo>
                    <a:cubicBezTo>
                      <a:pt x="613" y="110"/>
                      <a:pt x="633" y="144"/>
                      <a:pt x="634" y="181"/>
                    </a:cubicBezTo>
                    <a:cubicBezTo>
                      <a:pt x="675" y="208"/>
                      <a:pt x="703" y="256"/>
                      <a:pt x="703" y="308"/>
                    </a:cubicBezTo>
                    <a:cubicBezTo>
                      <a:pt x="703" y="387"/>
                      <a:pt x="644" y="451"/>
                      <a:pt x="568" y="460"/>
                    </a:cubicBezTo>
                    <a:cubicBezTo>
                      <a:pt x="562" y="460"/>
                      <a:pt x="556" y="460"/>
                      <a:pt x="551" y="460"/>
                    </a:cubicBezTo>
                    <a:cubicBezTo>
                      <a:pt x="546" y="460"/>
                      <a:pt x="541" y="460"/>
                      <a:pt x="535" y="460"/>
                    </a:cubicBezTo>
                    <a:cubicBezTo>
                      <a:pt x="464" y="460"/>
                      <a:pt x="298" y="460"/>
                      <a:pt x="219" y="460"/>
                    </a:cubicBezTo>
                    <a:cubicBezTo>
                      <a:pt x="216" y="460"/>
                      <a:pt x="214" y="460"/>
                      <a:pt x="213" y="460"/>
                    </a:cubicBezTo>
                    <a:cubicBezTo>
                      <a:pt x="205" y="460"/>
                      <a:pt x="205" y="460"/>
                      <a:pt x="205" y="460"/>
                    </a:cubicBezTo>
                    <a:cubicBezTo>
                      <a:pt x="201" y="460"/>
                      <a:pt x="189" y="460"/>
                      <a:pt x="181" y="460"/>
                    </a:cubicBezTo>
                    <a:cubicBezTo>
                      <a:pt x="131" y="460"/>
                      <a:pt x="131" y="460"/>
                      <a:pt x="131" y="460"/>
                    </a:cubicBezTo>
                    <a:cubicBezTo>
                      <a:pt x="59" y="459"/>
                      <a:pt x="0" y="401"/>
                      <a:pt x="0" y="330"/>
                    </a:cubicBezTo>
                    <a:cubicBezTo>
                      <a:pt x="0" y="265"/>
                      <a:pt x="50" y="211"/>
                      <a:pt x="113" y="202"/>
                    </a:cubicBezTo>
                    <a:close/>
                  </a:path>
                </a:pathLst>
              </a:custGeom>
              <a:solidFill>
                <a:srgbClr val="3399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48"/>
              <p:cNvSpPr>
                <a:spLocks/>
              </p:cNvSpPr>
              <p:nvPr/>
            </p:nvSpPr>
            <p:spPr bwMode="auto">
              <a:xfrm>
                <a:off x="4484748" y="2381458"/>
                <a:ext cx="703262" cy="458787"/>
              </a:xfrm>
              <a:custGeom>
                <a:avLst/>
                <a:gdLst>
                  <a:gd name="T0" fmla="*/ 73 w 458"/>
                  <a:gd name="T1" fmla="*/ 131 h 299"/>
                  <a:gd name="T2" fmla="*/ 73 w 458"/>
                  <a:gd name="T3" fmla="*/ 125 h 299"/>
                  <a:gd name="T4" fmla="*/ 199 w 458"/>
                  <a:gd name="T5" fmla="*/ 0 h 299"/>
                  <a:gd name="T6" fmla="*/ 305 w 458"/>
                  <a:gd name="T7" fmla="*/ 56 h 299"/>
                  <a:gd name="T8" fmla="*/ 339 w 458"/>
                  <a:gd name="T9" fmla="*/ 46 h 299"/>
                  <a:gd name="T10" fmla="*/ 380 w 458"/>
                  <a:gd name="T11" fmla="*/ 59 h 299"/>
                  <a:gd name="T12" fmla="*/ 412 w 458"/>
                  <a:gd name="T13" fmla="*/ 117 h 299"/>
                  <a:gd name="T14" fmla="*/ 458 w 458"/>
                  <a:gd name="T15" fmla="*/ 200 h 299"/>
                  <a:gd name="T16" fmla="*/ 369 w 458"/>
                  <a:gd name="T17" fmla="*/ 299 h 299"/>
                  <a:gd name="T18" fmla="*/ 358 w 458"/>
                  <a:gd name="T19" fmla="*/ 299 h 299"/>
                  <a:gd name="T20" fmla="*/ 348 w 458"/>
                  <a:gd name="T21" fmla="*/ 299 h 299"/>
                  <a:gd name="T22" fmla="*/ 142 w 458"/>
                  <a:gd name="T23" fmla="*/ 299 h 299"/>
                  <a:gd name="T24" fmla="*/ 138 w 458"/>
                  <a:gd name="T25" fmla="*/ 299 h 299"/>
                  <a:gd name="T26" fmla="*/ 133 w 458"/>
                  <a:gd name="T27" fmla="*/ 299 h 299"/>
                  <a:gd name="T28" fmla="*/ 118 w 458"/>
                  <a:gd name="T29" fmla="*/ 299 h 299"/>
                  <a:gd name="T30" fmla="*/ 85 w 458"/>
                  <a:gd name="T31" fmla="*/ 299 h 299"/>
                  <a:gd name="T32" fmla="*/ 0 w 458"/>
                  <a:gd name="T33" fmla="*/ 214 h 299"/>
                  <a:gd name="T34" fmla="*/ 73 w 458"/>
                  <a:gd name="T35" fmla="*/ 131 h 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58" h="299">
                    <a:moveTo>
                      <a:pt x="73" y="131"/>
                    </a:moveTo>
                    <a:cubicBezTo>
                      <a:pt x="73" y="129"/>
                      <a:pt x="73" y="127"/>
                      <a:pt x="73" y="125"/>
                    </a:cubicBezTo>
                    <a:cubicBezTo>
                      <a:pt x="73" y="56"/>
                      <a:pt x="130" y="0"/>
                      <a:pt x="199" y="0"/>
                    </a:cubicBezTo>
                    <a:cubicBezTo>
                      <a:pt x="243" y="0"/>
                      <a:pt x="282" y="22"/>
                      <a:pt x="305" y="56"/>
                    </a:cubicBezTo>
                    <a:cubicBezTo>
                      <a:pt x="315" y="50"/>
                      <a:pt x="326" y="46"/>
                      <a:pt x="339" y="46"/>
                    </a:cubicBezTo>
                    <a:cubicBezTo>
                      <a:pt x="354" y="46"/>
                      <a:pt x="368" y="51"/>
                      <a:pt x="380" y="59"/>
                    </a:cubicBezTo>
                    <a:cubicBezTo>
                      <a:pt x="399" y="71"/>
                      <a:pt x="412" y="93"/>
                      <a:pt x="412" y="117"/>
                    </a:cubicBezTo>
                    <a:cubicBezTo>
                      <a:pt x="439" y="135"/>
                      <a:pt x="458" y="166"/>
                      <a:pt x="458" y="200"/>
                    </a:cubicBezTo>
                    <a:cubicBezTo>
                      <a:pt x="458" y="251"/>
                      <a:pt x="419" y="293"/>
                      <a:pt x="369" y="299"/>
                    </a:cubicBezTo>
                    <a:cubicBezTo>
                      <a:pt x="366" y="299"/>
                      <a:pt x="362" y="299"/>
                      <a:pt x="358" y="299"/>
                    </a:cubicBezTo>
                    <a:cubicBezTo>
                      <a:pt x="355" y="299"/>
                      <a:pt x="352" y="299"/>
                      <a:pt x="348" y="299"/>
                    </a:cubicBezTo>
                    <a:cubicBezTo>
                      <a:pt x="302" y="299"/>
                      <a:pt x="194" y="299"/>
                      <a:pt x="142" y="299"/>
                    </a:cubicBezTo>
                    <a:cubicBezTo>
                      <a:pt x="141" y="299"/>
                      <a:pt x="139" y="299"/>
                      <a:pt x="138" y="299"/>
                    </a:cubicBezTo>
                    <a:cubicBezTo>
                      <a:pt x="133" y="299"/>
                      <a:pt x="133" y="299"/>
                      <a:pt x="133" y="299"/>
                    </a:cubicBezTo>
                    <a:cubicBezTo>
                      <a:pt x="130" y="299"/>
                      <a:pt x="123" y="299"/>
                      <a:pt x="118" y="299"/>
                    </a:cubicBezTo>
                    <a:cubicBezTo>
                      <a:pt x="85" y="299"/>
                      <a:pt x="85" y="299"/>
                      <a:pt x="85" y="299"/>
                    </a:cubicBezTo>
                    <a:cubicBezTo>
                      <a:pt x="38" y="298"/>
                      <a:pt x="0" y="260"/>
                      <a:pt x="0" y="214"/>
                    </a:cubicBezTo>
                    <a:cubicBezTo>
                      <a:pt x="0" y="172"/>
                      <a:pt x="32" y="137"/>
                      <a:pt x="73" y="131"/>
                    </a:cubicBezTo>
                    <a:close/>
                  </a:path>
                </a:pathLst>
              </a:custGeom>
              <a:solidFill>
                <a:srgbClr val="3399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146" name="Group 145"/>
              <p:cNvGrpSpPr/>
              <p:nvPr/>
            </p:nvGrpSpPr>
            <p:grpSpPr>
              <a:xfrm>
                <a:off x="4110039" y="3730402"/>
                <a:ext cx="3118926" cy="1232123"/>
                <a:chOff x="4110039" y="3898900"/>
                <a:chExt cx="2692400" cy="1063625"/>
              </a:xfrm>
            </p:grpSpPr>
            <p:sp>
              <p:nvSpPr>
                <p:cNvPr id="84" name="Freeform 6"/>
                <p:cNvSpPr>
                  <a:spLocks/>
                </p:cNvSpPr>
                <p:nvPr/>
              </p:nvSpPr>
              <p:spPr bwMode="auto">
                <a:xfrm>
                  <a:off x="4981576" y="4441825"/>
                  <a:ext cx="619125" cy="520700"/>
                </a:xfrm>
                <a:custGeom>
                  <a:avLst/>
                  <a:gdLst>
                    <a:gd name="T0" fmla="*/ 214 w 390"/>
                    <a:gd name="T1" fmla="*/ 55 h 328"/>
                    <a:gd name="T2" fmla="*/ 214 w 390"/>
                    <a:gd name="T3" fmla="*/ 0 h 328"/>
                    <a:gd name="T4" fmla="*/ 257 w 390"/>
                    <a:gd name="T5" fmla="*/ 0 h 328"/>
                    <a:gd name="T6" fmla="*/ 257 w 390"/>
                    <a:gd name="T7" fmla="*/ 55 h 328"/>
                    <a:gd name="T8" fmla="*/ 271 w 390"/>
                    <a:gd name="T9" fmla="*/ 55 h 328"/>
                    <a:gd name="T10" fmla="*/ 271 w 390"/>
                    <a:gd name="T11" fmla="*/ 0 h 328"/>
                    <a:gd name="T12" fmla="*/ 314 w 390"/>
                    <a:gd name="T13" fmla="*/ 0 h 328"/>
                    <a:gd name="T14" fmla="*/ 314 w 390"/>
                    <a:gd name="T15" fmla="*/ 55 h 328"/>
                    <a:gd name="T16" fmla="*/ 390 w 390"/>
                    <a:gd name="T17" fmla="*/ 55 h 328"/>
                    <a:gd name="T18" fmla="*/ 390 w 390"/>
                    <a:gd name="T19" fmla="*/ 69 h 328"/>
                    <a:gd name="T20" fmla="*/ 372 w 390"/>
                    <a:gd name="T21" fmla="*/ 69 h 328"/>
                    <a:gd name="T22" fmla="*/ 372 w 390"/>
                    <a:gd name="T23" fmla="*/ 328 h 328"/>
                    <a:gd name="T24" fmla="*/ 18 w 390"/>
                    <a:gd name="T25" fmla="*/ 328 h 328"/>
                    <a:gd name="T26" fmla="*/ 18 w 390"/>
                    <a:gd name="T27" fmla="*/ 69 h 328"/>
                    <a:gd name="T28" fmla="*/ 0 w 390"/>
                    <a:gd name="T29" fmla="*/ 69 h 328"/>
                    <a:gd name="T30" fmla="*/ 0 w 390"/>
                    <a:gd name="T31" fmla="*/ 55 h 328"/>
                    <a:gd name="T32" fmla="*/ 214 w 390"/>
                    <a:gd name="T33" fmla="*/ 55 h 3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390" h="328">
                      <a:moveTo>
                        <a:pt x="214" y="55"/>
                      </a:moveTo>
                      <a:lnTo>
                        <a:pt x="214" y="0"/>
                      </a:lnTo>
                      <a:lnTo>
                        <a:pt x="257" y="0"/>
                      </a:lnTo>
                      <a:lnTo>
                        <a:pt x="257" y="55"/>
                      </a:lnTo>
                      <a:lnTo>
                        <a:pt x="271" y="55"/>
                      </a:lnTo>
                      <a:lnTo>
                        <a:pt x="271" y="0"/>
                      </a:lnTo>
                      <a:lnTo>
                        <a:pt x="314" y="0"/>
                      </a:lnTo>
                      <a:lnTo>
                        <a:pt x="314" y="55"/>
                      </a:lnTo>
                      <a:lnTo>
                        <a:pt x="390" y="55"/>
                      </a:lnTo>
                      <a:lnTo>
                        <a:pt x="390" y="69"/>
                      </a:lnTo>
                      <a:lnTo>
                        <a:pt x="372" y="69"/>
                      </a:lnTo>
                      <a:lnTo>
                        <a:pt x="372" y="328"/>
                      </a:lnTo>
                      <a:lnTo>
                        <a:pt x="18" y="328"/>
                      </a:lnTo>
                      <a:lnTo>
                        <a:pt x="18" y="69"/>
                      </a:lnTo>
                      <a:lnTo>
                        <a:pt x="0" y="69"/>
                      </a:lnTo>
                      <a:lnTo>
                        <a:pt x="0" y="55"/>
                      </a:lnTo>
                      <a:lnTo>
                        <a:pt x="214" y="55"/>
                      </a:lnTo>
                      <a:close/>
                    </a:path>
                  </a:pathLst>
                </a:cu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5" name="Freeform 7"/>
                <p:cNvSpPr>
                  <a:spLocks/>
                </p:cNvSpPr>
                <p:nvPr/>
              </p:nvSpPr>
              <p:spPr bwMode="auto">
                <a:xfrm>
                  <a:off x="4654551" y="4441825"/>
                  <a:ext cx="619125" cy="520700"/>
                </a:xfrm>
                <a:custGeom>
                  <a:avLst/>
                  <a:gdLst>
                    <a:gd name="T0" fmla="*/ 215 w 390"/>
                    <a:gd name="T1" fmla="*/ 55 h 328"/>
                    <a:gd name="T2" fmla="*/ 215 w 390"/>
                    <a:gd name="T3" fmla="*/ 0 h 328"/>
                    <a:gd name="T4" fmla="*/ 258 w 390"/>
                    <a:gd name="T5" fmla="*/ 0 h 328"/>
                    <a:gd name="T6" fmla="*/ 258 w 390"/>
                    <a:gd name="T7" fmla="*/ 55 h 328"/>
                    <a:gd name="T8" fmla="*/ 272 w 390"/>
                    <a:gd name="T9" fmla="*/ 55 h 328"/>
                    <a:gd name="T10" fmla="*/ 272 w 390"/>
                    <a:gd name="T11" fmla="*/ 0 h 328"/>
                    <a:gd name="T12" fmla="*/ 315 w 390"/>
                    <a:gd name="T13" fmla="*/ 0 h 328"/>
                    <a:gd name="T14" fmla="*/ 315 w 390"/>
                    <a:gd name="T15" fmla="*/ 55 h 328"/>
                    <a:gd name="T16" fmla="*/ 390 w 390"/>
                    <a:gd name="T17" fmla="*/ 55 h 328"/>
                    <a:gd name="T18" fmla="*/ 390 w 390"/>
                    <a:gd name="T19" fmla="*/ 69 h 328"/>
                    <a:gd name="T20" fmla="*/ 373 w 390"/>
                    <a:gd name="T21" fmla="*/ 69 h 328"/>
                    <a:gd name="T22" fmla="*/ 373 w 390"/>
                    <a:gd name="T23" fmla="*/ 328 h 328"/>
                    <a:gd name="T24" fmla="*/ 18 w 390"/>
                    <a:gd name="T25" fmla="*/ 328 h 328"/>
                    <a:gd name="T26" fmla="*/ 18 w 390"/>
                    <a:gd name="T27" fmla="*/ 69 h 328"/>
                    <a:gd name="T28" fmla="*/ 0 w 390"/>
                    <a:gd name="T29" fmla="*/ 69 h 328"/>
                    <a:gd name="T30" fmla="*/ 0 w 390"/>
                    <a:gd name="T31" fmla="*/ 55 h 328"/>
                    <a:gd name="T32" fmla="*/ 215 w 390"/>
                    <a:gd name="T33" fmla="*/ 55 h 3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390" h="328">
                      <a:moveTo>
                        <a:pt x="215" y="55"/>
                      </a:moveTo>
                      <a:lnTo>
                        <a:pt x="215" y="0"/>
                      </a:lnTo>
                      <a:lnTo>
                        <a:pt x="258" y="0"/>
                      </a:lnTo>
                      <a:lnTo>
                        <a:pt x="258" y="55"/>
                      </a:lnTo>
                      <a:lnTo>
                        <a:pt x="272" y="55"/>
                      </a:lnTo>
                      <a:lnTo>
                        <a:pt x="272" y="0"/>
                      </a:lnTo>
                      <a:lnTo>
                        <a:pt x="315" y="0"/>
                      </a:lnTo>
                      <a:lnTo>
                        <a:pt x="315" y="55"/>
                      </a:lnTo>
                      <a:lnTo>
                        <a:pt x="390" y="55"/>
                      </a:lnTo>
                      <a:lnTo>
                        <a:pt x="390" y="69"/>
                      </a:lnTo>
                      <a:lnTo>
                        <a:pt x="373" y="69"/>
                      </a:lnTo>
                      <a:lnTo>
                        <a:pt x="373" y="328"/>
                      </a:lnTo>
                      <a:lnTo>
                        <a:pt x="18" y="328"/>
                      </a:lnTo>
                      <a:lnTo>
                        <a:pt x="18" y="69"/>
                      </a:lnTo>
                      <a:lnTo>
                        <a:pt x="0" y="69"/>
                      </a:lnTo>
                      <a:lnTo>
                        <a:pt x="0" y="55"/>
                      </a:lnTo>
                      <a:lnTo>
                        <a:pt x="215" y="55"/>
                      </a:lnTo>
                      <a:close/>
                    </a:path>
                  </a:pathLst>
                </a:cu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7" name="Rectangle 9"/>
                <p:cNvSpPr>
                  <a:spLocks noChangeArrowheads="1"/>
                </p:cNvSpPr>
                <p:nvPr/>
              </p:nvSpPr>
              <p:spPr bwMode="auto">
                <a:xfrm>
                  <a:off x="5434014" y="4259262"/>
                  <a:ext cx="561975" cy="703262"/>
                </a:xfrm>
                <a:prstGeom prst="rect">
                  <a:avLst/>
                </a:prstGeom>
                <a:solidFill>
                  <a:srgbClr val="9B4F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8" name="Rectangle 10"/>
                <p:cNvSpPr>
                  <a:spLocks noChangeArrowheads="1"/>
                </p:cNvSpPr>
                <p:nvPr/>
              </p:nvSpPr>
              <p:spPr bwMode="auto">
                <a:xfrm>
                  <a:off x="5403851" y="4237037"/>
                  <a:ext cx="619125" cy="22225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9" name="Rectangle 11"/>
                <p:cNvSpPr>
                  <a:spLocks noChangeArrowheads="1"/>
                </p:cNvSpPr>
                <p:nvPr/>
              </p:nvSpPr>
              <p:spPr bwMode="auto">
                <a:xfrm>
                  <a:off x="5741989" y="4819650"/>
                  <a:ext cx="74612" cy="142875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0" name="Rectangle 12"/>
                <p:cNvSpPr>
                  <a:spLocks noChangeArrowheads="1"/>
                </p:cNvSpPr>
                <p:nvPr/>
              </p:nvSpPr>
              <p:spPr bwMode="auto">
                <a:xfrm>
                  <a:off x="5614989" y="4819650"/>
                  <a:ext cx="73025" cy="142875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1" name="Rectangle 13"/>
                <p:cNvSpPr>
                  <a:spLocks noChangeArrowheads="1"/>
                </p:cNvSpPr>
                <p:nvPr/>
              </p:nvSpPr>
              <p:spPr bwMode="auto">
                <a:xfrm>
                  <a:off x="5489576" y="4322762"/>
                  <a:ext cx="454025" cy="73025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2" name="Rectangle 14"/>
                <p:cNvSpPr>
                  <a:spLocks noChangeArrowheads="1"/>
                </p:cNvSpPr>
                <p:nvPr/>
              </p:nvSpPr>
              <p:spPr bwMode="auto">
                <a:xfrm>
                  <a:off x="5489576" y="4449762"/>
                  <a:ext cx="454025" cy="71437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3" name="Rectangle 15"/>
                <p:cNvSpPr>
                  <a:spLocks noChangeArrowheads="1"/>
                </p:cNvSpPr>
                <p:nvPr/>
              </p:nvSpPr>
              <p:spPr bwMode="auto">
                <a:xfrm>
                  <a:off x="5489576" y="4575175"/>
                  <a:ext cx="454025" cy="73025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4" name="Rectangle 16"/>
                <p:cNvSpPr>
                  <a:spLocks noChangeArrowheads="1"/>
                </p:cNvSpPr>
                <p:nvPr/>
              </p:nvSpPr>
              <p:spPr bwMode="auto">
                <a:xfrm>
                  <a:off x="5489576" y="4702175"/>
                  <a:ext cx="454025" cy="73025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5" name="Rectangle 17"/>
                <p:cNvSpPr>
                  <a:spLocks noChangeArrowheads="1"/>
                </p:cNvSpPr>
                <p:nvPr/>
              </p:nvSpPr>
              <p:spPr bwMode="auto">
                <a:xfrm>
                  <a:off x="5995989" y="4926012"/>
                  <a:ext cx="806450" cy="36512"/>
                </a:xfrm>
                <a:prstGeom prst="rect">
                  <a:avLst/>
                </a:prstGeom>
                <a:solidFill>
                  <a:srgbClr val="7FBA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6" name="Rectangle 18"/>
                <p:cNvSpPr>
                  <a:spLocks noChangeArrowheads="1"/>
                </p:cNvSpPr>
                <p:nvPr/>
              </p:nvSpPr>
              <p:spPr bwMode="auto">
                <a:xfrm>
                  <a:off x="6326189" y="4803775"/>
                  <a:ext cx="31750" cy="122237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7" name="Oval 19"/>
                <p:cNvSpPr>
                  <a:spLocks noChangeArrowheads="1"/>
                </p:cNvSpPr>
                <p:nvPr/>
              </p:nvSpPr>
              <p:spPr bwMode="auto">
                <a:xfrm>
                  <a:off x="6262689" y="4697412"/>
                  <a:ext cx="161925" cy="161925"/>
                </a:xfrm>
                <a:prstGeom prst="ellipse">
                  <a:avLst/>
                </a:prstGeom>
                <a:solidFill>
                  <a:srgbClr val="7FBA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8" name="Oval 20"/>
                <p:cNvSpPr>
                  <a:spLocks noChangeArrowheads="1"/>
                </p:cNvSpPr>
                <p:nvPr/>
              </p:nvSpPr>
              <p:spPr bwMode="auto">
                <a:xfrm>
                  <a:off x="6284914" y="4614862"/>
                  <a:ext cx="117475" cy="119062"/>
                </a:xfrm>
                <a:prstGeom prst="ellipse">
                  <a:avLst/>
                </a:prstGeom>
                <a:solidFill>
                  <a:srgbClr val="7FBA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9" name="Rectangle 21"/>
                <p:cNvSpPr>
                  <a:spLocks noChangeArrowheads="1"/>
                </p:cNvSpPr>
                <p:nvPr/>
              </p:nvSpPr>
              <p:spPr bwMode="auto">
                <a:xfrm>
                  <a:off x="6113464" y="4803775"/>
                  <a:ext cx="34925" cy="122237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0" name="Oval 22"/>
                <p:cNvSpPr>
                  <a:spLocks noChangeArrowheads="1"/>
                </p:cNvSpPr>
                <p:nvPr/>
              </p:nvSpPr>
              <p:spPr bwMode="auto">
                <a:xfrm>
                  <a:off x="6051551" y="4697412"/>
                  <a:ext cx="160337" cy="161925"/>
                </a:xfrm>
                <a:prstGeom prst="ellipse">
                  <a:avLst/>
                </a:prstGeom>
                <a:solidFill>
                  <a:srgbClr val="7FBA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1" name="Oval 23"/>
                <p:cNvSpPr>
                  <a:spLocks noChangeArrowheads="1"/>
                </p:cNvSpPr>
                <p:nvPr/>
              </p:nvSpPr>
              <p:spPr bwMode="auto">
                <a:xfrm>
                  <a:off x="6072189" y="4614862"/>
                  <a:ext cx="119062" cy="119062"/>
                </a:xfrm>
                <a:prstGeom prst="ellipse">
                  <a:avLst/>
                </a:prstGeom>
                <a:solidFill>
                  <a:srgbClr val="7FBA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2" name="Rectangle 24"/>
                <p:cNvSpPr>
                  <a:spLocks noChangeArrowheads="1"/>
                </p:cNvSpPr>
                <p:nvPr/>
              </p:nvSpPr>
              <p:spPr bwMode="auto">
                <a:xfrm>
                  <a:off x="5526089" y="4149725"/>
                  <a:ext cx="215900" cy="87312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4" name="Rectangle 26"/>
                <p:cNvSpPr>
                  <a:spLocks noChangeArrowheads="1"/>
                </p:cNvSpPr>
                <p:nvPr/>
              </p:nvSpPr>
              <p:spPr bwMode="auto">
                <a:xfrm>
                  <a:off x="4110039" y="4495800"/>
                  <a:ext cx="539750" cy="20637"/>
                </a:xfrm>
                <a:prstGeom prst="rect">
                  <a:avLst/>
                </a:prstGeom>
                <a:solidFill>
                  <a:srgbClr val="00723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9" name="Rectangle 31"/>
                <p:cNvSpPr>
                  <a:spLocks noChangeArrowheads="1"/>
                </p:cNvSpPr>
                <p:nvPr/>
              </p:nvSpPr>
              <p:spPr bwMode="auto">
                <a:xfrm>
                  <a:off x="4198157" y="4408487"/>
                  <a:ext cx="217487" cy="87312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0" name="Rectangle 32"/>
                <p:cNvSpPr>
                  <a:spLocks noChangeArrowheads="1"/>
                </p:cNvSpPr>
                <p:nvPr/>
              </p:nvSpPr>
              <p:spPr bwMode="auto">
                <a:xfrm>
                  <a:off x="4745039" y="4008437"/>
                  <a:ext cx="563562" cy="954087"/>
                </a:xfrm>
                <a:prstGeom prst="rect">
                  <a:avLst/>
                </a:prstGeom>
                <a:solidFill>
                  <a:srgbClr val="0072C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1" name="Rectangle 33"/>
                <p:cNvSpPr>
                  <a:spLocks noChangeArrowheads="1"/>
                </p:cNvSpPr>
                <p:nvPr/>
              </p:nvSpPr>
              <p:spPr bwMode="auto">
                <a:xfrm>
                  <a:off x="4718051" y="3986212"/>
                  <a:ext cx="619125" cy="22225"/>
                </a:xfrm>
                <a:prstGeom prst="rect">
                  <a:avLst/>
                </a:prstGeom>
                <a:solidFill>
                  <a:srgbClr val="002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2" name="Rectangle 34"/>
                <p:cNvSpPr>
                  <a:spLocks noChangeArrowheads="1"/>
                </p:cNvSpPr>
                <p:nvPr/>
              </p:nvSpPr>
              <p:spPr bwMode="auto">
                <a:xfrm>
                  <a:off x="5054601" y="4819650"/>
                  <a:ext cx="73025" cy="142875"/>
                </a:xfrm>
                <a:prstGeom prst="rect">
                  <a:avLst/>
                </a:prstGeom>
                <a:solidFill>
                  <a:srgbClr val="002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3" name="Rectangle 35"/>
                <p:cNvSpPr>
                  <a:spLocks noChangeArrowheads="1"/>
                </p:cNvSpPr>
                <p:nvPr/>
              </p:nvSpPr>
              <p:spPr bwMode="auto">
                <a:xfrm>
                  <a:off x="4929189" y="4819650"/>
                  <a:ext cx="73025" cy="142875"/>
                </a:xfrm>
                <a:prstGeom prst="rect">
                  <a:avLst/>
                </a:prstGeom>
                <a:solidFill>
                  <a:srgbClr val="002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4" name="Rectangle 36"/>
                <p:cNvSpPr>
                  <a:spLocks noChangeArrowheads="1"/>
                </p:cNvSpPr>
                <p:nvPr/>
              </p:nvSpPr>
              <p:spPr bwMode="auto">
                <a:xfrm>
                  <a:off x="4800601" y="4322762"/>
                  <a:ext cx="455612" cy="73025"/>
                </a:xfrm>
                <a:prstGeom prst="rect">
                  <a:avLst/>
                </a:prstGeom>
                <a:solidFill>
                  <a:srgbClr val="002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5" name="Rectangle 37"/>
                <p:cNvSpPr>
                  <a:spLocks noChangeArrowheads="1"/>
                </p:cNvSpPr>
                <p:nvPr/>
              </p:nvSpPr>
              <p:spPr bwMode="auto">
                <a:xfrm>
                  <a:off x="4800601" y="4449762"/>
                  <a:ext cx="455612" cy="71437"/>
                </a:xfrm>
                <a:prstGeom prst="rect">
                  <a:avLst/>
                </a:prstGeom>
                <a:solidFill>
                  <a:srgbClr val="002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6" name="Rectangle 38"/>
                <p:cNvSpPr>
                  <a:spLocks noChangeArrowheads="1"/>
                </p:cNvSpPr>
                <p:nvPr/>
              </p:nvSpPr>
              <p:spPr bwMode="auto">
                <a:xfrm>
                  <a:off x="4800601" y="4575175"/>
                  <a:ext cx="455612" cy="73025"/>
                </a:xfrm>
                <a:prstGeom prst="rect">
                  <a:avLst/>
                </a:prstGeom>
                <a:solidFill>
                  <a:srgbClr val="002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7" name="Rectangle 39"/>
                <p:cNvSpPr>
                  <a:spLocks noChangeArrowheads="1"/>
                </p:cNvSpPr>
                <p:nvPr/>
              </p:nvSpPr>
              <p:spPr bwMode="auto">
                <a:xfrm>
                  <a:off x="4800601" y="4702175"/>
                  <a:ext cx="455612" cy="73025"/>
                </a:xfrm>
                <a:prstGeom prst="rect">
                  <a:avLst/>
                </a:prstGeom>
                <a:solidFill>
                  <a:srgbClr val="002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8" name="Rectangle 40"/>
                <p:cNvSpPr>
                  <a:spLocks noChangeArrowheads="1"/>
                </p:cNvSpPr>
                <p:nvPr/>
              </p:nvSpPr>
              <p:spPr bwMode="auto">
                <a:xfrm>
                  <a:off x="4800601" y="4070350"/>
                  <a:ext cx="455612" cy="73025"/>
                </a:xfrm>
                <a:prstGeom prst="rect">
                  <a:avLst/>
                </a:prstGeom>
                <a:solidFill>
                  <a:srgbClr val="002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9" name="Rectangle 41"/>
                <p:cNvSpPr>
                  <a:spLocks noChangeArrowheads="1"/>
                </p:cNvSpPr>
                <p:nvPr/>
              </p:nvSpPr>
              <p:spPr bwMode="auto">
                <a:xfrm>
                  <a:off x="4800601" y="4195762"/>
                  <a:ext cx="455612" cy="73025"/>
                </a:xfrm>
                <a:prstGeom prst="rect">
                  <a:avLst/>
                </a:prstGeom>
                <a:solidFill>
                  <a:srgbClr val="002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0" name="Rectangle 42"/>
                <p:cNvSpPr>
                  <a:spLocks noChangeArrowheads="1"/>
                </p:cNvSpPr>
                <p:nvPr/>
              </p:nvSpPr>
              <p:spPr bwMode="auto">
                <a:xfrm>
                  <a:off x="5148264" y="3898900"/>
                  <a:ext cx="66675" cy="87312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1" name="Rectangle 43"/>
                <p:cNvSpPr>
                  <a:spLocks noChangeArrowheads="1"/>
                </p:cNvSpPr>
                <p:nvPr/>
              </p:nvSpPr>
              <p:spPr bwMode="auto">
                <a:xfrm>
                  <a:off x="5057776" y="3898900"/>
                  <a:ext cx="66675" cy="87312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2" name="Rectangle 44"/>
                <p:cNvSpPr>
                  <a:spLocks noChangeArrowheads="1"/>
                </p:cNvSpPr>
                <p:nvPr/>
              </p:nvSpPr>
              <p:spPr bwMode="auto">
                <a:xfrm>
                  <a:off x="5264151" y="4926012"/>
                  <a:ext cx="212725" cy="36512"/>
                </a:xfrm>
                <a:prstGeom prst="rect">
                  <a:avLst/>
                </a:prstGeom>
                <a:solidFill>
                  <a:srgbClr val="7FBA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3" name="Rectangle 45"/>
                <p:cNvSpPr>
                  <a:spLocks noChangeArrowheads="1"/>
                </p:cNvSpPr>
                <p:nvPr/>
              </p:nvSpPr>
              <p:spPr bwMode="auto">
                <a:xfrm>
                  <a:off x="4567239" y="4926012"/>
                  <a:ext cx="307975" cy="36512"/>
                </a:xfrm>
                <a:prstGeom prst="rect">
                  <a:avLst/>
                </a:prstGeom>
                <a:solidFill>
                  <a:srgbClr val="7FBA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grpSp>
              <p:nvGrpSpPr>
                <p:cNvPr id="141" name="Group 140"/>
                <p:cNvGrpSpPr/>
                <p:nvPr/>
              </p:nvGrpSpPr>
              <p:grpSpPr>
                <a:xfrm>
                  <a:off x="4136892" y="4516437"/>
                  <a:ext cx="484322" cy="446088"/>
                  <a:chOff x="4110039" y="4516437"/>
                  <a:chExt cx="511175" cy="446088"/>
                </a:xfrm>
              </p:grpSpPr>
              <p:sp>
                <p:nvSpPr>
                  <p:cNvPr id="103" name="Rectangle 25"/>
                  <p:cNvSpPr>
                    <a:spLocks noChangeArrowheads="1"/>
                  </p:cNvSpPr>
                  <p:nvPr/>
                </p:nvSpPr>
                <p:spPr bwMode="auto">
                  <a:xfrm>
                    <a:off x="4110039" y="4516437"/>
                    <a:ext cx="511175" cy="446087"/>
                  </a:xfrm>
                  <a:prstGeom prst="rect">
                    <a:avLst/>
                  </a:prstGeom>
                  <a:solidFill>
                    <a:srgbClr val="009E4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05" name="Rectangle 27"/>
                  <p:cNvSpPr>
                    <a:spLocks noChangeArrowheads="1"/>
                  </p:cNvSpPr>
                  <p:nvPr/>
                </p:nvSpPr>
                <p:spPr bwMode="auto">
                  <a:xfrm>
                    <a:off x="4390233" y="4819650"/>
                    <a:ext cx="74612" cy="142875"/>
                  </a:xfrm>
                  <a:prstGeom prst="rect">
                    <a:avLst/>
                  </a:prstGeom>
                  <a:solidFill>
                    <a:srgbClr val="0072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06" name="Rectangle 28"/>
                  <p:cNvSpPr>
                    <a:spLocks noChangeArrowheads="1"/>
                  </p:cNvSpPr>
                  <p:nvPr/>
                </p:nvSpPr>
                <p:spPr bwMode="auto">
                  <a:xfrm>
                    <a:off x="4263233" y="4819650"/>
                    <a:ext cx="74612" cy="142875"/>
                  </a:xfrm>
                  <a:prstGeom prst="rect">
                    <a:avLst/>
                  </a:prstGeom>
                  <a:solidFill>
                    <a:srgbClr val="0072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39" name="Rectangle 39"/>
                  <p:cNvSpPr>
                    <a:spLocks noChangeArrowheads="1"/>
                  </p:cNvSpPr>
                  <p:nvPr/>
                </p:nvSpPr>
                <p:spPr bwMode="auto">
                  <a:xfrm>
                    <a:off x="4158457" y="4702175"/>
                    <a:ext cx="417513" cy="77787"/>
                  </a:xfrm>
                  <a:prstGeom prst="rect">
                    <a:avLst/>
                  </a:prstGeom>
                  <a:solidFill>
                    <a:srgbClr val="007233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40" name="Rectangle 39"/>
                  <p:cNvSpPr>
                    <a:spLocks noChangeArrowheads="1"/>
                  </p:cNvSpPr>
                  <p:nvPr/>
                </p:nvSpPr>
                <p:spPr bwMode="auto">
                  <a:xfrm>
                    <a:off x="4158456" y="4574162"/>
                    <a:ext cx="417513" cy="77787"/>
                  </a:xfrm>
                  <a:prstGeom prst="rect">
                    <a:avLst/>
                  </a:prstGeom>
                  <a:solidFill>
                    <a:srgbClr val="007233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</p:grpSp>
          </p:grpSp>
          <p:sp>
            <p:nvSpPr>
              <p:cNvPr id="125" name="Freeform 47"/>
              <p:cNvSpPr>
                <a:spLocks/>
              </p:cNvSpPr>
              <p:nvPr/>
            </p:nvSpPr>
            <p:spPr bwMode="auto">
              <a:xfrm>
                <a:off x="5170759" y="2692864"/>
                <a:ext cx="1376362" cy="2020887"/>
              </a:xfrm>
              <a:custGeom>
                <a:avLst/>
                <a:gdLst>
                  <a:gd name="T0" fmla="*/ 6 w 896"/>
                  <a:gd name="T1" fmla="*/ 1305 h 1316"/>
                  <a:gd name="T2" fmla="*/ 180 w 896"/>
                  <a:gd name="T3" fmla="*/ 1070 h 1316"/>
                  <a:gd name="T4" fmla="*/ 293 w 896"/>
                  <a:gd name="T5" fmla="*/ 48 h 1316"/>
                  <a:gd name="T6" fmla="*/ 282 w 896"/>
                  <a:gd name="T7" fmla="*/ 46 h 1316"/>
                  <a:gd name="T8" fmla="*/ 173 w 896"/>
                  <a:gd name="T9" fmla="*/ 5 h 1316"/>
                  <a:gd name="T10" fmla="*/ 179 w 896"/>
                  <a:gd name="T11" fmla="*/ 0 h 1316"/>
                  <a:gd name="T12" fmla="*/ 184 w 896"/>
                  <a:gd name="T13" fmla="*/ 5 h 1316"/>
                  <a:gd name="T14" fmla="*/ 284 w 896"/>
                  <a:gd name="T15" fmla="*/ 35 h 1316"/>
                  <a:gd name="T16" fmla="*/ 534 w 896"/>
                  <a:gd name="T17" fmla="*/ 50 h 1316"/>
                  <a:gd name="T18" fmla="*/ 785 w 896"/>
                  <a:gd name="T19" fmla="*/ 35 h 1316"/>
                  <a:gd name="T20" fmla="*/ 884 w 896"/>
                  <a:gd name="T21" fmla="*/ 5 h 1316"/>
                  <a:gd name="T22" fmla="*/ 890 w 896"/>
                  <a:gd name="T23" fmla="*/ 0 h 1316"/>
                  <a:gd name="T24" fmla="*/ 896 w 896"/>
                  <a:gd name="T25" fmla="*/ 5 h 1316"/>
                  <a:gd name="T26" fmla="*/ 787 w 896"/>
                  <a:gd name="T27" fmla="*/ 46 h 1316"/>
                  <a:gd name="T28" fmla="*/ 534 w 896"/>
                  <a:gd name="T29" fmla="*/ 61 h 1316"/>
                  <a:gd name="T30" fmla="*/ 304 w 896"/>
                  <a:gd name="T31" fmla="*/ 49 h 1316"/>
                  <a:gd name="T32" fmla="*/ 191 w 896"/>
                  <a:gd name="T33" fmla="*/ 1074 h 1316"/>
                  <a:gd name="T34" fmla="*/ 6 w 896"/>
                  <a:gd name="T35" fmla="*/ 1316 h 1316"/>
                  <a:gd name="T36" fmla="*/ 0 w 896"/>
                  <a:gd name="T37" fmla="*/ 1310 h 1316"/>
                  <a:gd name="T38" fmla="*/ 6 w 896"/>
                  <a:gd name="T39" fmla="*/ 1305 h 13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896" h="1316">
                    <a:moveTo>
                      <a:pt x="6" y="1305"/>
                    </a:moveTo>
                    <a:cubicBezTo>
                      <a:pt x="70" y="1305"/>
                      <a:pt x="133" y="1219"/>
                      <a:pt x="180" y="1070"/>
                    </a:cubicBezTo>
                    <a:cubicBezTo>
                      <a:pt x="228" y="918"/>
                      <a:pt x="293" y="265"/>
                      <a:pt x="293" y="48"/>
                    </a:cubicBezTo>
                    <a:cubicBezTo>
                      <a:pt x="289" y="47"/>
                      <a:pt x="286" y="47"/>
                      <a:pt x="282" y="46"/>
                    </a:cubicBezTo>
                    <a:cubicBezTo>
                      <a:pt x="173" y="31"/>
                      <a:pt x="173" y="12"/>
                      <a:pt x="173" y="5"/>
                    </a:cubicBezTo>
                    <a:cubicBezTo>
                      <a:pt x="173" y="2"/>
                      <a:pt x="175" y="0"/>
                      <a:pt x="179" y="0"/>
                    </a:cubicBezTo>
                    <a:cubicBezTo>
                      <a:pt x="182" y="0"/>
                      <a:pt x="184" y="2"/>
                      <a:pt x="184" y="5"/>
                    </a:cubicBezTo>
                    <a:cubicBezTo>
                      <a:pt x="184" y="6"/>
                      <a:pt x="186" y="21"/>
                      <a:pt x="284" y="35"/>
                    </a:cubicBezTo>
                    <a:cubicBezTo>
                      <a:pt x="351" y="44"/>
                      <a:pt x="440" y="50"/>
                      <a:pt x="534" y="50"/>
                    </a:cubicBezTo>
                    <a:cubicBezTo>
                      <a:pt x="629" y="50"/>
                      <a:pt x="718" y="44"/>
                      <a:pt x="785" y="35"/>
                    </a:cubicBezTo>
                    <a:cubicBezTo>
                      <a:pt x="883" y="21"/>
                      <a:pt x="884" y="6"/>
                      <a:pt x="884" y="5"/>
                    </a:cubicBezTo>
                    <a:cubicBezTo>
                      <a:pt x="884" y="2"/>
                      <a:pt x="887" y="0"/>
                      <a:pt x="890" y="0"/>
                    </a:cubicBezTo>
                    <a:cubicBezTo>
                      <a:pt x="893" y="0"/>
                      <a:pt x="896" y="2"/>
                      <a:pt x="896" y="5"/>
                    </a:cubicBezTo>
                    <a:cubicBezTo>
                      <a:pt x="896" y="12"/>
                      <a:pt x="896" y="31"/>
                      <a:pt x="787" y="46"/>
                    </a:cubicBezTo>
                    <a:cubicBezTo>
                      <a:pt x="719" y="56"/>
                      <a:pt x="630" y="61"/>
                      <a:pt x="534" y="61"/>
                    </a:cubicBezTo>
                    <a:cubicBezTo>
                      <a:pt x="449" y="61"/>
                      <a:pt x="369" y="57"/>
                      <a:pt x="304" y="49"/>
                    </a:cubicBezTo>
                    <a:cubicBezTo>
                      <a:pt x="304" y="267"/>
                      <a:pt x="239" y="920"/>
                      <a:pt x="191" y="1074"/>
                    </a:cubicBezTo>
                    <a:cubicBezTo>
                      <a:pt x="142" y="1230"/>
                      <a:pt x="76" y="1316"/>
                      <a:pt x="6" y="1316"/>
                    </a:cubicBezTo>
                    <a:cubicBezTo>
                      <a:pt x="3" y="1316"/>
                      <a:pt x="0" y="1313"/>
                      <a:pt x="0" y="1310"/>
                    </a:cubicBezTo>
                    <a:cubicBezTo>
                      <a:pt x="0" y="1307"/>
                      <a:pt x="3" y="1305"/>
                      <a:pt x="6" y="1305"/>
                    </a:cubicBezTo>
                    <a:close/>
                  </a:path>
                </a:pathLst>
              </a:cu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49"/>
              <p:cNvSpPr>
                <a:spLocks/>
              </p:cNvSpPr>
              <p:nvPr/>
            </p:nvSpPr>
            <p:spPr bwMode="auto">
              <a:xfrm>
                <a:off x="4413310" y="2687846"/>
                <a:ext cx="790575" cy="1881707"/>
              </a:xfrm>
              <a:custGeom>
                <a:avLst/>
                <a:gdLst>
                  <a:gd name="T0" fmla="*/ 5 w 515"/>
                  <a:gd name="T1" fmla="*/ 1420 h 1431"/>
                  <a:gd name="T2" fmla="*/ 222 w 515"/>
                  <a:gd name="T3" fmla="*/ 1149 h 1431"/>
                  <a:gd name="T4" fmla="*/ 353 w 515"/>
                  <a:gd name="T5" fmla="*/ 43 h 1431"/>
                  <a:gd name="T6" fmla="*/ 277 w 515"/>
                  <a:gd name="T7" fmla="*/ 45 h 1431"/>
                  <a:gd name="T8" fmla="*/ 39 w 515"/>
                  <a:gd name="T9" fmla="*/ 6 h 1431"/>
                  <a:gd name="T10" fmla="*/ 45 w 515"/>
                  <a:gd name="T11" fmla="*/ 0 h 1431"/>
                  <a:gd name="T12" fmla="*/ 50 w 515"/>
                  <a:gd name="T13" fmla="*/ 6 h 1431"/>
                  <a:gd name="T14" fmla="*/ 277 w 515"/>
                  <a:gd name="T15" fmla="*/ 33 h 1431"/>
                  <a:gd name="T16" fmla="*/ 504 w 515"/>
                  <a:gd name="T17" fmla="*/ 6 h 1431"/>
                  <a:gd name="T18" fmla="*/ 509 w 515"/>
                  <a:gd name="T19" fmla="*/ 1 h 1431"/>
                  <a:gd name="T20" fmla="*/ 515 w 515"/>
                  <a:gd name="T21" fmla="*/ 6 h 1431"/>
                  <a:gd name="T22" fmla="*/ 364 w 515"/>
                  <a:gd name="T23" fmla="*/ 42 h 1431"/>
                  <a:gd name="T24" fmla="*/ 233 w 515"/>
                  <a:gd name="T25" fmla="*/ 1153 h 1431"/>
                  <a:gd name="T26" fmla="*/ 5 w 515"/>
                  <a:gd name="T27" fmla="*/ 1431 h 1431"/>
                  <a:gd name="T28" fmla="*/ 0 w 515"/>
                  <a:gd name="T29" fmla="*/ 1425 h 1431"/>
                  <a:gd name="T30" fmla="*/ 5 w 515"/>
                  <a:gd name="T31" fmla="*/ 1420 h 1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15" h="1431">
                    <a:moveTo>
                      <a:pt x="5" y="1420"/>
                    </a:moveTo>
                    <a:cubicBezTo>
                      <a:pt x="87" y="1420"/>
                      <a:pt x="164" y="1324"/>
                      <a:pt x="222" y="1149"/>
                    </a:cubicBezTo>
                    <a:cubicBezTo>
                      <a:pt x="281" y="974"/>
                      <a:pt x="352" y="291"/>
                      <a:pt x="353" y="43"/>
                    </a:cubicBezTo>
                    <a:cubicBezTo>
                      <a:pt x="313" y="45"/>
                      <a:pt x="281" y="45"/>
                      <a:pt x="277" y="45"/>
                    </a:cubicBezTo>
                    <a:cubicBezTo>
                      <a:pt x="267" y="45"/>
                      <a:pt x="39" y="44"/>
                      <a:pt x="39" y="6"/>
                    </a:cubicBezTo>
                    <a:cubicBezTo>
                      <a:pt x="39" y="3"/>
                      <a:pt x="41" y="0"/>
                      <a:pt x="45" y="0"/>
                    </a:cubicBezTo>
                    <a:cubicBezTo>
                      <a:pt x="48" y="0"/>
                      <a:pt x="50" y="3"/>
                      <a:pt x="50" y="6"/>
                    </a:cubicBezTo>
                    <a:cubicBezTo>
                      <a:pt x="54" y="16"/>
                      <a:pt x="133" y="33"/>
                      <a:pt x="277" y="33"/>
                    </a:cubicBezTo>
                    <a:cubicBezTo>
                      <a:pt x="421" y="33"/>
                      <a:pt x="500" y="16"/>
                      <a:pt x="504" y="6"/>
                    </a:cubicBezTo>
                    <a:cubicBezTo>
                      <a:pt x="504" y="3"/>
                      <a:pt x="506" y="1"/>
                      <a:pt x="509" y="1"/>
                    </a:cubicBezTo>
                    <a:cubicBezTo>
                      <a:pt x="513" y="1"/>
                      <a:pt x="515" y="3"/>
                      <a:pt x="515" y="6"/>
                    </a:cubicBezTo>
                    <a:cubicBezTo>
                      <a:pt x="515" y="29"/>
                      <a:pt x="432" y="38"/>
                      <a:pt x="364" y="42"/>
                    </a:cubicBezTo>
                    <a:cubicBezTo>
                      <a:pt x="364" y="292"/>
                      <a:pt x="292" y="976"/>
                      <a:pt x="233" y="1153"/>
                    </a:cubicBezTo>
                    <a:cubicBezTo>
                      <a:pt x="173" y="1332"/>
                      <a:pt x="92" y="1431"/>
                      <a:pt x="5" y="1431"/>
                    </a:cubicBezTo>
                    <a:cubicBezTo>
                      <a:pt x="2" y="1431"/>
                      <a:pt x="0" y="1428"/>
                      <a:pt x="0" y="1425"/>
                    </a:cubicBezTo>
                    <a:cubicBezTo>
                      <a:pt x="0" y="1422"/>
                      <a:pt x="2" y="1420"/>
                      <a:pt x="5" y="1420"/>
                    </a:cubicBezTo>
                    <a:close/>
                  </a:path>
                </a:pathLst>
              </a:cu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137" name="Picture 136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 rot="262694">
                <a:off x="4783742" y="2952649"/>
                <a:ext cx="309071" cy="359191"/>
              </a:xfrm>
              <a:prstGeom prst="rect">
                <a:avLst/>
              </a:prstGeom>
            </p:spPr>
          </p:pic>
          <p:grpSp>
            <p:nvGrpSpPr>
              <p:cNvPr id="143" name="Group 142"/>
              <p:cNvGrpSpPr/>
              <p:nvPr/>
            </p:nvGrpSpPr>
            <p:grpSpPr>
              <a:xfrm>
                <a:off x="5488264" y="3282048"/>
                <a:ext cx="389241" cy="395577"/>
                <a:chOff x="5439079" y="3356381"/>
                <a:chExt cx="260351" cy="264589"/>
              </a:xfrm>
            </p:grpSpPr>
            <p:sp>
              <p:nvSpPr>
                <p:cNvPr id="132" name="Rectangle 54"/>
                <p:cNvSpPr>
                  <a:spLocks noChangeArrowheads="1"/>
                </p:cNvSpPr>
                <p:nvPr/>
              </p:nvSpPr>
              <p:spPr bwMode="auto">
                <a:xfrm rot="20912493">
                  <a:off x="5439079" y="3356381"/>
                  <a:ext cx="260351" cy="245408"/>
                </a:xfrm>
                <a:prstGeom prst="rect">
                  <a:avLst/>
                </a:prstGeom>
                <a:solidFill>
                  <a:srgbClr val="FFB9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3" name="Rectangle 55"/>
                <p:cNvSpPr>
                  <a:spLocks noChangeArrowheads="1"/>
                </p:cNvSpPr>
                <p:nvPr/>
              </p:nvSpPr>
              <p:spPr bwMode="auto">
                <a:xfrm rot="20912493">
                  <a:off x="5441005" y="3375562"/>
                  <a:ext cx="67243" cy="245408"/>
                </a:xfrm>
                <a:prstGeom prst="rect">
                  <a:avLst/>
                </a:prstGeom>
                <a:solidFill>
                  <a:srgbClr val="FF8C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4" name="Freeform 56"/>
                <p:cNvSpPr>
                  <a:spLocks/>
                </p:cNvSpPr>
                <p:nvPr/>
              </p:nvSpPr>
              <p:spPr bwMode="auto">
                <a:xfrm rot="20912493">
                  <a:off x="5543044" y="3435066"/>
                  <a:ext cx="53450" cy="93106"/>
                </a:xfrm>
                <a:custGeom>
                  <a:avLst/>
                  <a:gdLst>
                    <a:gd name="T0" fmla="*/ 66 w 66"/>
                    <a:gd name="T1" fmla="*/ 33 h 116"/>
                    <a:gd name="T2" fmla="*/ 33 w 66"/>
                    <a:gd name="T3" fmla="*/ 0 h 116"/>
                    <a:gd name="T4" fmla="*/ 0 w 66"/>
                    <a:gd name="T5" fmla="*/ 33 h 116"/>
                    <a:gd name="T6" fmla="*/ 22 w 66"/>
                    <a:gd name="T7" fmla="*/ 64 h 116"/>
                    <a:gd name="T8" fmla="*/ 22 w 66"/>
                    <a:gd name="T9" fmla="*/ 116 h 116"/>
                    <a:gd name="T10" fmla="*/ 44 w 66"/>
                    <a:gd name="T11" fmla="*/ 116 h 116"/>
                    <a:gd name="T12" fmla="*/ 44 w 66"/>
                    <a:gd name="T13" fmla="*/ 64 h 116"/>
                    <a:gd name="T14" fmla="*/ 66 w 66"/>
                    <a:gd name="T15" fmla="*/ 33 h 1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6" h="116">
                      <a:moveTo>
                        <a:pt x="66" y="33"/>
                      </a:moveTo>
                      <a:cubicBezTo>
                        <a:pt x="66" y="15"/>
                        <a:pt x="51" y="0"/>
                        <a:pt x="33" y="0"/>
                      </a:cubicBezTo>
                      <a:cubicBezTo>
                        <a:pt x="15" y="0"/>
                        <a:pt x="0" y="15"/>
                        <a:pt x="0" y="33"/>
                      </a:cubicBezTo>
                      <a:cubicBezTo>
                        <a:pt x="0" y="47"/>
                        <a:pt x="9" y="60"/>
                        <a:pt x="22" y="64"/>
                      </a:cubicBezTo>
                      <a:cubicBezTo>
                        <a:pt x="22" y="116"/>
                        <a:pt x="22" y="116"/>
                        <a:pt x="22" y="116"/>
                      </a:cubicBezTo>
                      <a:cubicBezTo>
                        <a:pt x="44" y="116"/>
                        <a:pt x="44" y="116"/>
                        <a:pt x="44" y="116"/>
                      </a:cubicBezTo>
                      <a:cubicBezTo>
                        <a:pt x="44" y="64"/>
                        <a:pt x="44" y="64"/>
                        <a:pt x="44" y="64"/>
                      </a:cubicBezTo>
                      <a:cubicBezTo>
                        <a:pt x="57" y="60"/>
                        <a:pt x="66" y="47"/>
                        <a:pt x="66" y="3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</p:grpSp>
      <p:pic>
        <p:nvPicPr>
          <p:cNvPr id="147" name="Picture 14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3937" y="3778291"/>
            <a:ext cx="3837156" cy="2560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748438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spect="1"/>
          </p:cNvSpPr>
          <p:nvPr/>
        </p:nvSpPr>
        <p:spPr bwMode="auto">
          <a:xfrm>
            <a:off x="2128109" y="4179547"/>
            <a:ext cx="1558553" cy="1558959"/>
          </a:xfrm>
          <a:prstGeom prst="rect">
            <a:avLst/>
          </a:prstGeom>
          <a:solidFill>
            <a:srgbClr val="7FBA00"/>
          </a:solidFill>
          <a:ln w="381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1423" tIns="45720" rIns="91423" bIns="89642" numCol="1" rtlCol="0" anchor="t" anchorCtr="0" compatLnSpc="1">
            <a:prstTxWarp prst="textNoShape">
              <a:avLst/>
            </a:prstTxWarp>
          </a:bodyPr>
          <a:lstStyle/>
          <a:p>
            <a:pPr defTabSz="913744" fontAlgn="base">
              <a:spcBef>
                <a:spcPct val="0"/>
              </a:spcBef>
              <a:spcAft>
                <a:spcPct val="0"/>
              </a:spcAft>
            </a:pPr>
            <a:r>
              <a:rPr lang="en-US" sz="2200" kern="0" dirty="0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Analyze</a:t>
            </a:r>
          </a:p>
        </p:txBody>
      </p:sp>
      <p:grpSp>
        <p:nvGrpSpPr>
          <p:cNvPr id="6" name="Group 5"/>
          <p:cNvGrpSpPr/>
          <p:nvPr/>
        </p:nvGrpSpPr>
        <p:grpSpPr>
          <a:xfrm flipH="1">
            <a:off x="2613885" y="4770682"/>
            <a:ext cx="587003" cy="813206"/>
            <a:chOff x="1539997" y="3780827"/>
            <a:chExt cx="800271" cy="1108369"/>
          </a:xfrm>
          <a:solidFill>
            <a:srgbClr val="FFFFFF"/>
          </a:solidFill>
        </p:grpSpPr>
        <p:sp>
          <p:nvSpPr>
            <p:cNvPr id="11" name="Rectangle 24"/>
            <p:cNvSpPr/>
            <p:nvPr/>
          </p:nvSpPr>
          <p:spPr>
            <a:xfrm>
              <a:off x="1539997" y="3780827"/>
              <a:ext cx="800271" cy="1108369"/>
            </a:xfrm>
            <a:custGeom>
              <a:avLst/>
              <a:gdLst/>
              <a:ahLst/>
              <a:cxnLst/>
              <a:rect l="l" t="t" r="r" b="b"/>
              <a:pathLst>
                <a:path w="1518158" h="2102639">
                  <a:moveTo>
                    <a:pt x="664962" y="48"/>
                  </a:moveTo>
                  <a:cubicBezTo>
                    <a:pt x="990735" y="4734"/>
                    <a:pt x="1250103" y="195355"/>
                    <a:pt x="1311820" y="389100"/>
                  </a:cubicBezTo>
                  <a:cubicBezTo>
                    <a:pt x="1373537" y="582844"/>
                    <a:pt x="1310258" y="419568"/>
                    <a:pt x="1400880" y="656280"/>
                  </a:cubicBezTo>
                  <a:cubicBezTo>
                    <a:pt x="1411818" y="757059"/>
                    <a:pt x="1339163" y="742996"/>
                    <a:pt x="1358694" y="815651"/>
                  </a:cubicBezTo>
                  <a:cubicBezTo>
                    <a:pt x="1378225" y="888305"/>
                    <a:pt x="1514158" y="1033614"/>
                    <a:pt x="1518064" y="1092206"/>
                  </a:cubicBezTo>
                  <a:cubicBezTo>
                    <a:pt x="1521971" y="1150798"/>
                    <a:pt x="1404005" y="1135955"/>
                    <a:pt x="1382130" y="1167204"/>
                  </a:cubicBezTo>
                  <a:cubicBezTo>
                    <a:pt x="1360256" y="1198453"/>
                    <a:pt x="1390724" y="1255483"/>
                    <a:pt x="1386818" y="1279701"/>
                  </a:cubicBezTo>
                  <a:cubicBezTo>
                    <a:pt x="1382912" y="1303919"/>
                    <a:pt x="1361038" y="1303137"/>
                    <a:pt x="1358694" y="1312512"/>
                  </a:cubicBezTo>
                  <a:cubicBezTo>
                    <a:pt x="1356350" y="1321887"/>
                    <a:pt x="1382912" y="1320325"/>
                    <a:pt x="1372756" y="1335949"/>
                  </a:cubicBezTo>
                  <a:cubicBezTo>
                    <a:pt x="1362600" y="1351574"/>
                    <a:pt x="1313382" y="1359387"/>
                    <a:pt x="1297758" y="1406260"/>
                  </a:cubicBezTo>
                  <a:cubicBezTo>
                    <a:pt x="1282134" y="1453134"/>
                    <a:pt x="1409474" y="1567974"/>
                    <a:pt x="1279008" y="1617192"/>
                  </a:cubicBezTo>
                  <a:cubicBezTo>
                    <a:pt x="1148544" y="1666410"/>
                    <a:pt x="978235" y="1565631"/>
                    <a:pt x="936830" y="1645316"/>
                  </a:cubicBezTo>
                  <a:cubicBezTo>
                    <a:pt x="895425" y="1725002"/>
                    <a:pt x="843864" y="1864060"/>
                    <a:pt x="1030577" y="2095304"/>
                  </a:cubicBezTo>
                  <a:cubicBezTo>
                    <a:pt x="762616" y="2092179"/>
                    <a:pt x="244660" y="2113272"/>
                    <a:pt x="18105" y="2095304"/>
                  </a:cubicBezTo>
                  <a:cubicBezTo>
                    <a:pt x="72790" y="1927340"/>
                    <a:pt x="250130" y="1765625"/>
                    <a:pt x="247786" y="1537506"/>
                  </a:cubicBezTo>
                  <a:cubicBezTo>
                    <a:pt x="245442" y="1309387"/>
                    <a:pt x="51697" y="1118768"/>
                    <a:pt x="4042" y="726591"/>
                  </a:cubicBezTo>
                  <a:cubicBezTo>
                    <a:pt x="-20283" y="526408"/>
                    <a:pt x="67548" y="340065"/>
                    <a:pt x="203379" y="206900"/>
                  </a:cubicBezTo>
                  <a:lnTo>
                    <a:pt x="203379" y="206708"/>
                  </a:lnTo>
                  <a:lnTo>
                    <a:pt x="203605" y="206708"/>
                  </a:lnTo>
                  <a:cubicBezTo>
                    <a:pt x="332512" y="77755"/>
                    <a:pt x="505564" y="-2246"/>
                    <a:pt x="664962" y="48"/>
                  </a:cubicBezTo>
                  <a:close/>
                </a:path>
              </a:pathLst>
            </a:custGeom>
            <a:grpFill/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12" name="Freeform 11"/>
            <p:cNvSpPr>
              <a:spLocks noEditPoints="1"/>
            </p:cNvSpPr>
            <p:nvPr/>
          </p:nvSpPr>
          <p:spPr bwMode="black">
            <a:xfrm rot="17995606">
              <a:off x="1607408" y="3900729"/>
              <a:ext cx="429800" cy="337492"/>
            </a:xfrm>
            <a:custGeom>
              <a:avLst/>
              <a:gdLst>
                <a:gd name="T0" fmla="*/ 1304 w 1423"/>
                <a:gd name="T1" fmla="*/ 301 h 1114"/>
                <a:gd name="T2" fmla="*/ 1302 w 1423"/>
                <a:gd name="T3" fmla="*/ 297 h 1114"/>
                <a:gd name="T4" fmla="*/ 719 w 1423"/>
                <a:gd name="T5" fmla="*/ 113 h 1114"/>
                <a:gd name="T6" fmla="*/ 496 w 1423"/>
                <a:gd name="T7" fmla="*/ 416 h 1114"/>
                <a:gd name="T8" fmla="*/ 441 w 1423"/>
                <a:gd name="T9" fmla="*/ 482 h 1114"/>
                <a:gd name="T10" fmla="*/ 375 w 1423"/>
                <a:gd name="T11" fmla="*/ 536 h 1114"/>
                <a:gd name="T12" fmla="*/ 290 w 1423"/>
                <a:gd name="T13" fmla="*/ 648 h 1114"/>
                <a:gd name="T14" fmla="*/ 470 w 1423"/>
                <a:gd name="T15" fmla="*/ 973 h 1114"/>
                <a:gd name="T16" fmla="*/ 610 w 1423"/>
                <a:gd name="T17" fmla="*/ 960 h 1114"/>
                <a:gd name="T18" fmla="*/ 775 w 1423"/>
                <a:gd name="T19" fmla="*/ 921 h 1114"/>
                <a:gd name="T20" fmla="*/ 932 w 1423"/>
                <a:gd name="T21" fmla="*/ 927 h 1114"/>
                <a:gd name="T22" fmla="*/ 1151 w 1423"/>
                <a:gd name="T23" fmla="*/ 893 h 1114"/>
                <a:gd name="T24" fmla="*/ 1304 w 1423"/>
                <a:gd name="T25" fmla="*/ 301 h 1114"/>
                <a:gd name="T26" fmla="*/ 1024 w 1423"/>
                <a:gd name="T27" fmla="*/ 311 h 1114"/>
                <a:gd name="T28" fmla="*/ 1024 w 1423"/>
                <a:gd name="T29" fmla="*/ 311 h 1114"/>
                <a:gd name="T30" fmla="*/ 873 w 1423"/>
                <a:gd name="T31" fmla="*/ 299 h 1114"/>
                <a:gd name="T32" fmla="*/ 873 w 1423"/>
                <a:gd name="T33" fmla="*/ 299 h 1114"/>
                <a:gd name="T34" fmla="*/ 799 w 1423"/>
                <a:gd name="T35" fmla="*/ 278 h 1114"/>
                <a:gd name="T36" fmla="*/ 821 w 1423"/>
                <a:gd name="T37" fmla="*/ 203 h 1114"/>
                <a:gd name="T38" fmla="*/ 828 w 1423"/>
                <a:gd name="T39" fmla="*/ 200 h 1114"/>
                <a:gd name="T40" fmla="*/ 1101 w 1423"/>
                <a:gd name="T41" fmla="*/ 234 h 1114"/>
                <a:gd name="T42" fmla="*/ 1108 w 1423"/>
                <a:gd name="T43" fmla="*/ 244 h 1114"/>
                <a:gd name="T44" fmla="*/ 1087 w 1423"/>
                <a:gd name="T45" fmla="*/ 318 h 1114"/>
                <a:gd name="T46" fmla="*/ 1024 w 1423"/>
                <a:gd name="T47" fmla="*/ 311 h 1114"/>
                <a:gd name="T48" fmla="*/ 14 w 1423"/>
                <a:gd name="T49" fmla="*/ 967 h 1114"/>
                <a:gd name="T50" fmla="*/ 53 w 1423"/>
                <a:gd name="T51" fmla="*/ 1037 h 1114"/>
                <a:gd name="T52" fmla="*/ 115 w 1423"/>
                <a:gd name="T53" fmla="*/ 1064 h 1114"/>
                <a:gd name="T54" fmla="*/ 24 w 1423"/>
                <a:gd name="T55" fmla="*/ 900 h 1114"/>
                <a:gd name="T56" fmla="*/ 14 w 1423"/>
                <a:gd name="T57" fmla="*/ 967 h 1114"/>
                <a:gd name="T58" fmla="*/ 400 w 1423"/>
                <a:gd name="T59" fmla="*/ 959 h 1114"/>
                <a:gd name="T60" fmla="*/ 265 w 1423"/>
                <a:gd name="T61" fmla="*/ 714 h 1114"/>
                <a:gd name="T62" fmla="*/ 190 w 1423"/>
                <a:gd name="T63" fmla="*/ 686 h 1114"/>
                <a:gd name="T64" fmla="*/ 175 w 1423"/>
                <a:gd name="T65" fmla="*/ 764 h 1114"/>
                <a:gd name="T66" fmla="*/ 310 w 1423"/>
                <a:gd name="T67" fmla="*/ 1008 h 1114"/>
                <a:gd name="T68" fmla="*/ 385 w 1423"/>
                <a:gd name="T69" fmla="*/ 1037 h 1114"/>
                <a:gd name="T70" fmla="*/ 400 w 1423"/>
                <a:gd name="T71" fmla="*/ 959 h 1114"/>
                <a:gd name="T72" fmla="*/ 266 w 1423"/>
                <a:gd name="T73" fmla="*/ 1026 h 1114"/>
                <a:gd name="T74" fmla="*/ 136 w 1423"/>
                <a:gd name="T75" fmla="*/ 792 h 1114"/>
                <a:gd name="T76" fmla="*/ 65 w 1423"/>
                <a:gd name="T77" fmla="*/ 764 h 1114"/>
                <a:gd name="T78" fmla="*/ 50 w 1423"/>
                <a:gd name="T79" fmla="*/ 840 h 1114"/>
                <a:gd name="T80" fmla="*/ 180 w 1423"/>
                <a:gd name="T81" fmla="*/ 1074 h 1114"/>
                <a:gd name="T82" fmla="*/ 251 w 1423"/>
                <a:gd name="T83" fmla="*/ 1101 h 1114"/>
                <a:gd name="T84" fmla="*/ 266 w 1423"/>
                <a:gd name="T85" fmla="*/ 1026 h 1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23" h="1114">
                  <a:moveTo>
                    <a:pt x="1304" y="301"/>
                  </a:moveTo>
                  <a:cubicBezTo>
                    <a:pt x="1303" y="298"/>
                    <a:pt x="1304" y="300"/>
                    <a:pt x="1302" y="297"/>
                  </a:cubicBezTo>
                  <a:cubicBezTo>
                    <a:pt x="1184" y="83"/>
                    <a:pt x="922" y="0"/>
                    <a:pt x="719" y="113"/>
                  </a:cubicBezTo>
                  <a:cubicBezTo>
                    <a:pt x="602" y="177"/>
                    <a:pt x="570" y="311"/>
                    <a:pt x="496" y="416"/>
                  </a:cubicBezTo>
                  <a:cubicBezTo>
                    <a:pt x="476" y="444"/>
                    <a:pt x="458" y="465"/>
                    <a:pt x="441" y="482"/>
                  </a:cubicBezTo>
                  <a:cubicBezTo>
                    <a:pt x="418" y="504"/>
                    <a:pt x="397" y="520"/>
                    <a:pt x="375" y="536"/>
                  </a:cubicBezTo>
                  <a:cubicBezTo>
                    <a:pt x="334" y="566"/>
                    <a:pt x="296" y="593"/>
                    <a:pt x="290" y="648"/>
                  </a:cubicBezTo>
                  <a:cubicBezTo>
                    <a:pt x="470" y="973"/>
                    <a:pt x="470" y="973"/>
                    <a:pt x="470" y="973"/>
                  </a:cubicBezTo>
                  <a:cubicBezTo>
                    <a:pt x="519" y="997"/>
                    <a:pt x="563" y="978"/>
                    <a:pt x="610" y="960"/>
                  </a:cubicBezTo>
                  <a:cubicBezTo>
                    <a:pt x="654" y="943"/>
                    <a:pt x="697" y="925"/>
                    <a:pt x="775" y="921"/>
                  </a:cubicBezTo>
                  <a:cubicBezTo>
                    <a:pt x="827" y="918"/>
                    <a:pt x="880" y="924"/>
                    <a:pt x="932" y="927"/>
                  </a:cubicBezTo>
                  <a:cubicBezTo>
                    <a:pt x="1008" y="932"/>
                    <a:pt x="1082" y="931"/>
                    <a:pt x="1151" y="893"/>
                  </a:cubicBezTo>
                  <a:cubicBezTo>
                    <a:pt x="1354" y="780"/>
                    <a:pt x="1423" y="515"/>
                    <a:pt x="1304" y="301"/>
                  </a:cubicBezTo>
                  <a:close/>
                  <a:moveTo>
                    <a:pt x="1024" y="311"/>
                  </a:moveTo>
                  <a:cubicBezTo>
                    <a:pt x="1024" y="311"/>
                    <a:pt x="1024" y="311"/>
                    <a:pt x="1024" y="311"/>
                  </a:cubicBezTo>
                  <a:cubicBezTo>
                    <a:pt x="983" y="270"/>
                    <a:pt x="917" y="279"/>
                    <a:pt x="873" y="299"/>
                  </a:cubicBezTo>
                  <a:cubicBezTo>
                    <a:pt x="873" y="299"/>
                    <a:pt x="873" y="299"/>
                    <a:pt x="873" y="299"/>
                  </a:cubicBezTo>
                  <a:cubicBezTo>
                    <a:pt x="847" y="313"/>
                    <a:pt x="814" y="304"/>
                    <a:pt x="799" y="278"/>
                  </a:cubicBezTo>
                  <a:cubicBezTo>
                    <a:pt x="785" y="251"/>
                    <a:pt x="794" y="218"/>
                    <a:pt x="821" y="203"/>
                  </a:cubicBezTo>
                  <a:cubicBezTo>
                    <a:pt x="823" y="202"/>
                    <a:pt x="828" y="200"/>
                    <a:pt x="828" y="200"/>
                  </a:cubicBezTo>
                  <a:cubicBezTo>
                    <a:pt x="927" y="155"/>
                    <a:pt x="1035" y="168"/>
                    <a:pt x="1101" y="234"/>
                  </a:cubicBezTo>
                  <a:cubicBezTo>
                    <a:pt x="1101" y="234"/>
                    <a:pt x="1106" y="240"/>
                    <a:pt x="1108" y="244"/>
                  </a:cubicBezTo>
                  <a:cubicBezTo>
                    <a:pt x="1122" y="270"/>
                    <a:pt x="1113" y="303"/>
                    <a:pt x="1087" y="318"/>
                  </a:cubicBezTo>
                  <a:cubicBezTo>
                    <a:pt x="1066" y="329"/>
                    <a:pt x="1041" y="326"/>
                    <a:pt x="1024" y="311"/>
                  </a:cubicBezTo>
                  <a:close/>
                  <a:moveTo>
                    <a:pt x="14" y="967"/>
                  </a:moveTo>
                  <a:cubicBezTo>
                    <a:pt x="53" y="1037"/>
                    <a:pt x="53" y="1037"/>
                    <a:pt x="53" y="1037"/>
                  </a:cubicBezTo>
                  <a:cubicBezTo>
                    <a:pt x="67" y="1062"/>
                    <a:pt x="94" y="1074"/>
                    <a:pt x="115" y="1064"/>
                  </a:cubicBezTo>
                  <a:cubicBezTo>
                    <a:pt x="24" y="900"/>
                    <a:pt x="24" y="900"/>
                    <a:pt x="24" y="900"/>
                  </a:cubicBezTo>
                  <a:cubicBezTo>
                    <a:pt x="5" y="912"/>
                    <a:pt x="0" y="941"/>
                    <a:pt x="14" y="967"/>
                  </a:cubicBezTo>
                  <a:close/>
                  <a:moveTo>
                    <a:pt x="400" y="959"/>
                  </a:moveTo>
                  <a:cubicBezTo>
                    <a:pt x="265" y="714"/>
                    <a:pt x="265" y="714"/>
                    <a:pt x="265" y="714"/>
                  </a:cubicBezTo>
                  <a:cubicBezTo>
                    <a:pt x="248" y="685"/>
                    <a:pt x="215" y="672"/>
                    <a:pt x="190" y="686"/>
                  </a:cubicBezTo>
                  <a:cubicBezTo>
                    <a:pt x="166" y="699"/>
                    <a:pt x="159" y="734"/>
                    <a:pt x="175" y="764"/>
                  </a:cubicBezTo>
                  <a:cubicBezTo>
                    <a:pt x="310" y="1008"/>
                    <a:pt x="310" y="1008"/>
                    <a:pt x="310" y="1008"/>
                  </a:cubicBezTo>
                  <a:cubicBezTo>
                    <a:pt x="327" y="1038"/>
                    <a:pt x="360" y="1051"/>
                    <a:pt x="385" y="1037"/>
                  </a:cubicBezTo>
                  <a:cubicBezTo>
                    <a:pt x="410" y="1023"/>
                    <a:pt x="416" y="988"/>
                    <a:pt x="400" y="959"/>
                  </a:cubicBezTo>
                  <a:close/>
                  <a:moveTo>
                    <a:pt x="266" y="1026"/>
                  </a:moveTo>
                  <a:cubicBezTo>
                    <a:pt x="136" y="792"/>
                    <a:pt x="136" y="792"/>
                    <a:pt x="136" y="792"/>
                  </a:cubicBezTo>
                  <a:cubicBezTo>
                    <a:pt x="121" y="764"/>
                    <a:pt x="89" y="751"/>
                    <a:pt x="65" y="764"/>
                  </a:cubicBezTo>
                  <a:cubicBezTo>
                    <a:pt x="41" y="778"/>
                    <a:pt x="35" y="811"/>
                    <a:pt x="50" y="840"/>
                  </a:cubicBezTo>
                  <a:cubicBezTo>
                    <a:pt x="180" y="1074"/>
                    <a:pt x="180" y="1074"/>
                    <a:pt x="180" y="1074"/>
                  </a:cubicBezTo>
                  <a:cubicBezTo>
                    <a:pt x="196" y="1102"/>
                    <a:pt x="228" y="1114"/>
                    <a:pt x="251" y="1101"/>
                  </a:cubicBezTo>
                  <a:cubicBezTo>
                    <a:pt x="275" y="1088"/>
                    <a:pt x="282" y="1055"/>
                    <a:pt x="266" y="1026"/>
                  </a:cubicBezTo>
                  <a:close/>
                </a:path>
              </a:pathLst>
            </a:custGeom>
            <a:solidFill>
              <a:srgbClr val="7FB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 dirty="0">
                <a:ln>
                  <a:solidFill>
                    <a:srgbClr val="505050">
                      <a:alpha val="0"/>
                    </a:srgb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</p:grpSp>
      <p:sp>
        <p:nvSpPr>
          <p:cNvPr id="7" name="Rectangle 6"/>
          <p:cNvSpPr>
            <a:spLocks noChangeAspect="1"/>
          </p:cNvSpPr>
          <p:nvPr/>
        </p:nvSpPr>
        <p:spPr bwMode="auto">
          <a:xfrm>
            <a:off x="3772660" y="4179547"/>
            <a:ext cx="1558553" cy="1558959"/>
          </a:xfrm>
          <a:prstGeom prst="rect">
            <a:avLst/>
          </a:prstGeom>
          <a:solidFill>
            <a:srgbClr val="7FBA00"/>
          </a:solidFill>
          <a:ln w="381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1423" tIns="45720" rIns="91423" bIns="89642" numCol="1" rtlCol="0" anchor="t" anchorCtr="0" compatLnSpc="1">
            <a:prstTxWarp prst="textNoShape">
              <a:avLst/>
            </a:prstTxWarp>
          </a:bodyPr>
          <a:lstStyle/>
          <a:p>
            <a:pPr defTabSz="913744" fontAlgn="base">
              <a:spcBef>
                <a:spcPct val="0"/>
              </a:spcBef>
              <a:spcAft>
                <a:spcPct val="0"/>
              </a:spcAft>
            </a:pPr>
            <a:r>
              <a:rPr lang="en-US" sz="2200" kern="0" dirty="0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Visualize</a:t>
            </a:r>
          </a:p>
        </p:txBody>
      </p:sp>
      <p:sp>
        <p:nvSpPr>
          <p:cNvPr id="8" name="Freeform 7"/>
          <p:cNvSpPr/>
          <p:nvPr>
            <p:custDataLst>
              <p:tags r:id="rId1"/>
            </p:custDataLst>
          </p:nvPr>
        </p:nvSpPr>
        <p:spPr>
          <a:xfrm>
            <a:off x="4143107" y="4761217"/>
            <a:ext cx="771660" cy="777962"/>
          </a:xfrm>
          <a:custGeom>
            <a:avLst/>
            <a:gdLst/>
            <a:ahLst/>
            <a:cxnLst/>
            <a:rect l="l" t="t" r="r" b="b"/>
            <a:pathLst>
              <a:path w="1188720" h="1198117">
                <a:moveTo>
                  <a:pt x="0" y="1179829"/>
                </a:moveTo>
                <a:lnTo>
                  <a:pt x="1188720" y="1179829"/>
                </a:lnTo>
                <a:lnTo>
                  <a:pt x="1188720" y="1198117"/>
                </a:lnTo>
                <a:lnTo>
                  <a:pt x="0" y="1198117"/>
                </a:lnTo>
                <a:close/>
                <a:moveTo>
                  <a:pt x="85725" y="629228"/>
                </a:moveTo>
                <a:lnTo>
                  <a:pt x="228600" y="629228"/>
                </a:lnTo>
                <a:lnTo>
                  <a:pt x="228600" y="1174749"/>
                </a:lnTo>
                <a:lnTo>
                  <a:pt x="85725" y="1174749"/>
                </a:lnTo>
                <a:close/>
                <a:moveTo>
                  <a:pt x="160954" y="560521"/>
                </a:moveTo>
                <a:lnTo>
                  <a:pt x="134893" y="565433"/>
                </a:lnTo>
                <a:lnTo>
                  <a:pt x="135875" y="570646"/>
                </a:lnTo>
                <a:lnTo>
                  <a:pt x="161936" y="565734"/>
                </a:lnTo>
                <a:close/>
                <a:moveTo>
                  <a:pt x="200045" y="527408"/>
                </a:moveTo>
                <a:lnTo>
                  <a:pt x="95801" y="547055"/>
                </a:lnTo>
                <a:lnTo>
                  <a:pt x="96784" y="552268"/>
                </a:lnTo>
                <a:lnTo>
                  <a:pt x="201028" y="532620"/>
                </a:lnTo>
                <a:close/>
                <a:moveTo>
                  <a:pt x="193530" y="502890"/>
                </a:moveTo>
                <a:lnTo>
                  <a:pt x="102316" y="520082"/>
                </a:lnTo>
                <a:lnTo>
                  <a:pt x="103299" y="525294"/>
                </a:lnTo>
                <a:lnTo>
                  <a:pt x="194512" y="508102"/>
                </a:lnTo>
                <a:close/>
                <a:moveTo>
                  <a:pt x="180500" y="479600"/>
                </a:moveTo>
                <a:lnTo>
                  <a:pt x="115347" y="491880"/>
                </a:lnTo>
                <a:lnTo>
                  <a:pt x="116329" y="497092"/>
                </a:lnTo>
                <a:lnTo>
                  <a:pt x="181482" y="484813"/>
                </a:lnTo>
                <a:close/>
                <a:moveTo>
                  <a:pt x="378883" y="434974"/>
                </a:moveTo>
                <a:lnTo>
                  <a:pt x="521758" y="434974"/>
                </a:lnTo>
                <a:lnTo>
                  <a:pt x="521758" y="1174749"/>
                </a:lnTo>
                <a:lnTo>
                  <a:pt x="378883" y="1174749"/>
                </a:lnTo>
                <a:close/>
                <a:moveTo>
                  <a:pt x="672041" y="225425"/>
                </a:moveTo>
                <a:lnTo>
                  <a:pt x="814916" y="225425"/>
                </a:lnTo>
                <a:lnTo>
                  <a:pt x="814916" y="1174749"/>
                </a:lnTo>
                <a:lnTo>
                  <a:pt x="672041" y="1174749"/>
                </a:lnTo>
                <a:close/>
                <a:moveTo>
                  <a:pt x="144046" y="189143"/>
                </a:moveTo>
                <a:cubicBezTo>
                  <a:pt x="151107" y="189037"/>
                  <a:pt x="156647" y="189144"/>
                  <a:pt x="164251" y="190420"/>
                </a:cubicBezTo>
                <a:cubicBezTo>
                  <a:pt x="171855" y="191696"/>
                  <a:pt x="181740" y="194037"/>
                  <a:pt x="189670" y="196802"/>
                </a:cubicBezTo>
                <a:cubicBezTo>
                  <a:pt x="197599" y="199568"/>
                  <a:pt x="204877" y="202865"/>
                  <a:pt x="211830" y="207013"/>
                </a:cubicBezTo>
                <a:cubicBezTo>
                  <a:pt x="218782" y="211162"/>
                  <a:pt x="225516" y="216161"/>
                  <a:pt x="231382" y="221693"/>
                </a:cubicBezTo>
                <a:cubicBezTo>
                  <a:pt x="237248" y="227224"/>
                  <a:pt x="242679" y="233712"/>
                  <a:pt x="247025" y="240201"/>
                </a:cubicBezTo>
                <a:cubicBezTo>
                  <a:pt x="251370" y="246689"/>
                  <a:pt x="254411" y="253923"/>
                  <a:pt x="257453" y="260624"/>
                </a:cubicBezTo>
                <a:cubicBezTo>
                  <a:pt x="260495" y="267325"/>
                  <a:pt x="263319" y="273282"/>
                  <a:pt x="265274" y="280409"/>
                </a:cubicBezTo>
                <a:cubicBezTo>
                  <a:pt x="267230" y="287536"/>
                  <a:pt x="268967" y="295194"/>
                  <a:pt x="269185" y="303385"/>
                </a:cubicBezTo>
                <a:cubicBezTo>
                  <a:pt x="269402" y="311575"/>
                  <a:pt x="268641" y="320510"/>
                  <a:pt x="266578" y="329552"/>
                </a:cubicBezTo>
                <a:cubicBezTo>
                  <a:pt x="264514" y="338593"/>
                  <a:pt x="261146" y="347528"/>
                  <a:pt x="256801" y="357633"/>
                </a:cubicBezTo>
                <a:cubicBezTo>
                  <a:pt x="252456" y="367738"/>
                  <a:pt x="246373" y="378375"/>
                  <a:pt x="240507" y="390182"/>
                </a:cubicBezTo>
                <a:cubicBezTo>
                  <a:pt x="234641" y="401989"/>
                  <a:pt x="226277" y="418902"/>
                  <a:pt x="221606" y="428476"/>
                </a:cubicBezTo>
                <a:cubicBezTo>
                  <a:pt x="216935" y="438049"/>
                  <a:pt x="213568" y="443048"/>
                  <a:pt x="212481" y="447622"/>
                </a:cubicBezTo>
                <a:cubicBezTo>
                  <a:pt x="211395" y="452196"/>
                  <a:pt x="215414" y="453260"/>
                  <a:pt x="215088" y="455919"/>
                </a:cubicBezTo>
                <a:cubicBezTo>
                  <a:pt x="214762" y="458578"/>
                  <a:pt x="210743" y="461025"/>
                  <a:pt x="210526" y="463578"/>
                </a:cubicBezTo>
                <a:cubicBezTo>
                  <a:pt x="210309" y="466130"/>
                  <a:pt x="214219" y="467620"/>
                  <a:pt x="213785" y="471236"/>
                </a:cubicBezTo>
                <a:lnTo>
                  <a:pt x="207919" y="485277"/>
                </a:lnTo>
                <a:cubicBezTo>
                  <a:pt x="207267" y="489213"/>
                  <a:pt x="209005" y="491766"/>
                  <a:pt x="209874" y="494850"/>
                </a:cubicBezTo>
                <a:cubicBezTo>
                  <a:pt x="210743" y="497935"/>
                  <a:pt x="213567" y="499743"/>
                  <a:pt x="213133" y="503785"/>
                </a:cubicBezTo>
                <a:cubicBezTo>
                  <a:pt x="212698" y="507827"/>
                  <a:pt x="207158" y="514954"/>
                  <a:pt x="207267" y="519102"/>
                </a:cubicBezTo>
                <a:cubicBezTo>
                  <a:pt x="207376" y="523251"/>
                  <a:pt x="213024" y="525166"/>
                  <a:pt x="213785" y="528676"/>
                </a:cubicBezTo>
                <a:lnTo>
                  <a:pt x="211830" y="540164"/>
                </a:lnTo>
                <a:cubicBezTo>
                  <a:pt x="210743" y="542929"/>
                  <a:pt x="207484" y="543461"/>
                  <a:pt x="207267" y="545270"/>
                </a:cubicBezTo>
                <a:cubicBezTo>
                  <a:pt x="207050" y="547078"/>
                  <a:pt x="209440" y="548780"/>
                  <a:pt x="210526" y="551013"/>
                </a:cubicBezTo>
                <a:cubicBezTo>
                  <a:pt x="211612" y="553247"/>
                  <a:pt x="213676" y="555587"/>
                  <a:pt x="213785" y="558672"/>
                </a:cubicBezTo>
                <a:cubicBezTo>
                  <a:pt x="213893" y="561757"/>
                  <a:pt x="213242" y="566437"/>
                  <a:pt x="211178" y="569522"/>
                </a:cubicBezTo>
                <a:cubicBezTo>
                  <a:pt x="209114" y="572606"/>
                  <a:pt x="207593" y="574628"/>
                  <a:pt x="201401" y="577180"/>
                </a:cubicBezTo>
                <a:cubicBezTo>
                  <a:pt x="195209" y="579733"/>
                  <a:pt x="179024" y="582606"/>
                  <a:pt x="174027" y="584839"/>
                </a:cubicBezTo>
                <a:cubicBezTo>
                  <a:pt x="169031" y="587073"/>
                  <a:pt x="172724" y="588137"/>
                  <a:pt x="171420" y="590583"/>
                </a:cubicBezTo>
                <a:cubicBezTo>
                  <a:pt x="170117" y="593030"/>
                  <a:pt x="169248" y="597072"/>
                  <a:pt x="166206" y="599518"/>
                </a:cubicBezTo>
                <a:cubicBezTo>
                  <a:pt x="163164" y="601964"/>
                  <a:pt x="157733" y="604198"/>
                  <a:pt x="153171" y="605262"/>
                </a:cubicBezTo>
                <a:cubicBezTo>
                  <a:pt x="148608" y="606326"/>
                  <a:pt x="142960" y="606645"/>
                  <a:pt x="138832" y="605900"/>
                </a:cubicBezTo>
                <a:cubicBezTo>
                  <a:pt x="134704" y="605156"/>
                  <a:pt x="131011" y="602603"/>
                  <a:pt x="128404" y="600794"/>
                </a:cubicBezTo>
                <a:cubicBezTo>
                  <a:pt x="125797" y="598986"/>
                  <a:pt x="124276" y="597391"/>
                  <a:pt x="123189" y="595051"/>
                </a:cubicBezTo>
                <a:lnTo>
                  <a:pt x="121886" y="586754"/>
                </a:lnTo>
                <a:cubicBezTo>
                  <a:pt x="118084" y="584626"/>
                  <a:pt x="110806" y="581648"/>
                  <a:pt x="110806" y="581648"/>
                </a:cubicBezTo>
                <a:cubicBezTo>
                  <a:pt x="107004" y="580052"/>
                  <a:pt x="100704" y="577712"/>
                  <a:pt x="97119" y="575904"/>
                </a:cubicBezTo>
                <a:cubicBezTo>
                  <a:pt x="93534" y="574096"/>
                  <a:pt x="91471" y="572713"/>
                  <a:pt x="89298" y="570798"/>
                </a:cubicBezTo>
                <a:cubicBezTo>
                  <a:pt x="87125" y="568883"/>
                  <a:pt x="84844" y="566756"/>
                  <a:pt x="84084" y="564416"/>
                </a:cubicBezTo>
                <a:cubicBezTo>
                  <a:pt x="83324" y="562076"/>
                  <a:pt x="83975" y="559417"/>
                  <a:pt x="84736" y="556757"/>
                </a:cubicBezTo>
                <a:lnTo>
                  <a:pt x="88646" y="548461"/>
                </a:lnTo>
                <a:cubicBezTo>
                  <a:pt x="88972" y="546546"/>
                  <a:pt x="87668" y="546759"/>
                  <a:pt x="86691" y="545270"/>
                </a:cubicBezTo>
                <a:cubicBezTo>
                  <a:pt x="85713" y="543780"/>
                  <a:pt x="83650" y="541866"/>
                  <a:pt x="82780" y="539526"/>
                </a:cubicBezTo>
                <a:cubicBezTo>
                  <a:pt x="81911" y="537185"/>
                  <a:pt x="81151" y="533994"/>
                  <a:pt x="81477" y="531229"/>
                </a:cubicBezTo>
                <a:cubicBezTo>
                  <a:pt x="81803" y="528463"/>
                  <a:pt x="83758" y="525166"/>
                  <a:pt x="84736" y="522932"/>
                </a:cubicBezTo>
                <a:cubicBezTo>
                  <a:pt x="85713" y="520698"/>
                  <a:pt x="87451" y="519315"/>
                  <a:pt x="87343" y="517826"/>
                </a:cubicBezTo>
                <a:cubicBezTo>
                  <a:pt x="87234" y="516337"/>
                  <a:pt x="85061" y="515699"/>
                  <a:pt x="84084" y="513997"/>
                </a:cubicBezTo>
                <a:cubicBezTo>
                  <a:pt x="83106" y="512295"/>
                  <a:pt x="81803" y="509955"/>
                  <a:pt x="81477" y="507615"/>
                </a:cubicBezTo>
                <a:cubicBezTo>
                  <a:pt x="81151" y="505274"/>
                  <a:pt x="81042" y="502615"/>
                  <a:pt x="82129" y="499956"/>
                </a:cubicBezTo>
                <a:lnTo>
                  <a:pt x="87994" y="491659"/>
                </a:lnTo>
                <a:cubicBezTo>
                  <a:pt x="88646" y="489319"/>
                  <a:pt x="87125" y="488681"/>
                  <a:pt x="86039" y="485915"/>
                </a:cubicBezTo>
                <a:cubicBezTo>
                  <a:pt x="84953" y="483150"/>
                  <a:pt x="82346" y="478469"/>
                  <a:pt x="81477" y="475065"/>
                </a:cubicBezTo>
                <a:cubicBezTo>
                  <a:pt x="80608" y="471662"/>
                  <a:pt x="80282" y="468790"/>
                  <a:pt x="80825" y="465492"/>
                </a:cubicBezTo>
                <a:cubicBezTo>
                  <a:pt x="81368" y="462195"/>
                  <a:pt x="86148" y="458259"/>
                  <a:pt x="85387" y="453366"/>
                </a:cubicBezTo>
                <a:cubicBezTo>
                  <a:pt x="84627" y="448473"/>
                  <a:pt x="80173" y="444005"/>
                  <a:pt x="76263" y="436134"/>
                </a:cubicBezTo>
                <a:cubicBezTo>
                  <a:pt x="72352" y="428263"/>
                  <a:pt x="68116" y="418583"/>
                  <a:pt x="61924" y="406138"/>
                </a:cubicBezTo>
                <a:cubicBezTo>
                  <a:pt x="55732" y="393693"/>
                  <a:pt x="44761" y="373695"/>
                  <a:pt x="39112" y="361463"/>
                </a:cubicBezTo>
                <a:cubicBezTo>
                  <a:pt x="33464" y="349230"/>
                  <a:pt x="30313" y="342635"/>
                  <a:pt x="28032" y="332743"/>
                </a:cubicBezTo>
                <a:cubicBezTo>
                  <a:pt x="25751" y="322850"/>
                  <a:pt x="24664" y="313064"/>
                  <a:pt x="25425" y="302108"/>
                </a:cubicBezTo>
                <a:cubicBezTo>
                  <a:pt x="26186" y="291152"/>
                  <a:pt x="29118" y="277324"/>
                  <a:pt x="32595" y="267006"/>
                </a:cubicBezTo>
                <a:cubicBezTo>
                  <a:pt x="36071" y="256688"/>
                  <a:pt x="40525" y="248498"/>
                  <a:pt x="46282" y="240201"/>
                </a:cubicBezTo>
                <a:cubicBezTo>
                  <a:pt x="52039" y="231904"/>
                  <a:pt x="58991" y="223820"/>
                  <a:pt x="67138" y="217225"/>
                </a:cubicBezTo>
                <a:cubicBezTo>
                  <a:pt x="75285" y="210630"/>
                  <a:pt x="86039" y="204992"/>
                  <a:pt x="95164" y="200631"/>
                </a:cubicBezTo>
                <a:cubicBezTo>
                  <a:pt x="104289" y="196270"/>
                  <a:pt x="113739" y="192973"/>
                  <a:pt x="121886" y="191058"/>
                </a:cubicBezTo>
                <a:cubicBezTo>
                  <a:pt x="130033" y="189143"/>
                  <a:pt x="136985" y="189250"/>
                  <a:pt x="144046" y="189143"/>
                </a:cubicBezTo>
                <a:close/>
                <a:moveTo>
                  <a:pt x="965198" y="0"/>
                </a:moveTo>
                <a:lnTo>
                  <a:pt x="1108073" y="0"/>
                </a:lnTo>
                <a:lnTo>
                  <a:pt x="1108073" y="1174749"/>
                </a:lnTo>
                <a:lnTo>
                  <a:pt x="965198" y="1174749"/>
                </a:lnTo>
                <a:close/>
              </a:path>
            </a:pathLst>
          </a:custGeom>
          <a:solidFill>
            <a:srgbClr val="FFFFFF"/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sym typeface="Segoe UI"/>
            </a:endParaRPr>
          </a:p>
        </p:txBody>
      </p:sp>
      <p:sp>
        <p:nvSpPr>
          <p:cNvPr id="9" name="Rectangle 8"/>
          <p:cNvSpPr>
            <a:spLocks noChangeAspect="1"/>
          </p:cNvSpPr>
          <p:nvPr/>
        </p:nvSpPr>
        <p:spPr bwMode="auto">
          <a:xfrm>
            <a:off x="483559" y="4179547"/>
            <a:ext cx="1558553" cy="1558959"/>
          </a:xfrm>
          <a:prstGeom prst="rect">
            <a:avLst/>
          </a:prstGeom>
          <a:solidFill>
            <a:srgbClr val="7FBA00"/>
          </a:solidFill>
          <a:ln w="381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1423" tIns="45720" rIns="91423" bIns="89642" numCol="1" rtlCol="0" anchor="t" anchorCtr="0" compatLnSpc="1">
            <a:prstTxWarp prst="textNoShape">
              <a:avLst/>
            </a:prstTxWarp>
          </a:bodyPr>
          <a:lstStyle/>
          <a:p>
            <a:pPr defTabSz="91374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200" kern="0" dirty="0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Discover</a:t>
            </a:r>
          </a:p>
        </p:txBody>
      </p:sp>
      <p:sp>
        <p:nvSpPr>
          <p:cNvPr id="10" name="Freeform 8"/>
          <p:cNvSpPr>
            <a:spLocks noEditPoints="1"/>
          </p:cNvSpPr>
          <p:nvPr/>
        </p:nvSpPr>
        <p:spPr bwMode="black">
          <a:xfrm>
            <a:off x="806553" y="4733837"/>
            <a:ext cx="811646" cy="811645"/>
          </a:xfrm>
          <a:custGeom>
            <a:avLst/>
            <a:gdLst>
              <a:gd name="T0" fmla="*/ 226 w 300"/>
              <a:gd name="T1" fmla="*/ 193 h 300"/>
              <a:gd name="T2" fmla="*/ 233 w 300"/>
              <a:gd name="T3" fmla="*/ 157 h 300"/>
              <a:gd name="T4" fmla="*/ 233 w 300"/>
              <a:gd name="T5" fmla="*/ 128 h 300"/>
              <a:gd name="T6" fmla="*/ 142 w 300"/>
              <a:gd name="T7" fmla="*/ 51 h 300"/>
              <a:gd name="T8" fmla="*/ 52 w 300"/>
              <a:gd name="T9" fmla="*/ 128 h 300"/>
              <a:gd name="T10" fmla="*/ 52 w 300"/>
              <a:gd name="T11" fmla="*/ 157 h 300"/>
              <a:gd name="T12" fmla="*/ 142 w 300"/>
              <a:gd name="T13" fmla="*/ 234 h 300"/>
              <a:gd name="T14" fmla="*/ 183 w 300"/>
              <a:gd name="T15" fmla="*/ 224 h 300"/>
              <a:gd name="T16" fmla="*/ 193 w 300"/>
              <a:gd name="T17" fmla="*/ 226 h 300"/>
              <a:gd name="T18" fmla="*/ 270 w 300"/>
              <a:gd name="T19" fmla="*/ 300 h 300"/>
              <a:gd name="T20" fmla="*/ 298 w 300"/>
              <a:gd name="T21" fmla="*/ 275 h 300"/>
              <a:gd name="T22" fmla="*/ 206 w 300"/>
              <a:gd name="T23" fmla="*/ 157 h 300"/>
              <a:gd name="T24" fmla="*/ 142 w 300"/>
              <a:gd name="T25" fmla="*/ 208 h 300"/>
              <a:gd name="T26" fmla="*/ 78 w 300"/>
              <a:gd name="T27" fmla="*/ 157 h 300"/>
              <a:gd name="T28" fmla="*/ 78 w 300"/>
              <a:gd name="T29" fmla="*/ 128 h 300"/>
              <a:gd name="T30" fmla="*/ 142 w 300"/>
              <a:gd name="T31" fmla="*/ 77 h 300"/>
              <a:gd name="T32" fmla="*/ 206 w 300"/>
              <a:gd name="T33" fmla="*/ 128 h 300"/>
              <a:gd name="T34" fmla="*/ 206 w 300"/>
              <a:gd name="T35" fmla="*/ 157 h 300"/>
              <a:gd name="T36" fmla="*/ 197 w 300"/>
              <a:gd name="T37" fmla="*/ 142 h 300"/>
              <a:gd name="T38" fmla="*/ 156 w 300"/>
              <a:gd name="T39" fmla="*/ 157 h 300"/>
              <a:gd name="T40" fmla="*/ 142 w 300"/>
              <a:gd name="T41" fmla="*/ 197 h 300"/>
              <a:gd name="T42" fmla="*/ 128 w 300"/>
              <a:gd name="T43" fmla="*/ 157 h 300"/>
              <a:gd name="T44" fmla="*/ 87 w 300"/>
              <a:gd name="T45" fmla="*/ 142 h 300"/>
              <a:gd name="T46" fmla="*/ 128 w 300"/>
              <a:gd name="T47" fmla="*/ 128 h 300"/>
              <a:gd name="T48" fmla="*/ 142 w 300"/>
              <a:gd name="T49" fmla="*/ 88 h 300"/>
              <a:gd name="T50" fmla="*/ 156 w 300"/>
              <a:gd name="T51" fmla="*/ 128 h 300"/>
              <a:gd name="T52" fmla="*/ 142 w 300"/>
              <a:gd name="T53" fmla="*/ 40 h 300"/>
              <a:gd name="T54" fmla="*/ 128 w 300"/>
              <a:gd name="T55" fmla="*/ 0 h 300"/>
              <a:gd name="T56" fmla="*/ 156 w 300"/>
              <a:gd name="T57" fmla="*/ 41 h 300"/>
              <a:gd name="T58" fmla="*/ 40 w 300"/>
              <a:gd name="T59" fmla="*/ 142 h 300"/>
              <a:gd name="T60" fmla="*/ 0 w 300"/>
              <a:gd name="T61" fmla="*/ 157 h 300"/>
              <a:gd name="T62" fmla="*/ 41 w 300"/>
              <a:gd name="T63" fmla="*/ 128 h 300"/>
              <a:gd name="T64" fmla="*/ 142 w 300"/>
              <a:gd name="T65" fmla="*/ 245 h 300"/>
              <a:gd name="T66" fmla="*/ 156 w 300"/>
              <a:gd name="T67" fmla="*/ 285 h 300"/>
              <a:gd name="T68" fmla="*/ 128 w 300"/>
              <a:gd name="T69" fmla="*/ 244 h 300"/>
              <a:gd name="T70" fmla="*/ 245 w 300"/>
              <a:gd name="T71" fmla="*/ 142 h 300"/>
              <a:gd name="T72" fmla="*/ 285 w 300"/>
              <a:gd name="T73" fmla="*/ 128 h 300"/>
              <a:gd name="T74" fmla="*/ 243 w 300"/>
              <a:gd name="T75" fmla="*/ 157 h 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00" h="300">
                <a:moveTo>
                  <a:pt x="298" y="266"/>
                </a:moveTo>
                <a:cubicBezTo>
                  <a:pt x="226" y="193"/>
                  <a:pt x="226" y="193"/>
                  <a:pt x="226" y="193"/>
                </a:cubicBezTo>
                <a:cubicBezTo>
                  <a:pt x="223" y="191"/>
                  <a:pt x="222" y="186"/>
                  <a:pt x="224" y="183"/>
                </a:cubicBezTo>
                <a:cubicBezTo>
                  <a:pt x="228" y="175"/>
                  <a:pt x="231" y="166"/>
                  <a:pt x="233" y="157"/>
                </a:cubicBezTo>
                <a:cubicBezTo>
                  <a:pt x="233" y="152"/>
                  <a:pt x="234" y="147"/>
                  <a:pt x="234" y="142"/>
                </a:cubicBezTo>
                <a:cubicBezTo>
                  <a:pt x="234" y="138"/>
                  <a:pt x="233" y="133"/>
                  <a:pt x="233" y="128"/>
                </a:cubicBezTo>
                <a:cubicBezTo>
                  <a:pt x="227" y="89"/>
                  <a:pt x="196" y="58"/>
                  <a:pt x="156" y="52"/>
                </a:cubicBezTo>
                <a:cubicBezTo>
                  <a:pt x="152" y="51"/>
                  <a:pt x="147" y="51"/>
                  <a:pt x="142" y="51"/>
                </a:cubicBezTo>
                <a:cubicBezTo>
                  <a:pt x="137" y="51"/>
                  <a:pt x="133" y="51"/>
                  <a:pt x="128" y="52"/>
                </a:cubicBezTo>
                <a:cubicBezTo>
                  <a:pt x="89" y="58"/>
                  <a:pt x="58" y="89"/>
                  <a:pt x="52" y="128"/>
                </a:cubicBezTo>
                <a:cubicBezTo>
                  <a:pt x="51" y="133"/>
                  <a:pt x="51" y="138"/>
                  <a:pt x="51" y="142"/>
                </a:cubicBezTo>
                <a:cubicBezTo>
                  <a:pt x="51" y="147"/>
                  <a:pt x="51" y="152"/>
                  <a:pt x="52" y="157"/>
                </a:cubicBezTo>
                <a:cubicBezTo>
                  <a:pt x="58" y="196"/>
                  <a:pt x="89" y="227"/>
                  <a:pt x="128" y="233"/>
                </a:cubicBezTo>
                <a:cubicBezTo>
                  <a:pt x="133" y="234"/>
                  <a:pt x="137" y="234"/>
                  <a:pt x="142" y="234"/>
                </a:cubicBezTo>
                <a:cubicBezTo>
                  <a:pt x="147" y="234"/>
                  <a:pt x="152" y="234"/>
                  <a:pt x="156" y="233"/>
                </a:cubicBezTo>
                <a:cubicBezTo>
                  <a:pt x="166" y="231"/>
                  <a:pt x="175" y="228"/>
                  <a:pt x="183" y="224"/>
                </a:cubicBezTo>
                <a:cubicBezTo>
                  <a:pt x="184" y="224"/>
                  <a:pt x="185" y="223"/>
                  <a:pt x="187" y="223"/>
                </a:cubicBezTo>
                <a:cubicBezTo>
                  <a:pt x="189" y="223"/>
                  <a:pt x="192" y="224"/>
                  <a:pt x="193" y="226"/>
                </a:cubicBezTo>
                <a:cubicBezTo>
                  <a:pt x="265" y="298"/>
                  <a:pt x="265" y="298"/>
                  <a:pt x="265" y="298"/>
                </a:cubicBezTo>
                <a:cubicBezTo>
                  <a:pt x="267" y="299"/>
                  <a:pt x="268" y="300"/>
                  <a:pt x="270" y="300"/>
                </a:cubicBezTo>
                <a:cubicBezTo>
                  <a:pt x="272" y="300"/>
                  <a:pt x="273" y="299"/>
                  <a:pt x="275" y="298"/>
                </a:cubicBezTo>
                <a:cubicBezTo>
                  <a:pt x="298" y="275"/>
                  <a:pt x="298" y="275"/>
                  <a:pt x="298" y="275"/>
                </a:cubicBezTo>
                <a:cubicBezTo>
                  <a:pt x="300" y="272"/>
                  <a:pt x="300" y="268"/>
                  <a:pt x="298" y="266"/>
                </a:cubicBezTo>
                <a:close/>
                <a:moveTo>
                  <a:pt x="206" y="157"/>
                </a:moveTo>
                <a:cubicBezTo>
                  <a:pt x="201" y="181"/>
                  <a:pt x="181" y="201"/>
                  <a:pt x="156" y="206"/>
                </a:cubicBezTo>
                <a:cubicBezTo>
                  <a:pt x="152" y="207"/>
                  <a:pt x="147" y="208"/>
                  <a:pt x="142" y="208"/>
                </a:cubicBezTo>
                <a:cubicBezTo>
                  <a:pt x="137" y="208"/>
                  <a:pt x="133" y="207"/>
                  <a:pt x="128" y="206"/>
                </a:cubicBezTo>
                <a:cubicBezTo>
                  <a:pt x="103" y="201"/>
                  <a:pt x="84" y="181"/>
                  <a:pt x="78" y="157"/>
                </a:cubicBezTo>
                <a:cubicBezTo>
                  <a:pt x="77" y="152"/>
                  <a:pt x="77" y="147"/>
                  <a:pt x="77" y="142"/>
                </a:cubicBezTo>
                <a:cubicBezTo>
                  <a:pt x="77" y="138"/>
                  <a:pt x="77" y="133"/>
                  <a:pt x="78" y="128"/>
                </a:cubicBezTo>
                <a:cubicBezTo>
                  <a:pt x="84" y="103"/>
                  <a:pt x="103" y="84"/>
                  <a:pt x="128" y="79"/>
                </a:cubicBezTo>
                <a:cubicBezTo>
                  <a:pt x="133" y="78"/>
                  <a:pt x="137" y="77"/>
                  <a:pt x="142" y="77"/>
                </a:cubicBezTo>
                <a:cubicBezTo>
                  <a:pt x="147" y="77"/>
                  <a:pt x="152" y="78"/>
                  <a:pt x="156" y="79"/>
                </a:cubicBezTo>
                <a:cubicBezTo>
                  <a:pt x="181" y="84"/>
                  <a:pt x="201" y="103"/>
                  <a:pt x="206" y="128"/>
                </a:cubicBezTo>
                <a:cubicBezTo>
                  <a:pt x="207" y="133"/>
                  <a:pt x="208" y="138"/>
                  <a:pt x="208" y="142"/>
                </a:cubicBezTo>
                <a:cubicBezTo>
                  <a:pt x="208" y="147"/>
                  <a:pt x="207" y="152"/>
                  <a:pt x="206" y="157"/>
                </a:cubicBezTo>
                <a:close/>
                <a:moveTo>
                  <a:pt x="195" y="128"/>
                </a:moveTo>
                <a:cubicBezTo>
                  <a:pt x="196" y="133"/>
                  <a:pt x="197" y="138"/>
                  <a:pt x="197" y="142"/>
                </a:cubicBezTo>
                <a:cubicBezTo>
                  <a:pt x="197" y="147"/>
                  <a:pt x="196" y="152"/>
                  <a:pt x="195" y="157"/>
                </a:cubicBezTo>
                <a:cubicBezTo>
                  <a:pt x="156" y="157"/>
                  <a:pt x="156" y="157"/>
                  <a:pt x="156" y="157"/>
                </a:cubicBezTo>
                <a:cubicBezTo>
                  <a:pt x="156" y="195"/>
                  <a:pt x="156" y="195"/>
                  <a:pt x="156" y="195"/>
                </a:cubicBezTo>
                <a:cubicBezTo>
                  <a:pt x="152" y="197"/>
                  <a:pt x="147" y="197"/>
                  <a:pt x="142" y="197"/>
                </a:cubicBezTo>
                <a:cubicBezTo>
                  <a:pt x="137" y="197"/>
                  <a:pt x="133" y="197"/>
                  <a:pt x="128" y="195"/>
                </a:cubicBezTo>
                <a:cubicBezTo>
                  <a:pt x="128" y="157"/>
                  <a:pt x="128" y="157"/>
                  <a:pt x="128" y="157"/>
                </a:cubicBezTo>
                <a:cubicBezTo>
                  <a:pt x="89" y="157"/>
                  <a:pt x="89" y="157"/>
                  <a:pt x="89" y="157"/>
                </a:cubicBezTo>
                <a:cubicBezTo>
                  <a:pt x="88" y="152"/>
                  <a:pt x="87" y="147"/>
                  <a:pt x="87" y="142"/>
                </a:cubicBezTo>
                <a:cubicBezTo>
                  <a:pt x="87" y="138"/>
                  <a:pt x="88" y="133"/>
                  <a:pt x="89" y="128"/>
                </a:cubicBezTo>
                <a:cubicBezTo>
                  <a:pt x="128" y="128"/>
                  <a:pt x="128" y="128"/>
                  <a:pt x="128" y="128"/>
                </a:cubicBezTo>
                <a:cubicBezTo>
                  <a:pt x="128" y="90"/>
                  <a:pt x="128" y="90"/>
                  <a:pt x="128" y="90"/>
                </a:cubicBezTo>
                <a:cubicBezTo>
                  <a:pt x="133" y="88"/>
                  <a:pt x="137" y="88"/>
                  <a:pt x="142" y="88"/>
                </a:cubicBezTo>
                <a:cubicBezTo>
                  <a:pt x="147" y="88"/>
                  <a:pt x="152" y="88"/>
                  <a:pt x="156" y="90"/>
                </a:cubicBezTo>
                <a:cubicBezTo>
                  <a:pt x="156" y="128"/>
                  <a:pt x="156" y="128"/>
                  <a:pt x="156" y="128"/>
                </a:cubicBezTo>
                <a:lnTo>
                  <a:pt x="195" y="128"/>
                </a:lnTo>
                <a:close/>
                <a:moveTo>
                  <a:pt x="142" y="40"/>
                </a:moveTo>
                <a:cubicBezTo>
                  <a:pt x="137" y="40"/>
                  <a:pt x="133" y="41"/>
                  <a:pt x="128" y="41"/>
                </a:cubicBezTo>
                <a:cubicBezTo>
                  <a:pt x="128" y="0"/>
                  <a:pt x="128" y="0"/>
                  <a:pt x="128" y="0"/>
                </a:cubicBezTo>
                <a:cubicBezTo>
                  <a:pt x="156" y="0"/>
                  <a:pt x="156" y="0"/>
                  <a:pt x="156" y="0"/>
                </a:cubicBezTo>
                <a:cubicBezTo>
                  <a:pt x="156" y="41"/>
                  <a:pt x="156" y="41"/>
                  <a:pt x="156" y="41"/>
                </a:cubicBezTo>
                <a:cubicBezTo>
                  <a:pt x="152" y="41"/>
                  <a:pt x="147" y="40"/>
                  <a:pt x="142" y="40"/>
                </a:cubicBezTo>
                <a:close/>
                <a:moveTo>
                  <a:pt x="40" y="142"/>
                </a:moveTo>
                <a:cubicBezTo>
                  <a:pt x="40" y="147"/>
                  <a:pt x="40" y="152"/>
                  <a:pt x="41" y="157"/>
                </a:cubicBezTo>
                <a:cubicBezTo>
                  <a:pt x="0" y="157"/>
                  <a:pt x="0" y="157"/>
                  <a:pt x="0" y="157"/>
                </a:cubicBezTo>
                <a:cubicBezTo>
                  <a:pt x="0" y="128"/>
                  <a:pt x="0" y="128"/>
                  <a:pt x="0" y="128"/>
                </a:cubicBezTo>
                <a:cubicBezTo>
                  <a:pt x="41" y="128"/>
                  <a:pt x="41" y="128"/>
                  <a:pt x="41" y="128"/>
                </a:cubicBezTo>
                <a:cubicBezTo>
                  <a:pt x="40" y="133"/>
                  <a:pt x="40" y="138"/>
                  <a:pt x="40" y="142"/>
                </a:cubicBezTo>
                <a:close/>
                <a:moveTo>
                  <a:pt x="142" y="245"/>
                </a:moveTo>
                <a:cubicBezTo>
                  <a:pt x="147" y="245"/>
                  <a:pt x="152" y="244"/>
                  <a:pt x="156" y="244"/>
                </a:cubicBezTo>
                <a:cubicBezTo>
                  <a:pt x="156" y="285"/>
                  <a:pt x="156" y="285"/>
                  <a:pt x="156" y="285"/>
                </a:cubicBezTo>
                <a:cubicBezTo>
                  <a:pt x="128" y="285"/>
                  <a:pt x="128" y="285"/>
                  <a:pt x="128" y="285"/>
                </a:cubicBezTo>
                <a:cubicBezTo>
                  <a:pt x="128" y="244"/>
                  <a:pt x="128" y="244"/>
                  <a:pt x="128" y="244"/>
                </a:cubicBezTo>
                <a:cubicBezTo>
                  <a:pt x="133" y="244"/>
                  <a:pt x="137" y="245"/>
                  <a:pt x="142" y="245"/>
                </a:cubicBezTo>
                <a:close/>
                <a:moveTo>
                  <a:pt x="245" y="142"/>
                </a:moveTo>
                <a:cubicBezTo>
                  <a:pt x="245" y="138"/>
                  <a:pt x="244" y="133"/>
                  <a:pt x="243" y="128"/>
                </a:cubicBezTo>
                <a:cubicBezTo>
                  <a:pt x="285" y="128"/>
                  <a:pt x="285" y="128"/>
                  <a:pt x="285" y="128"/>
                </a:cubicBezTo>
                <a:cubicBezTo>
                  <a:pt x="285" y="157"/>
                  <a:pt x="285" y="157"/>
                  <a:pt x="285" y="157"/>
                </a:cubicBezTo>
                <a:cubicBezTo>
                  <a:pt x="243" y="157"/>
                  <a:pt x="243" y="157"/>
                  <a:pt x="243" y="157"/>
                </a:cubicBezTo>
                <a:cubicBezTo>
                  <a:pt x="244" y="152"/>
                  <a:pt x="245" y="147"/>
                  <a:pt x="245" y="14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80687" tIns="40344" rIns="80687" bIns="40344" numCol="1" anchor="t" anchorCtr="0" compatLnSpc="1">
            <a:prstTxWarp prst="textNoShape">
              <a:avLst/>
            </a:prstTxWarp>
          </a:bodyPr>
          <a:lstStyle/>
          <a:p>
            <a:endParaRPr lang="en-US" sz="1600" ker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1082413" y="971771"/>
            <a:ext cx="1354171" cy="1357298"/>
            <a:chOff x="714202" y="1480126"/>
            <a:chExt cx="1354171" cy="1357298"/>
          </a:xfrm>
        </p:grpSpPr>
        <p:sp>
          <p:nvSpPr>
            <p:cNvPr id="14" name="Rectangle 13"/>
            <p:cNvSpPr/>
            <p:nvPr/>
          </p:nvSpPr>
          <p:spPr bwMode="auto">
            <a:xfrm>
              <a:off x="714202" y="1480126"/>
              <a:ext cx="1354171" cy="1357298"/>
            </a:xfrm>
            <a:prstGeom prst="rect">
              <a:avLst/>
            </a:prstGeom>
            <a:solidFill>
              <a:srgbClr val="0066F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248694" tIns="124347" rIns="248694" bIns="19895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74320" marR="0" lvl="0" indent="0" defTabSz="1268069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4" b="0" i="0" u="none" strike="noStrike" kern="0" cap="none" spc="0" normalizeH="0" baseline="0" noProof="0" dirty="0" smtClean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15" name="Group 14"/>
            <p:cNvGrpSpPr/>
            <p:nvPr/>
          </p:nvGrpSpPr>
          <p:grpSpPr>
            <a:xfrm>
              <a:off x="860244" y="1715108"/>
              <a:ext cx="1062085" cy="879592"/>
              <a:chOff x="-1246188" y="1052513"/>
              <a:chExt cx="1487488" cy="1231901"/>
            </a:xfrm>
            <a:solidFill>
              <a:srgbClr val="FFFFFF"/>
            </a:solidFill>
          </p:grpSpPr>
          <p:sp>
            <p:nvSpPr>
              <p:cNvPr id="16" name="Freeform 5"/>
              <p:cNvSpPr>
                <a:spLocks/>
              </p:cNvSpPr>
              <p:nvPr/>
            </p:nvSpPr>
            <p:spPr bwMode="auto">
              <a:xfrm>
                <a:off x="-876300" y="1052513"/>
                <a:ext cx="396875" cy="147638"/>
              </a:xfrm>
              <a:custGeom>
                <a:avLst/>
                <a:gdLst>
                  <a:gd name="T0" fmla="*/ 0 w 105"/>
                  <a:gd name="T1" fmla="*/ 39 h 39"/>
                  <a:gd name="T2" fmla="*/ 13 w 105"/>
                  <a:gd name="T3" fmla="*/ 35 h 39"/>
                  <a:gd name="T4" fmla="*/ 96 w 105"/>
                  <a:gd name="T5" fmla="*/ 35 h 39"/>
                  <a:gd name="T6" fmla="*/ 105 w 105"/>
                  <a:gd name="T7" fmla="*/ 37 h 39"/>
                  <a:gd name="T8" fmla="*/ 94 w 105"/>
                  <a:gd name="T9" fmla="*/ 14 h 39"/>
                  <a:gd name="T10" fmla="*/ 72 w 105"/>
                  <a:gd name="T11" fmla="*/ 0 h 39"/>
                  <a:gd name="T12" fmla="*/ 35 w 105"/>
                  <a:gd name="T13" fmla="*/ 0 h 39"/>
                  <a:gd name="T14" fmla="*/ 14 w 105"/>
                  <a:gd name="T15" fmla="*/ 14 h 39"/>
                  <a:gd name="T16" fmla="*/ 0 w 105"/>
                  <a:gd name="T17" fmla="*/ 39 h 39"/>
                  <a:gd name="T18" fmla="*/ 0 w 105"/>
                  <a:gd name="T19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5" h="39">
                    <a:moveTo>
                      <a:pt x="0" y="39"/>
                    </a:moveTo>
                    <a:cubicBezTo>
                      <a:pt x="4" y="36"/>
                      <a:pt x="8" y="35"/>
                      <a:pt x="13" y="35"/>
                    </a:cubicBezTo>
                    <a:cubicBezTo>
                      <a:pt x="96" y="35"/>
                      <a:pt x="96" y="35"/>
                      <a:pt x="96" y="35"/>
                    </a:cubicBezTo>
                    <a:cubicBezTo>
                      <a:pt x="99" y="35"/>
                      <a:pt x="102" y="36"/>
                      <a:pt x="105" y="37"/>
                    </a:cubicBezTo>
                    <a:cubicBezTo>
                      <a:pt x="94" y="14"/>
                      <a:pt x="94" y="14"/>
                      <a:pt x="94" y="14"/>
                    </a:cubicBezTo>
                    <a:cubicBezTo>
                      <a:pt x="90" y="7"/>
                      <a:pt x="80" y="0"/>
                      <a:pt x="72" y="0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27" y="0"/>
                      <a:pt x="17" y="7"/>
                      <a:pt x="14" y="14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39"/>
                      <a:pt x="0" y="39"/>
                      <a:pt x="0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4347" tIns="62174" rIns="124347" bIns="62174" numCol="1" anchor="t" anchorCtr="0" compatLnSpc="1">
                <a:prstTxWarp prst="textNoShape">
                  <a:avLst/>
                </a:prstTxWarp>
              </a:bodyPr>
              <a:lstStyle/>
              <a:p>
                <a:pPr marL="274320" marR="0" lvl="0" indent="0" defTabSz="62179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329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7" name="Freeform 6"/>
              <p:cNvSpPr>
                <a:spLocks noEditPoints="1"/>
              </p:cNvSpPr>
              <p:nvPr/>
            </p:nvSpPr>
            <p:spPr bwMode="auto">
              <a:xfrm>
                <a:off x="-260350" y="1395413"/>
                <a:ext cx="501650" cy="508000"/>
              </a:xfrm>
              <a:custGeom>
                <a:avLst/>
                <a:gdLst>
                  <a:gd name="T0" fmla="*/ 0 w 316"/>
                  <a:gd name="T1" fmla="*/ 0 h 320"/>
                  <a:gd name="T2" fmla="*/ 0 w 316"/>
                  <a:gd name="T3" fmla="*/ 320 h 320"/>
                  <a:gd name="T4" fmla="*/ 78 w 316"/>
                  <a:gd name="T5" fmla="*/ 320 h 320"/>
                  <a:gd name="T6" fmla="*/ 78 w 316"/>
                  <a:gd name="T7" fmla="*/ 227 h 320"/>
                  <a:gd name="T8" fmla="*/ 240 w 316"/>
                  <a:gd name="T9" fmla="*/ 227 h 320"/>
                  <a:gd name="T10" fmla="*/ 240 w 316"/>
                  <a:gd name="T11" fmla="*/ 320 h 320"/>
                  <a:gd name="T12" fmla="*/ 316 w 316"/>
                  <a:gd name="T13" fmla="*/ 320 h 320"/>
                  <a:gd name="T14" fmla="*/ 316 w 316"/>
                  <a:gd name="T15" fmla="*/ 0 h 320"/>
                  <a:gd name="T16" fmla="*/ 0 w 316"/>
                  <a:gd name="T17" fmla="*/ 0 h 320"/>
                  <a:gd name="T18" fmla="*/ 0 w 316"/>
                  <a:gd name="T19" fmla="*/ 0 h 320"/>
                  <a:gd name="T20" fmla="*/ 0 w 316"/>
                  <a:gd name="T21" fmla="*/ 0 h 320"/>
                  <a:gd name="T22" fmla="*/ 264 w 316"/>
                  <a:gd name="T23" fmla="*/ 136 h 320"/>
                  <a:gd name="T24" fmla="*/ 45 w 316"/>
                  <a:gd name="T25" fmla="*/ 136 h 320"/>
                  <a:gd name="T26" fmla="*/ 45 w 316"/>
                  <a:gd name="T27" fmla="*/ 17 h 320"/>
                  <a:gd name="T28" fmla="*/ 264 w 316"/>
                  <a:gd name="T29" fmla="*/ 17 h 320"/>
                  <a:gd name="T30" fmla="*/ 264 w 316"/>
                  <a:gd name="T31" fmla="*/ 136 h 320"/>
                  <a:gd name="T32" fmla="*/ 264 w 316"/>
                  <a:gd name="T33" fmla="*/ 136 h 320"/>
                  <a:gd name="T34" fmla="*/ 264 w 316"/>
                  <a:gd name="T35" fmla="*/ 136 h 320"/>
                  <a:gd name="T36" fmla="*/ 112 w 316"/>
                  <a:gd name="T37" fmla="*/ 251 h 320"/>
                  <a:gd name="T38" fmla="*/ 164 w 316"/>
                  <a:gd name="T39" fmla="*/ 251 h 320"/>
                  <a:gd name="T40" fmla="*/ 164 w 316"/>
                  <a:gd name="T41" fmla="*/ 320 h 320"/>
                  <a:gd name="T42" fmla="*/ 112 w 316"/>
                  <a:gd name="T43" fmla="*/ 320 h 320"/>
                  <a:gd name="T44" fmla="*/ 112 w 316"/>
                  <a:gd name="T45" fmla="*/ 251 h 320"/>
                  <a:gd name="T46" fmla="*/ 112 w 316"/>
                  <a:gd name="T47" fmla="*/ 251 h 320"/>
                  <a:gd name="T48" fmla="*/ 112 w 316"/>
                  <a:gd name="T49" fmla="*/ 251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16" h="320">
                    <a:moveTo>
                      <a:pt x="0" y="0"/>
                    </a:moveTo>
                    <a:lnTo>
                      <a:pt x="0" y="320"/>
                    </a:lnTo>
                    <a:lnTo>
                      <a:pt x="78" y="320"/>
                    </a:lnTo>
                    <a:lnTo>
                      <a:pt x="78" y="227"/>
                    </a:lnTo>
                    <a:lnTo>
                      <a:pt x="240" y="227"/>
                    </a:lnTo>
                    <a:lnTo>
                      <a:pt x="240" y="320"/>
                    </a:lnTo>
                    <a:lnTo>
                      <a:pt x="316" y="320"/>
                    </a:lnTo>
                    <a:lnTo>
                      <a:pt x="316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  <a:moveTo>
                      <a:pt x="264" y="136"/>
                    </a:moveTo>
                    <a:lnTo>
                      <a:pt x="45" y="136"/>
                    </a:lnTo>
                    <a:lnTo>
                      <a:pt x="45" y="17"/>
                    </a:lnTo>
                    <a:lnTo>
                      <a:pt x="264" y="17"/>
                    </a:lnTo>
                    <a:lnTo>
                      <a:pt x="264" y="136"/>
                    </a:lnTo>
                    <a:lnTo>
                      <a:pt x="264" y="136"/>
                    </a:lnTo>
                    <a:lnTo>
                      <a:pt x="264" y="136"/>
                    </a:lnTo>
                    <a:close/>
                    <a:moveTo>
                      <a:pt x="112" y="251"/>
                    </a:moveTo>
                    <a:lnTo>
                      <a:pt x="164" y="251"/>
                    </a:lnTo>
                    <a:lnTo>
                      <a:pt x="164" y="320"/>
                    </a:lnTo>
                    <a:lnTo>
                      <a:pt x="112" y="320"/>
                    </a:lnTo>
                    <a:lnTo>
                      <a:pt x="112" y="251"/>
                    </a:lnTo>
                    <a:lnTo>
                      <a:pt x="112" y="251"/>
                    </a:lnTo>
                    <a:lnTo>
                      <a:pt x="112" y="25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4347" tIns="62174" rIns="124347" bIns="62174" numCol="1" anchor="t" anchorCtr="0" compatLnSpc="1">
                <a:prstTxWarp prst="textNoShape">
                  <a:avLst/>
                </a:prstTxWarp>
              </a:bodyPr>
              <a:lstStyle/>
              <a:p>
                <a:pPr marL="274320" marR="0" lvl="0" indent="0" defTabSz="62179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329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8" name="Freeform 7"/>
              <p:cNvSpPr>
                <a:spLocks noEditPoints="1"/>
              </p:cNvSpPr>
              <p:nvPr/>
            </p:nvSpPr>
            <p:spPr bwMode="auto">
              <a:xfrm>
                <a:off x="-1246188" y="1600201"/>
                <a:ext cx="714375" cy="684213"/>
              </a:xfrm>
              <a:custGeom>
                <a:avLst/>
                <a:gdLst>
                  <a:gd name="T0" fmla="*/ 113 w 189"/>
                  <a:gd name="T1" fmla="*/ 139 h 181"/>
                  <a:gd name="T2" fmla="*/ 162 w 189"/>
                  <a:gd name="T3" fmla="*/ 119 h 181"/>
                  <a:gd name="T4" fmla="*/ 162 w 189"/>
                  <a:gd name="T5" fmla="*/ 20 h 181"/>
                  <a:gd name="T6" fmla="*/ 113 w 189"/>
                  <a:gd name="T7" fmla="*/ 0 h 181"/>
                  <a:gd name="T8" fmla="*/ 63 w 189"/>
                  <a:gd name="T9" fmla="*/ 20 h 181"/>
                  <a:gd name="T10" fmla="*/ 52 w 189"/>
                  <a:gd name="T11" fmla="*/ 104 h 181"/>
                  <a:gd name="T12" fmla="*/ 7 w 189"/>
                  <a:gd name="T13" fmla="*/ 150 h 181"/>
                  <a:gd name="T14" fmla="*/ 7 w 189"/>
                  <a:gd name="T15" fmla="*/ 175 h 181"/>
                  <a:gd name="T16" fmla="*/ 20 w 189"/>
                  <a:gd name="T17" fmla="*/ 181 h 181"/>
                  <a:gd name="T18" fmla="*/ 32 w 189"/>
                  <a:gd name="T19" fmla="*/ 175 h 181"/>
                  <a:gd name="T20" fmla="*/ 78 w 189"/>
                  <a:gd name="T21" fmla="*/ 130 h 181"/>
                  <a:gd name="T22" fmla="*/ 113 w 189"/>
                  <a:gd name="T23" fmla="*/ 139 h 181"/>
                  <a:gd name="T24" fmla="*/ 79 w 189"/>
                  <a:gd name="T25" fmla="*/ 36 h 181"/>
                  <a:gd name="T26" fmla="*/ 113 w 189"/>
                  <a:gd name="T27" fmla="*/ 23 h 181"/>
                  <a:gd name="T28" fmla="*/ 146 w 189"/>
                  <a:gd name="T29" fmla="*/ 36 h 181"/>
                  <a:gd name="T30" fmla="*/ 146 w 189"/>
                  <a:gd name="T31" fmla="*/ 103 h 181"/>
                  <a:gd name="T32" fmla="*/ 113 w 189"/>
                  <a:gd name="T33" fmla="*/ 117 h 181"/>
                  <a:gd name="T34" fmla="*/ 79 w 189"/>
                  <a:gd name="T35" fmla="*/ 103 h 181"/>
                  <a:gd name="T36" fmla="*/ 79 w 189"/>
                  <a:gd name="T37" fmla="*/ 36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89" h="181">
                    <a:moveTo>
                      <a:pt x="113" y="139"/>
                    </a:moveTo>
                    <a:cubicBezTo>
                      <a:pt x="130" y="139"/>
                      <a:pt x="148" y="132"/>
                      <a:pt x="162" y="119"/>
                    </a:cubicBezTo>
                    <a:cubicBezTo>
                      <a:pt x="189" y="92"/>
                      <a:pt x="189" y="48"/>
                      <a:pt x="162" y="20"/>
                    </a:cubicBezTo>
                    <a:cubicBezTo>
                      <a:pt x="148" y="7"/>
                      <a:pt x="130" y="0"/>
                      <a:pt x="113" y="0"/>
                    </a:cubicBezTo>
                    <a:cubicBezTo>
                      <a:pt x="95" y="0"/>
                      <a:pt x="77" y="7"/>
                      <a:pt x="63" y="20"/>
                    </a:cubicBezTo>
                    <a:cubicBezTo>
                      <a:pt x="41" y="43"/>
                      <a:pt x="37" y="78"/>
                      <a:pt x="52" y="104"/>
                    </a:cubicBezTo>
                    <a:cubicBezTo>
                      <a:pt x="7" y="150"/>
                      <a:pt x="7" y="150"/>
                      <a:pt x="7" y="150"/>
                    </a:cubicBezTo>
                    <a:cubicBezTo>
                      <a:pt x="0" y="157"/>
                      <a:pt x="0" y="168"/>
                      <a:pt x="7" y="175"/>
                    </a:cubicBezTo>
                    <a:cubicBezTo>
                      <a:pt x="10" y="179"/>
                      <a:pt x="15" y="181"/>
                      <a:pt x="20" y="181"/>
                    </a:cubicBezTo>
                    <a:cubicBezTo>
                      <a:pt x="24" y="181"/>
                      <a:pt x="29" y="179"/>
                      <a:pt x="32" y="175"/>
                    </a:cubicBezTo>
                    <a:cubicBezTo>
                      <a:pt x="78" y="130"/>
                      <a:pt x="78" y="130"/>
                      <a:pt x="78" y="130"/>
                    </a:cubicBezTo>
                    <a:cubicBezTo>
                      <a:pt x="89" y="136"/>
                      <a:pt x="101" y="139"/>
                      <a:pt x="113" y="139"/>
                    </a:cubicBezTo>
                    <a:close/>
                    <a:moveTo>
                      <a:pt x="79" y="36"/>
                    </a:moveTo>
                    <a:cubicBezTo>
                      <a:pt x="89" y="27"/>
                      <a:pt x="101" y="23"/>
                      <a:pt x="113" y="23"/>
                    </a:cubicBezTo>
                    <a:cubicBezTo>
                      <a:pt x="125" y="23"/>
                      <a:pt x="137" y="27"/>
                      <a:pt x="146" y="36"/>
                    </a:cubicBezTo>
                    <a:cubicBezTo>
                      <a:pt x="164" y="55"/>
                      <a:pt x="164" y="84"/>
                      <a:pt x="146" y="103"/>
                    </a:cubicBezTo>
                    <a:cubicBezTo>
                      <a:pt x="137" y="112"/>
                      <a:pt x="125" y="117"/>
                      <a:pt x="113" y="117"/>
                    </a:cubicBezTo>
                    <a:cubicBezTo>
                      <a:pt x="101" y="117"/>
                      <a:pt x="89" y="112"/>
                      <a:pt x="79" y="103"/>
                    </a:cubicBezTo>
                    <a:cubicBezTo>
                      <a:pt x="61" y="84"/>
                      <a:pt x="61" y="55"/>
                      <a:pt x="79" y="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4347" tIns="62174" rIns="124347" bIns="62174" numCol="1" anchor="t" anchorCtr="0" compatLnSpc="1">
                <a:prstTxWarp prst="textNoShape">
                  <a:avLst/>
                </a:prstTxWarp>
              </a:bodyPr>
              <a:lstStyle/>
              <a:p>
                <a:pPr marL="274320" marR="0" lvl="0" indent="0" defTabSz="62179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329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9" name="Freeform 8"/>
              <p:cNvSpPr>
                <a:spLocks noEditPoints="1"/>
              </p:cNvSpPr>
              <p:nvPr/>
            </p:nvSpPr>
            <p:spPr bwMode="auto">
              <a:xfrm>
                <a:off x="-884238" y="1211263"/>
                <a:ext cx="427038" cy="714375"/>
              </a:xfrm>
              <a:custGeom>
                <a:avLst/>
                <a:gdLst>
                  <a:gd name="T0" fmla="*/ 106 w 113"/>
                  <a:gd name="T1" fmla="*/ 2 h 189"/>
                  <a:gd name="T2" fmla="*/ 99 w 113"/>
                  <a:gd name="T3" fmla="*/ 0 h 189"/>
                  <a:gd name="T4" fmla="*/ 16 w 113"/>
                  <a:gd name="T5" fmla="*/ 0 h 189"/>
                  <a:gd name="T6" fmla="*/ 8 w 113"/>
                  <a:gd name="T7" fmla="*/ 2 h 189"/>
                  <a:gd name="T8" fmla="*/ 0 w 113"/>
                  <a:gd name="T9" fmla="*/ 15 h 189"/>
                  <a:gd name="T10" fmla="*/ 0 w 113"/>
                  <a:gd name="T11" fmla="*/ 93 h 189"/>
                  <a:gd name="T12" fmla="*/ 17 w 113"/>
                  <a:gd name="T13" fmla="*/ 91 h 189"/>
                  <a:gd name="T14" fmla="*/ 33 w 113"/>
                  <a:gd name="T15" fmla="*/ 93 h 189"/>
                  <a:gd name="T16" fmla="*/ 93 w 113"/>
                  <a:gd name="T17" fmla="*/ 93 h 189"/>
                  <a:gd name="T18" fmla="*/ 99 w 113"/>
                  <a:gd name="T19" fmla="*/ 98 h 189"/>
                  <a:gd name="T20" fmla="*/ 93 w 113"/>
                  <a:gd name="T21" fmla="*/ 104 h 189"/>
                  <a:gd name="T22" fmla="*/ 61 w 113"/>
                  <a:gd name="T23" fmla="*/ 104 h 189"/>
                  <a:gd name="T24" fmla="*/ 74 w 113"/>
                  <a:gd name="T25" fmla="*/ 115 h 189"/>
                  <a:gd name="T26" fmla="*/ 78 w 113"/>
                  <a:gd name="T27" fmla="*/ 119 h 189"/>
                  <a:gd name="T28" fmla="*/ 93 w 113"/>
                  <a:gd name="T29" fmla="*/ 119 h 189"/>
                  <a:gd name="T30" fmla="*/ 99 w 113"/>
                  <a:gd name="T31" fmla="*/ 125 h 189"/>
                  <a:gd name="T32" fmla="*/ 93 w 113"/>
                  <a:gd name="T33" fmla="*/ 130 h 189"/>
                  <a:gd name="T34" fmla="*/ 86 w 113"/>
                  <a:gd name="T35" fmla="*/ 130 h 189"/>
                  <a:gd name="T36" fmla="*/ 93 w 113"/>
                  <a:gd name="T37" fmla="*/ 145 h 189"/>
                  <a:gd name="T38" fmla="*/ 93 w 113"/>
                  <a:gd name="T39" fmla="*/ 145 h 189"/>
                  <a:gd name="T40" fmla="*/ 99 w 113"/>
                  <a:gd name="T41" fmla="*/ 151 h 189"/>
                  <a:gd name="T42" fmla="*/ 96 w 113"/>
                  <a:gd name="T43" fmla="*/ 156 h 189"/>
                  <a:gd name="T44" fmla="*/ 98 w 113"/>
                  <a:gd name="T45" fmla="*/ 173 h 189"/>
                  <a:gd name="T46" fmla="*/ 96 w 113"/>
                  <a:gd name="T47" fmla="*/ 189 h 189"/>
                  <a:gd name="T48" fmla="*/ 99 w 113"/>
                  <a:gd name="T49" fmla="*/ 189 h 189"/>
                  <a:gd name="T50" fmla="*/ 113 w 113"/>
                  <a:gd name="T51" fmla="*/ 174 h 189"/>
                  <a:gd name="T52" fmla="*/ 113 w 113"/>
                  <a:gd name="T53" fmla="*/ 15 h 189"/>
                  <a:gd name="T54" fmla="*/ 106 w 113"/>
                  <a:gd name="T55" fmla="*/ 2 h 189"/>
                  <a:gd name="T56" fmla="*/ 91 w 113"/>
                  <a:gd name="T57" fmla="*/ 35 h 189"/>
                  <a:gd name="T58" fmla="*/ 83 w 113"/>
                  <a:gd name="T59" fmla="*/ 27 h 189"/>
                  <a:gd name="T60" fmla="*/ 91 w 113"/>
                  <a:gd name="T61" fmla="*/ 20 h 189"/>
                  <a:gd name="T62" fmla="*/ 99 w 113"/>
                  <a:gd name="T63" fmla="*/ 27 h 189"/>
                  <a:gd name="T64" fmla="*/ 91 w 113"/>
                  <a:gd name="T65" fmla="*/ 35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13" h="189">
                    <a:moveTo>
                      <a:pt x="106" y="2"/>
                    </a:moveTo>
                    <a:cubicBezTo>
                      <a:pt x="103" y="1"/>
                      <a:pt x="101" y="0"/>
                      <a:pt x="99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3" y="0"/>
                      <a:pt x="10" y="1"/>
                      <a:pt x="8" y="2"/>
                    </a:cubicBezTo>
                    <a:cubicBezTo>
                      <a:pt x="4" y="5"/>
                      <a:pt x="0" y="9"/>
                      <a:pt x="0" y="15"/>
                    </a:cubicBezTo>
                    <a:cubicBezTo>
                      <a:pt x="0" y="47"/>
                      <a:pt x="0" y="72"/>
                      <a:pt x="0" y="93"/>
                    </a:cubicBezTo>
                    <a:cubicBezTo>
                      <a:pt x="6" y="92"/>
                      <a:pt x="11" y="91"/>
                      <a:pt x="17" y="91"/>
                    </a:cubicBezTo>
                    <a:cubicBezTo>
                      <a:pt x="22" y="91"/>
                      <a:pt x="28" y="92"/>
                      <a:pt x="33" y="93"/>
                    </a:cubicBezTo>
                    <a:cubicBezTo>
                      <a:pt x="93" y="93"/>
                      <a:pt x="93" y="93"/>
                      <a:pt x="93" y="93"/>
                    </a:cubicBezTo>
                    <a:cubicBezTo>
                      <a:pt x="96" y="93"/>
                      <a:pt x="99" y="95"/>
                      <a:pt x="99" y="98"/>
                    </a:cubicBezTo>
                    <a:cubicBezTo>
                      <a:pt x="99" y="102"/>
                      <a:pt x="96" y="104"/>
                      <a:pt x="93" y="104"/>
                    </a:cubicBezTo>
                    <a:cubicBezTo>
                      <a:pt x="80" y="104"/>
                      <a:pt x="69" y="104"/>
                      <a:pt x="61" y="104"/>
                    </a:cubicBezTo>
                    <a:cubicBezTo>
                      <a:pt x="66" y="107"/>
                      <a:pt x="70" y="111"/>
                      <a:pt x="74" y="115"/>
                    </a:cubicBezTo>
                    <a:cubicBezTo>
                      <a:pt x="76" y="116"/>
                      <a:pt x="77" y="118"/>
                      <a:pt x="78" y="119"/>
                    </a:cubicBezTo>
                    <a:cubicBezTo>
                      <a:pt x="93" y="119"/>
                      <a:pt x="93" y="119"/>
                      <a:pt x="93" y="119"/>
                    </a:cubicBezTo>
                    <a:cubicBezTo>
                      <a:pt x="96" y="119"/>
                      <a:pt x="99" y="122"/>
                      <a:pt x="99" y="125"/>
                    </a:cubicBezTo>
                    <a:cubicBezTo>
                      <a:pt x="99" y="128"/>
                      <a:pt x="96" y="130"/>
                      <a:pt x="93" y="130"/>
                    </a:cubicBezTo>
                    <a:cubicBezTo>
                      <a:pt x="91" y="130"/>
                      <a:pt x="89" y="130"/>
                      <a:pt x="86" y="130"/>
                    </a:cubicBezTo>
                    <a:cubicBezTo>
                      <a:pt x="89" y="135"/>
                      <a:pt x="91" y="140"/>
                      <a:pt x="93" y="145"/>
                    </a:cubicBezTo>
                    <a:cubicBezTo>
                      <a:pt x="93" y="145"/>
                      <a:pt x="93" y="145"/>
                      <a:pt x="93" y="145"/>
                    </a:cubicBezTo>
                    <a:cubicBezTo>
                      <a:pt x="96" y="145"/>
                      <a:pt x="99" y="148"/>
                      <a:pt x="99" y="151"/>
                    </a:cubicBezTo>
                    <a:cubicBezTo>
                      <a:pt x="99" y="153"/>
                      <a:pt x="98" y="155"/>
                      <a:pt x="96" y="156"/>
                    </a:cubicBezTo>
                    <a:cubicBezTo>
                      <a:pt x="98" y="162"/>
                      <a:pt x="98" y="167"/>
                      <a:pt x="98" y="173"/>
                    </a:cubicBezTo>
                    <a:cubicBezTo>
                      <a:pt x="98" y="178"/>
                      <a:pt x="98" y="184"/>
                      <a:pt x="96" y="189"/>
                    </a:cubicBezTo>
                    <a:cubicBezTo>
                      <a:pt x="99" y="189"/>
                      <a:pt x="99" y="189"/>
                      <a:pt x="99" y="189"/>
                    </a:cubicBezTo>
                    <a:cubicBezTo>
                      <a:pt x="107" y="189"/>
                      <a:pt x="113" y="182"/>
                      <a:pt x="113" y="174"/>
                    </a:cubicBezTo>
                    <a:cubicBezTo>
                      <a:pt x="113" y="15"/>
                      <a:pt x="113" y="15"/>
                      <a:pt x="113" y="15"/>
                    </a:cubicBezTo>
                    <a:cubicBezTo>
                      <a:pt x="113" y="9"/>
                      <a:pt x="110" y="5"/>
                      <a:pt x="106" y="2"/>
                    </a:cubicBezTo>
                    <a:close/>
                    <a:moveTo>
                      <a:pt x="91" y="35"/>
                    </a:moveTo>
                    <a:cubicBezTo>
                      <a:pt x="86" y="35"/>
                      <a:pt x="83" y="32"/>
                      <a:pt x="83" y="27"/>
                    </a:cubicBezTo>
                    <a:cubicBezTo>
                      <a:pt x="83" y="23"/>
                      <a:pt x="86" y="20"/>
                      <a:pt x="91" y="20"/>
                    </a:cubicBezTo>
                    <a:cubicBezTo>
                      <a:pt x="95" y="20"/>
                      <a:pt x="99" y="23"/>
                      <a:pt x="99" y="27"/>
                    </a:cubicBezTo>
                    <a:cubicBezTo>
                      <a:pt x="99" y="32"/>
                      <a:pt x="95" y="35"/>
                      <a:pt x="91" y="3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4347" tIns="62174" rIns="124347" bIns="62174" numCol="1" anchor="t" anchorCtr="0" compatLnSpc="1">
                <a:prstTxWarp prst="textNoShape">
                  <a:avLst/>
                </a:prstTxWarp>
              </a:bodyPr>
              <a:lstStyle/>
              <a:p>
                <a:pPr marL="274320" marR="0" lvl="0" indent="0" defTabSz="62179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329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20" name="Freeform 9"/>
              <p:cNvSpPr>
                <a:spLocks/>
              </p:cNvSpPr>
              <p:nvPr/>
            </p:nvSpPr>
            <p:spPr bwMode="auto">
              <a:xfrm>
                <a:off x="-744538" y="1703388"/>
                <a:ext cx="163513" cy="55563"/>
              </a:xfrm>
              <a:custGeom>
                <a:avLst/>
                <a:gdLst>
                  <a:gd name="T0" fmla="*/ 13 w 43"/>
                  <a:gd name="T1" fmla="*/ 9 h 15"/>
                  <a:gd name="T2" fmla="*/ 18 w 43"/>
                  <a:gd name="T3" fmla="*/ 15 h 15"/>
                  <a:gd name="T4" fmla="*/ 43 w 43"/>
                  <a:gd name="T5" fmla="*/ 15 h 15"/>
                  <a:gd name="T6" fmla="*/ 35 w 43"/>
                  <a:gd name="T7" fmla="*/ 0 h 15"/>
                  <a:gd name="T8" fmla="*/ 0 w 43"/>
                  <a:gd name="T9" fmla="*/ 0 h 15"/>
                  <a:gd name="T10" fmla="*/ 13 w 43"/>
                  <a:gd name="T11" fmla="*/ 9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15">
                    <a:moveTo>
                      <a:pt x="13" y="9"/>
                    </a:moveTo>
                    <a:cubicBezTo>
                      <a:pt x="15" y="11"/>
                      <a:pt x="16" y="13"/>
                      <a:pt x="18" y="15"/>
                    </a:cubicBezTo>
                    <a:cubicBezTo>
                      <a:pt x="30" y="15"/>
                      <a:pt x="38" y="15"/>
                      <a:pt x="43" y="15"/>
                    </a:cubicBezTo>
                    <a:cubicBezTo>
                      <a:pt x="41" y="10"/>
                      <a:pt x="38" y="5"/>
                      <a:pt x="35" y="0"/>
                    </a:cubicBezTo>
                    <a:cubicBezTo>
                      <a:pt x="18" y="0"/>
                      <a:pt x="7" y="0"/>
                      <a:pt x="0" y="0"/>
                    </a:cubicBezTo>
                    <a:cubicBezTo>
                      <a:pt x="5" y="3"/>
                      <a:pt x="9" y="6"/>
                      <a:pt x="13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4347" tIns="62174" rIns="124347" bIns="62174" numCol="1" anchor="t" anchorCtr="0" compatLnSpc="1">
                <a:prstTxWarp prst="textNoShape">
                  <a:avLst/>
                </a:prstTxWarp>
              </a:bodyPr>
              <a:lstStyle/>
              <a:p>
                <a:pPr marL="274320" marR="0" lvl="0" indent="0" defTabSz="62179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329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21" name="Freeform 10"/>
              <p:cNvSpPr>
                <a:spLocks/>
              </p:cNvSpPr>
              <p:nvPr/>
            </p:nvSpPr>
            <p:spPr bwMode="auto">
              <a:xfrm>
                <a:off x="-884238" y="1733551"/>
                <a:ext cx="200025" cy="192088"/>
              </a:xfrm>
              <a:custGeom>
                <a:avLst/>
                <a:gdLst>
                  <a:gd name="T0" fmla="*/ 26 w 53"/>
                  <a:gd name="T1" fmla="*/ 7 h 51"/>
                  <a:gd name="T2" fmla="*/ 38 w 53"/>
                  <a:gd name="T3" fmla="*/ 7 h 51"/>
                  <a:gd name="T4" fmla="*/ 17 w 53"/>
                  <a:gd name="T5" fmla="*/ 0 h 51"/>
                  <a:gd name="T6" fmla="*/ 0 w 53"/>
                  <a:gd name="T7" fmla="*/ 3 h 51"/>
                  <a:gd name="T8" fmla="*/ 0 w 53"/>
                  <a:gd name="T9" fmla="*/ 36 h 51"/>
                  <a:gd name="T10" fmla="*/ 16 w 53"/>
                  <a:gd name="T11" fmla="*/ 51 h 51"/>
                  <a:gd name="T12" fmla="*/ 48 w 53"/>
                  <a:gd name="T13" fmla="*/ 51 h 51"/>
                  <a:gd name="T14" fmla="*/ 48 w 53"/>
                  <a:gd name="T15" fmla="*/ 19 h 51"/>
                  <a:gd name="T16" fmla="*/ 26 w 53"/>
                  <a:gd name="T17" fmla="*/ 19 h 51"/>
                  <a:gd name="T18" fmla="*/ 20 w 53"/>
                  <a:gd name="T19" fmla="*/ 13 h 51"/>
                  <a:gd name="T20" fmla="*/ 26 w 53"/>
                  <a:gd name="T21" fmla="*/ 7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3" h="51">
                    <a:moveTo>
                      <a:pt x="26" y="7"/>
                    </a:moveTo>
                    <a:cubicBezTo>
                      <a:pt x="31" y="7"/>
                      <a:pt x="35" y="7"/>
                      <a:pt x="38" y="7"/>
                    </a:cubicBezTo>
                    <a:cubicBezTo>
                      <a:pt x="32" y="2"/>
                      <a:pt x="25" y="0"/>
                      <a:pt x="17" y="0"/>
                    </a:cubicBezTo>
                    <a:cubicBezTo>
                      <a:pt x="11" y="0"/>
                      <a:pt x="5" y="1"/>
                      <a:pt x="0" y="3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0" y="44"/>
                      <a:pt x="8" y="51"/>
                      <a:pt x="16" y="51"/>
                    </a:cubicBezTo>
                    <a:cubicBezTo>
                      <a:pt x="28" y="51"/>
                      <a:pt x="39" y="51"/>
                      <a:pt x="48" y="51"/>
                    </a:cubicBezTo>
                    <a:cubicBezTo>
                      <a:pt x="53" y="41"/>
                      <a:pt x="53" y="29"/>
                      <a:pt x="48" y="19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3" y="19"/>
                      <a:pt x="20" y="17"/>
                      <a:pt x="20" y="13"/>
                    </a:cubicBezTo>
                    <a:cubicBezTo>
                      <a:pt x="20" y="10"/>
                      <a:pt x="23" y="7"/>
                      <a:pt x="26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4347" tIns="62174" rIns="124347" bIns="62174" numCol="1" anchor="t" anchorCtr="0" compatLnSpc="1">
                <a:prstTxWarp prst="textNoShape">
                  <a:avLst/>
                </a:prstTxWarp>
              </a:bodyPr>
              <a:lstStyle/>
              <a:p>
                <a:pPr marL="274320" marR="0" lvl="0" indent="0" defTabSz="62179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329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22" name="Freeform 11"/>
              <p:cNvSpPr>
                <a:spLocks/>
              </p:cNvSpPr>
              <p:nvPr/>
            </p:nvSpPr>
            <p:spPr bwMode="auto">
              <a:xfrm>
                <a:off x="-654050" y="1804988"/>
                <a:ext cx="98425" cy="120650"/>
              </a:xfrm>
              <a:custGeom>
                <a:avLst/>
                <a:gdLst>
                  <a:gd name="T0" fmla="*/ 23 w 26"/>
                  <a:gd name="T1" fmla="*/ 0 h 32"/>
                  <a:gd name="T2" fmla="*/ 0 w 26"/>
                  <a:gd name="T3" fmla="*/ 0 h 32"/>
                  <a:gd name="T4" fmla="*/ 0 w 26"/>
                  <a:gd name="T5" fmla="*/ 32 h 32"/>
                  <a:gd name="T6" fmla="*/ 23 w 26"/>
                  <a:gd name="T7" fmla="*/ 32 h 32"/>
                  <a:gd name="T8" fmla="*/ 23 w 26"/>
                  <a:gd name="T9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32">
                    <a:moveTo>
                      <a:pt x="23" y="0"/>
                    </a:moveTo>
                    <a:cubicBezTo>
                      <a:pt x="14" y="0"/>
                      <a:pt x="7" y="0"/>
                      <a:pt x="0" y="0"/>
                    </a:cubicBezTo>
                    <a:cubicBezTo>
                      <a:pt x="4" y="11"/>
                      <a:pt x="3" y="22"/>
                      <a:pt x="0" y="32"/>
                    </a:cubicBezTo>
                    <a:cubicBezTo>
                      <a:pt x="10" y="32"/>
                      <a:pt x="18" y="32"/>
                      <a:pt x="23" y="32"/>
                    </a:cubicBezTo>
                    <a:cubicBezTo>
                      <a:pt x="26" y="22"/>
                      <a:pt x="26" y="11"/>
                      <a:pt x="2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4347" tIns="62174" rIns="124347" bIns="62174" numCol="1" anchor="t" anchorCtr="0" compatLnSpc="1">
                <a:prstTxWarp prst="textNoShape">
                  <a:avLst/>
                </a:prstTxWarp>
              </a:bodyPr>
              <a:lstStyle/>
              <a:p>
                <a:pPr marL="274320" marR="0" lvl="0" indent="0" defTabSz="62179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329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23" name="Freeform 12"/>
              <p:cNvSpPr>
                <a:spLocks/>
              </p:cNvSpPr>
              <p:nvPr/>
            </p:nvSpPr>
            <p:spPr bwMode="auto">
              <a:xfrm>
                <a:off x="-884238" y="1600201"/>
                <a:ext cx="230188" cy="95250"/>
              </a:xfrm>
              <a:custGeom>
                <a:avLst/>
                <a:gdLst>
                  <a:gd name="T0" fmla="*/ 17 w 61"/>
                  <a:gd name="T1" fmla="*/ 23 h 25"/>
                  <a:gd name="T2" fmla="*/ 20 w 61"/>
                  <a:gd name="T3" fmla="*/ 23 h 25"/>
                  <a:gd name="T4" fmla="*/ 20 w 61"/>
                  <a:gd name="T5" fmla="*/ 22 h 25"/>
                  <a:gd name="T6" fmla="*/ 26 w 61"/>
                  <a:gd name="T7" fmla="*/ 16 h 25"/>
                  <a:gd name="T8" fmla="*/ 61 w 61"/>
                  <a:gd name="T9" fmla="*/ 16 h 25"/>
                  <a:gd name="T10" fmla="*/ 29 w 61"/>
                  <a:gd name="T11" fmla="*/ 1 h 25"/>
                  <a:gd name="T12" fmla="*/ 26 w 61"/>
                  <a:gd name="T13" fmla="*/ 1 h 25"/>
                  <a:gd name="T14" fmla="*/ 23 w 61"/>
                  <a:gd name="T15" fmla="*/ 0 h 25"/>
                  <a:gd name="T16" fmla="*/ 17 w 61"/>
                  <a:gd name="T17" fmla="*/ 0 h 25"/>
                  <a:gd name="T18" fmla="*/ 0 w 61"/>
                  <a:gd name="T19" fmla="*/ 2 h 25"/>
                  <a:gd name="T20" fmla="*/ 0 w 61"/>
                  <a:gd name="T21" fmla="*/ 25 h 25"/>
                  <a:gd name="T22" fmla="*/ 17 w 61"/>
                  <a:gd name="T23" fmla="*/ 2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25">
                    <a:moveTo>
                      <a:pt x="17" y="23"/>
                    </a:moveTo>
                    <a:cubicBezTo>
                      <a:pt x="18" y="23"/>
                      <a:pt x="19" y="23"/>
                      <a:pt x="20" y="23"/>
                    </a:cubicBezTo>
                    <a:cubicBezTo>
                      <a:pt x="20" y="23"/>
                      <a:pt x="20" y="22"/>
                      <a:pt x="20" y="22"/>
                    </a:cubicBezTo>
                    <a:cubicBezTo>
                      <a:pt x="20" y="19"/>
                      <a:pt x="23" y="16"/>
                      <a:pt x="26" y="16"/>
                    </a:cubicBezTo>
                    <a:cubicBezTo>
                      <a:pt x="41" y="16"/>
                      <a:pt x="52" y="16"/>
                      <a:pt x="61" y="16"/>
                    </a:cubicBezTo>
                    <a:cubicBezTo>
                      <a:pt x="51" y="8"/>
                      <a:pt x="40" y="3"/>
                      <a:pt x="29" y="1"/>
                    </a:cubicBezTo>
                    <a:cubicBezTo>
                      <a:pt x="26" y="1"/>
                      <a:pt x="26" y="1"/>
                      <a:pt x="26" y="1"/>
                    </a:cubicBezTo>
                    <a:cubicBezTo>
                      <a:pt x="25" y="1"/>
                      <a:pt x="24" y="1"/>
                      <a:pt x="23" y="0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11" y="0"/>
                      <a:pt x="6" y="1"/>
                      <a:pt x="0" y="2"/>
                    </a:cubicBezTo>
                    <a:cubicBezTo>
                      <a:pt x="0" y="11"/>
                      <a:pt x="0" y="19"/>
                      <a:pt x="0" y="25"/>
                    </a:cubicBezTo>
                    <a:cubicBezTo>
                      <a:pt x="6" y="24"/>
                      <a:pt x="11" y="23"/>
                      <a:pt x="17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4347" tIns="62174" rIns="124347" bIns="62174" numCol="1" anchor="t" anchorCtr="0" compatLnSpc="1">
                <a:prstTxWarp prst="textNoShape">
                  <a:avLst/>
                </a:prstTxWarp>
              </a:bodyPr>
              <a:lstStyle/>
              <a:p>
                <a:pPr marL="274320" marR="0" lvl="0" indent="0" defTabSz="62179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329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</p:grpSp>
      </p:grpSp>
      <p:sp>
        <p:nvSpPr>
          <p:cNvPr id="24" name="Rectangle 23"/>
          <p:cNvSpPr/>
          <p:nvPr/>
        </p:nvSpPr>
        <p:spPr bwMode="auto">
          <a:xfrm>
            <a:off x="4830867" y="987170"/>
            <a:ext cx="1354171" cy="1357298"/>
          </a:xfrm>
          <a:prstGeom prst="rect">
            <a:avLst/>
          </a:prstGeom>
          <a:solidFill>
            <a:srgbClr val="0066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248694" tIns="124347" rIns="248694" bIns="1989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74320" marR="0" lvl="0" indent="0" defTabSz="1268069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04" b="0" i="0" u="none" strike="noStrike" kern="0" cap="none" spc="0" normalizeH="0" baseline="0" noProof="0" dirty="0" smtClean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5" name="Rectangle 24"/>
          <p:cNvSpPr/>
          <p:nvPr/>
        </p:nvSpPr>
        <p:spPr bwMode="auto">
          <a:xfrm>
            <a:off x="7949207" y="971771"/>
            <a:ext cx="1354171" cy="1357298"/>
          </a:xfrm>
          <a:prstGeom prst="rect">
            <a:avLst/>
          </a:prstGeom>
          <a:solidFill>
            <a:srgbClr val="0066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248694" tIns="124347" rIns="248694" bIns="1989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74320" marR="0" lvl="0" indent="0" defTabSz="1268069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04" b="0" i="0" u="none" strike="noStrike" kern="0" cap="none" spc="0" normalizeH="0" baseline="0" noProof="0" dirty="0" smtClean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6" name="Rectangle 25"/>
          <p:cNvSpPr/>
          <p:nvPr/>
        </p:nvSpPr>
        <p:spPr bwMode="auto">
          <a:xfrm>
            <a:off x="6390037" y="971771"/>
            <a:ext cx="1354171" cy="1357298"/>
          </a:xfrm>
          <a:prstGeom prst="rect">
            <a:avLst/>
          </a:prstGeom>
          <a:solidFill>
            <a:srgbClr val="0066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248694" tIns="124347" rIns="248694" bIns="1989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74320" marR="0" lvl="0" indent="0" defTabSz="1268069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04" b="0" i="0" u="none" strike="noStrike" kern="0" cap="none" spc="0" normalizeH="0" baseline="0" noProof="0" dirty="0" smtClean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7" name="Freeform 8"/>
          <p:cNvSpPr>
            <a:spLocks noEditPoints="1"/>
          </p:cNvSpPr>
          <p:nvPr/>
        </p:nvSpPr>
        <p:spPr bwMode="black">
          <a:xfrm>
            <a:off x="5031724" y="1216795"/>
            <a:ext cx="952455" cy="952454"/>
          </a:xfrm>
          <a:custGeom>
            <a:avLst/>
            <a:gdLst>
              <a:gd name="T0" fmla="*/ 226 w 300"/>
              <a:gd name="T1" fmla="*/ 193 h 300"/>
              <a:gd name="T2" fmla="*/ 233 w 300"/>
              <a:gd name="T3" fmla="*/ 157 h 300"/>
              <a:gd name="T4" fmla="*/ 233 w 300"/>
              <a:gd name="T5" fmla="*/ 128 h 300"/>
              <a:gd name="T6" fmla="*/ 142 w 300"/>
              <a:gd name="T7" fmla="*/ 51 h 300"/>
              <a:gd name="T8" fmla="*/ 52 w 300"/>
              <a:gd name="T9" fmla="*/ 128 h 300"/>
              <a:gd name="T10" fmla="*/ 52 w 300"/>
              <a:gd name="T11" fmla="*/ 157 h 300"/>
              <a:gd name="T12" fmla="*/ 142 w 300"/>
              <a:gd name="T13" fmla="*/ 234 h 300"/>
              <a:gd name="T14" fmla="*/ 183 w 300"/>
              <a:gd name="T15" fmla="*/ 224 h 300"/>
              <a:gd name="T16" fmla="*/ 193 w 300"/>
              <a:gd name="T17" fmla="*/ 226 h 300"/>
              <a:gd name="T18" fmla="*/ 270 w 300"/>
              <a:gd name="T19" fmla="*/ 300 h 300"/>
              <a:gd name="T20" fmla="*/ 298 w 300"/>
              <a:gd name="T21" fmla="*/ 275 h 300"/>
              <a:gd name="T22" fmla="*/ 206 w 300"/>
              <a:gd name="T23" fmla="*/ 157 h 300"/>
              <a:gd name="T24" fmla="*/ 142 w 300"/>
              <a:gd name="T25" fmla="*/ 208 h 300"/>
              <a:gd name="T26" fmla="*/ 78 w 300"/>
              <a:gd name="T27" fmla="*/ 157 h 300"/>
              <a:gd name="T28" fmla="*/ 78 w 300"/>
              <a:gd name="T29" fmla="*/ 128 h 300"/>
              <a:gd name="T30" fmla="*/ 142 w 300"/>
              <a:gd name="T31" fmla="*/ 77 h 300"/>
              <a:gd name="T32" fmla="*/ 206 w 300"/>
              <a:gd name="T33" fmla="*/ 128 h 300"/>
              <a:gd name="T34" fmla="*/ 206 w 300"/>
              <a:gd name="T35" fmla="*/ 157 h 300"/>
              <a:gd name="T36" fmla="*/ 197 w 300"/>
              <a:gd name="T37" fmla="*/ 142 h 300"/>
              <a:gd name="T38" fmla="*/ 156 w 300"/>
              <a:gd name="T39" fmla="*/ 157 h 300"/>
              <a:gd name="T40" fmla="*/ 142 w 300"/>
              <a:gd name="T41" fmla="*/ 197 h 300"/>
              <a:gd name="T42" fmla="*/ 128 w 300"/>
              <a:gd name="T43" fmla="*/ 157 h 300"/>
              <a:gd name="T44" fmla="*/ 87 w 300"/>
              <a:gd name="T45" fmla="*/ 142 h 300"/>
              <a:gd name="T46" fmla="*/ 128 w 300"/>
              <a:gd name="T47" fmla="*/ 128 h 300"/>
              <a:gd name="T48" fmla="*/ 142 w 300"/>
              <a:gd name="T49" fmla="*/ 88 h 300"/>
              <a:gd name="T50" fmla="*/ 156 w 300"/>
              <a:gd name="T51" fmla="*/ 128 h 300"/>
              <a:gd name="T52" fmla="*/ 142 w 300"/>
              <a:gd name="T53" fmla="*/ 40 h 300"/>
              <a:gd name="T54" fmla="*/ 128 w 300"/>
              <a:gd name="T55" fmla="*/ 0 h 300"/>
              <a:gd name="T56" fmla="*/ 156 w 300"/>
              <a:gd name="T57" fmla="*/ 41 h 300"/>
              <a:gd name="T58" fmla="*/ 40 w 300"/>
              <a:gd name="T59" fmla="*/ 142 h 300"/>
              <a:gd name="T60" fmla="*/ 0 w 300"/>
              <a:gd name="T61" fmla="*/ 157 h 300"/>
              <a:gd name="T62" fmla="*/ 41 w 300"/>
              <a:gd name="T63" fmla="*/ 128 h 300"/>
              <a:gd name="T64" fmla="*/ 142 w 300"/>
              <a:gd name="T65" fmla="*/ 245 h 300"/>
              <a:gd name="T66" fmla="*/ 156 w 300"/>
              <a:gd name="T67" fmla="*/ 285 h 300"/>
              <a:gd name="T68" fmla="*/ 128 w 300"/>
              <a:gd name="T69" fmla="*/ 244 h 300"/>
              <a:gd name="T70" fmla="*/ 245 w 300"/>
              <a:gd name="T71" fmla="*/ 142 h 300"/>
              <a:gd name="T72" fmla="*/ 285 w 300"/>
              <a:gd name="T73" fmla="*/ 128 h 300"/>
              <a:gd name="T74" fmla="*/ 243 w 300"/>
              <a:gd name="T75" fmla="*/ 157 h 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00" h="300">
                <a:moveTo>
                  <a:pt x="298" y="266"/>
                </a:moveTo>
                <a:cubicBezTo>
                  <a:pt x="226" y="193"/>
                  <a:pt x="226" y="193"/>
                  <a:pt x="226" y="193"/>
                </a:cubicBezTo>
                <a:cubicBezTo>
                  <a:pt x="223" y="191"/>
                  <a:pt x="222" y="186"/>
                  <a:pt x="224" y="183"/>
                </a:cubicBezTo>
                <a:cubicBezTo>
                  <a:pt x="228" y="175"/>
                  <a:pt x="231" y="166"/>
                  <a:pt x="233" y="157"/>
                </a:cubicBezTo>
                <a:cubicBezTo>
                  <a:pt x="233" y="152"/>
                  <a:pt x="234" y="147"/>
                  <a:pt x="234" y="142"/>
                </a:cubicBezTo>
                <a:cubicBezTo>
                  <a:pt x="234" y="138"/>
                  <a:pt x="233" y="133"/>
                  <a:pt x="233" y="128"/>
                </a:cubicBezTo>
                <a:cubicBezTo>
                  <a:pt x="227" y="89"/>
                  <a:pt x="196" y="58"/>
                  <a:pt x="156" y="52"/>
                </a:cubicBezTo>
                <a:cubicBezTo>
                  <a:pt x="152" y="51"/>
                  <a:pt x="147" y="51"/>
                  <a:pt x="142" y="51"/>
                </a:cubicBezTo>
                <a:cubicBezTo>
                  <a:pt x="137" y="51"/>
                  <a:pt x="133" y="51"/>
                  <a:pt x="128" y="52"/>
                </a:cubicBezTo>
                <a:cubicBezTo>
                  <a:pt x="89" y="58"/>
                  <a:pt x="58" y="89"/>
                  <a:pt x="52" y="128"/>
                </a:cubicBezTo>
                <a:cubicBezTo>
                  <a:pt x="51" y="133"/>
                  <a:pt x="51" y="138"/>
                  <a:pt x="51" y="142"/>
                </a:cubicBezTo>
                <a:cubicBezTo>
                  <a:pt x="51" y="147"/>
                  <a:pt x="51" y="152"/>
                  <a:pt x="52" y="157"/>
                </a:cubicBezTo>
                <a:cubicBezTo>
                  <a:pt x="58" y="196"/>
                  <a:pt x="89" y="227"/>
                  <a:pt x="128" y="233"/>
                </a:cubicBezTo>
                <a:cubicBezTo>
                  <a:pt x="133" y="234"/>
                  <a:pt x="137" y="234"/>
                  <a:pt x="142" y="234"/>
                </a:cubicBezTo>
                <a:cubicBezTo>
                  <a:pt x="147" y="234"/>
                  <a:pt x="152" y="234"/>
                  <a:pt x="156" y="233"/>
                </a:cubicBezTo>
                <a:cubicBezTo>
                  <a:pt x="166" y="231"/>
                  <a:pt x="175" y="228"/>
                  <a:pt x="183" y="224"/>
                </a:cubicBezTo>
                <a:cubicBezTo>
                  <a:pt x="184" y="224"/>
                  <a:pt x="185" y="223"/>
                  <a:pt x="187" y="223"/>
                </a:cubicBezTo>
                <a:cubicBezTo>
                  <a:pt x="189" y="223"/>
                  <a:pt x="192" y="224"/>
                  <a:pt x="193" y="226"/>
                </a:cubicBezTo>
                <a:cubicBezTo>
                  <a:pt x="265" y="298"/>
                  <a:pt x="265" y="298"/>
                  <a:pt x="265" y="298"/>
                </a:cubicBezTo>
                <a:cubicBezTo>
                  <a:pt x="267" y="299"/>
                  <a:pt x="268" y="300"/>
                  <a:pt x="270" y="300"/>
                </a:cubicBezTo>
                <a:cubicBezTo>
                  <a:pt x="272" y="300"/>
                  <a:pt x="273" y="299"/>
                  <a:pt x="275" y="298"/>
                </a:cubicBezTo>
                <a:cubicBezTo>
                  <a:pt x="298" y="275"/>
                  <a:pt x="298" y="275"/>
                  <a:pt x="298" y="275"/>
                </a:cubicBezTo>
                <a:cubicBezTo>
                  <a:pt x="300" y="272"/>
                  <a:pt x="300" y="268"/>
                  <a:pt x="298" y="266"/>
                </a:cubicBezTo>
                <a:close/>
                <a:moveTo>
                  <a:pt x="206" y="157"/>
                </a:moveTo>
                <a:cubicBezTo>
                  <a:pt x="201" y="181"/>
                  <a:pt x="181" y="201"/>
                  <a:pt x="156" y="206"/>
                </a:cubicBezTo>
                <a:cubicBezTo>
                  <a:pt x="152" y="207"/>
                  <a:pt x="147" y="208"/>
                  <a:pt x="142" y="208"/>
                </a:cubicBezTo>
                <a:cubicBezTo>
                  <a:pt x="137" y="208"/>
                  <a:pt x="133" y="207"/>
                  <a:pt x="128" y="206"/>
                </a:cubicBezTo>
                <a:cubicBezTo>
                  <a:pt x="103" y="201"/>
                  <a:pt x="84" y="181"/>
                  <a:pt x="78" y="157"/>
                </a:cubicBezTo>
                <a:cubicBezTo>
                  <a:pt x="77" y="152"/>
                  <a:pt x="77" y="147"/>
                  <a:pt x="77" y="142"/>
                </a:cubicBezTo>
                <a:cubicBezTo>
                  <a:pt x="77" y="138"/>
                  <a:pt x="77" y="133"/>
                  <a:pt x="78" y="128"/>
                </a:cubicBezTo>
                <a:cubicBezTo>
                  <a:pt x="84" y="103"/>
                  <a:pt x="103" y="84"/>
                  <a:pt x="128" y="79"/>
                </a:cubicBezTo>
                <a:cubicBezTo>
                  <a:pt x="133" y="78"/>
                  <a:pt x="137" y="77"/>
                  <a:pt x="142" y="77"/>
                </a:cubicBezTo>
                <a:cubicBezTo>
                  <a:pt x="147" y="77"/>
                  <a:pt x="152" y="78"/>
                  <a:pt x="156" y="79"/>
                </a:cubicBezTo>
                <a:cubicBezTo>
                  <a:pt x="181" y="84"/>
                  <a:pt x="201" y="103"/>
                  <a:pt x="206" y="128"/>
                </a:cubicBezTo>
                <a:cubicBezTo>
                  <a:pt x="207" y="133"/>
                  <a:pt x="208" y="138"/>
                  <a:pt x="208" y="142"/>
                </a:cubicBezTo>
                <a:cubicBezTo>
                  <a:pt x="208" y="147"/>
                  <a:pt x="207" y="152"/>
                  <a:pt x="206" y="157"/>
                </a:cubicBezTo>
                <a:close/>
                <a:moveTo>
                  <a:pt x="195" y="128"/>
                </a:moveTo>
                <a:cubicBezTo>
                  <a:pt x="196" y="133"/>
                  <a:pt x="197" y="138"/>
                  <a:pt x="197" y="142"/>
                </a:cubicBezTo>
                <a:cubicBezTo>
                  <a:pt x="197" y="147"/>
                  <a:pt x="196" y="152"/>
                  <a:pt x="195" y="157"/>
                </a:cubicBezTo>
                <a:cubicBezTo>
                  <a:pt x="156" y="157"/>
                  <a:pt x="156" y="157"/>
                  <a:pt x="156" y="157"/>
                </a:cubicBezTo>
                <a:cubicBezTo>
                  <a:pt x="156" y="195"/>
                  <a:pt x="156" y="195"/>
                  <a:pt x="156" y="195"/>
                </a:cubicBezTo>
                <a:cubicBezTo>
                  <a:pt x="152" y="197"/>
                  <a:pt x="147" y="197"/>
                  <a:pt x="142" y="197"/>
                </a:cubicBezTo>
                <a:cubicBezTo>
                  <a:pt x="137" y="197"/>
                  <a:pt x="133" y="197"/>
                  <a:pt x="128" y="195"/>
                </a:cubicBezTo>
                <a:cubicBezTo>
                  <a:pt x="128" y="157"/>
                  <a:pt x="128" y="157"/>
                  <a:pt x="128" y="157"/>
                </a:cubicBezTo>
                <a:cubicBezTo>
                  <a:pt x="89" y="157"/>
                  <a:pt x="89" y="157"/>
                  <a:pt x="89" y="157"/>
                </a:cubicBezTo>
                <a:cubicBezTo>
                  <a:pt x="88" y="152"/>
                  <a:pt x="87" y="147"/>
                  <a:pt x="87" y="142"/>
                </a:cubicBezTo>
                <a:cubicBezTo>
                  <a:pt x="87" y="138"/>
                  <a:pt x="88" y="133"/>
                  <a:pt x="89" y="128"/>
                </a:cubicBezTo>
                <a:cubicBezTo>
                  <a:pt x="128" y="128"/>
                  <a:pt x="128" y="128"/>
                  <a:pt x="128" y="128"/>
                </a:cubicBezTo>
                <a:cubicBezTo>
                  <a:pt x="128" y="90"/>
                  <a:pt x="128" y="90"/>
                  <a:pt x="128" y="90"/>
                </a:cubicBezTo>
                <a:cubicBezTo>
                  <a:pt x="133" y="88"/>
                  <a:pt x="137" y="88"/>
                  <a:pt x="142" y="88"/>
                </a:cubicBezTo>
                <a:cubicBezTo>
                  <a:pt x="147" y="88"/>
                  <a:pt x="152" y="88"/>
                  <a:pt x="156" y="90"/>
                </a:cubicBezTo>
                <a:cubicBezTo>
                  <a:pt x="156" y="128"/>
                  <a:pt x="156" y="128"/>
                  <a:pt x="156" y="128"/>
                </a:cubicBezTo>
                <a:lnTo>
                  <a:pt x="195" y="128"/>
                </a:lnTo>
                <a:close/>
                <a:moveTo>
                  <a:pt x="142" y="40"/>
                </a:moveTo>
                <a:cubicBezTo>
                  <a:pt x="137" y="40"/>
                  <a:pt x="133" y="41"/>
                  <a:pt x="128" y="41"/>
                </a:cubicBezTo>
                <a:cubicBezTo>
                  <a:pt x="128" y="0"/>
                  <a:pt x="128" y="0"/>
                  <a:pt x="128" y="0"/>
                </a:cubicBezTo>
                <a:cubicBezTo>
                  <a:pt x="156" y="0"/>
                  <a:pt x="156" y="0"/>
                  <a:pt x="156" y="0"/>
                </a:cubicBezTo>
                <a:cubicBezTo>
                  <a:pt x="156" y="41"/>
                  <a:pt x="156" y="41"/>
                  <a:pt x="156" y="41"/>
                </a:cubicBezTo>
                <a:cubicBezTo>
                  <a:pt x="152" y="41"/>
                  <a:pt x="147" y="40"/>
                  <a:pt x="142" y="40"/>
                </a:cubicBezTo>
                <a:close/>
                <a:moveTo>
                  <a:pt x="40" y="142"/>
                </a:moveTo>
                <a:cubicBezTo>
                  <a:pt x="40" y="147"/>
                  <a:pt x="40" y="152"/>
                  <a:pt x="41" y="157"/>
                </a:cubicBezTo>
                <a:cubicBezTo>
                  <a:pt x="0" y="157"/>
                  <a:pt x="0" y="157"/>
                  <a:pt x="0" y="157"/>
                </a:cubicBezTo>
                <a:cubicBezTo>
                  <a:pt x="0" y="128"/>
                  <a:pt x="0" y="128"/>
                  <a:pt x="0" y="128"/>
                </a:cubicBezTo>
                <a:cubicBezTo>
                  <a:pt x="41" y="128"/>
                  <a:pt x="41" y="128"/>
                  <a:pt x="41" y="128"/>
                </a:cubicBezTo>
                <a:cubicBezTo>
                  <a:pt x="40" y="133"/>
                  <a:pt x="40" y="138"/>
                  <a:pt x="40" y="142"/>
                </a:cubicBezTo>
                <a:close/>
                <a:moveTo>
                  <a:pt x="142" y="245"/>
                </a:moveTo>
                <a:cubicBezTo>
                  <a:pt x="147" y="245"/>
                  <a:pt x="152" y="244"/>
                  <a:pt x="156" y="244"/>
                </a:cubicBezTo>
                <a:cubicBezTo>
                  <a:pt x="156" y="285"/>
                  <a:pt x="156" y="285"/>
                  <a:pt x="156" y="285"/>
                </a:cubicBezTo>
                <a:cubicBezTo>
                  <a:pt x="128" y="285"/>
                  <a:pt x="128" y="285"/>
                  <a:pt x="128" y="285"/>
                </a:cubicBezTo>
                <a:cubicBezTo>
                  <a:pt x="128" y="244"/>
                  <a:pt x="128" y="244"/>
                  <a:pt x="128" y="244"/>
                </a:cubicBezTo>
                <a:cubicBezTo>
                  <a:pt x="133" y="244"/>
                  <a:pt x="137" y="245"/>
                  <a:pt x="142" y="245"/>
                </a:cubicBezTo>
                <a:close/>
                <a:moveTo>
                  <a:pt x="245" y="142"/>
                </a:moveTo>
                <a:cubicBezTo>
                  <a:pt x="245" y="138"/>
                  <a:pt x="244" y="133"/>
                  <a:pt x="243" y="128"/>
                </a:cubicBezTo>
                <a:cubicBezTo>
                  <a:pt x="285" y="128"/>
                  <a:pt x="285" y="128"/>
                  <a:pt x="285" y="128"/>
                </a:cubicBezTo>
                <a:cubicBezTo>
                  <a:pt x="285" y="157"/>
                  <a:pt x="285" y="157"/>
                  <a:pt x="285" y="157"/>
                </a:cubicBezTo>
                <a:cubicBezTo>
                  <a:pt x="243" y="157"/>
                  <a:pt x="243" y="157"/>
                  <a:pt x="243" y="157"/>
                </a:cubicBezTo>
                <a:cubicBezTo>
                  <a:pt x="244" y="152"/>
                  <a:pt x="245" y="147"/>
                  <a:pt x="245" y="14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80687" tIns="40344" rIns="80687" bIns="40344" numCol="1" anchor="t" anchorCtr="0" compatLnSpc="1">
            <a:prstTxWarp prst="textNoShape">
              <a:avLst/>
            </a:prstTxWarp>
          </a:bodyPr>
          <a:lstStyle/>
          <a:p>
            <a:endParaRPr lang="en-US" sz="1600" ker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grpSp>
        <p:nvGrpSpPr>
          <p:cNvPr id="28" name="Group 27"/>
          <p:cNvGrpSpPr/>
          <p:nvPr/>
        </p:nvGrpSpPr>
        <p:grpSpPr>
          <a:xfrm flipH="1">
            <a:off x="6702241" y="1185833"/>
            <a:ext cx="729762" cy="1010978"/>
            <a:chOff x="1539997" y="3780827"/>
            <a:chExt cx="800271" cy="1108369"/>
          </a:xfrm>
          <a:solidFill>
            <a:srgbClr val="FFFFFF"/>
          </a:solidFill>
        </p:grpSpPr>
        <p:sp>
          <p:nvSpPr>
            <p:cNvPr id="29" name="Rectangle 24"/>
            <p:cNvSpPr/>
            <p:nvPr/>
          </p:nvSpPr>
          <p:spPr>
            <a:xfrm>
              <a:off x="1539997" y="3780827"/>
              <a:ext cx="800271" cy="1108369"/>
            </a:xfrm>
            <a:custGeom>
              <a:avLst/>
              <a:gdLst/>
              <a:ahLst/>
              <a:cxnLst/>
              <a:rect l="l" t="t" r="r" b="b"/>
              <a:pathLst>
                <a:path w="1518158" h="2102639">
                  <a:moveTo>
                    <a:pt x="664962" y="48"/>
                  </a:moveTo>
                  <a:cubicBezTo>
                    <a:pt x="990735" y="4734"/>
                    <a:pt x="1250103" y="195355"/>
                    <a:pt x="1311820" y="389100"/>
                  </a:cubicBezTo>
                  <a:cubicBezTo>
                    <a:pt x="1373537" y="582844"/>
                    <a:pt x="1310258" y="419568"/>
                    <a:pt x="1400880" y="656280"/>
                  </a:cubicBezTo>
                  <a:cubicBezTo>
                    <a:pt x="1411818" y="757059"/>
                    <a:pt x="1339163" y="742996"/>
                    <a:pt x="1358694" y="815651"/>
                  </a:cubicBezTo>
                  <a:cubicBezTo>
                    <a:pt x="1378225" y="888305"/>
                    <a:pt x="1514158" y="1033614"/>
                    <a:pt x="1518064" y="1092206"/>
                  </a:cubicBezTo>
                  <a:cubicBezTo>
                    <a:pt x="1521971" y="1150798"/>
                    <a:pt x="1404005" y="1135955"/>
                    <a:pt x="1382130" y="1167204"/>
                  </a:cubicBezTo>
                  <a:cubicBezTo>
                    <a:pt x="1360256" y="1198453"/>
                    <a:pt x="1390724" y="1255483"/>
                    <a:pt x="1386818" y="1279701"/>
                  </a:cubicBezTo>
                  <a:cubicBezTo>
                    <a:pt x="1382912" y="1303919"/>
                    <a:pt x="1361038" y="1303137"/>
                    <a:pt x="1358694" y="1312512"/>
                  </a:cubicBezTo>
                  <a:cubicBezTo>
                    <a:pt x="1356350" y="1321887"/>
                    <a:pt x="1382912" y="1320325"/>
                    <a:pt x="1372756" y="1335949"/>
                  </a:cubicBezTo>
                  <a:cubicBezTo>
                    <a:pt x="1362600" y="1351574"/>
                    <a:pt x="1313382" y="1359387"/>
                    <a:pt x="1297758" y="1406260"/>
                  </a:cubicBezTo>
                  <a:cubicBezTo>
                    <a:pt x="1282134" y="1453134"/>
                    <a:pt x="1409474" y="1567974"/>
                    <a:pt x="1279008" y="1617192"/>
                  </a:cubicBezTo>
                  <a:cubicBezTo>
                    <a:pt x="1148544" y="1666410"/>
                    <a:pt x="978235" y="1565631"/>
                    <a:pt x="936830" y="1645316"/>
                  </a:cubicBezTo>
                  <a:cubicBezTo>
                    <a:pt x="895425" y="1725002"/>
                    <a:pt x="843864" y="1864060"/>
                    <a:pt x="1030577" y="2095304"/>
                  </a:cubicBezTo>
                  <a:cubicBezTo>
                    <a:pt x="762616" y="2092179"/>
                    <a:pt x="244660" y="2113272"/>
                    <a:pt x="18105" y="2095304"/>
                  </a:cubicBezTo>
                  <a:cubicBezTo>
                    <a:pt x="72790" y="1927340"/>
                    <a:pt x="250130" y="1765625"/>
                    <a:pt x="247786" y="1537506"/>
                  </a:cubicBezTo>
                  <a:cubicBezTo>
                    <a:pt x="245442" y="1309387"/>
                    <a:pt x="51697" y="1118768"/>
                    <a:pt x="4042" y="726591"/>
                  </a:cubicBezTo>
                  <a:cubicBezTo>
                    <a:pt x="-20283" y="526408"/>
                    <a:pt x="67548" y="340065"/>
                    <a:pt x="203379" y="206900"/>
                  </a:cubicBezTo>
                  <a:lnTo>
                    <a:pt x="203379" y="206708"/>
                  </a:lnTo>
                  <a:lnTo>
                    <a:pt x="203605" y="206708"/>
                  </a:lnTo>
                  <a:cubicBezTo>
                    <a:pt x="332512" y="77755"/>
                    <a:pt x="505564" y="-2246"/>
                    <a:pt x="664962" y="48"/>
                  </a:cubicBezTo>
                  <a:close/>
                </a:path>
              </a:pathLst>
            </a:custGeom>
            <a:grpFill/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30" name="Freeform 29"/>
            <p:cNvSpPr>
              <a:spLocks noEditPoints="1"/>
            </p:cNvSpPr>
            <p:nvPr/>
          </p:nvSpPr>
          <p:spPr bwMode="black">
            <a:xfrm rot="17995606">
              <a:off x="1607408" y="3900729"/>
              <a:ext cx="429800" cy="337492"/>
            </a:xfrm>
            <a:custGeom>
              <a:avLst/>
              <a:gdLst>
                <a:gd name="T0" fmla="*/ 1304 w 1423"/>
                <a:gd name="T1" fmla="*/ 301 h 1114"/>
                <a:gd name="T2" fmla="*/ 1302 w 1423"/>
                <a:gd name="T3" fmla="*/ 297 h 1114"/>
                <a:gd name="T4" fmla="*/ 719 w 1423"/>
                <a:gd name="T5" fmla="*/ 113 h 1114"/>
                <a:gd name="T6" fmla="*/ 496 w 1423"/>
                <a:gd name="T7" fmla="*/ 416 h 1114"/>
                <a:gd name="T8" fmla="*/ 441 w 1423"/>
                <a:gd name="T9" fmla="*/ 482 h 1114"/>
                <a:gd name="T10" fmla="*/ 375 w 1423"/>
                <a:gd name="T11" fmla="*/ 536 h 1114"/>
                <a:gd name="T12" fmla="*/ 290 w 1423"/>
                <a:gd name="T13" fmla="*/ 648 h 1114"/>
                <a:gd name="T14" fmla="*/ 470 w 1423"/>
                <a:gd name="T15" fmla="*/ 973 h 1114"/>
                <a:gd name="T16" fmla="*/ 610 w 1423"/>
                <a:gd name="T17" fmla="*/ 960 h 1114"/>
                <a:gd name="T18" fmla="*/ 775 w 1423"/>
                <a:gd name="T19" fmla="*/ 921 h 1114"/>
                <a:gd name="T20" fmla="*/ 932 w 1423"/>
                <a:gd name="T21" fmla="*/ 927 h 1114"/>
                <a:gd name="T22" fmla="*/ 1151 w 1423"/>
                <a:gd name="T23" fmla="*/ 893 h 1114"/>
                <a:gd name="T24" fmla="*/ 1304 w 1423"/>
                <a:gd name="T25" fmla="*/ 301 h 1114"/>
                <a:gd name="T26" fmla="*/ 1024 w 1423"/>
                <a:gd name="T27" fmla="*/ 311 h 1114"/>
                <a:gd name="T28" fmla="*/ 1024 w 1423"/>
                <a:gd name="T29" fmla="*/ 311 h 1114"/>
                <a:gd name="T30" fmla="*/ 873 w 1423"/>
                <a:gd name="T31" fmla="*/ 299 h 1114"/>
                <a:gd name="T32" fmla="*/ 873 w 1423"/>
                <a:gd name="T33" fmla="*/ 299 h 1114"/>
                <a:gd name="T34" fmla="*/ 799 w 1423"/>
                <a:gd name="T35" fmla="*/ 278 h 1114"/>
                <a:gd name="T36" fmla="*/ 821 w 1423"/>
                <a:gd name="T37" fmla="*/ 203 h 1114"/>
                <a:gd name="T38" fmla="*/ 828 w 1423"/>
                <a:gd name="T39" fmla="*/ 200 h 1114"/>
                <a:gd name="T40" fmla="*/ 1101 w 1423"/>
                <a:gd name="T41" fmla="*/ 234 h 1114"/>
                <a:gd name="T42" fmla="*/ 1108 w 1423"/>
                <a:gd name="T43" fmla="*/ 244 h 1114"/>
                <a:gd name="T44" fmla="*/ 1087 w 1423"/>
                <a:gd name="T45" fmla="*/ 318 h 1114"/>
                <a:gd name="T46" fmla="*/ 1024 w 1423"/>
                <a:gd name="T47" fmla="*/ 311 h 1114"/>
                <a:gd name="T48" fmla="*/ 14 w 1423"/>
                <a:gd name="T49" fmla="*/ 967 h 1114"/>
                <a:gd name="T50" fmla="*/ 53 w 1423"/>
                <a:gd name="T51" fmla="*/ 1037 h 1114"/>
                <a:gd name="T52" fmla="*/ 115 w 1423"/>
                <a:gd name="T53" fmla="*/ 1064 h 1114"/>
                <a:gd name="T54" fmla="*/ 24 w 1423"/>
                <a:gd name="T55" fmla="*/ 900 h 1114"/>
                <a:gd name="T56" fmla="*/ 14 w 1423"/>
                <a:gd name="T57" fmla="*/ 967 h 1114"/>
                <a:gd name="T58" fmla="*/ 400 w 1423"/>
                <a:gd name="T59" fmla="*/ 959 h 1114"/>
                <a:gd name="T60" fmla="*/ 265 w 1423"/>
                <a:gd name="T61" fmla="*/ 714 h 1114"/>
                <a:gd name="T62" fmla="*/ 190 w 1423"/>
                <a:gd name="T63" fmla="*/ 686 h 1114"/>
                <a:gd name="T64" fmla="*/ 175 w 1423"/>
                <a:gd name="T65" fmla="*/ 764 h 1114"/>
                <a:gd name="T66" fmla="*/ 310 w 1423"/>
                <a:gd name="T67" fmla="*/ 1008 h 1114"/>
                <a:gd name="T68" fmla="*/ 385 w 1423"/>
                <a:gd name="T69" fmla="*/ 1037 h 1114"/>
                <a:gd name="T70" fmla="*/ 400 w 1423"/>
                <a:gd name="T71" fmla="*/ 959 h 1114"/>
                <a:gd name="T72" fmla="*/ 266 w 1423"/>
                <a:gd name="T73" fmla="*/ 1026 h 1114"/>
                <a:gd name="T74" fmla="*/ 136 w 1423"/>
                <a:gd name="T75" fmla="*/ 792 h 1114"/>
                <a:gd name="T76" fmla="*/ 65 w 1423"/>
                <a:gd name="T77" fmla="*/ 764 h 1114"/>
                <a:gd name="T78" fmla="*/ 50 w 1423"/>
                <a:gd name="T79" fmla="*/ 840 h 1114"/>
                <a:gd name="T80" fmla="*/ 180 w 1423"/>
                <a:gd name="T81" fmla="*/ 1074 h 1114"/>
                <a:gd name="T82" fmla="*/ 251 w 1423"/>
                <a:gd name="T83" fmla="*/ 1101 h 1114"/>
                <a:gd name="T84" fmla="*/ 266 w 1423"/>
                <a:gd name="T85" fmla="*/ 1026 h 1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23" h="1114">
                  <a:moveTo>
                    <a:pt x="1304" y="301"/>
                  </a:moveTo>
                  <a:cubicBezTo>
                    <a:pt x="1303" y="298"/>
                    <a:pt x="1304" y="300"/>
                    <a:pt x="1302" y="297"/>
                  </a:cubicBezTo>
                  <a:cubicBezTo>
                    <a:pt x="1184" y="83"/>
                    <a:pt x="922" y="0"/>
                    <a:pt x="719" y="113"/>
                  </a:cubicBezTo>
                  <a:cubicBezTo>
                    <a:pt x="602" y="177"/>
                    <a:pt x="570" y="311"/>
                    <a:pt x="496" y="416"/>
                  </a:cubicBezTo>
                  <a:cubicBezTo>
                    <a:pt x="476" y="444"/>
                    <a:pt x="458" y="465"/>
                    <a:pt x="441" y="482"/>
                  </a:cubicBezTo>
                  <a:cubicBezTo>
                    <a:pt x="418" y="504"/>
                    <a:pt x="397" y="520"/>
                    <a:pt x="375" y="536"/>
                  </a:cubicBezTo>
                  <a:cubicBezTo>
                    <a:pt x="334" y="566"/>
                    <a:pt x="296" y="593"/>
                    <a:pt x="290" y="648"/>
                  </a:cubicBezTo>
                  <a:cubicBezTo>
                    <a:pt x="470" y="973"/>
                    <a:pt x="470" y="973"/>
                    <a:pt x="470" y="973"/>
                  </a:cubicBezTo>
                  <a:cubicBezTo>
                    <a:pt x="519" y="997"/>
                    <a:pt x="563" y="978"/>
                    <a:pt x="610" y="960"/>
                  </a:cubicBezTo>
                  <a:cubicBezTo>
                    <a:pt x="654" y="943"/>
                    <a:pt x="697" y="925"/>
                    <a:pt x="775" y="921"/>
                  </a:cubicBezTo>
                  <a:cubicBezTo>
                    <a:pt x="827" y="918"/>
                    <a:pt x="880" y="924"/>
                    <a:pt x="932" y="927"/>
                  </a:cubicBezTo>
                  <a:cubicBezTo>
                    <a:pt x="1008" y="932"/>
                    <a:pt x="1082" y="931"/>
                    <a:pt x="1151" y="893"/>
                  </a:cubicBezTo>
                  <a:cubicBezTo>
                    <a:pt x="1354" y="780"/>
                    <a:pt x="1423" y="515"/>
                    <a:pt x="1304" y="301"/>
                  </a:cubicBezTo>
                  <a:close/>
                  <a:moveTo>
                    <a:pt x="1024" y="311"/>
                  </a:moveTo>
                  <a:cubicBezTo>
                    <a:pt x="1024" y="311"/>
                    <a:pt x="1024" y="311"/>
                    <a:pt x="1024" y="311"/>
                  </a:cubicBezTo>
                  <a:cubicBezTo>
                    <a:pt x="983" y="270"/>
                    <a:pt x="917" y="279"/>
                    <a:pt x="873" y="299"/>
                  </a:cubicBezTo>
                  <a:cubicBezTo>
                    <a:pt x="873" y="299"/>
                    <a:pt x="873" y="299"/>
                    <a:pt x="873" y="299"/>
                  </a:cubicBezTo>
                  <a:cubicBezTo>
                    <a:pt x="847" y="313"/>
                    <a:pt x="814" y="304"/>
                    <a:pt x="799" y="278"/>
                  </a:cubicBezTo>
                  <a:cubicBezTo>
                    <a:pt x="785" y="251"/>
                    <a:pt x="794" y="218"/>
                    <a:pt x="821" y="203"/>
                  </a:cubicBezTo>
                  <a:cubicBezTo>
                    <a:pt x="823" y="202"/>
                    <a:pt x="828" y="200"/>
                    <a:pt x="828" y="200"/>
                  </a:cubicBezTo>
                  <a:cubicBezTo>
                    <a:pt x="927" y="155"/>
                    <a:pt x="1035" y="168"/>
                    <a:pt x="1101" y="234"/>
                  </a:cubicBezTo>
                  <a:cubicBezTo>
                    <a:pt x="1101" y="234"/>
                    <a:pt x="1106" y="240"/>
                    <a:pt x="1108" y="244"/>
                  </a:cubicBezTo>
                  <a:cubicBezTo>
                    <a:pt x="1122" y="270"/>
                    <a:pt x="1113" y="303"/>
                    <a:pt x="1087" y="318"/>
                  </a:cubicBezTo>
                  <a:cubicBezTo>
                    <a:pt x="1066" y="329"/>
                    <a:pt x="1041" y="326"/>
                    <a:pt x="1024" y="311"/>
                  </a:cubicBezTo>
                  <a:close/>
                  <a:moveTo>
                    <a:pt x="14" y="967"/>
                  </a:moveTo>
                  <a:cubicBezTo>
                    <a:pt x="53" y="1037"/>
                    <a:pt x="53" y="1037"/>
                    <a:pt x="53" y="1037"/>
                  </a:cubicBezTo>
                  <a:cubicBezTo>
                    <a:pt x="67" y="1062"/>
                    <a:pt x="94" y="1074"/>
                    <a:pt x="115" y="1064"/>
                  </a:cubicBezTo>
                  <a:cubicBezTo>
                    <a:pt x="24" y="900"/>
                    <a:pt x="24" y="900"/>
                    <a:pt x="24" y="900"/>
                  </a:cubicBezTo>
                  <a:cubicBezTo>
                    <a:pt x="5" y="912"/>
                    <a:pt x="0" y="941"/>
                    <a:pt x="14" y="967"/>
                  </a:cubicBezTo>
                  <a:close/>
                  <a:moveTo>
                    <a:pt x="400" y="959"/>
                  </a:moveTo>
                  <a:cubicBezTo>
                    <a:pt x="265" y="714"/>
                    <a:pt x="265" y="714"/>
                    <a:pt x="265" y="714"/>
                  </a:cubicBezTo>
                  <a:cubicBezTo>
                    <a:pt x="248" y="685"/>
                    <a:pt x="215" y="672"/>
                    <a:pt x="190" y="686"/>
                  </a:cubicBezTo>
                  <a:cubicBezTo>
                    <a:pt x="166" y="699"/>
                    <a:pt x="159" y="734"/>
                    <a:pt x="175" y="764"/>
                  </a:cubicBezTo>
                  <a:cubicBezTo>
                    <a:pt x="310" y="1008"/>
                    <a:pt x="310" y="1008"/>
                    <a:pt x="310" y="1008"/>
                  </a:cubicBezTo>
                  <a:cubicBezTo>
                    <a:pt x="327" y="1038"/>
                    <a:pt x="360" y="1051"/>
                    <a:pt x="385" y="1037"/>
                  </a:cubicBezTo>
                  <a:cubicBezTo>
                    <a:pt x="410" y="1023"/>
                    <a:pt x="416" y="988"/>
                    <a:pt x="400" y="959"/>
                  </a:cubicBezTo>
                  <a:close/>
                  <a:moveTo>
                    <a:pt x="266" y="1026"/>
                  </a:moveTo>
                  <a:cubicBezTo>
                    <a:pt x="136" y="792"/>
                    <a:pt x="136" y="792"/>
                    <a:pt x="136" y="792"/>
                  </a:cubicBezTo>
                  <a:cubicBezTo>
                    <a:pt x="121" y="764"/>
                    <a:pt x="89" y="751"/>
                    <a:pt x="65" y="764"/>
                  </a:cubicBezTo>
                  <a:cubicBezTo>
                    <a:pt x="41" y="778"/>
                    <a:pt x="35" y="811"/>
                    <a:pt x="50" y="840"/>
                  </a:cubicBezTo>
                  <a:cubicBezTo>
                    <a:pt x="180" y="1074"/>
                    <a:pt x="180" y="1074"/>
                    <a:pt x="180" y="1074"/>
                  </a:cubicBezTo>
                  <a:cubicBezTo>
                    <a:pt x="196" y="1102"/>
                    <a:pt x="228" y="1114"/>
                    <a:pt x="251" y="1101"/>
                  </a:cubicBezTo>
                  <a:cubicBezTo>
                    <a:pt x="275" y="1088"/>
                    <a:pt x="282" y="1055"/>
                    <a:pt x="266" y="1026"/>
                  </a:cubicBezTo>
                  <a:close/>
                </a:path>
              </a:pathLst>
            </a:custGeom>
            <a:solidFill>
              <a:srgbClr val="7FB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 dirty="0">
                <a:ln>
                  <a:solidFill>
                    <a:srgbClr val="505050">
                      <a:alpha val="0"/>
                    </a:srgb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</p:grpSp>
      <p:sp>
        <p:nvSpPr>
          <p:cNvPr id="31" name="Freeform 30"/>
          <p:cNvSpPr/>
          <p:nvPr>
            <p:custDataLst>
              <p:tags r:id="rId2"/>
            </p:custDataLst>
          </p:nvPr>
        </p:nvSpPr>
        <p:spPr>
          <a:xfrm>
            <a:off x="8181465" y="1244562"/>
            <a:ext cx="889654" cy="896920"/>
          </a:xfrm>
          <a:custGeom>
            <a:avLst/>
            <a:gdLst/>
            <a:ahLst/>
            <a:cxnLst/>
            <a:rect l="l" t="t" r="r" b="b"/>
            <a:pathLst>
              <a:path w="1188720" h="1198117">
                <a:moveTo>
                  <a:pt x="0" y="1179829"/>
                </a:moveTo>
                <a:lnTo>
                  <a:pt x="1188720" y="1179829"/>
                </a:lnTo>
                <a:lnTo>
                  <a:pt x="1188720" y="1198117"/>
                </a:lnTo>
                <a:lnTo>
                  <a:pt x="0" y="1198117"/>
                </a:lnTo>
                <a:close/>
                <a:moveTo>
                  <a:pt x="85725" y="629228"/>
                </a:moveTo>
                <a:lnTo>
                  <a:pt x="228600" y="629228"/>
                </a:lnTo>
                <a:lnTo>
                  <a:pt x="228600" y="1174749"/>
                </a:lnTo>
                <a:lnTo>
                  <a:pt x="85725" y="1174749"/>
                </a:lnTo>
                <a:close/>
                <a:moveTo>
                  <a:pt x="160954" y="560521"/>
                </a:moveTo>
                <a:lnTo>
                  <a:pt x="134893" y="565433"/>
                </a:lnTo>
                <a:lnTo>
                  <a:pt x="135875" y="570646"/>
                </a:lnTo>
                <a:lnTo>
                  <a:pt x="161936" y="565734"/>
                </a:lnTo>
                <a:close/>
                <a:moveTo>
                  <a:pt x="200045" y="527408"/>
                </a:moveTo>
                <a:lnTo>
                  <a:pt x="95801" y="547055"/>
                </a:lnTo>
                <a:lnTo>
                  <a:pt x="96784" y="552268"/>
                </a:lnTo>
                <a:lnTo>
                  <a:pt x="201028" y="532620"/>
                </a:lnTo>
                <a:close/>
                <a:moveTo>
                  <a:pt x="193530" y="502890"/>
                </a:moveTo>
                <a:lnTo>
                  <a:pt x="102316" y="520082"/>
                </a:lnTo>
                <a:lnTo>
                  <a:pt x="103299" y="525294"/>
                </a:lnTo>
                <a:lnTo>
                  <a:pt x="194512" y="508102"/>
                </a:lnTo>
                <a:close/>
                <a:moveTo>
                  <a:pt x="180500" y="479600"/>
                </a:moveTo>
                <a:lnTo>
                  <a:pt x="115347" y="491880"/>
                </a:lnTo>
                <a:lnTo>
                  <a:pt x="116329" y="497092"/>
                </a:lnTo>
                <a:lnTo>
                  <a:pt x="181482" y="484813"/>
                </a:lnTo>
                <a:close/>
                <a:moveTo>
                  <a:pt x="378883" y="434974"/>
                </a:moveTo>
                <a:lnTo>
                  <a:pt x="521758" y="434974"/>
                </a:lnTo>
                <a:lnTo>
                  <a:pt x="521758" y="1174749"/>
                </a:lnTo>
                <a:lnTo>
                  <a:pt x="378883" y="1174749"/>
                </a:lnTo>
                <a:close/>
                <a:moveTo>
                  <a:pt x="672041" y="225425"/>
                </a:moveTo>
                <a:lnTo>
                  <a:pt x="814916" y="225425"/>
                </a:lnTo>
                <a:lnTo>
                  <a:pt x="814916" y="1174749"/>
                </a:lnTo>
                <a:lnTo>
                  <a:pt x="672041" y="1174749"/>
                </a:lnTo>
                <a:close/>
                <a:moveTo>
                  <a:pt x="144046" y="189143"/>
                </a:moveTo>
                <a:cubicBezTo>
                  <a:pt x="151107" y="189037"/>
                  <a:pt x="156647" y="189144"/>
                  <a:pt x="164251" y="190420"/>
                </a:cubicBezTo>
                <a:cubicBezTo>
                  <a:pt x="171855" y="191696"/>
                  <a:pt x="181740" y="194037"/>
                  <a:pt x="189670" y="196802"/>
                </a:cubicBezTo>
                <a:cubicBezTo>
                  <a:pt x="197599" y="199568"/>
                  <a:pt x="204877" y="202865"/>
                  <a:pt x="211830" y="207013"/>
                </a:cubicBezTo>
                <a:cubicBezTo>
                  <a:pt x="218782" y="211162"/>
                  <a:pt x="225516" y="216161"/>
                  <a:pt x="231382" y="221693"/>
                </a:cubicBezTo>
                <a:cubicBezTo>
                  <a:pt x="237248" y="227224"/>
                  <a:pt x="242679" y="233712"/>
                  <a:pt x="247025" y="240201"/>
                </a:cubicBezTo>
                <a:cubicBezTo>
                  <a:pt x="251370" y="246689"/>
                  <a:pt x="254411" y="253923"/>
                  <a:pt x="257453" y="260624"/>
                </a:cubicBezTo>
                <a:cubicBezTo>
                  <a:pt x="260495" y="267325"/>
                  <a:pt x="263319" y="273282"/>
                  <a:pt x="265274" y="280409"/>
                </a:cubicBezTo>
                <a:cubicBezTo>
                  <a:pt x="267230" y="287536"/>
                  <a:pt x="268967" y="295194"/>
                  <a:pt x="269185" y="303385"/>
                </a:cubicBezTo>
                <a:cubicBezTo>
                  <a:pt x="269402" y="311575"/>
                  <a:pt x="268641" y="320510"/>
                  <a:pt x="266578" y="329552"/>
                </a:cubicBezTo>
                <a:cubicBezTo>
                  <a:pt x="264514" y="338593"/>
                  <a:pt x="261146" y="347528"/>
                  <a:pt x="256801" y="357633"/>
                </a:cubicBezTo>
                <a:cubicBezTo>
                  <a:pt x="252456" y="367738"/>
                  <a:pt x="246373" y="378375"/>
                  <a:pt x="240507" y="390182"/>
                </a:cubicBezTo>
                <a:cubicBezTo>
                  <a:pt x="234641" y="401989"/>
                  <a:pt x="226277" y="418902"/>
                  <a:pt x="221606" y="428476"/>
                </a:cubicBezTo>
                <a:cubicBezTo>
                  <a:pt x="216935" y="438049"/>
                  <a:pt x="213568" y="443048"/>
                  <a:pt x="212481" y="447622"/>
                </a:cubicBezTo>
                <a:cubicBezTo>
                  <a:pt x="211395" y="452196"/>
                  <a:pt x="215414" y="453260"/>
                  <a:pt x="215088" y="455919"/>
                </a:cubicBezTo>
                <a:cubicBezTo>
                  <a:pt x="214762" y="458578"/>
                  <a:pt x="210743" y="461025"/>
                  <a:pt x="210526" y="463578"/>
                </a:cubicBezTo>
                <a:cubicBezTo>
                  <a:pt x="210309" y="466130"/>
                  <a:pt x="214219" y="467620"/>
                  <a:pt x="213785" y="471236"/>
                </a:cubicBezTo>
                <a:lnTo>
                  <a:pt x="207919" y="485277"/>
                </a:lnTo>
                <a:cubicBezTo>
                  <a:pt x="207267" y="489213"/>
                  <a:pt x="209005" y="491766"/>
                  <a:pt x="209874" y="494850"/>
                </a:cubicBezTo>
                <a:cubicBezTo>
                  <a:pt x="210743" y="497935"/>
                  <a:pt x="213567" y="499743"/>
                  <a:pt x="213133" y="503785"/>
                </a:cubicBezTo>
                <a:cubicBezTo>
                  <a:pt x="212698" y="507827"/>
                  <a:pt x="207158" y="514954"/>
                  <a:pt x="207267" y="519102"/>
                </a:cubicBezTo>
                <a:cubicBezTo>
                  <a:pt x="207376" y="523251"/>
                  <a:pt x="213024" y="525166"/>
                  <a:pt x="213785" y="528676"/>
                </a:cubicBezTo>
                <a:lnTo>
                  <a:pt x="211830" y="540164"/>
                </a:lnTo>
                <a:cubicBezTo>
                  <a:pt x="210743" y="542929"/>
                  <a:pt x="207484" y="543461"/>
                  <a:pt x="207267" y="545270"/>
                </a:cubicBezTo>
                <a:cubicBezTo>
                  <a:pt x="207050" y="547078"/>
                  <a:pt x="209440" y="548780"/>
                  <a:pt x="210526" y="551013"/>
                </a:cubicBezTo>
                <a:cubicBezTo>
                  <a:pt x="211612" y="553247"/>
                  <a:pt x="213676" y="555587"/>
                  <a:pt x="213785" y="558672"/>
                </a:cubicBezTo>
                <a:cubicBezTo>
                  <a:pt x="213893" y="561757"/>
                  <a:pt x="213242" y="566437"/>
                  <a:pt x="211178" y="569522"/>
                </a:cubicBezTo>
                <a:cubicBezTo>
                  <a:pt x="209114" y="572606"/>
                  <a:pt x="207593" y="574628"/>
                  <a:pt x="201401" y="577180"/>
                </a:cubicBezTo>
                <a:cubicBezTo>
                  <a:pt x="195209" y="579733"/>
                  <a:pt x="179024" y="582606"/>
                  <a:pt x="174027" y="584839"/>
                </a:cubicBezTo>
                <a:cubicBezTo>
                  <a:pt x="169031" y="587073"/>
                  <a:pt x="172724" y="588137"/>
                  <a:pt x="171420" y="590583"/>
                </a:cubicBezTo>
                <a:cubicBezTo>
                  <a:pt x="170117" y="593030"/>
                  <a:pt x="169248" y="597072"/>
                  <a:pt x="166206" y="599518"/>
                </a:cubicBezTo>
                <a:cubicBezTo>
                  <a:pt x="163164" y="601964"/>
                  <a:pt x="157733" y="604198"/>
                  <a:pt x="153171" y="605262"/>
                </a:cubicBezTo>
                <a:cubicBezTo>
                  <a:pt x="148608" y="606326"/>
                  <a:pt x="142960" y="606645"/>
                  <a:pt x="138832" y="605900"/>
                </a:cubicBezTo>
                <a:cubicBezTo>
                  <a:pt x="134704" y="605156"/>
                  <a:pt x="131011" y="602603"/>
                  <a:pt x="128404" y="600794"/>
                </a:cubicBezTo>
                <a:cubicBezTo>
                  <a:pt x="125797" y="598986"/>
                  <a:pt x="124276" y="597391"/>
                  <a:pt x="123189" y="595051"/>
                </a:cubicBezTo>
                <a:lnTo>
                  <a:pt x="121886" y="586754"/>
                </a:lnTo>
                <a:cubicBezTo>
                  <a:pt x="118084" y="584626"/>
                  <a:pt x="110806" y="581648"/>
                  <a:pt x="110806" y="581648"/>
                </a:cubicBezTo>
                <a:cubicBezTo>
                  <a:pt x="107004" y="580052"/>
                  <a:pt x="100704" y="577712"/>
                  <a:pt x="97119" y="575904"/>
                </a:cubicBezTo>
                <a:cubicBezTo>
                  <a:pt x="93534" y="574096"/>
                  <a:pt x="91471" y="572713"/>
                  <a:pt x="89298" y="570798"/>
                </a:cubicBezTo>
                <a:cubicBezTo>
                  <a:pt x="87125" y="568883"/>
                  <a:pt x="84844" y="566756"/>
                  <a:pt x="84084" y="564416"/>
                </a:cubicBezTo>
                <a:cubicBezTo>
                  <a:pt x="83324" y="562076"/>
                  <a:pt x="83975" y="559417"/>
                  <a:pt x="84736" y="556757"/>
                </a:cubicBezTo>
                <a:lnTo>
                  <a:pt x="88646" y="548461"/>
                </a:lnTo>
                <a:cubicBezTo>
                  <a:pt x="88972" y="546546"/>
                  <a:pt x="87668" y="546759"/>
                  <a:pt x="86691" y="545270"/>
                </a:cubicBezTo>
                <a:cubicBezTo>
                  <a:pt x="85713" y="543780"/>
                  <a:pt x="83650" y="541866"/>
                  <a:pt x="82780" y="539526"/>
                </a:cubicBezTo>
                <a:cubicBezTo>
                  <a:pt x="81911" y="537185"/>
                  <a:pt x="81151" y="533994"/>
                  <a:pt x="81477" y="531229"/>
                </a:cubicBezTo>
                <a:cubicBezTo>
                  <a:pt x="81803" y="528463"/>
                  <a:pt x="83758" y="525166"/>
                  <a:pt x="84736" y="522932"/>
                </a:cubicBezTo>
                <a:cubicBezTo>
                  <a:pt x="85713" y="520698"/>
                  <a:pt x="87451" y="519315"/>
                  <a:pt x="87343" y="517826"/>
                </a:cubicBezTo>
                <a:cubicBezTo>
                  <a:pt x="87234" y="516337"/>
                  <a:pt x="85061" y="515699"/>
                  <a:pt x="84084" y="513997"/>
                </a:cubicBezTo>
                <a:cubicBezTo>
                  <a:pt x="83106" y="512295"/>
                  <a:pt x="81803" y="509955"/>
                  <a:pt x="81477" y="507615"/>
                </a:cubicBezTo>
                <a:cubicBezTo>
                  <a:pt x="81151" y="505274"/>
                  <a:pt x="81042" y="502615"/>
                  <a:pt x="82129" y="499956"/>
                </a:cubicBezTo>
                <a:lnTo>
                  <a:pt x="87994" y="491659"/>
                </a:lnTo>
                <a:cubicBezTo>
                  <a:pt x="88646" y="489319"/>
                  <a:pt x="87125" y="488681"/>
                  <a:pt x="86039" y="485915"/>
                </a:cubicBezTo>
                <a:cubicBezTo>
                  <a:pt x="84953" y="483150"/>
                  <a:pt x="82346" y="478469"/>
                  <a:pt x="81477" y="475065"/>
                </a:cubicBezTo>
                <a:cubicBezTo>
                  <a:pt x="80608" y="471662"/>
                  <a:pt x="80282" y="468790"/>
                  <a:pt x="80825" y="465492"/>
                </a:cubicBezTo>
                <a:cubicBezTo>
                  <a:pt x="81368" y="462195"/>
                  <a:pt x="86148" y="458259"/>
                  <a:pt x="85387" y="453366"/>
                </a:cubicBezTo>
                <a:cubicBezTo>
                  <a:pt x="84627" y="448473"/>
                  <a:pt x="80173" y="444005"/>
                  <a:pt x="76263" y="436134"/>
                </a:cubicBezTo>
                <a:cubicBezTo>
                  <a:pt x="72352" y="428263"/>
                  <a:pt x="68116" y="418583"/>
                  <a:pt x="61924" y="406138"/>
                </a:cubicBezTo>
                <a:cubicBezTo>
                  <a:pt x="55732" y="393693"/>
                  <a:pt x="44761" y="373695"/>
                  <a:pt x="39112" y="361463"/>
                </a:cubicBezTo>
                <a:cubicBezTo>
                  <a:pt x="33464" y="349230"/>
                  <a:pt x="30313" y="342635"/>
                  <a:pt x="28032" y="332743"/>
                </a:cubicBezTo>
                <a:cubicBezTo>
                  <a:pt x="25751" y="322850"/>
                  <a:pt x="24664" y="313064"/>
                  <a:pt x="25425" y="302108"/>
                </a:cubicBezTo>
                <a:cubicBezTo>
                  <a:pt x="26186" y="291152"/>
                  <a:pt x="29118" y="277324"/>
                  <a:pt x="32595" y="267006"/>
                </a:cubicBezTo>
                <a:cubicBezTo>
                  <a:pt x="36071" y="256688"/>
                  <a:pt x="40525" y="248498"/>
                  <a:pt x="46282" y="240201"/>
                </a:cubicBezTo>
                <a:cubicBezTo>
                  <a:pt x="52039" y="231904"/>
                  <a:pt x="58991" y="223820"/>
                  <a:pt x="67138" y="217225"/>
                </a:cubicBezTo>
                <a:cubicBezTo>
                  <a:pt x="75285" y="210630"/>
                  <a:pt x="86039" y="204992"/>
                  <a:pt x="95164" y="200631"/>
                </a:cubicBezTo>
                <a:cubicBezTo>
                  <a:pt x="104289" y="196270"/>
                  <a:pt x="113739" y="192973"/>
                  <a:pt x="121886" y="191058"/>
                </a:cubicBezTo>
                <a:cubicBezTo>
                  <a:pt x="130033" y="189143"/>
                  <a:pt x="136985" y="189250"/>
                  <a:pt x="144046" y="189143"/>
                </a:cubicBezTo>
                <a:close/>
                <a:moveTo>
                  <a:pt x="965198" y="0"/>
                </a:moveTo>
                <a:lnTo>
                  <a:pt x="1108073" y="0"/>
                </a:lnTo>
                <a:lnTo>
                  <a:pt x="1108073" y="1174749"/>
                </a:lnTo>
                <a:lnTo>
                  <a:pt x="965198" y="1174749"/>
                </a:lnTo>
                <a:close/>
              </a:path>
            </a:pathLst>
          </a:custGeom>
          <a:solidFill>
            <a:srgbClr val="FFFFFF"/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sym typeface="Segoe UI"/>
            </a:endParaRPr>
          </a:p>
        </p:txBody>
      </p:sp>
      <p:sp>
        <p:nvSpPr>
          <p:cNvPr id="33" name="Rectangle 32"/>
          <p:cNvSpPr>
            <a:spLocks/>
          </p:cNvSpPr>
          <p:nvPr/>
        </p:nvSpPr>
        <p:spPr bwMode="auto">
          <a:xfrm>
            <a:off x="6164134" y="2361102"/>
            <a:ext cx="1325880" cy="1325880"/>
          </a:xfrm>
          <a:prstGeom prst="rect">
            <a:avLst/>
          </a:prstGeom>
          <a:solidFill>
            <a:srgbClr val="99FFCC"/>
          </a:solidFill>
          <a:ln w="381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1423" tIns="45720" rIns="91423" bIns="89642" numCol="1" rtlCol="0" anchor="ctr" anchorCtr="0" compatLnSpc="1">
            <a:prstTxWarp prst="textNoShape">
              <a:avLst/>
            </a:prstTxWarp>
          </a:bodyPr>
          <a:lstStyle/>
          <a:p>
            <a:pPr algn="ctr" defTabSz="913744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kern="0" dirty="0" smtClean="0">
                <a:solidFill>
                  <a:srgbClr val="33333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Data Privacy</a:t>
            </a:r>
            <a:endParaRPr lang="en-US" sz="1400" b="1" kern="0" dirty="0">
              <a:solidFill>
                <a:srgbClr val="33333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4" name="Rectangle 33"/>
          <p:cNvSpPr>
            <a:spLocks/>
          </p:cNvSpPr>
          <p:nvPr/>
        </p:nvSpPr>
        <p:spPr bwMode="auto">
          <a:xfrm>
            <a:off x="6164134" y="4024928"/>
            <a:ext cx="1325880" cy="1325880"/>
          </a:xfrm>
          <a:prstGeom prst="rect">
            <a:avLst/>
          </a:prstGeom>
          <a:solidFill>
            <a:srgbClr val="CCFF99"/>
          </a:solidFill>
          <a:ln w="381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1423" tIns="45720" rIns="91423" bIns="89642" numCol="1" rtlCol="0" anchor="ctr" anchorCtr="0" compatLnSpc="1">
            <a:prstTxWarp prst="textNoShape">
              <a:avLst/>
            </a:prstTxWarp>
          </a:bodyPr>
          <a:lstStyle/>
          <a:p>
            <a:pPr algn="ctr" defTabSz="913744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kern="0" dirty="0" smtClean="0">
                <a:solidFill>
                  <a:srgbClr val="33333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ompliance and Certifications</a:t>
            </a:r>
            <a:endParaRPr lang="en-US" sz="1400" b="1" kern="0" dirty="0">
              <a:solidFill>
                <a:srgbClr val="33333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5" name="Rectangle 34"/>
          <p:cNvSpPr>
            <a:spLocks noChangeAspect="1"/>
          </p:cNvSpPr>
          <p:nvPr/>
        </p:nvSpPr>
        <p:spPr bwMode="auto">
          <a:xfrm>
            <a:off x="7800044" y="2361101"/>
            <a:ext cx="1325535" cy="1325880"/>
          </a:xfrm>
          <a:prstGeom prst="rect">
            <a:avLst/>
          </a:prstGeom>
          <a:solidFill>
            <a:srgbClr val="FFFFCC"/>
          </a:solidFill>
          <a:ln w="381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1423" tIns="45720" rIns="91423" bIns="89642" numCol="1" rtlCol="0" anchor="ctr" anchorCtr="0" compatLnSpc="1">
            <a:prstTxWarp prst="textNoShape">
              <a:avLst/>
            </a:prstTxWarp>
          </a:bodyPr>
          <a:lstStyle/>
          <a:p>
            <a:pPr algn="ctr" defTabSz="913744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kern="0" dirty="0" smtClean="0">
                <a:solidFill>
                  <a:srgbClr val="33333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ransparency</a:t>
            </a:r>
            <a:endParaRPr lang="en-US" sz="1400" b="1" kern="0" dirty="0">
              <a:solidFill>
                <a:srgbClr val="33333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6" name="Rectangle 35"/>
          <p:cNvSpPr>
            <a:spLocks noChangeAspect="1"/>
          </p:cNvSpPr>
          <p:nvPr/>
        </p:nvSpPr>
        <p:spPr bwMode="auto">
          <a:xfrm>
            <a:off x="8001698" y="4034117"/>
            <a:ext cx="1325535" cy="1325880"/>
          </a:xfrm>
          <a:prstGeom prst="rect">
            <a:avLst/>
          </a:prstGeom>
          <a:solidFill>
            <a:srgbClr val="66FF99"/>
          </a:solidFill>
          <a:ln w="381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1423" tIns="45720" rIns="91423" bIns="89642" numCol="1" rtlCol="0" anchor="ctr" anchorCtr="0" compatLnSpc="1">
            <a:prstTxWarp prst="textNoShape">
              <a:avLst/>
            </a:prstTxWarp>
          </a:bodyPr>
          <a:lstStyle/>
          <a:p>
            <a:pPr algn="ctr" defTabSz="913744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kern="0" dirty="0" smtClean="0">
                <a:solidFill>
                  <a:srgbClr val="33333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ybersecurity</a:t>
            </a:r>
            <a:endParaRPr lang="en-US" sz="1400" b="1" kern="0" dirty="0">
              <a:solidFill>
                <a:srgbClr val="33333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6796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1993281" y="577585"/>
            <a:ext cx="3126525" cy="2743200"/>
            <a:chOff x="1964706" y="558535"/>
            <a:chExt cx="3126525" cy="2743200"/>
          </a:xfrm>
        </p:grpSpPr>
        <p:grpSp>
          <p:nvGrpSpPr>
            <p:cNvPr id="5" name="Group 4"/>
            <p:cNvGrpSpPr/>
            <p:nvPr/>
          </p:nvGrpSpPr>
          <p:grpSpPr>
            <a:xfrm>
              <a:off x="1964706" y="558535"/>
              <a:ext cx="3126525" cy="2743200"/>
              <a:chOff x="1964706" y="558535"/>
              <a:chExt cx="3126525" cy="2743200"/>
            </a:xfrm>
          </p:grpSpPr>
          <p:sp>
            <p:nvSpPr>
              <p:cNvPr id="8" name="Rectangle 7"/>
              <p:cNvSpPr/>
              <p:nvPr/>
            </p:nvSpPr>
            <p:spPr>
              <a:xfrm>
                <a:off x="1964706" y="558535"/>
                <a:ext cx="3122757" cy="2743200"/>
              </a:xfrm>
              <a:prstGeom prst="rect">
                <a:avLst/>
              </a:prstGeom>
              <a:solidFill>
                <a:srgbClr val="40E0D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" name="Rectangle 8"/>
              <p:cNvSpPr/>
              <p:nvPr/>
            </p:nvSpPr>
            <p:spPr>
              <a:xfrm>
                <a:off x="2590035" y="558535"/>
                <a:ext cx="2501196" cy="2743200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2337790" y="1247496"/>
                <a:ext cx="2701465" cy="18017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78" name="Freeform 5"/>
              <p:cNvSpPr>
                <a:spLocks/>
              </p:cNvSpPr>
              <p:nvPr/>
            </p:nvSpPr>
            <p:spPr bwMode="auto">
              <a:xfrm>
                <a:off x="4225166" y="1517651"/>
                <a:ext cx="720725" cy="458788"/>
              </a:xfrm>
              <a:custGeom>
                <a:avLst/>
                <a:gdLst>
                  <a:gd name="T0" fmla="*/ 231 w 231"/>
                  <a:gd name="T1" fmla="*/ 131 h 147"/>
                  <a:gd name="T2" fmla="*/ 214 w 231"/>
                  <a:gd name="T3" fmla="*/ 45 h 147"/>
                  <a:gd name="T4" fmla="*/ 214 w 231"/>
                  <a:gd name="T5" fmla="*/ 10 h 147"/>
                  <a:gd name="T6" fmla="*/ 204 w 231"/>
                  <a:gd name="T7" fmla="*/ 0 h 147"/>
                  <a:gd name="T8" fmla="*/ 146 w 231"/>
                  <a:gd name="T9" fmla="*/ 0 h 147"/>
                  <a:gd name="T10" fmla="*/ 115 w 231"/>
                  <a:gd name="T11" fmla="*/ 0 h 147"/>
                  <a:gd name="T12" fmla="*/ 10 w 231"/>
                  <a:gd name="T13" fmla="*/ 0 h 147"/>
                  <a:gd name="T14" fmla="*/ 0 w 231"/>
                  <a:gd name="T15" fmla="*/ 10 h 147"/>
                  <a:gd name="T16" fmla="*/ 0 w 231"/>
                  <a:gd name="T17" fmla="*/ 137 h 147"/>
                  <a:gd name="T18" fmla="*/ 10 w 231"/>
                  <a:gd name="T19" fmla="*/ 147 h 147"/>
                  <a:gd name="T20" fmla="*/ 204 w 231"/>
                  <a:gd name="T21" fmla="*/ 147 h 147"/>
                  <a:gd name="T22" fmla="*/ 214 w 231"/>
                  <a:gd name="T23" fmla="*/ 137 h 147"/>
                  <a:gd name="T24" fmla="*/ 214 w 231"/>
                  <a:gd name="T25" fmla="*/ 137 h 147"/>
                  <a:gd name="T26" fmla="*/ 227 w 231"/>
                  <a:gd name="T27" fmla="*/ 137 h 147"/>
                  <a:gd name="T28" fmla="*/ 231 w 231"/>
                  <a:gd name="T29" fmla="*/ 133 h 147"/>
                  <a:gd name="T30" fmla="*/ 231 w 231"/>
                  <a:gd name="T31" fmla="*/ 131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31" h="147">
                    <a:moveTo>
                      <a:pt x="231" y="131"/>
                    </a:moveTo>
                    <a:cubicBezTo>
                      <a:pt x="214" y="45"/>
                      <a:pt x="214" y="45"/>
                      <a:pt x="214" y="45"/>
                    </a:cubicBezTo>
                    <a:cubicBezTo>
                      <a:pt x="214" y="10"/>
                      <a:pt x="214" y="10"/>
                      <a:pt x="214" y="10"/>
                    </a:cubicBezTo>
                    <a:cubicBezTo>
                      <a:pt x="214" y="5"/>
                      <a:pt x="209" y="0"/>
                      <a:pt x="204" y="0"/>
                    </a:cubicBezTo>
                    <a:cubicBezTo>
                      <a:pt x="146" y="0"/>
                      <a:pt x="146" y="0"/>
                      <a:pt x="146" y="0"/>
                    </a:cubicBezTo>
                    <a:cubicBezTo>
                      <a:pt x="115" y="0"/>
                      <a:pt x="115" y="0"/>
                      <a:pt x="115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5" y="0"/>
                      <a:pt x="0" y="5"/>
                      <a:pt x="0" y="10"/>
                    </a:cubicBezTo>
                    <a:cubicBezTo>
                      <a:pt x="0" y="137"/>
                      <a:pt x="0" y="137"/>
                      <a:pt x="0" y="137"/>
                    </a:cubicBezTo>
                    <a:cubicBezTo>
                      <a:pt x="0" y="142"/>
                      <a:pt x="5" y="147"/>
                      <a:pt x="10" y="147"/>
                    </a:cubicBezTo>
                    <a:cubicBezTo>
                      <a:pt x="204" y="147"/>
                      <a:pt x="204" y="147"/>
                      <a:pt x="204" y="147"/>
                    </a:cubicBezTo>
                    <a:cubicBezTo>
                      <a:pt x="209" y="147"/>
                      <a:pt x="214" y="142"/>
                      <a:pt x="214" y="137"/>
                    </a:cubicBezTo>
                    <a:cubicBezTo>
                      <a:pt x="214" y="137"/>
                      <a:pt x="214" y="137"/>
                      <a:pt x="214" y="137"/>
                    </a:cubicBezTo>
                    <a:cubicBezTo>
                      <a:pt x="227" y="137"/>
                      <a:pt x="227" y="137"/>
                      <a:pt x="227" y="137"/>
                    </a:cubicBezTo>
                    <a:cubicBezTo>
                      <a:pt x="229" y="137"/>
                      <a:pt x="231" y="135"/>
                      <a:pt x="231" y="133"/>
                    </a:cubicBezTo>
                    <a:cubicBezTo>
                      <a:pt x="231" y="132"/>
                      <a:pt x="231" y="132"/>
                      <a:pt x="231" y="131"/>
                    </a:cubicBezTo>
                    <a:close/>
                  </a:path>
                </a:pathLst>
              </a:custGeom>
              <a:solidFill>
                <a:srgbClr val="9B4F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6"/>
              <p:cNvSpPr>
                <a:spLocks/>
              </p:cNvSpPr>
              <p:nvPr/>
            </p:nvSpPr>
            <p:spPr bwMode="auto">
              <a:xfrm>
                <a:off x="3711046" y="2060576"/>
                <a:ext cx="377825" cy="744538"/>
              </a:xfrm>
              <a:custGeom>
                <a:avLst/>
                <a:gdLst>
                  <a:gd name="T0" fmla="*/ 121 w 121"/>
                  <a:gd name="T1" fmla="*/ 8 h 238"/>
                  <a:gd name="T2" fmla="*/ 113 w 121"/>
                  <a:gd name="T3" fmla="*/ 0 h 238"/>
                  <a:gd name="T4" fmla="*/ 8 w 121"/>
                  <a:gd name="T5" fmla="*/ 0 h 238"/>
                  <a:gd name="T6" fmla="*/ 0 w 121"/>
                  <a:gd name="T7" fmla="*/ 8 h 238"/>
                  <a:gd name="T8" fmla="*/ 0 w 121"/>
                  <a:gd name="T9" fmla="*/ 230 h 238"/>
                  <a:gd name="T10" fmla="*/ 8 w 121"/>
                  <a:gd name="T11" fmla="*/ 238 h 238"/>
                  <a:gd name="T12" fmla="*/ 113 w 121"/>
                  <a:gd name="T13" fmla="*/ 238 h 238"/>
                  <a:gd name="T14" fmla="*/ 121 w 121"/>
                  <a:gd name="T15" fmla="*/ 230 h 238"/>
                  <a:gd name="T16" fmla="*/ 121 w 121"/>
                  <a:gd name="T17" fmla="*/ 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1" h="238">
                    <a:moveTo>
                      <a:pt x="121" y="8"/>
                    </a:moveTo>
                    <a:cubicBezTo>
                      <a:pt x="121" y="3"/>
                      <a:pt x="117" y="0"/>
                      <a:pt x="113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3" y="0"/>
                      <a:pt x="0" y="3"/>
                      <a:pt x="0" y="8"/>
                    </a:cubicBezTo>
                    <a:cubicBezTo>
                      <a:pt x="0" y="230"/>
                      <a:pt x="0" y="230"/>
                      <a:pt x="0" y="230"/>
                    </a:cubicBezTo>
                    <a:cubicBezTo>
                      <a:pt x="0" y="235"/>
                      <a:pt x="3" y="238"/>
                      <a:pt x="8" y="238"/>
                    </a:cubicBezTo>
                    <a:cubicBezTo>
                      <a:pt x="113" y="238"/>
                      <a:pt x="113" y="238"/>
                      <a:pt x="113" y="238"/>
                    </a:cubicBezTo>
                    <a:cubicBezTo>
                      <a:pt x="117" y="238"/>
                      <a:pt x="121" y="235"/>
                      <a:pt x="121" y="230"/>
                    </a:cubicBezTo>
                    <a:lnTo>
                      <a:pt x="121" y="8"/>
                    </a:lnTo>
                    <a:close/>
                  </a:path>
                </a:pathLst>
              </a:cu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7"/>
              <p:cNvSpPr>
                <a:spLocks/>
              </p:cNvSpPr>
              <p:nvPr/>
            </p:nvSpPr>
            <p:spPr bwMode="auto">
              <a:xfrm>
                <a:off x="4225166" y="2060576"/>
                <a:ext cx="479425" cy="825500"/>
              </a:xfrm>
              <a:custGeom>
                <a:avLst/>
                <a:gdLst>
                  <a:gd name="T0" fmla="*/ 154 w 154"/>
                  <a:gd name="T1" fmla="*/ 254 h 264"/>
                  <a:gd name="T2" fmla="*/ 144 w 154"/>
                  <a:gd name="T3" fmla="*/ 264 h 264"/>
                  <a:gd name="T4" fmla="*/ 10 w 154"/>
                  <a:gd name="T5" fmla="*/ 264 h 264"/>
                  <a:gd name="T6" fmla="*/ 0 w 154"/>
                  <a:gd name="T7" fmla="*/ 254 h 264"/>
                  <a:gd name="T8" fmla="*/ 0 w 154"/>
                  <a:gd name="T9" fmla="*/ 10 h 264"/>
                  <a:gd name="T10" fmla="*/ 10 w 154"/>
                  <a:gd name="T11" fmla="*/ 0 h 264"/>
                  <a:gd name="T12" fmla="*/ 144 w 154"/>
                  <a:gd name="T13" fmla="*/ 0 h 264"/>
                  <a:gd name="T14" fmla="*/ 154 w 154"/>
                  <a:gd name="T15" fmla="*/ 10 h 264"/>
                  <a:gd name="T16" fmla="*/ 154 w 154"/>
                  <a:gd name="T17" fmla="*/ 254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4" h="264">
                    <a:moveTo>
                      <a:pt x="154" y="254"/>
                    </a:moveTo>
                    <a:cubicBezTo>
                      <a:pt x="154" y="259"/>
                      <a:pt x="150" y="264"/>
                      <a:pt x="144" y="264"/>
                    </a:cubicBezTo>
                    <a:cubicBezTo>
                      <a:pt x="10" y="264"/>
                      <a:pt x="10" y="264"/>
                      <a:pt x="10" y="264"/>
                    </a:cubicBezTo>
                    <a:cubicBezTo>
                      <a:pt x="5" y="264"/>
                      <a:pt x="0" y="259"/>
                      <a:pt x="0" y="254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4"/>
                      <a:pt x="5" y="0"/>
                      <a:pt x="10" y="0"/>
                    </a:cubicBezTo>
                    <a:cubicBezTo>
                      <a:pt x="144" y="0"/>
                      <a:pt x="144" y="0"/>
                      <a:pt x="144" y="0"/>
                    </a:cubicBezTo>
                    <a:cubicBezTo>
                      <a:pt x="150" y="0"/>
                      <a:pt x="154" y="4"/>
                      <a:pt x="154" y="10"/>
                    </a:cubicBezTo>
                    <a:lnTo>
                      <a:pt x="154" y="254"/>
                    </a:lnTo>
                    <a:close/>
                  </a:path>
                </a:pathLst>
              </a:custGeom>
              <a:solidFill>
                <a:srgbClr val="4423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8"/>
              <p:cNvSpPr>
                <a:spLocks noChangeArrowheads="1"/>
              </p:cNvSpPr>
              <p:nvPr/>
            </p:nvSpPr>
            <p:spPr bwMode="auto">
              <a:xfrm>
                <a:off x="4271203" y="2105026"/>
                <a:ext cx="390525" cy="649288"/>
              </a:xfrm>
              <a:prstGeom prst="rect">
                <a:avLst/>
              </a:pr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9"/>
              <p:cNvSpPr>
                <a:spLocks noChangeArrowheads="1"/>
              </p:cNvSpPr>
              <p:nvPr/>
            </p:nvSpPr>
            <p:spPr bwMode="auto">
              <a:xfrm>
                <a:off x="3741209" y="2170113"/>
                <a:ext cx="315912" cy="531813"/>
              </a:xfrm>
              <a:prstGeom prst="rect">
                <a:avLst/>
              </a:prstGeom>
              <a:solidFill>
                <a:srgbClr val="9B4F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10"/>
              <p:cNvSpPr>
                <a:spLocks noChangeArrowheads="1"/>
              </p:cNvSpPr>
              <p:nvPr/>
            </p:nvSpPr>
            <p:spPr bwMode="auto">
              <a:xfrm>
                <a:off x="4268028" y="1562101"/>
                <a:ext cx="581025" cy="371475"/>
              </a:xfrm>
              <a:prstGeom prst="rect">
                <a:avLst/>
              </a:pr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12"/>
              <p:cNvSpPr>
                <a:spLocks/>
              </p:cNvSpPr>
              <p:nvPr/>
            </p:nvSpPr>
            <p:spPr bwMode="auto">
              <a:xfrm>
                <a:off x="3698346" y="655638"/>
                <a:ext cx="436562" cy="635000"/>
              </a:xfrm>
              <a:custGeom>
                <a:avLst/>
                <a:gdLst>
                  <a:gd name="T0" fmla="*/ 0 w 140"/>
                  <a:gd name="T1" fmla="*/ 93 h 203"/>
                  <a:gd name="T2" fmla="*/ 0 w 140"/>
                  <a:gd name="T3" fmla="*/ 194 h 203"/>
                  <a:gd name="T4" fmla="*/ 9 w 140"/>
                  <a:gd name="T5" fmla="*/ 203 h 203"/>
                  <a:gd name="T6" fmla="*/ 131 w 140"/>
                  <a:gd name="T7" fmla="*/ 203 h 203"/>
                  <a:gd name="T8" fmla="*/ 140 w 140"/>
                  <a:gd name="T9" fmla="*/ 194 h 203"/>
                  <a:gd name="T10" fmla="*/ 140 w 140"/>
                  <a:gd name="T11" fmla="*/ 9 h 203"/>
                  <a:gd name="T12" fmla="*/ 131 w 140"/>
                  <a:gd name="T13" fmla="*/ 0 h 203"/>
                  <a:gd name="T14" fmla="*/ 9 w 140"/>
                  <a:gd name="T15" fmla="*/ 0 h 203"/>
                  <a:gd name="T16" fmla="*/ 0 w 140"/>
                  <a:gd name="T17" fmla="*/ 9 h 203"/>
                  <a:gd name="T18" fmla="*/ 0 w 140"/>
                  <a:gd name="T19" fmla="*/ 64 h 203"/>
                  <a:gd name="T20" fmla="*/ 0 w 140"/>
                  <a:gd name="T21" fmla="*/ 93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40" h="203">
                    <a:moveTo>
                      <a:pt x="0" y="93"/>
                    </a:moveTo>
                    <a:cubicBezTo>
                      <a:pt x="0" y="194"/>
                      <a:pt x="0" y="194"/>
                      <a:pt x="0" y="194"/>
                    </a:cubicBezTo>
                    <a:cubicBezTo>
                      <a:pt x="0" y="199"/>
                      <a:pt x="4" y="203"/>
                      <a:pt x="9" y="203"/>
                    </a:cubicBezTo>
                    <a:cubicBezTo>
                      <a:pt x="131" y="203"/>
                      <a:pt x="131" y="203"/>
                      <a:pt x="131" y="203"/>
                    </a:cubicBezTo>
                    <a:cubicBezTo>
                      <a:pt x="136" y="203"/>
                      <a:pt x="140" y="199"/>
                      <a:pt x="140" y="194"/>
                    </a:cubicBezTo>
                    <a:cubicBezTo>
                      <a:pt x="140" y="9"/>
                      <a:pt x="140" y="9"/>
                      <a:pt x="140" y="9"/>
                    </a:cubicBezTo>
                    <a:cubicBezTo>
                      <a:pt x="140" y="4"/>
                      <a:pt x="136" y="0"/>
                      <a:pt x="131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4"/>
                      <a:pt x="0" y="64"/>
                      <a:pt x="0" y="64"/>
                    </a:cubicBezTo>
                    <a:lnTo>
                      <a:pt x="0" y="93"/>
                    </a:lnTo>
                    <a:close/>
                  </a:path>
                </a:pathLst>
              </a:custGeom>
              <a:solidFill>
                <a:srgbClr val="4423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13"/>
              <p:cNvSpPr>
                <a:spLocks noChangeArrowheads="1"/>
              </p:cNvSpPr>
              <p:nvPr/>
            </p:nvSpPr>
            <p:spPr bwMode="auto">
              <a:xfrm>
                <a:off x="3741209" y="696913"/>
                <a:ext cx="350837" cy="552450"/>
              </a:xfrm>
              <a:prstGeom prst="rect">
                <a:avLst/>
              </a:pr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17"/>
              <p:cNvSpPr>
                <a:spLocks noEditPoints="1"/>
              </p:cNvSpPr>
              <p:nvPr/>
            </p:nvSpPr>
            <p:spPr bwMode="auto">
              <a:xfrm>
                <a:off x="2089150" y="2376488"/>
                <a:ext cx="1514475" cy="811213"/>
              </a:xfrm>
              <a:custGeom>
                <a:avLst/>
                <a:gdLst>
                  <a:gd name="T0" fmla="*/ 412 w 485"/>
                  <a:gd name="T1" fmla="*/ 0 h 260"/>
                  <a:gd name="T2" fmla="*/ 74 w 485"/>
                  <a:gd name="T3" fmla="*/ 0 h 260"/>
                  <a:gd name="T4" fmla="*/ 62 w 485"/>
                  <a:gd name="T5" fmla="*/ 12 h 260"/>
                  <a:gd name="T6" fmla="*/ 62 w 485"/>
                  <a:gd name="T7" fmla="*/ 220 h 260"/>
                  <a:gd name="T8" fmla="*/ 74 w 485"/>
                  <a:gd name="T9" fmla="*/ 232 h 260"/>
                  <a:gd name="T10" fmla="*/ 412 w 485"/>
                  <a:gd name="T11" fmla="*/ 232 h 260"/>
                  <a:gd name="T12" fmla="*/ 424 w 485"/>
                  <a:gd name="T13" fmla="*/ 220 h 260"/>
                  <a:gd name="T14" fmla="*/ 424 w 485"/>
                  <a:gd name="T15" fmla="*/ 12 h 260"/>
                  <a:gd name="T16" fmla="*/ 412 w 485"/>
                  <a:gd name="T17" fmla="*/ 0 h 260"/>
                  <a:gd name="T18" fmla="*/ 408 w 485"/>
                  <a:gd name="T19" fmla="*/ 218 h 260"/>
                  <a:gd name="T20" fmla="*/ 77 w 485"/>
                  <a:gd name="T21" fmla="*/ 218 h 260"/>
                  <a:gd name="T22" fmla="*/ 77 w 485"/>
                  <a:gd name="T23" fmla="*/ 13 h 260"/>
                  <a:gd name="T24" fmla="*/ 408 w 485"/>
                  <a:gd name="T25" fmla="*/ 13 h 260"/>
                  <a:gd name="T26" fmla="*/ 408 w 485"/>
                  <a:gd name="T27" fmla="*/ 218 h 260"/>
                  <a:gd name="T28" fmla="*/ 276 w 485"/>
                  <a:gd name="T29" fmla="*/ 241 h 260"/>
                  <a:gd name="T30" fmla="*/ 276 w 485"/>
                  <a:gd name="T31" fmla="*/ 243 h 260"/>
                  <a:gd name="T32" fmla="*/ 271 w 485"/>
                  <a:gd name="T33" fmla="*/ 247 h 260"/>
                  <a:gd name="T34" fmla="*/ 214 w 485"/>
                  <a:gd name="T35" fmla="*/ 247 h 260"/>
                  <a:gd name="T36" fmla="*/ 210 w 485"/>
                  <a:gd name="T37" fmla="*/ 243 h 260"/>
                  <a:gd name="T38" fmla="*/ 210 w 485"/>
                  <a:gd name="T39" fmla="*/ 241 h 260"/>
                  <a:gd name="T40" fmla="*/ 0 w 485"/>
                  <a:gd name="T41" fmla="*/ 241 h 260"/>
                  <a:gd name="T42" fmla="*/ 0 w 485"/>
                  <a:gd name="T43" fmla="*/ 253 h 260"/>
                  <a:gd name="T44" fmla="*/ 16 w 485"/>
                  <a:gd name="T45" fmla="*/ 260 h 260"/>
                  <a:gd name="T46" fmla="*/ 16 w 485"/>
                  <a:gd name="T47" fmla="*/ 260 h 260"/>
                  <a:gd name="T48" fmla="*/ 469 w 485"/>
                  <a:gd name="T49" fmla="*/ 260 h 260"/>
                  <a:gd name="T50" fmla="*/ 469 w 485"/>
                  <a:gd name="T51" fmla="*/ 260 h 260"/>
                  <a:gd name="T52" fmla="*/ 485 w 485"/>
                  <a:gd name="T53" fmla="*/ 253 h 260"/>
                  <a:gd name="T54" fmla="*/ 485 w 485"/>
                  <a:gd name="T55" fmla="*/ 241 h 260"/>
                  <a:gd name="T56" fmla="*/ 276 w 485"/>
                  <a:gd name="T57" fmla="*/ 241 h 260"/>
                  <a:gd name="T58" fmla="*/ 276 w 485"/>
                  <a:gd name="T59" fmla="*/ 241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485" h="260">
                    <a:moveTo>
                      <a:pt x="412" y="0"/>
                    </a:moveTo>
                    <a:cubicBezTo>
                      <a:pt x="74" y="0"/>
                      <a:pt x="74" y="0"/>
                      <a:pt x="74" y="0"/>
                    </a:cubicBezTo>
                    <a:cubicBezTo>
                      <a:pt x="68" y="0"/>
                      <a:pt x="62" y="5"/>
                      <a:pt x="62" y="12"/>
                    </a:cubicBezTo>
                    <a:cubicBezTo>
                      <a:pt x="62" y="220"/>
                      <a:pt x="62" y="220"/>
                      <a:pt x="62" y="220"/>
                    </a:cubicBezTo>
                    <a:cubicBezTo>
                      <a:pt x="62" y="227"/>
                      <a:pt x="68" y="232"/>
                      <a:pt x="74" y="232"/>
                    </a:cubicBezTo>
                    <a:cubicBezTo>
                      <a:pt x="412" y="232"/>
                      <a:pt x="412" y="232"/>
                      <a:pt x="412" y="232"/>
                    </a:cubicBezTo>
                    <a:cubicBezTo>
                      <a:pt x="419" y="232"/>
                      <a:pt x="424" y="227"/>
                      <a:pt x="424" y="220"/>
                    </a:cubicBezTo>
                    <a:cubicBezTo>
                      <a:pt x="424" y="12"/>
                      <a:pt x="424" y="12"/>
                      <a:pt x="424" y="12"/>
                    </a:cubicBezTo>
                    <a:cubicBezTo>
                      <a:pt x="424" y="5"/>
                      <a:pt x="419" y="0"/>
                      <a:pt x="412" y="0"/>
                    </a:cubicBezTo>
                    <a:close/>
                    <a:moveTo>
                      <a:pt x="408" y="218"/>
                    </a:moveTo>
                    <a:cubicBezTo>
                      <a:pt x="77" y="218"/>
                      <a:pt x="77" y="218"/>
                      <a:pt x="77" y="218"/>
                    </a:cubicBezTo>
                    <a:cubicBezTo>
                      <a:pt x="77" y="13"/>
                      <a:pt x="77" y="13"/>
                      <a:pt x="77" y="13"/>
                    </a:cubicBezTo>
                    <a:cubicBezTo>
                      <a:pt x="408" y="13"/>
                      <a:pt x="408" y="13"/>
                      <a:pt x="408" y="13"/>
                    </a:cubicBezTo>
                    <a:cubicBezTo>
                      <a:pt x="408" y="218"/>
                      <a:pt x="408" y="218"/>
                      <a:pt x="408" y="218"/>
                    </a:cubicBezTo>
                    <a:close/>
                    <a:moveTo>
                      <a:pt x="276" y="241"/>
                    </a:moveTo>
                    <a:cubicBezTo>
                      <a:pt x="276" y="243"/>
                      <a:pt x="276" y="243"/>
                      <a:pt x="276" y="243"/>
                    </a:cubicBezTo>
                    <a:cubicBezTo>
                      <a:pt x="276" y="246"/>
                      <a:pt x="274" y="247"/>
                      <a:pt x="271" y="247"/>
                    </a:cubicBezTo>
                    <a:cubicBezTo>
                      <a:pt x="214" y="247"/>
                      <a:pt x="214" y="247"/>
                      <a:pt x="214" y="247"/>
                    </a:cubicBezTo>
                    <a:cubicBezTo>
                      <a:pt x="212" y="247"/>
                      <a:pt x="210" y="246"/>
                      <a:pt x="210" y="243"/>
                    </a:cubicBezTo>
                    <a:cubicBezTo>
                      <a:pt x="210" y="241"/>
                      <a:pt x="210" y="241"/>
                      <a:pt x="210" y="241"/>
                    </a:cubicBezTo>
                    <a:cubicBezTo>
                      <a:pt x="0" y="241"/>
                      <a:pt x="0" y="241"/>
                      <a:pt x="0" y="241"/>
                    </a:cubicBezTo>
                    <a:cubicBezTo>
                      <a:pt x="0" y="253"/>
                      <a:pt x="0" y="253"/>
                      <a:pt x="0" y="253"/>
                    </a:cubicBezTo>
                    <a:cubicBezTo>
                      <a:pt x="0" y="253"/>
                      <a:pt x="11" y="260"/>
                      <a:pt x="16" y="260"/>
                    </a:cubicBezTo>
                    <a:cubicBezTo>
                      <a:pt x="16" y="260"/>
                      <a:pt x="16" y="260"/>
                      <a:pt x="16" y="260"/>
                    </a:cubicBezTo>
                    <a:cubicBezTo>
                      <a:pt x="469" y="260"/>
                      <a:pt x="469" y="260"/>
                      <a:pt x="469" y="260"/>
                    </a:cubicBezTo>
                    <a:cubicBezTo>
                      <a:pt x="469" y="260"/>
                      <a:pt x="469" y="260"/>
                      <a:pt x="469" y="260"/>
                    </a:cubicBezTo>
                    <a:cubicBezTo>
                      <a:pt x="474" y="260"/>
                      <a:pt x="485" y="253"/>
                      <a:pt x="485" y="253"/>
                    </a:cubicBezTo>
                    <a:cubicBezTo>
                      <a:pt x="485" y="241"/>
                      <a:pt x="485" y="241"/>
                      <a:pt x="485" y="241"/>
                    </a:cubicBezTo>
                    <a:cubicBezTo>
                      <a:pt x="276" y="241"/>
                      <a:pt x="276" y="241"/>
                      <a:pt x="276" y="241"/>
                    </a:cubicBezTo>
                    <a:cubicBezTo>
                      <a:pt x="276" y="241"/>
                      <a:pt x="276" y="241"/>
                      <a:pt x="276" y="241"/>
                    </a:cubicBezTo>
                    <a:close/>
                  </a:path>
                </a:pathLst>
              </a:custGeom>
              <a:solidFill>
                <a:srgbClr val="9B4F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18"/>
              <p:cNvSpPr>
                <a:spLocks noChangeArrowheads="1"/>
              </p:cNvSpPr>
              <p:nvPr/>
            </p:nvSpPr>
            <p:spPr bwMode="auto">
              <a:xfrm>
                <a:off x="2325686" y="2408239"/>
                <a:ext cx="1050695" cy="658813"/>
              </a:xfrm>
              <a:prstGeom prst="rect">
                <a:avLst/>
              </a:prstGeom>
              <a:solidFill>
                <a:srgbClr val="4423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20"/>
              <p:cNvSpPr>
                <a:spLocks noChangeArrowheads="1"/>
              </p:cNvSpPr>
              <p:nvPr/>
            </p:nvSpPr>
            <p:spPr bwMode="auto">
              <a:xfrm>
                <a:off x="2447925" y="1152526"/>
                <a:ext cx="1049337" cy="677863"/>
              </a:xfrm>
              <a:prstGeom prst="rect">
                <a:avLst/>
              </a:prstGeom>
              <a:solidFill>
                <a:srgbClr val="9B4F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1"/>
              <p:cNvSpPr>
                <a:spLocks noEditPoints="1"/>
              </p:cNvSpPr>
              <p:nvPr/>
            </p:nvSpPr>
            <p:spPr bwMode="auto">
              <a:xfrm>
                <a:off x="3698346" y="1374776"/>
                <a:ext cx="300037" cy="601663"/>
              </a:xfrm>
              <a:custGeom>
                <a:avLst/>
                <a:gdLst>
                  <a:gd name="T0" fmla="*/ 94 w 96"/>
                  <a:gd name="T1" fmla="*/ 0 h 193"/>
                  <a:gd name="T2" fmla="*/ 3 w 96"/>
                  <a:gd name="T3" fmla="*/ 0 h 193"/>
                  <a:gd name="T4" fmla="*/ 0 w 96"/>
                  <a:gd name="T5" fmla="*/ 2 h 193"/>
                  <a:gd name="T6" fmla="*/ 0 w 96"/>
                  <a:gd name="T7" fmla="*/ 40 h 193"/>
                  <a:gd name="T8" fmla="*/ 0 w 96"/>
                  <a:gd name="T9" fmla="*/ 42 h 193"/>
                  <a:gd name="T10" fmla="*/ 0 w 96"/>
                  <a:gd name="T11" fmla="*/ 190 h 193"/>
                  <a:gd name="T12" fmla="*/ 3 w 96"/>
                  <a:gd name="T13" fmla="*/ 193 h 193"/>
                  <a:gd name="T14" fmla="*/ 94 w 96"/>
                  <a:gd name="T15" fmla="*/ 193 h 193"/>
                  <a:gd name="T16" fmla="*/ 96 w 96"/>
                  <a:gd name="T17" fmla="*/ 190 h 193"/>
                  <a:gd name="T18" fmla="*/ 96 w 96"/>
                  <a:gd name="T19" fmla="*/ 42 h 193"/>
                  <a:gd name="T20" fmla="*/ 96 w 96"/>
                  <a:gd name="T21" fmla="*/ 40 h 193"/>
                  <a:gd name="T22" fmla="*/ 96 w 96"/>
                  <a:gd name="T23" fmla="*/ 2 h 193"/>
                  <a:gd name="T24" fmla="*/ 94 w 96"/>
                  <a:gd name="T25" fmla="*/ 0 h 193"/>
                  <a:gd name="T26" fmla="*/ 12 w 96"/>
                  <a:gd name="T27" fmla="*/ 29 h 193"/>
                  <a:gd name="T28" fmla="*/ 12 w 96"/>
                  <a:gd name="T29" fmla="*/ 20 h 193"/>
                  <a:gd name="T30" fmla="*/ 14 w 96"/>
                  <a:gd name="T31" fmla="*/ 18 h 193"/>
                  <a:gd name="T32" fmla="*/ 82 w 96"/>
                  <a:gd name="T33" fmla="*/ 18 h 193"/>
                  <a:gd name="T34" fmla="*/ 85 w 96"/>
                  <a:gd name="T35" fmla="*/ 20 h 193"/>
                  <a:gd name="T36" fmla="*/ 85 w 96"/>
                  <a:gd name="T37" fmla="*/ 29 h 193"/>
                  <a:gd name="T38" fmla="*/ 82 w 96"/>
                  <a:gd name="T39" fmla="*/ 32 h 193"/>
                  <a:gd name="T40" fmla="*/ 14 w 96"/>
                  <a:gd name="T41" fmla="*/ 32 h 193"/>
                  <a:gd name="T42" fmla="*/ 12 w 96"/>
                  <a:gd name="T43" fmla="*/ 29 h 193"/>
                  <a:gd name="T44" fmla="*/ 77 w 96"/>
                  <a:gd name="T45" fmla="*/ 91 h 193"/>
                  <a:gd name="T46" fmla="*/ 70 w 96"/>
                  <a:gd name="T47" fmla="*/ 84 h 193"/>
                  <a:gd name="T48" fmla="*/ 77 w 96"/>
                  <a:gd name="T49" fmla="*/ 78 h 193"/>
                  <a:gd name="T50" fmla="*/ 84 w 96"/>
                  <a:gd name="T51" fmla="*/ 84 h 193"/>
                  <a:gd name="T52" fmla="*/ 77 w 96"/>
                  <a:gd name="T53" fmla="*/ 91 h 193"/>
                  <a:gd name="T54" fmla="*/ 77 w 96"/>
                  <a:gd name="T55" fmla="*/ 69 h 193"/>
                  <a:gd name="T56" fmla="*/ 68 w 96"/>
                  <a:gd name="T57" fmla="*/ 61 h 193"/>
                  <a:gd name="T58" fmla="*/ 77 w 96"/>
                  <a:gd name="T59" fmla="*/ 52 h 193"/>
                  <a:gd name="T60" fmla="*/ 86 w 96"/>
                  <a:gd name="T61" fmla="*/ 61 h 193"/>
                  <a:gd name="T62" fmla="*/ 77 w 96"/>
                  <a:gd name="T63" fmla="*/ 69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96" h="193">
                    <a:moveTo>
                      <a:pt x="94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190"/>
                      <a:pt x="0" y="190"/>
                      <a:pt x="0" y="190"/>
                    </a:cubicBezTo>
                    <a:cubicBezTo>
                      <a:pt x="0" y="191"/>
                      <a:pt x="1" y="193"/>
                      <a:pt x="3" y="193"/>
                    </a:cubicBezTo>
                    <a:cubicBezTo>
                      <a:pt x="94" y="193"/>
                      <a:pt x="94" y="193"/>
                      <a:pt x="94" y="193"/>
                    </a:cubicBezTo>
                    <a:cubicBezTo>
                      <a:pt x="95" y="193"/>
                      <a:pt x="96" y="191"/>
                      <a:pt x="96" y="190"/>
                    </a:cubicBezTo>
                    <a:cubicBezTo>
                      <a:pt x="96" y="42"/>
                      <a:pt x="96" y="42"/>
                      <a:pt x="96" y="42"/>
                    </a:cubicBezTo>
                    <a:cubicBezTo>
                      <a:pt x="96" y="40"/>
                      <a:pt x="96" y="40"/>
                      <a:pt x="96" y="40"/>
                    </a:cubicBezTo>
                    <a:cubicBezTo>
                      <a:pt x="96" y="2"/>
                      <a:pt x="96" y="2"/>
                      <a:pt x="96" y="2"/>
                    </a:cubicBezTo>
                    <a:cubicBezTo>
                      <a:pt x="96" y="1"/>
                      <a:pt x="95" y="0"/>
                      <a:pt x="94" y="0"/>
                    </a:cubicBezTo>
                    <a:close/>
                    <a:moveTo>
                      <a:pt x="12" y="29"/>
                    </a:moveTo>
                    <a:cubicBezTo>
                      <a:pt x="12" y="20"/>
                      <a:pt x="12" y="20"/>
                      <a:pt x="12" y="20"/>
                    </a:cubicBezTo>
                    <a:cubicBezTo>
                      <a:pt x="12" y="19"/>
                      <a:pt x="13" y="18"/>
                      <a:pt x="14" y="18"/>
                    </a:cubicBezTo>
                    <a:cubicBezTo>
                      <a:pt x="82" y="18"/>
                      <a:pt x="82" y="18"/>
                      <a:pt x="82" y="18"/>
                    </a:cubicBezTo>
                    <a:cubicBezTo>
                      <a:pt x="84" y="18"/>
                      <a:pt x="85" y="19"/>
                      <a:pt x="85" y="20"/>
                    </a:cubicBezTo>
                    <a:cubicBezTo>
                      <a:pt x="85" y="29"/>
                      <a:pt x="85" y="29"/>
                      <a:pt x="85" y="29"/>
                    </a:cubicBezTo>
                    <a:cubicBezTo>
                      <a:pt x="85" y="31"/>
                      <a:pt x="84" y="32"/>
                      <a:pt x="82" y="32"/>
                    </a:cubicBezTo>
                    <a:cubicBezTo>
                      <a:pt x="14" y="32"/>
                      <a:pt x="14" y="32"/>
                      <a:pt x="14" y="32"/>
                    </a:cubicBezTo>
                    <a:cubicBezTo>
                      <a:pt x="13" y="32"/>
                      <a:pt x="12" y="31"/>
                      <a:pt x="12" y="29"/>
                    </a:cubicBezTo>
                    <a:close/>
                    <a:moveTo>
                      <a:pt x="77" y="91"/>
                    </a:moveTo>
                    <a:cubicBezTo>
                      <a:pt x="73" y="91"/>
                      <a:pt x="70" y="88"/>
                      <a:pt x="70" y="84"/>
                    </a:cubicBezTo>
                    <a:cubicBezTo>
                      <a:pt x="70" y="81"/>
                      <a:pt x="73" y="78"/>
                      <a:pt x="77" y="78"/>
                    </a:cubicBezTo>
                    <a:cubicBezTo>
                      <a:pt x="80" y="78"/>
                      <a:pt x="84" y="81"/>
                      <a:pt x="84" y="84"/>
                    </a:cubicBezTo>
                    <a:cubicBezTo>
                      <a:pt x="84" y="88"/>
                      <a:pt x="80" y="91"/>
                      <a:pt x="77" y="91"/>
                    </a:cubicBezTo>
                    <a:close/>
                    <a:moveTo>
                      <a:pt x="77" y="69"/>
                    </a:moveTo>
                    <a:cubicBezTo>
                      <a:pt x="72" y="69"/>
                      <a:pt x="68" y="65"/>
                      <a:pt x="68" y="61"/>
                    </a:cubicBezTo>
                    <a:cubicBezTo>
                      <a:pt x="68" y="56"/>
                      <a:pt x="72" y="52"/>
                      <a:pt x="77" y="52"/>
                    </a:cubicBezTo>
                    <a:cubicBezTo>
                      <a:pt x="82" y="52"/>
                      <a:pt x="86" y="56"/>
                      <a:pt x="86" y="61"/>
                    </a:cubicBezTo>
                    <a:cubicBezTo>
                      <a:pt x="86" y="65"/>
                      <a:pt x="82" y="69"/>
                      <a:pt x="77" y="69"/>
                    </a:cubicBezTo>
                    <a:close/>
                  </a:path>
                </a:pathLst>
              </a:custGeom>
              <a:solidFill>
                <a:srgbClr val="4423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2"/>
              <p:cNvSpPr>
                <a:spLocks noEditPoints="1"/>
              </p:cNvSpPr>
              <p:nvPr/>
            </p:nvSpPr>
            <p:spPr bwMode="auto">
              <a:xfrm>
                <a:off x="2408238" y="1114426"/>
                <a:ext cx="1120775" cy="862013"/>
              </a:xfrm>
              <a:custGeom>
                <a:avLst/>
                <a:gdLst>
                  <a:gd name="T0" fmla="*/ 348 w 359"/>
                  <a:gd name="T1" fmla="*/ 0 h 276"/>
                  <a:gd name="T2" fmla="*/ 12 w 359"/>
                  <a:gd name="T3" fmla="*/ 0 h 276"/>
                  <a:gd name="T4" fmla="*/ 0 w 359"/>
                  <a:gd name="T5" fmla="*/ 10 h 276"/>
                  <a:gd name="T6" fmla="*/ 0 w 359"/>
                  <a:gd name="T7" fmla="*/ 229 h 276"/>
                  <a:gd name="T8" fmla="*/ 12 w 359"/>
                  <a:gd name="T9" fmla="*/ 239 h 276"/>
                  <a:gd name="T10" fmla="*/ 123 w 359"/>
                  <a:gd name="T11" fmla="*/ 239 h 276"/>
                  <a:gd name="T12" fmla="*/ 123 w 359"/>
                  <a:gd name="T13" fmla="*/ 255 h 276"/>
                  <a:gd name="T14" fmla="*/ 98 w 359"/>
                  <a:gd name="T15" fmla="*/ 276 h 276"/>
                  <a:gd name="T16" fmla="*/ 268 w 359"/>
                  <a:gd name="T17" fmla="*/ 276 h 276"/>
                  <a:gd name="T18" fmla="*/ 244 w 359"/>
                  <a:gd name="T19" fmla="*/ 255 h 276"/>
                  <a:gd name="T20" fmla="*/ 244 w 359"/>
                  <a:gd name="T21" fmla="*/ 239 h 276"/>
                  <a:gd name="T22" fmla="*/ 348 w 359"/>
                  <a:gd name="T23" fmla="*/ 239 h 276"/>
                  <a:gd name="T24" fmla="*/ 359 w 359"/>
                  <a:gd name="T25" fmla="*/ 229 h 276"/>
                  <a:gd name="T26" fmla="*/ 359 w 359"/>
                  <a:gd name="T27" fmla="*/ 10 h 276"/>
                  <a:gd name="T28" fmla="*/ 348 w 359"/>
                  <a:gd name="T29" fmla="*/ 0 h 276"/>
                  <a:gd name="T30" fmla="*/ 339 w 359"/>
                  <a:gd name="T31" fmla="*/ 212 h 276"/>
                  <a:gd name="T32" fmla="*/ 329 w 359"/>
                  <a:gd name="T33" fmla="*/ 221 h 276"/>
                  <a:gd name="T34" fmla="*/ 31 w 359"/>
                  <a:gd name="T35" fmla="*/ 221 h 276"/>
                  <a:gd name="T36" fmla="*/ 21 w 359"/>
                  <a:gd name="T37" fmla="*/ 212 h 276"/>
                  <a:gd name="T38" fmla="*/ 21 w 359"/>
                  <a:gd name="T39" fmla="*/ 27 h 276"/>
                  <a:gd name="T40" fmla="*/ 31 w 359"/>
                  <a:gd name="T41" fmla="*/ 18 h 276"/>
                  <a:gd name="T42" fmla="*/ 329 w 359"/>
                  <a:gd name="T43" fmla="*/ 18 h 276"/>
                  <a:gd name="T44" fmla="*/ 339 w 359"/>
                  <a:gd name="T45" fmla="*/ 27 h 276"/>
                  <a:gd name="T46" fmla="*/ 339 w 359"/>
                  <a:gd name="T47" fmla="*/ 212 h 276"/>
                  <a:gd name="T48" fmla="*/ 339 w 359"/>
                  <a:gd name="T49" fmla="*/ 212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59" h="276">
                    <a:moveTo>
                      <a:pt x="348" y="0"/>
                    </a:moveTo>
                    <a:cubicBezTo>
                      <a:pt x="12" y="0"/>
                      <a:pt x="12" y="0"/>
                      <a:pt x="12" y="0"/>
                    </a:cubicBezTo>
                    <a:cubicBezTo>
                      <a:pt x="6" y="0"/>
                      <a:pt x="0" y="4"/>
                      <a:pt x="0" y="10"/>
                    </a:cubicBezTo>
                    <a:cubicBezTo>
                      <a:pt x="0" y="229"/>
                      <a:pt x="0" y="229"/>
                      <a:pt x="0" y="229"/>
                    </a:cubicBezTo>
                    <a:cubicBezTo>
                      <a:pt x="0" y="234"/>
                      <a:pt x="6" y="239"/>
                      <a:pt x="12" y="239"/>
                    </a:cubicBezTo>
                    <a:cubicBezTo>
                      <a:pt x="123" y="239"/>
                      <a:pt x="123" y="239"/>
                      <a:pt x="123" y="239"/>
                    </a:cubicBezTo>
                    <a:cubicBezTo>
                      <a:pt x="123" y="255"/>
                      <a:pt x="123" y="255"/>
                      <a:pt x="123" y="255"/>
                    </a:cubicBezTo>
                    <a:cubicBezTo>
                      <a:pt x="98" y="276"/>
                      <a:pt x="98" y="276"/>
                      <a:pt x="98" y="276"/>
                    </a:cubicBezTo>
                    <a:cubicBezTo>
                      <a:pt x="268" y="276"/>
                      <a:pt x="268" y="276"/>
                      <a:pt x="268" y="276"/>
                    </a:cubicBezTo>
                    <a:cubicBezTo>
                      <a:pt x="244" y="255"/>
                      <a:pt x="244" y="255"/>
                      <a:pt x="244" y="255"/>
                    </a:cubicBezTo>
                    <a:cubicBezTo>
                      <a:pt x="244" y="239"/>
                      <a:pt x="244" y="239"/>
                      <a:pt x="244" y="239"/>
                    </a:cubicBezTo>
                    <a:cubicBezTo>
                      <a:pt x="348" y="239"/>
                      <a:pt x="348" y="239"/>
                      <a:pt x="348" y="239"/>
                    </a:cubicBezTo>
                    <a:cubicBezTo>
                      <a:pt x="354" y="239"/>
                      <a:pt x="359" y="234"/>
                      <a:pt x="359" y="229"/>
                    </a:cubicBezTo>
                    <a:cubicBezTo>
                      <a:pt x="359" y="10"/>
                      <a:pt x="359" y="10"/>
                      <a:pt x="359" y="10"/>
                    </a:cubicBezTo>
                    <a:cubicBezTo>
                      <a:pt x="359" y="4"/>
                      <a:pt x="354" y="0"/>
                      <a:pt x="348" y="0"/>
                    </a:cubicBezTo>
                    <a:close/>
                    <a:moveTo>
                      <a:pt x="339" y="212"/>
                    </a:moveTo>
                    <a:cubicBezTo>
                      <a:pt x="339" y="217"/>
                      <a:pt x="335" y="221"/>
                      <a:pt x="329" y="221"/>
                    </a:cubicBezTo>
                    <a:cubicBezTo>
                      <a:pt x="31" y="221"/>
                      <a:pt x="31" y="221"/>
                      <a:pt x="31" y="221"/>
                    </a:cubicBezTo>
                    <a:cubicBezTo>
                      <a:pt x="25" y="221"/>
                      <a:pt x="21" y="217"/>
                      <a:pt x="21" y="212"/>
                    </a:cubicBezTo>
                    <a:cubicBezTo>
                      <a:pt x="21" y="27"/>
                      <a:pt x="21" y="27"/>
                      <a:pt x="21" y="27"/>
                    </a:cubicBezTo>
                    <a:cubicBezTo>
                      <a:pt x="21" y="22"/>
                      <a:pt x="25" y="18"/>
                      <a:pt x="31" y="18"/>
                    </a:cubicBezTo>
                    <a:cubicBezTo>
                      <a:pt x="329" y="18"/>
                      <a:pt x="329" y="18"/>
                      <a:pt x="329" y="18"/>
                    </a:cubicBezTo>
                    <a:cubicBezTo>
                      <a:pt x="335" y="18"/>
                      <a:pt x="339" y="22"/>
                      <a:pt x="339" y="27"/>
                    </a:cubicBezTo>
                    <a:cubicBezTo>
                      <a:pt x="339" y="212"/>
                      <a:pt x="339" y="212"/>
                      <a:pt x="339" y="212"/>
                    </a:cubicBezTo>
                    <a:cubicBezTo>
                      <a:pt x="339" y="212"/>
                      <a:pt x="339" y="212"/>
                      <a:pt x="339" y="212"/>
                    </a:cubicBezTo>
                    <a:close/>
                  </a:path>
                </a:pathLst>
              </a:custGeom>
              <a:solidFill>
                <a:srgbClr val="4423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4"/>
              <p:cNvSpPr>
                <a:spLocks/>
              </p:cNvSpPr>
              <p:nvPr/>
            </p:nvSpPr>
            <p:spPr bwMode="auto">
              <a:xfrm>
                <a:off x="2408238" y="2076451"/>
                <a:ext cx="995362" cy="222250"/>
              </a:xfrm>
              <a:custGeom>
                <a:avLst/>
                <a:gdLst>
                  <a:gd name="T0" fmla="*/ 311 w 319"/>
                  <a:gd name="T1" fmla="*/ 0 h 71"/>
                  <a:gd name="T2" fmla="*/ 8 w 319"/>
                  <a:gd name="T3" fmla="*/ 0 h 71"/>
                  <a:gd name="T4" fmla="*/ 0 w 319"/>
                  <a:gd name="T5" fmla="*/ 9 h 71"/>
                  <a:gd name="T6" fmla="*/ 0 w 319"/>
                  <a:gd name="T7" fmla="*/ 30 h 71"/>
                  <a:gd name="T8" fmla="*/ 8 w 319"/>
                  <a:gd name="T9" fmla="*/ 38 h 71"/>
                  <a:gd name="T10" fmla="*/ 149 w 319"/>
                  <a:gd name="T11" fmla="*/ 38 h 71"/>
                  <a:gd name="T12" fmla="*/ 149 w 319"/>
                  <a:gd name="T13" fmla="*/ 43 h 71"/>
                  <a:gd name="T14" fmla="*/ 128 w 319"/>
                  <a:gd name="T15" fmla="*/ 50 h 71"/>
                  <a:gd name="T16" fmla="*/ 120 w 319"/>
                  <a:gd name="T17" fmla="*/ 60 h 71"/>
                  <a:gd name="T18" fmla="*/ 130 w 319"/>
                  <a:gd name="T19" fmla="*/ 71 h 71"/>
                  <a:gd name="T20" fmla="*/ 189 w 319"/>
                  <a:gd name="T21" fmla="*/ 71 h 71"/>
                  <a:gd name="T22" fmla="*/ 200 w 319"/>
                  <a:gd name="T23" fmla="*/ 60 h 71"/>
                  <a:gd name="T24" fmla="*/ 193 w 319"/>
                  <a:gd name="T25" fmla="*/ 50 h 71"/>
                  <a:gd name="T26" fmla="*/ 170 w 319"/>
                  <a:gd name="T27" fmla="*/ 43 h 71"/>
                  <a:gd name="T28" fmla="*/ 170 w 319"/>
                  <a:gd name="T29" fmla="*/ 38 h 71"/>
                  <a:gd name="T30" fmla="*/ 311 w 319"/>
                  <a:gd name="T31" fmla="*/ 38 h 71"/>
                  <a:gd name="T32" fmla="*/ 319 w 319"/>
                  <a:gd name="T33" fmla="*/ 30 h 71"/>
                  <a:gd name="T34" fmla="*/ 319 w 319"/>
                  <a:gd name="T35" fmla="*/ 9 h 71"/>
                  <a:gd name="T36" fmla="*/ 311 w 319"/>
                  <a:gd name="T37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19" h="71">
                    <a:moveTo>
                      <a:pt x="311" y="0"/>
                    </a:move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0" y="34"/>
                      <a:pt x="4" y="38"/>
                      <a:pt x="8" y="38"/>
                    </a:cubicBezTo>
                    <a:cubicBezTo>
                      <a:pt x="149" y="38"/>
                      <a:pt x="149" y="38"/>
                      <a:pt x="149" y="38"/>
                    </a:cubicBezTo>
                    <a:cubicBezTo>
                      <a:pt x="149" y="43"/>
                      <a:pt x="149" y="43"/>
                      <a:pt x="149" y="43"/>
                    </a:cubicBezTo>
                    <a:cubicBezTo>
                      <a:pt x="140" y="46"/>
                      <a:pt x="128" y="50"/>
                      <a:pt x="128" y="50"/>
                    </a:cubicBezTo>
                    <a:cubicBezTo>
                      <a:pt x="123" y="51"/>
                      <a:pt x="120" y="55"/>
                      <a:pt x="120" y="60"/>
                    </a:cubicBezTo>
                    <a:cubicBezTo>
                      <a:pt x="120" y="66"/>
                      <a:pt x="125" y="71"/>
                      <a:pt x="130" y="71"/>
                    </a:cubicBezTo>
                    <a:cubicBezTo>
                      <a:pt x="189" y="71"/>
                      <a:pt x="189" y="71"/>
                      <a:pt x="189" y="71"/>
                    </a:cubicBezTo>
                    <a:cubicBezTo>
                      <a:pt x="195" y="71"/>
                      <a:pt x="200" y="66"/>
                      <a:pt x="200" y="60"/>
                    </a:cubicBezTo>
                    <a:cubicBezTo>
                      <a:pt x="200" y="56"/>
                      <a:pt x="197" y="52"/>
                      <a:pt x="193" y="50"/>
                    </a:cubicBezTo>
                    <a:cubicBezTo>
                      <a:pt x="192" y="50"/>
                      <a:pt x="180" y="46"/>
                      <a:pt x="170" y="43"/>
                    </a:cubicBezTo>
                    <a:cubicBezTo>
                      <a:pt x="170" y="38"/>
                      <a:pt x="170" y="38"/>
                      <a:pt x="170" y="38"/>
                    </a:cubicBezTo>
                    <a:cubicBezTo>
                      <a:pt x="311" y="38"/>
                      <a:pt x="311" y="38"/>
                      <a:pt x="311" y="38"/>
                    </a:cubicBezTo>
                    <a:cubicBezTo>
                      <a:pt x="316" y="38"/>
                      <a:pt x="319" y="34"/>
                      <a:pt x="319" y="30"/>
                    </a:cubicBezTo>
                    <a:cubicBezTo>
                      <a:pt x="319" y="9"/>
                      <a:pt x="319" y="9"/>
                      <a:pt x="319" y="9"/>
                    </a:cubicBezTo>
                    <a:cubicBezTo>
                      <a:pt x="319" y="4"/>
                      <a:pt x="316" y="0"/>
                      <a:pt x="311" y="0"/>
                    </a:cubicBezTo>
                    <a:close/>
                  </a:path>
                </a:pathLst>
              </a:custGeom>
              <a:solidFill>
                <a:srgbClr val="4423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Oval 25"/>
              <p:cNvSpPr>
                <a:spLocks noChangeArrowheads="1"/>
              </p:cNvSpPr>
              <p:nvPr/>
            </p:nvSpPr>
            <p:spPr bwMode="auto">
              <a:xfrm>
                <a:off x="2922588" y="2105026"/>
                <a:ext cx="61912" cy="61913"/>
              </a:xfrm>
              <a:prstGeom prst="ellipse">
                <a:avLst/>
              </a:pr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Oval 26"/>
              <p:cNvSpPr>
                <a:spLocks noChangeArrowheads="1"/>
              </p:cNvSpPr>
              <p:nvPr/>
            </p:nvSpPr>
            <p:spPr bwMode="auto">
              <a:xfrm>
                <a:off x="2828925" y="2105026"/>
                <a:ext cx="61912" cy="61913"/>
              </a:xfrm>
              <a:prstGeom prst="ellipse">
                <a:avLst/>
              </a:pr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Oval 27"/>
              <p:cNvSpPr>
                <a:spLocks noChangeArrowheads="1"/>
              </p:cNvSpPr>
              <p:nvPr/>
            </p:nvSpPr>
            <p:spPr bwMode="auto">
              <a:xfrm>
                <a:off x="2613025" y="2105026"/>
                <a:ext cx="63500" cy="61913"/>
              </a:xfrm>
              <a:prstGeom prst="ellipse">
                <a:avLst/>
              </a:pr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112" name="Group 111"/>
              <p:cNvGrpSpPr/>
              <p:nvPr/>
            </p:nvGrpSpPr>
            <p:grpSpPr>
              <a:xfrm>
                <a:off x="2768029" y="1270231"/>
                <a:ext cx="422184" cy="422184"/>
                <a:chOff x="16517884" y="1624232"/>
                <a:chExt cx="728544" cy="728544"/>
              </a:xfrm>
            </p:grpSpPr>
            <p:sp>
              <p:nvSpPr>
                <p:cNvPr id="128" name="Oval 127"/>
                <p:cNvSpPr/>
                <p:nvPr/>
              </p:nvSpPr>
              <p:spPr>
                <a:xfrm>
                  <a:off x="16517884" y="1624232"/>
                  <a:ext cx="728544" cy="728544"/>
                </a:xfrm>
                <a:prstGeom prst="ellipse">
                  <a:avLst/>
                </a:prstGeom>
                <a:solidFill>
                  <a:srgbClr val="1C5AAA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32742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371" algn="l" defTabSz="932742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742" algn="l" defTabSz="932742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9113" algn="l" defTabSz="932742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5484" algn="l" defTabSz="932742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1856" algn="l" defTabSz="932742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8226" algn="l" defTabSz="932742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4597" algn="l" defTabSz="932742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30969" algn="l" defTabSz="932742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2448"/>
                </a:p>
              </p:txBody>
            </p:sp>
            <p:pic>
              <p:nvPicPr>
                <p:cNvPr id="129" name="Picture 128"/>
                <p:cNvPicPr>
                  <a:picLocks noChangeAspect="1"/>
                </p:cNvPicPr>
                <p:nvPr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16726705" y="1807162"/>
                  <a:ext cx="310868" cy="362679"/>
                </a:xfrm>
                <a:prstGeom prst="rect">
                  <a:avLst/>
                </a:prstGeom>
              </p:spPr>
            </p:pic>
          </p:grpSp>
          <p:grpSp>
            <p:nvGrpSpPr>
              <p:cNvPr id="113" name="Group 112"/>
              <p:cNvGrpSpPr/>
              <p:nvPr/>
            </p:nvGrpSpPr>
            <p:grpSpPr>
              <a:xfrm>
                <a:off x="3771962" y="828811"/>
                <a:ext cx="285159" cy="285159"/>
                <a:chOff x="13545768" y="1624234"/>
                <a:chExt cx="728544" cy="728544"/>
              </a:xfrm>
            </p:grpSpPr>
            <p:sp>
              <p:nvSpPr>
                <p:cNvPr id="126" name="Oval 125"/>
                <p:cNvSpPr/>
                <p:nvPr/>
              </p:nvSpPr>
              <p:spPr>
                <a:xfrm>
                  <a:off x="13545768" y="1624234"/>
                  <a:ext cx="728544" cy="728544"/>
                </a:xfrm>
                <a:prstGeom prst="ellipse">
                  <a:avLst/>
                </a:prstGeom>
                <a:solidFill>
                  <a:srgbClr val="1C5AAA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32742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371" algn="l" defTabSz="932742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742" algn="l" defTabSz="932742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9113" algn="l" defTabSz="932742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5484" algn="l" defTabSz="932742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1856" algn="l" defTabSz="932742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8226" algn="l" defTabSz="932742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4597" algn="l" defTabSz="932742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30969" algn="l" defTabSz="932742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2448"/>
                </a:p>
              </p:txBody>
            </p:sp>
            <p:pic>
              <p:nvPicPr>
                <p:cNvPr id="127" name="Picture 126"/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13728681" y="1858975"/>
                  <a:ext cx="362679" cy="259056"/>
                </a:xfrm>
                <a:prstGeom prst="rect">
                  <a:avLst/>
                </a:prstGeom>
              </p:spPr>
            </p:pic>
          </p:grpSp>
          <p:grpSp>
            <p:nvGrpSpPr>
              <p:cNvPr id="114" name="Group 113"/>
              <p:cNvGrpSpPr/>
              <p:nvPr/>
            </p:nvGrpSpPr>
            <p:grpSpPr>
              <a:xfrm>
                <a:off x="4303580" y="2269393"/>
                <a:ext cx="326903" cy="326903"/>
                <a:chOff x="16517543" y="4618885"/>
                <a:chExt cx="728543" cy="728542"/>
              </a:xfrm>
            </p:grpSpPr>
            <p:sp>
              <p:nvSpPr>
                <p:cNvPr id="124" name="Oval 123"/>
                <p:cNvSpPr/>
                <p:nvPr/>
              </p:nvSpPr>
              <p:spPr>
                <a:xfrm>
                  <a:off x="16517543" y="4618885"/>
                  <a:ext cx="728543" cy="728542"/>
                </a:xfrm>
                <a:prstGeom prst="ellipse">
                  <a:avLst/>
                </a:prstGeom>
                <a:solidFill>
                  <a:srgbClr val="1C5AAA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32742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371" algn="l" defTabSz="932742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742" algn="l" defTabSz="932742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9113" algn="l" defTabSz="932742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5484" algn="l" defTabSz="932742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1856" algn="l" defTabSz="932742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8226" algn="l" defTabSz="932742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4597" algn="l" defTabSz="932742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30969" algn="l" defTabSz="932742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2448"/>
                </a:p>
              </p:txBody>
            </p:sp>
            <p:pic>
              <p:nvPicPr>
                <p:cNvPr id="125" name="Picture 124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16700483" y="4827727"/>
                  <a:ext cx="362679" cy="310867"/>
                </a:xfrm>
                <a:prstGeom prst="rect">
                  <a:avLst/>
                </a:prstGeom>
              </p:spPr>
            </p:pic>
          </p:grpSp>
          <p:grpSp>
            <p:nvGrpSpPr>
              <p:cNvPr id="115" name="Group 114"/>
              <p:cNvGrpSpPr/>
              <p:nvPr/>
            </p:nvGrpSpPr>
            <p:grpSpPr>
              <a:xfrm>
                <a:off x="3761502" y="2288166"/>
                <a:ext cx="275326" cy="275326"/>
                <a:chOff x="13545771" y="4618898"/>
                <a:chExt cx="728544" cy="728544"/>
              </a:xfrm>
            </p:grpSpPr>
            <p:sp>
              <p:nvSpPr>
                <p:cNvPr id="122" name="Oval 121"/>
                <p:cNvSpPr/>
                <p:nvPr/>
              </p:nvSpPr>
              <p:spPr>
                <a:xfrm>
                  <a:off x="13545771" y="4618898"/>
                  <a:ext cx="728544" cy="728544"/>
                </a:xfrm>
                <a:prstGeom prst="ellipse">
                  <a:avLst/>
                </a:prstGeom>
                <a:solidFill>
                  <a:srgbClr val="1C5AAA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32742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371" algn="l" defTabSz="932742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742" algn="l" defTabSz="932742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9113" algn="l" defTabSz="932742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5484" algn="l" defTabSz="932742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1856" algn="l" defTabSz="932742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8226" algn="l" defTabSz="932742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4597" algn="l" defTabSz="932742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30969" algn="l" defTabSz="932742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2448"/>
                </a:p>
              </p:txBody>
            </p:sp>
            <p:pic>
              <p:nvPicPr>
                <p:cNvPr id="123" name="Picture 122"/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13763223" y="4836364"/>
                  <a:ext cx="293597" cy="293597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7" name="Group 6"/>
            <p:cNvGrpSpPr/>
            <p:nvPr/>
          </p:nvGrpSpPr>
          <p:grpSpPr>
            <a:xfrm>
              <a:off x="2583474" y="2469457"/>
              <a:ext cx="522221" cy="522221"/>
              <a:chOff x="6262740" y="2634718"/>
              <a:chExt cx="845615" cy="845615"/>
            </a:xfrm>
          </p:grpSpPr>
          <p:sp>
            <p:nvSpPr>
              <p:cNvPr id="45" name="Oval 44"/>
              <p:cNvSpPr/>
              <p:nvPr/>
            </p:nvSpPr>
            <p:spPr>
              <a:xfrm>
                <a:off x="6262740" y="2634718"/>
                <a:ext cx="845615" cy="845615"/>
              </a:xfrm>
              <a:prstGeom prst="ellipse">
                <a:avLst/>
              </a:prstGeom>
              <a:solidFill>
                <a:srgbClr val="1C5AAA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32742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66371" algn="l" defTabSz="932742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32742" algn="l" defTabSz="932742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99113" algn="l" defTabSz="932742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65484" algn="l" defTabSz="932742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331856" algn="l" defTabSz="932742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98226" algn="l" defTabSz="932742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64597" algn="l" defTabSz="932742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730969" algn="l" defTabSz="932742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2448"/>
              </a:p>
            </p:txBody>
          </p:sp>
          <p:pic>
            <p:nvPicPr>
              <p:cNvPr id="44" name="Picture 43"/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6440717" y="2834598"/>
                <a:ext cx="486389" cy="445856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93325224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>
          <a:xfrm>
            <a:off x="1523787" y="1672970"/>
            <a:ext cx="1354171" cy="1357298"/>
            <a:chOff x="1523787" y="1672970"/>
            <a:chExt cx="1354171" cy="1357298"/>
          </a:xfrm>
        </p:grpSpPr>
        <p:sp>
          <p:nvSpPr>
            <p:cNvPr id="2" name="Rectangle 1"/>
            <p:cNvSpPr/>
            <p:nvPr/>
          </p:nvSpPr>
          <p:spPr bwMode="auto">
            <a:xfrm>
              <a:off x="1523787" y="1672970"/>
              <a:ext cx="1354171" cy="1357298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248694" tIns="124347" rIns="248694" bIns="19895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74320" marR="0" lvl="0" indent="0" defTabSz="1268069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4" b="0" i="0" u="none" strike="noStrike" kern="0" cap="none" spc="0" normalizeH="0" baseline="0" noProof="0" dirty="0" smtClean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29" name="Group 28"/>
            <p:cNvGrpSpPr/>
            <p:nvPr/>
          </p:nvGrpSpPr>
          <p:grpSpPr>
            <a:xfrm>
              <a:off x="1664763" y="1812960"/>
              <a:ext cx="1063271" cy="1063271"/>
              <a:chOff x="1567282" y="1718029"/>
              <a:chExt cx="1267180" cy="1267180"/>
            </a:xfrm>
          </p:grpSpPr>
          <p:sp>
            <p:nvSpPr>
              <p:cNvPr id="3" name="Oval 5"/>
              <p:cNvSpPr>
                <a:spLocks noChangeArrowheads="1"/>
              </p:cNvSpPr>
              <p:nvPr/>
            </p:nvSpPr>
            <p:spPr bwMode="auto">
              <a:xfrm>
                <a:off x="1567282" y="1718029"/>
                <a:ext cx="1267180" cy="1267180"/>
              </a:xfrm>
              <a:prstGeom prst="ellipse">
                <a:avLst/>
              </a:prstGeom>
              <a:solidFill>
                <a:srgbClr val="00A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32742"/>
                <a:endParaRPr lang="en-US">
                  <a:solidFill>
                    <a:srgbClr val="33353A"/>
                  </a:solidFill>
                  <a:latin typeface="Segoe UI"/>
                </a:endParaRPr>
              </a:p>
            </p:txBody>
          </p:sp>
          <p:pic>
            <p:nvPicPr>
              <p:cNvPr id="4" name="Picture 3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694659" y="2055390"/>
                <a:ext cx="1012426" cy="592457"/>
              </a:xfrm>
              <a:prstGeom prst="rect">
                <a:avLst/>
              </a:prstGeom>
            </p:spPr>
          </p:pic>
        </p:grpSp>
      </p:grpSp>
      <p:grpSp>
        <p:nvGrpSpPr>
          <p:cNvPr id="35" name="Group 34"/>
          <p:cNvGrpSpPr/>
          <p:nvPr/>
        </p:nvGrpSpPr>
        <p:grpSpPr>
          <a:xfrm>
            <a:off x="3070647" y="1672970"/>
            <a:ext cx="1354171" cy="1357298"/>
            <a:chOff x="3070647" y="1672970"/>
            <a:chExt cx="1354171" cy="1357298"/>
          </a:xfrm>
        </p:grpSpPr>
        <p:sp>
          <p:nvSpPr>
            <p:cNvPr id="5" name="Rectangle 4"/>
            <p:cNvSpPr/>
            <p:nvPr/>
          </p:nvSpPr>
          <p:spPr bwMode="auto">
            <a:xfrm>
              <a:off x="3070647" y="1672970"/>
              <a:ext cx="1354171" cy="1357298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248694" tIns="124347" rIns="248694" bIns="19895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74320" marR="0" lvl="0" indent="0" defTabSz="1268069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4" b="0" i="0" u="none" strike="noStrike" kern="0" cap="none" spc="0" normalizeH="0" baseline="0" noProof="0" dirty="0" smtClean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30" name="Group 29"/>
            <p:cNvGrpSpPr/>
            <p:nvPr/>
          </p:nvGrpSpPr>
          <p:grpSpPr>
            <a:xfrm>
              <a:off x="3214596" y="1812958"/>
              <a:ext cx="1063271" cy="1063271"/>
              <a:chOff x="3114142" y="1718029"/>
              <a:chExt cx="1267180" cy="1267180"/>
            </a:xfrm>
          </p:grpSpPr>
          <p:sp>
            <p:nvSpPr>
              <p:cNvPr id="6" name="Oval 5"/>
              <p:cNvSpPr>
                <a:spLocks noChangeArrowheads="1"/>
              </p:cNvSpPr>
              <p:nvPr/>
            </p:nvSpPr>
            <p:spPr bwMode="auto">
              <a:xfrm>
                <a:off x="3114142" y="1718029"/>
                <a:ext cx="1267180" cy="1267180"/>
              </a:xfrm>
              <a:prstGeom prst="ellipse">
                <a:avLst/>
              </a:prstGeom>
              <a:solidFill>
                <a:srgbClr val="00A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32742"/>
                <a:endParaRPr lang="en-US">
                  <a:solidFill>
                    <a:srgbClr val="33353A"/>
                  </a:solidFill>
                  <a:latin typeface="Segoe UI"/>
                </a:endParaRPr>
              </a:p>
            </p:txBody>
          </p:sp>
          <p:grpSp>
            <p:nvGrpSpPr>
              <p:cNvPr id="9" name="Group 8"/>
              <p:cNvGrpSpPr/>
              <p:nvPr/>
            </p:nvGrpSpPr>
            <p:grpSpPr>
              <a:xfrm>
                <a:off x="3278497" y="1824295"/>
                <a:ext cx="950603" cy="823552"/>
                <a:chOff x="3217537" y="1836506"/>
                <a:chExt cx="1085233" cy="940188"/>
              </a:xfrm>
            </p:grpSpPr>
            <p:sp>
              <p:nvSpPr>
                <p:cNvPr id="7" name="Freeform 6"/>
                <p:cNvSpPr>
                  <a:spLocks noChangeAspect="1"/>
                </p:cNvSpPr>
                <p:nvPr/>
              </p:nvSpPr>
              <p:spPr bwMode="black">
                <a:xfrm flipH="1">
                  <a:off x="3217537" y="2080209"/>
                  <a:ext cx="1085233" cy="696485"/>
                </a:xfrm>
                <a:custGeom>
                  <a:avLst/>
                  <a:gdLst>
                    <a:gd name="connsiteX0" fmla="*/ 4635324 w 4635324"/>
                    <a:gd name="connsiteY0" fmla="*/ 2786728 h 2974887"/>
                    <a:gd name="connsiteX1" fmla="*/ 0 w 4635324"/>
                    <a:gd name="connsiteY1" fmla="*/ 2786728 h 2974887"/>
                    <a:gd name="connsiteX2" fmla="*/ 0 w 4635324"/>
                    <a:gd name="connsiteY2" fmla="*/ 2813608 h 2974887"/>
                    <a:gd name="connsiteX3" fmla="*/ 185413 w 4635324"/>
                    <a:gd name="connsiteY3" fmla="*/ 2974887 h 2974887"/>
                    <a:gd name="connsiteX4" fmla="*/ 4449911 w 4635324"/>
                    <a:gd name="connsiteY4" fmla="*/ 2974887 h 2974887"/>
                    <a:gd name="connsiteX5" fmla="*/ 4635324 w 4635324"/>
                    <a:gd name="connsiteY5" fmla="*/ 2813608 h 2974887"/>
                    <a:gd name="connsiteX6" fmla="*/ 4635324 w 4635324"/>
                    <a:gd name="connsiteY6" fmla="*/ 2786728 h 2974887"/>
                    <a:gd name="connsiteX7" fmla="*/ 4005331 w 4635324"/>
                    <a:gd name="connsiteY7" fmla="*/ 205988 h 2974887"/>
                    <a:gd name="connsiteX8" fmla="*/ 4005331 w 4635324"/>
                    <a:gd name="connsiteY8" fmla="*/ 2473188 h 2974887"/>
                    <a:gd name="connsiteX9" fmla="*/ 630009 w 4635324"/>
                    <a:gd name="connsiteY9" fmla="*/ 2473188 h 2974887"/>
                    <a:gd name="connsiteX10" fmla="*/ 630009 w 4635324"/>
                    <a:gd name="connsiteY10" fmla="*/ 205988 h 2974887"/>
                    <a:gd name="connsiteX11" fmla="*/ 4115213 w 4635324"/>
                    <a:gd name="connsiteY11" fmla="*/ 0 h 2974887"/>
                    <a:gd name="connsiteX12" fmla="*/ 520123 w 4635324"/>
                    <a:gd name="connsiteY12" fmla="*/ 0 h 2974887"/>
                    <a:gd name="connsiteX13" fmla="*/ 391787 w 4635324"/>
                    <a:gd name="connsiteY13" fmla="*/ 128336 h 2974887"/>
                    <a:gd name="connsiteX14" fmla="*/ 391787 w 4635324"/>
                    <a:gd name="connsiteY14" fmla="*/ 2548645 h 2974887"/>
                    <a:gd name="connsiteX15" fmla="*/ 520123 w 4635324"/>
                    <a:gd name="connsiteY15" fmla="*/ 2676981 h 2974887"/>
                    <a:gd name="connsiteX16" fmla="*/ 4115213 w 4635324"/>
                    <a:gd name="connsiteY16" fmla="*/ 2676981 h 2974887"/>
                    <a:gd name="connsiteX17" fmla="*/ 4243549 w 4635324"/>
                    <a:gd name="connsiteY17" fmla="*/ 2548645 h 2974887"/>
                    <a:gd name="connsiteX18" fmla="*/ 4243549 w 4635324"/>
                    <a:gd name="connsiteY18" fmla="*/ 128336 h 2974887"/>
                    <a:gd name="connsiteX19" fmla="*/ 4115213 w 4635324"/>
                    <a:gd name="connsiteY19" fmla="*/ 0 h 29748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4635324" h="2974887">
                      <a:moveTo>
                        <a:pt x="4635324" y="2786728"/>
                      </a:moveTo>
                      <a:lnTo>
                        <a:pt x="0" y="2786728"/>
                      </a:lnTo>
                      <a:cubicBezTo>
                        <a:pt x="0" y="2813608"/>
                        <a:pt x="0" y="2813608"/>
                        <a:pt x="0" y="2813608"/>
                      </a:cubicBezTo>
                      <a:cubicBezTo>
                        <a:pt x="0" y="2894248"/>
                        <a:pt x="79463" y="2974887"/>
                        <a:pt x="185413" y="2974887"/>
                      </a:cubicBezTo>
                      <a:cubicBezTo>
                        <a:pt x="4449911" y="2974887"/>
                        <a:pt x="4449911" y="2974887"/>
                        <a:pt x="4449911" y="2974887"/>
                      </a:cubicBezTo>
                      <a:cubicBezTo>
                        <a:pt x="4555862" y="2974887"/>
                        <a:pt x="4635324" y="2894248"/>
                        <a:pt x="4635324" y="2813608"/>
                      </a:cubicBezTo>
                      <a:cubicBezTo>
                        <a:pt x="4635324" y="2786728"/>
                        <a:pt x="4635324" y="2786728"/>
                        <a:pt x="4635324" y="2786728"/>
                      </a:cubicBezTo>
                      <a:close/>
                      <a:moveTo>
                        <a:pt x="4005331" y="205988"/>
                      </a:moveTo>
                      <a:lnTo>
                        <a:pt x="4005331" y="2473188"/>
                      </a:lnTo>
                      <a:lnTo>
                        <a:pt x="630009" y="2473188"/>
                      </a:lnTo>
                      <a:lnTo>
                        <a:pt x="630009" y="205988"/>
                      </a:lnTo>
                      <a:close/>
                      <a:moveTo>
                        <a:pt x="4115213" y="0"/>
                      </a:moveTo>
                      <a:lnTo>
                        <a:pt x="520123" y="0"/>
                      </a:lnTo>
                      <a:cubicBezTo>
                        <a:pt x="449244" y="0"/>
                        <a:pt x="391787" y="57457"/>
                        <a:pt x="391787" y="128336"/>
                      </a:cubicBezTo>
                      <a:lnTo>
                        <a:pt x="391787" y="2548645"/>
                      </a:lnTo>
                      <a:cubicBezTo>
                        <a:pt x="391787" y="2619524"/>
                        <a:pt x="449244" y="2676981"/>
                        <a:pt x="520123" y="2676981"/>
                      </a:cubicBezTo>
                      <a:lnTo>
                        <a:pt x="4115213" y="2676981"/>
                      </a:lnTo>
                      <a:cubicBezTo>
                        <a:pt x="4186092" y="2676981"/>
                        <a:pt x="4243549" y="2619524"/>
                        <a:pt x="4243549" y="2548645"/>
                      </a:cubicBezTo>
                      <a:lnTo>
                        <a:pt x="4243549" y="128336"/>
                      </a:lnTo>
                      <a:cubicBezTo>
                        <a:pt x="4243549" y="57457"/>
                        <a:pt x="4186092" y="0"/>
                        <a:pt x="4115213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3274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371" algn="l" defTabSz="93274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742" algn="l" defTabSz="93274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9113" algn="l" defTabSz="93274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5484" algn="l" defTabSz="93274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1856" algn="l" defTabSz="93274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8226" algn="l" defTabSz="93274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4597" algn="l" defTabSz="93274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30969" algn="l" defTabSz="93274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7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pic>
              <p:nvPicPr>
                <p:cNvPr id="8" name="Picture 7"/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3660755" y="1836506"/>
                  <a:ext cx="486389" cy="445856"/>
                </a:xfrm>
                <a:prstGeom prst="rect">
                  <a:avLst/>
                </a:prstGeom>
              </p:spPr>
            </p:pic>
          </p:grpSp>
        </p:grpSp>
      </p:grpSp>
      <p:grpSp>
        <p:nvGrpSpPr>
          <p:cNvPr id="33" name="Group 32"/>
          <p:cNvGrpSpPr/>
          <p:nvPr/>
        </p:nvGrpSpPr>
        <p:grpSpPr>
          <a:xfrm>
            <a:off x="4601874" y="1672970"/>
            <a:ext cx="1354171" cy="1357298"/>
            <a:chOff x="4601874" y="1672970"/>
            <a:chExt cx="1354171" cy="1357298"/>
          </a:xfrm>
        </p:grpSpPr>
        <p:sp>
          <p:nvSpPr>
            <p:cNvPr id="12" name="Rectangle 11"/>
            <p:cNvSpPr/>
            <p:nvPr/>
          </p:nvSpPr>
          <p:spPr bwMode="auto">
            <a:xfrm>
              <a:off x="4601874" y="1672970"/>
              <a:ext cx="1354171" cy="1357298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248694" tIns="124347" rIns="248694" bIns="19895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74320" marR="0" lvl="0" indent="0" defTabSz="1268069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4" b="0" i="0" u="none" strike="noStrike" kern="0" cap="none" spc="0" normalizeH="0" baseline="0" noProof="0" dirty="0" smtClean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31" name="Group 30"/>
            <p:cNvGrpSpPr/>
            <p:nvPr/>
          </p:nvGrpSpPr>
          <p:grpSpPr>
            <a:xfrm>
              <a:off x="4741536" y="1805563"/>
              <a:ext cx="1063271" cy="1063271"/>
              <a:chOff x="4645369" y="1718029"/>
              <a:chExt cx="1267180" cy="1267180"/>
            </a:xfrm>
          </p:grpSpPr>
          <p:sp>
            <p:nvSpPr>
              <p:cNvPr id="13" name="Oval 12"/>
              <p:cNvSpPr>
                <a:spLocks noChangeArrowheads="1"/>
              </p:cNvSpPr>
              <p:nvPr/>
            </p:nvSpPr>
            <p:spPr bwMode="auto">
              <a:xfrm>
                <a:off x="4645369" y="1718029"/>
                <a:ext cx="1267180" cy="1267180"/>
              </a:xfrm>
              <a:prstGeom prst="ellipse">
                <a:avLst/>
              </a:prstGeom>
              <a:solidFill>
                <a:srgbClr val="00A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32742"/>
                <a:endParaRPr lang="en-US">
                  <a:solidFill>
                    <a:srgbClr val="33353A"/>
                  </a:solidFill>
                  <a:latin typeface="Segoe UI"/>
                </a:endParaRPr>
              </a:p>
            </p:txBody>
          </p:sp>
          <p:grpSp>
            <p:nvGrpSpPr>
              <p:cNvPr id="22" name="Group 21"/>
              <p:cNvGrpSpPr/>
              <p:nvPr/>
            </p:nvGrpSpPr>
            <p:grpSpPr>
              <a:xfrm>
                <a:off x="4987108" y="1824295"/>
                <a:ext cx="583702" cy="1079956"/>
                <a:chOff x="4983222" y="1769924"/>
                <a:chExt cx="634050" cy="1173109"/>
              </a:xfrm>
            </p:grpSpPr>
            <p:pic>
              <p:nvPicPr>
                <p:cNvPr id="18" name="Picture 17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4983222" y="1769924"/>
                  <a:ext cx="361607" cy="598043"/>
                </a:xfrm>
                <a:prstGeom prst="rect">
                  <a:avLst/>
                </a:prstGeom>
              </p:spPr>
            </p:pic>
            <p:sp>
              <p:nvSpPr>
                <p:cNvPr id="19" name="Freeform 132"/>
                <p:cNvSpPr>
                  <a:spLocks noChangeAspect="1" noEditPoints="1"/>
                </p:cNvSpPr>
                <p:nvPr/>
              </p:nvSpPr>
              <p:spPr bwMode="black">
                <a:xfrm>
                  <a:off x="5053046" y="2468198"/>
                  <a:ext cx="202619" cy="330192"/>
                </a:xfrm>
                <a:custGeom>
                  <a:avLst/>
                  <a:gdLst>
                    <a:gd name="T0" fmla="*/ 42 w 49"/>
                    <a:gd name="T1" fmla="*/ 7 h 80"/>
                    <a:gd name="T2" fmla="*/ 25 w 49"/>
                    <a:gd name="T3" fmla="*/ 0 h 80"/>
                    <a:gd name="T4" fmla="*/ 8 w 49"/>
                    <a:gd name="T5" fmla="*/ 7 h 80"/>
                    <a:gd name="T6" fmla="*/ 0 w 49"/>
                    <a:gd name="T7" fmla="*/ 24 h 80"/>
                    <a:gd name="T8" fmla="*/ 4 w 49"/>
                    <a:gd name="T9" fmla="*/ 39 h 80"/>
                    <a:gd name="T10" fmla="*/ 16 w 49"/>
                    <a:gd name="T11" fmla="*/ 55 h 80"/>
                    <a:gd name="T12" fmla="*/ 23 w 49"/>
                    <a:gd name="T13" fmla="*/ 80 h 80"/>
                    <a:gd name="T14" fmla="*/ 27 w 49"/>
                    <a:gd name="T15" fmla="*/ 80 h 80"/>
                    <a:gd name="T16" fmla="*/ 37 w 49"/>
                    <a:gd name="T17" fmla="*/ 49 h 80"/>
                    <a:gd name="T18" fmla="*/ 45 w 49"/>
                    <a:gd name="T19" fmla="*/ 39 h 80"/>
                    <a:gd name="T20" fmla="*/ 49 w 49"/>
                    <a:gd name="T21" fmla="*/ 24 h 80"/>
                    <a:gd name="T22" fmla="*/ 42 w 49"/>
                    <a:gd name="T23" fmla="*/ 7 h 80"/>
                    <a:gd name="T24" fmla="*/ 25 w 49"/>
                    <a:gd name="T25" fmla="*/ 37 h 80"/>
                    <a:gd name="T26" fmla="*/ 13 w 49"/>
                    <a:gd name="T27" fmla="*/ 25 h 80"/>
                    <a:gd name="T28" fmla="*/ 25 w 49"/>
                    <a:gd name="T29" fmla="*/ 14 h 80"/>
                    <a:gd name="T30" fmla="*/ 36 w 49"/>
                    <a:gd name="T31" fmla="*/ 25 h 80"/>
                    <a:gd name="T32" fmla="*/ 25 w 49"/>
                    <a:gd name="T33" fmla="*/ 37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49" h="80">
                      <a:moveTo>
                        <a:pt x="42" y="7"/>
                      </a:moveTo>
                      <a:cubicBezTo>
                        <a:pt x="37" y="3"/>
                        <a:pt x="31" y="0"/>
                        <a:pt x="25" y="0"/>
                      </a:cubicBezTo>
                      <a:cubicBezTo>
                        <a:pt x="18" y="0"/>
                        <a:pt x="12" y="3"/>
                        <a:pt x="8" y="7"/>
                      </a:cubicBezTo>
                      <a:cubicBezTo>
                        <a:pt x="3" y="12"/>
                        <a:pt x="0" y="18"/>
                        <a:pt x="0" y="24"/>
                      </a:cubicBezTo>
                      <a:cubicBezTo>
                        <a:pt x="0" y="30"/>
                        <a:pt x="2" y="35"/>
                        <a:pt x="4" y="39"/>
                      </a:cubicBezTo>
                      <a:cubicBezTo>
                        <a:pt x="8" y="45"/>
                        <a:pt x="12" y="49"/>
                        <a:pt x="16" y="55"/>
                      </a:cubicBezTo>
                      <a:cubicBezTo>
                        <a:pt x="20" y="61"/>
                        <a:pt x="23" y="68"/>
                        <a:pt x="23" y="80"/>
                      </a:cubicBezTo>
                      <a:cubicBezTo>
                        <a:pt x="27" y="80"/>
                        <a:pt x="27" y="80"/>
                        <a:pt x="27" y="80"/>
                      </a:cubicBezTo>
                      <a:cubicBezTo>
                        <a:pt x="27" y="64"/>
                        <a:pt x="32" y="56"/>
                        <a:pt x="37" y="49"/>
                      </a:cubicBezTo>
                      <a:cubicBezTo>
                        <a:pt x="40" y="46"/>
                        <a:pt x="43" y="43"/>
                        <a:pt x="45" y="39"/>
                      </a:cubicBezTo>
                      <a:cubicBezTo>
                        <a:pt x="48" y="35"/>
                        <a:pt x="49" y="30"/>
                        <a:pt x="49" y="24"/>
                      </a:cubicBezTo>
                      <a:cubicBezTo>
                        <a:pt x="49" y="18"/>
                        <a:pt x="46" y="12"/>
                        <a:pt x="42" y="7"/>
                      </a:cubicBezTo>
                      <a:close/>
                      <a:moveTo>
                        <a:pt x="25" y="37"/>
                      </a:moveTo>
                      <a:cubicBezTo>
                        <a:pt x="18" y="37"/>
                        <a:pt x="13" y="31"/>
                        <a:pt x="13" y="25"/>
                      </a:cubicBezTo>
                      <a:cubicBezTo>
                        <a:pt x="13" y="19"/>
                        <a:pt x="18" y="14"/>
                        <a:pt x="25" y="14"/>
                      </a:cubicBezTo>
                      <a:cubicBezTo>
                        <a:pt x="31" y="14"/>
                        <a:pt x="36" y="19"/>
                        <a:pt x="36" y="25"/>
                      </a:cubicBezTo>
                      <a:cubicBezTo>
                        <a:pt x="36" y="31"/>
                        <a:pt x="31" y="37"/>
                        <a:pt x="25" y="3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/>
              </p:spPr>
              <p:txBody>
                <a:bodyPr vert="horz" wrap="square" lIns="93278" tIns="46639" rIns="93278" bIns="46639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32742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</a:endParaRPr>
                </a:p>
              </p:txBody>
            </p:sp>
            <p:sp>
              <p:nvSpPr>
                <p:cNvPr id="20" name="Freeform 132"/>
                <p:cNvSpPr>
                  <a:spLocks noChangeAspect="1" noEditPoints="1"/>
                </p:cNvSpPr>
                <p:nvPr/>
              </p:nvSpPr>
              <p:spPr bwMode="black">
                <a:xfrm>
                  <a:off x="5414653" y="2178913"/>
                  <a:ext cx="202619" cy="330192"/>
                </a:xfrm>
                <a:custGeom>
                  <a:avLst/>
                  <a:gdLst>
                    <a:gd name="T0" fmla="*/ 42 w 49"/>
                    <a:gd name="T1" fmla="*/ 7 h 80"/>
                    <a:gd name="T2" fmla="*/ 25 w 49"/>
                    <a:gd name="T3" fmla="*/ 0 h 80"/>
                    <a:gd name="T4" fmla="*/ 8 w 49"/>
                    <a:gd name="T5" fmla="*/ 7 h 80"/>
                    <a:gd name="T6" fmla="*/ 0 w 49"/>
                    <a:gd name="T7" fmla="*/ 24 h 80"/>
                    <a:gd name="T8" fmla="*/ 4 w 49"/>
                    <a:gd name="T9" fmla="*/ 39 h 80"/>
                    <a:gd name="T10" fmla="*/ 16 w 49"/>
                    <a:gd name="T11" fmla="*/ 55 h 80"/>
                    <a:gd name="T12" fmla="*/ 23 w 49"/>
                    <a:gd name="T13" fmla="*/ 80 h 80"/>
                    <a:gd name="T14" fmla="*/ 27 w 49"/>
                    <a:gd name="T15" fmla="*/ 80 h 80"/>
                    <a:gd name="T16" fmla="*/ 37 w 49"/>
                    <a:gd name="T17" fmla="*/ 49 h 80"/>
                    <a:gd name="T18" fmla="*/ 45 w 49"/>
                    <a:gd name="T19" fmla="*/ 39 h 80"/>
                    <a:gd name="T20" fmla="*/ 49 w 49"/>
                    <a:gd name="T21" fmla="*/ 24 h 80"/>
                    <a:gd name="T22" fmla="*/ 42 w 49"/>
                    <a:gd name="T23" fmla="*/ 7 h 80"/>
                    <a:gd name="T24" fmla="*/ 25 w 49"/>
                    <a:gd name="T25" fmla="*/ 37 h 80"/>
                    <a:gd name="T26" fmla="*/ 13 w 49"/>
                    <a:gd name="T27" fmla="*/ 25 h 80"/>
                    <a:gd name="T28" fmla="*/ 25 w 49"/>
                    <a:gd name="T29" fmla="*/ 14 h 80"/>
                    <a:gd name="T30" fmla="*/ 36 w 49"/>
                    <a:gd name="T31" fmla="*/ 25 h 80"/>
                    <a:gd name="T32" fmla="*/ 25 w 49"/>
                    <a:gd name="T33" fmla="*/ 37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49" h="80">
                      <a:moveTo>
                        <a:pt x="42" y="7"/>
                      </a:moveTo>
                      <a:cubicBezTo>
                        <a:pt x="37" y="3"/>
                        <a:pt x="31" y="0"/>
                        <a:pt x="25" y="0"/>
                      </a:cubicBezTo>
                      <a:cubicBezTo>
                        <a:pt x="18" y="0"/>
                        <a:pt x="12" y="3"/>
                        <a:pt x="8" y="7"/>
                      </a:cubicBezTo>
                      <a:cubicBezTo>
                        <a:pt x="3" y="12"/>
                        <a:pt x="0" y="18"/>
                        <a:pt x="0" y="24"/>
                      </a:cubicBezTo>
                      <a:cubicBezTo>
                        <a:pt x="0" y="30"/>
                        <a:pt x="2" y="35"/>
                        <a:pt x="4" y="39"/>
                      </a:cubicBezTo>
                      <a:cubicBezTo>
                        <a:pt x="8" y="45"/>
                        <a:pt x="12" y="49"/>
                        <a:pt x="16" y="55"/>
                      </a:cubicBezTo>
                      <a:cubicBezTo>
                        <a:pt x="20" y="61"/>
                        <a:pt x="23" y="68"/>
                        <a:pt x="23" y="80"/>
                      </a:cubicBezTo>
                      <a:cubicBezTo>
                        <a:pt x="27" y="80"/>
                        <a:pt x="27" y="80"/>
                        <a:pt x="27" y="80"/>
                      </a:cubicBezTo>
                      <a:cubicBezTo>
                        <a:pt x="27" y="64"/>
                        <a:pt x="32" y="56"/>
                        <a:pt x="37" y="49"/>
                      </a:cubicBezTo>
                      <a:cubicBezTo>
                        <a:pt x="40" y="46"/>
                        <a:pt x="43" y="43"/>
                        <a:pt x="45" y="39"/>
                      </a:cubicBezTo>
                      <a:cubicBezTo>
                        <a:pt x="48" y="35"/>
                        <a:pt x="49" y="30"/>
                        <a:pt x="49" y="24"/>
                      </a:cubicBezTo>
                      <a:cubicBezTo>
                        <a:pt x="49" y="18"/>
                        <a:pt x="46" y="12"/>
                        <a:pt x="42" y="7"/>
                      </a:cubicBezTo>
                      <a:close/>
                      <a:moveTo>
                        <a:pt x="25" y="37"/>
                      </a:moveTo>
                      <a:cubicBezTo>
                        <a:pt x="18" y="37"/>
                        <a:pt x="13" y="31"/>
                        <a:pt x="13" y="25"/>
                      </a:cubicBezTo>
                      <a:cubicBezTo>
                        <a:pt x="13" y="19"/>
                        <a:pt x="18" y="14"/>
                        <a:pt x="25" y="14"/>
                      </a:cubicBezTo>
                      <a:cubicBezTo>
                        <a:pt x="31" y="14"/>
                        <a:pt x="36" y="19"/>
                        <a:pt x="36" y="25"/>
                      </a:cubicBezTo>
                      <a:cubicBezTo>
                        <a:pt x="36" y="31"/>
                        <a:pt x="31" y="37"/>
                        <a:pt x="25" y="3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/>
              </p:spPr>
              <p:txBody>
                <a:bodyPr vert="horz" wrap="square" lIns="93278" tIns="46639" rIns="93278" bIns="46639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32742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</a:endParaRPr>
                </a:p>
              </p:txBody>
            </p:sp>
            <p:sp>
              <p:nvSpPr>
                <p:cNvPr id="21" name="Freeform 132"/>
                <p:cNvSpPr>
                  <a:spLocks noChangeAspect="1" noEditPoints="1"/>
                </p:cNvSpPr>
                <p:nvPr/>
              </p:nvSpPr>
              <p:spPr bwMode="black">
                <a:xfrm>
                  <a:off x="5342332" y="2612841"/>
                  <a:ext cx="202619" cy="330192"/>
                </a:xfrm>
                <a:custGeom>
                  <a:avLst/>
                  <a:gdLst>
                    <a:gd name="T0" fmla="*/ 42 w 49"/>
                    <a:gd name="T1" fmla="*/ 7 h 80"/>
                    <a:gd name="T2" fmla="*/ 25 w 49"/>
                    <a:gd name="T3" fmla="*/ 0 h 80"/>
                    <a:gd name="T4" fmla="*/ 8 w 49"/>
                    <a:gd name="T5" fmla="*/ 7 h 80"/>
                    <a:gd name="T6" fmla="*/ 0 w 49"/>
                    <a:gd name="T7" fmla="*/ 24 h 80"/>
                    <a:gd name="T8" fmla="*/ 4 w 49"/>
                    <a:gd name="T9" fmla="*/ 39 h 80"/>
                    <a:gd name="T10" fmla="*/ 16 w 49"/>
                    <a:gd name="T11" fmla="*/ 55 h 80"/>
                    <a:gd name="T12" fmla="*/ 23 w 49"/>
                    <a:gd name="T13" fmla="*/ 80 h 80"/>
                    <a:gd name="T14" fmla="*/ 27 w 49"/>
                    <a:gd name="T15" fmla="*/ 80 h 80"/>
                    <a:gd name="T16" fmla="*/ 37 w 49"/>
                    <a:gd name="T17" fmla="*/ 49 h 80"/>
                    <a:gd name="T18" fmla="*/ 45 w 49"/>
                    <a:gd name="T19" fmla="*/ 39 h 80"/>
                    <a:gd name="T20" fmla="*/ 49 w 49"/>
                    <a:gd name="T21" fmla="*/ 24 h 80"/>
                    <a:gd name="T22" fmla="*/ 42 w 49"/>
                    <a:gd name="T23" fmla="*/ 7 h 80"/>
                    <a:gd name="T24" fmla="*/ 25 w 49"/>
                    <a:gd name="T25" fmla="*/ 37 h 80"/>
                    <a:gd name="T26" fmla="*/ 13 w 49"/>
                    <a:gd name="T27" fmla="*/ 25 h 80"/>
                    <a:gd name="T28" fmla="*/ 25 w 49"/>
                    <a:gd name="T29" fmla="*/ 14 h 80"/>
                    <a:gd name="T30" fmla="*/ 36 w 49"/>
                    <a:gd name="T31" fmla="*/ 25 h 80"/>
                    <a:gd name="T32" fmla="*/ 25 w 49"/>
                    <a:gd name="T33" fmla="*/ 37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49" h="80">
                      <a:moveTo>
                        <a:pt x="42" y="7"/>
                      </a:moveTo>
                      <a:cubicBezTo>
                        <a:pt x="37" y="3"/>
                        <a:pt x="31" y="0"/>
                        <a:pt x="25" y="0"/>
                      </a:cubicBezTo>
                      <a:cubicBezTo>
                        <a:pt x="18" y="0"/>
                        <a:pt x="12" y="3"/>
                        <a:pt x="8" y="7"/>
                      </a:cubicBezTo>
                      <a:cubicBezTo>
                        <a:pt x="3" y="12"/>
                        <a:pt x="0" y="18"/>
                        <a:pt x="0" y="24"/>
                      </a:cubicBezTo>
                      <a:cubicBezTo>
                        <a:pt x="0" y="30"/>
                        <a:pt x="2" y="35"/>
                        <a:pt x="4" y="39"/>
                      </a:cubicBezTo>
                      <a:cubicBezTo>
                        <a:pt x="8" y="45"/>
                        <a:pt x="12" y="49"/>
                        <a:pt x="16" y="55"/>
                      </a:cubicBezTo>
                      <a:cubicBezTo>
                        <a:pt x="20" y="61"/>
                        <a:pt x="23" y="68"/>
                        <a:pt x="23" y="80"/>
                      </a:cubicBezTo>
                      <a:cubicBezTo>
                        <a:pt x="27" y="80"/>
                        <a:pt x="27" y="80"/>
                        <a:pt x="27" y="80"/>
                      </a:cubicBezTo>
                      <a:cubicBezTo>
                        <a:pt x="27" y="64"/>
                        <a:pt x="32" y="56"/>
                        <a:pt x="37" y="49"/>
                      </a:cubicBezTo>
                      <a:cubicBezTo>
                        <a:pt x="40" y="46"/>
                        <a:pt x="43" y="43"/>
                        <a:pt x="45" y="39"/>
                      </a:cubicBezTo>
                      <a:cubicBezTo>
                        <a:pt x="48" y="35"/>
                        <a:pt x="49" y="30"/>
                        <a:pt x="49" y="24"/>
                      </a:cubicBezTo>
                      <a:cubicBezTo>
                        <a:pt x="49" y="18"/>
                        <a:pt x="46" y="12"/>
                        <a:pt x="42" y="7"/>
                      </a:cubicBezTo>
                      <a:close/>
                      <a:moveTo>
                        <a:pt x="25" y="37"/>
                      </a:moveTo>
                      <a:cubicBezTo>
                        <a:pt x="18" y="37"/>
                        <a:pt x="13" y="31"/>
                        <a:pt x="13" y="25"/>
                      </a:cubicBezTo>
                      <a:cubicBezTo>
                        <a:pt x="13" y="19"/>
                        <a:pt x="18" y="14"/>
                        <a:pt x="25" y="14"/>
                      </a:cubicBezTo>
                      <a:cubicBezTo>
                        <a:pt x="31" y="14"/>
                        <a:pt x="36" y="19"/>
                        <a:pt x="36" y="25"/>
                      </a:cubicBezTo>
                      <a:cubicBezTo>
                        <a:pt x="36" y="31"/>
                        <a:pt x="31" y="37"/>
                        <a:pt x="25" y="3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/>
              </p:spPr>
              <p:txBody>
                <a:bodyPr vert="horz" wrap="square" lIns="93278" tIns="46639" rIns="93278" bIns="46639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32742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</a:endParaRPr>
                </a:p>
              </p:txBody>
            </p:sp>
          </p:grpSp>
        </p:grpSp>
      </p:grpSp>
      <p:grpSp>
        <p:nvGrpSpPr>
          <p:cNvPr id="34" name="Group 33"/>
          <p:cNvGrpSpPr/>
          <p:nvPr/>
        </p:nvGrpSpPr>
        <p:grpSpPr>
          <a:xfrm>
            <a:off x="6148163" y="1672970"/>
            <a:ext cx="1354171" cy="1357298"/>
            <a:chOff x="6148163" y="1672970"/>
            <a:chExt cx="1354171" cy="1357298"/>
          </a:xfrm>
        </p:grpSpPr>
        <p:sp>
          <p:nvSpPr>
            <p:cNvPr id="14" name="Rectangle 13"/>
            <p:cNvSpPr/>
            <p:nvPr/>
          </p:nvSpPr>
          <p:spPr bwMode="auto">
            <a:xfrm>
              <a:off x="6148163" y="1672970"/>
              <a:ext cx="1354171" cy="1357298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248694" tIns="124347" rIns="248694" bIns="19895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74320" marR="0" lvl="0" indent="0" defTabSz="1268069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4" b="0" i="0" u="none" strike="noStrike" kern="0" cap="none" spc="0" normalizeH="0" baseline="0" noProof="0" dirty="0" smtClean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32" name="Group 31"/>
            <p:cNvGrpSpPr/>
            <p:nvPr/>
          </p:nvGrpSpPr>
          <p:grpSpPr>
            <a:xfrm>
              <a:off x="6296729" y="1824709"/>
              <a:ext cx="1063271" cy="1063271"/>
              <a:chOff x="6191658" y="1718029"/>
              <a:chExt cx="1267180" cy="1267180"/>
            </a:xfrm>
          </p:grpSpPr>
          <p:sp>
            <p:nvSpPr>
              <p:cNvPr id="15" name="Oval 14"/>
              <p:cNvSpPr>
                <a:spLocks noChangeArrowheads="1"/>
              </p:cNvSpPr>
              <p:nvPr/>
            </p:nvSpPr>
            <p:spPr bwMode="auto">
              <a:xfrm>
                <a:off x="6191658" y="1718029"/>
                <a:ext cx="1267180" cy="1267180"/>
              </a:xfrm>
              <a:prstGeom prst="ellipse">
                <a:avLst/>
              </a:prstGeom>
              <a:solidFill>
                <a:srgbClr val="00A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32742"/>
                <a:endParaRPr lang="en-US">
                  <a:solidFill>
                    <a:srgbClr val="33353A"/>
                  </a:solidFill>
                  <a:latin typeface="Segoe UI"/>
                </a:endParaRPr>
              </a:p>
            </p:txBody>
          </p:sp>
          <p:pic>
            <p:nvPicPr>
              <p:cNvPr id="23" name="Picture 22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6584882" y="1932763"/>
                <a:ext cx="658445" cy="809709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17983780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79404" y="466819"/>
            <a:ext cx="1038225" cy="57150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58036" y="3040742"/>
            <a:ext cx="847725" cy="55245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53098" y="123919"/>
            <a:ext cx="866775" cy="3429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212753" y="1515230"/>
            <a:ext cx="771525" cy="895350"/>
          </a:xfrm>
          <a:prstGeom prst="rect">
            <a:avLst/>
          </a:prstGeom>
        </p:spPr>
      </p:pic>
      <p:grpSp>
        <p:nvGrpSpPr>
          <p:cNvPr id="932" name="Group 931"/>
          <p:cNvGrpSpPr/>
          <p:nvPr/>
        </p:nvGrpSpPr>
        <p:grpSpPr>
          <a:xfrm>
            <a:off x="25400" y="158663"/>
            <a:ext cx="10421701" cy="4451145"/>
            <a:chOff x="-273353" y="2493245"/>
            <a:chExt cx="10421701" cy="4451145"/>
          </a:xfrm>
        </p:grpSpPr>
        <p:grpSp>
          <p:nvGrpSpPr>
            <p:cNvPr id="931" name="Group 930"/>
            <p:cNvGrpSpPr/>
            <p:nvPr/>
          </p:nvGrpSpPr>
          <p:grpSpPr>
            <a:xfrm>
              <a:off x="-273353" y="2493245"/>
              <a:ext cx="10421701" cy="4451145"/>
              <a:chOff x="-273353" y="2493245"/>
              <a:chExt cx="10421701" cy="4451145"/>
            </a:xfrm>
          </p:grpSpPr>
          <p:grpSp>
            <p:nvGrpSpPr>
              <p:cNvPr id="814" name="Group 813"/>
              <p:cNvGrpSpPr/>
              <p:nvPr/>
            </p:nvGrpSpPr>
            <p:grpSpPr>
              <a:xfrm>
                <a:off x="-273353" y="2493245"/>
                <a:ext cx="10421701" cy="4451145"/>
                <a:chOff x="383872" y="1693145"/>
                <a:chExt cx="10421701" cy="4451145"/>
              </a:xfrm>
            </p:grpSpPr>
            <p:sp>
              <p:nvSpPr>
                <p:cNvPr id="474" name="Rectangle 473"/>
                <p:cNvSpPr/>
                <p:nvPr/>
              </p:nvSpPr>
              <p:spPr>
                <a:xfrm>
                  <a:off x="1280570" y="2013655"/>
                  <a:ext cx="9334503" cy="3143250"/>
                </a:xfrm>
                <a:prstGeom prst="rect">
                  <a:avLst/>
                </a:prstGeom>
                <a:solidFill>
                  <a:srgbClr val="FFA33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pic>
              <p:nvPicPr>
                <p:cNvPr id="9" name="Picture 8"/>
                <p:cNvPicPr>
                  <a:picLocks noChangeAspect="1"/>
                </p:cNvPicPr>
                <p:nvPr/>
              </p:nvPicPr>
              <p:blipFill rotWithShape="1">
                <a:blip r:embed="rId6">
                  <a:extLst>
                    <a:ext uri="{BEBA8EAE-BF5A-486C-A8C5-ECC9F3942E4B}">
                      <a14:imgProps xmlns:a14="http://schemas.microsoft.com/office/drawing/2010/main">
                        <a14:imgLayer r:embed="rId7">
                          <a14:imgEffect>
                            <a14:sharpenSoften amount="25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t="12025" b="32760"/>
                <a:stretch/>
              </p:blipFill>
              <p:spPr>
                <a:xfrm rot="21540000">
                  <a:off x="413184" y="1864947"/>
                  <a:ext cx="9354278" cy="3440666"/>
                </a:xfrm>
                <a:prstGeom prst="rect">
                  <a:avLst/>
                </a:prstGeom>
              </p:spPr>
            </p:pic>
            <p:sp>
              <p:nvSpPr>
                <p:cNvPr id="247" name="Rectangle 246"/>
                <p:cNvSpPr/>
                <p:nvPr/>
              </p:nvSpPr>
              <p:spPr>
                <a:xfrm>
                  <a:off x="5095874" y="2013655"/>
                  <a:ext cx="5524449" cy="3159074"/>
                </a:xfrm>
                <a:prstGeom prst="rect">
                  <a:avLst/>
                </a:prstGeom>
                <a:gradFill>
                  <a:gsLst>
                    <a:gs pos="0">
                      <a:srgbClr val="1C1C1C"/>
                    </a:gs>
                    <a:gs pos="43000">
                      <a:srgbClr val="333333"/>
                    </a:gs>
                    <a:gs pos="65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bg1">
                        <a:lumMod val="50000"/>
                        <a:alpha val="75000"/>
                      </a:schemeClr>
                    </a:gs>
                  </a:gsLst>
                  <a:lin ang="1080000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75" name="Rectangle 474"/>
                <p:cNvSpPr/>
                <p:nvPr/>
              </p:nvSpPr>
              <p:spPr>
                <a:xfrm>
                  <a:off x="1177906" y="1693145"/>
                  <a:ext cx="9539830" cy="31990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76" name="Rectangle 475"/>
                <p:cNvSpPr/>
                <p:nvPr/>
              </p:nvSpPr>
              <p:spPr>
                <a:xfrm>
                  <a:off x="1265743" y="5170752"/>
                  <a:ext cx="9539830" cy="306663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77" name="Rectangle 476"/>
                <p:cNvSpPr/>
                <p:nvPr/>
              </p:nvSpPr>
              <p:spPr>
                <a:xfrm>
                  <a:off x="383872" y="1829096"/>
                  <a:ext cx="896698" cy="4315194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929" name="TextBox 928"/>
              <p:cNvSpPr txBox="1"/>
              <p:nvPr/>
            </p:nvSpPr>
            <p:spPr>
              <a:xfrm>
                <a:off x="4947327" y="3046552"/>
                <a:ext cx="4501541" cy="26468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4000" dirty="0" smtClean="0">
                    <a:solidFill>
                      <a:srgbClr val="FFA333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Drive your marketing in the right direction</a:t>
                </a:r>
                <a:endParaRPr lang="en-US" sz="1600" dirty="0" smtClean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  <a:p>
                <a:pPr algn="r"/>
                <a:endParaRPr lang="en-US" sz="1400" dirty="0" smtClean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  <a:p>
                <a:pPr algn="r"/>
                <a:r>
                  <a:rPr lang="en-US" sz="1600" dirty="0" smtClean="0">
                    <a:solidFill>
                      <a:schemeClr val="bg1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Learn how to tell your story, connect with customers, and measure your marketing success</a:t>
                </a:r>
                <a:endParaRPr lang="en-US" dirty="0" smtClean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930" name="Freeform 9"/>
            <p:cNvSpPr>
              <a:spLocks noEditPoints="1"/>
            </p:cNvSpPr>
            <p:nvPr/>
          </p:nvSpPr>
          <p:spPr bwMode="black">
            <a:xfrm>
              <a:off x="9441054" y="5224267"/>
              <a:ext cx="365760" cy="365760"/>
            </a:xfrm>
            <a:custGeom>
              <a:avLst/>
              <a:gdLst>
                <a:gd name="T0" fmla="*/ 88 w 149"/>
                <a:gd name="T1" fmla="*/ 67 h 149"/>
                <a:gd name="T2" fmla="*/ 65 w 149"/>
                <a:gd name="T3" fmla="*/ 46 h 149"/>
                <a:gd name="T4" fmla="*/ 84 w 149"/>
                <a:gd name="T5" fmla="*/ 46 h 149"/>
                <a:gd name="T6" fmla="*/ 115 w 149"/>
                <a:gd name="T7" fmla="*/ 75 h 149"/>
                <a:gd name="T8" fmla="*/ 84 w 149"/>
                <a:gd name="T9" fmla="*/ 104 h 149"/>
                <a:gd name="T10" fmla="*/ 65 w 149"/>
                <a:gd name="T11" fmla="*/ 104 h 149"/>
                <a:gd name="T12" fmla="*/ 88 w 149"/>
                <a:gd name="T13" fmla="*/ 82 h 149"/>
                <a:gd name="T14" fmla="*/ 36 w 149"/>
                <a:gd name="T15" fmla="*/ 82 h 149"/>
                <a:gd name="T16" fmla="*/ 36 w 149"/>
                <a:gd name="T17" fmla="*/ 67 h 149"/>
                <a:gd name="T18" fmla="*/ 88 w 149"/>
                <a:gd name="T19" fmla="*/ 67 h 149"/>
                <a:gd name="T20" fmla="*/ 74 w 149"/>
                <a:gd name="T21" fmla="*/ 9 h 149"/>
                <a:gd name="T22" fmla="*/ 140 w 149"/>
                <a:gd name="T23" fmla="*/ 75 h 149"/>
                <a:gd name="T24" fmla="*/ 74 w 149"/>
                <a:gd name="T25" fmla="*/ 140 h 149"/>
                <a:gd name="T26" fmla="*/ 9 w 149"/>
                <a:gd name="T27" fmla="*/ 75 h 149"/>
                <a:gd name="T28" fmla="*/ 74 w 149"/>
                <a:gd name="T29" fmla="*/ 9 h 149"/>
                <a:gd name="T30" fmla="*/ 74 w 149"/>
                <a:gd name="T31" fmla="*/ 0 h 149"/>
                <a:gd name="T32" fmla="*/ 0 w 149"/>
                <a:gd name="T33" fmla="*/ 75 h 149"/>
                <a:gd name="T34" fmla="*/ 74 w 149"/>
                <a:gd name="T35" fmla="*/ 149 h 149"/>
                <a:gd name="T36" fmla="*/ 149 w 149"/>
                <a:gd name="T37" fmla="*/ 75 h 149"/>
                <a:gd name="T38" fmla="*/ 74 w 149"/>
                <a:gd name="T3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9" h="149">
                  <a:moveTo>
                    <a:pt x="88" y="67"/>
                  </a:moveTo>
                  <a:cubicBezTo>
                    <a:pt x="65" y="46"/>
                    <a:pt x="65" y="46"/>
                    <a:pt x="65" y="46"/>
                  </a:cubicBezTo>
                  <a:cubicBezTo>
                    <a:pt x="84" y="46"/>
                    <a:pt x="84" y="46"/>
                    <a:pt x="84" y="46"/>
                  </a:cubicBezTo>
                  <a:cubicBezTo>
                    <a:pt x="115" y="75"/>
                    <a:pt x="115" y="75"/>
                    <a:pt x="115" y="75"/>
                  </a:cubicBezTo>
                  <a:cubicBezTo>
                    <a:pt x="84" y="104"/>
                    <a:pt x="84" y="104"/>
                    <a:pt x="84" y="104"/>
                  </a:cubicBezTo>
                  <a:cubicBezTo>
                    <a:pt x="65" y="104"/>
                    <a:pt x="65" y="104"/>
                    <a:pt x="65" y="104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6" y="67"/>
                    <a:pt x="36" y="67"/>
                    <a:pt x="36" y="67"/>
                  </a:cubicBezTo>
                  <a:lnTo>
                    <a:pt x="88" y="67"/>
                  </a:lnTo>
                  <a:close/>
                  <a:moveTo>
                    <a:pt x="74" y="9"/>
                  </a:moveTo>
                  <a:cubicBezTo>
                    <a:pt x="110" y="9"/>
                    <a:pt x="140" y="39"/>
                    <a:pt x="140" y="75"/>
                  </a:cubicBezTo>
                  <a:cubicBezTo>
                    <a:pt x="140" y="111"/>
                    <a:pt x="110" y="140"/>
                    <a:pt x="74" y="140"/>
                  </a:cubicBezTo>
                  <a:cubicBezTo>
                    <a:pt x="38" y="140"/>
                    <a:pt x="9" y="111"/>
                    <a:pt x="9" y="75"/>
                  </a:cubicBezTo>
                  <a:cubicBezTo>
                    <a:pt x="9" y="39"/>
                    <a:pt x="38" y="9"/>
                    <a:pt x="74" y="9"/>
                  </a:cubicBezTo>
                  <a:moveTo>
                    <a:pt x="74" y="0"/>
                  </a:moveTo>
                  <a:cubicBezTo>
                    <a:pt x="33" y="0"/>
                    <a:pt x="0" y="33"/>
                    <a:pt x="0" y="75"/>
                  </a:cubicBezTo>
                  <a:cubicBezTo>
                    <a:pt x="0" y="116"/>
                    <a:pt x="33" y="149"/>
                    <a:pt x="74" y="149"/>
                  </a:cubicBezTo>
                  <a:cubicBezTo>
                    <a:pt x="116" y="149"/>
                    <a:pt x="149" y="116"/>
                    <a:pt x="149" y="75"/>
                  </a:cubicBezTo>
                  <a:cubicBezTo>
                    <a:pt x="149" y="33"/>
                    <a:pt x="116" y="0"/>
                    <a:pt x="74" y="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8" tIns="34293" rIns="68588" bIns="34293" numCol="1" anchor="t" anchorCtr="0" compatLnSpc="1">
              <a:prstTxWarp prst="textNoShape">
                <a:avLst/>
              </a:prstTxWarp>
            </a:bodyPr>
            <a:lstStyle/>
            <a:p>
              <a:endParaRPr lang="en-US" sz="1324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047" name="Group 1046"/>
          <p:cNvGrpSpPr/>
          <p:nvPr/>
        </p:nvGrpSpPr>
        <p:grpSpPr>
          <a:xfrm>
            <a:off x="926901" y="3778150"/>
            <a:ext cx="9351644" cy="3143250"/>
            <a:chOff x="1396233" y="438272"/>
            <a:chExt cx="9351644" cy="3143250"/>
          </a:xfrm>
        </p:grpSpPr>
        <p:sp>
          <p:nvSpPr>
            <p:cNvPr id="1048" name="Rectangle 1047"/>
            <p:cNvSpPr/>
            <p:nvPr/>
          </p:nvSpPr>
          <p:spPr>
            <a:xfrm>
              <a:off x="1396233" y="438272"/>
              <a:ext cx="9334503" cy="3143250"/>
            </a:xfrm>
            <a:prstGeom prst="rect">
              <a:avLst/>
            </a:prstGeom>
            <a:solidFill>
              <a:srgbClr val="FFA3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9" name="Rectangle 1048"/>
            <p:cNvSpPr/>
            <p:nvPr/>
          </p:nvSpPr>
          <p:spPr>
            <a:xfrm>
              <a:off x="5196461" y="438272"/>
              <a:ext cx="5551416" cy="314325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0" name="TextBox 1049"/>
            <p:cNvSpPr txBox="1"/>
            <p:nvPr/>
          </p:nvSpPr>
          <p:spPr>
            <a:xfrm>
              <a:off x="5508535" y="641126"/>
              <a:ext cx="4545429" cy="27392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600" dirty="0" smtClean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Map your way to success with Marketing SureStep</a:t>
              </a:r>
            </a:p>
            <a:p>
              <a:endParaRPr lang="en-US" sz="1600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endParaRPr 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r>
                <a:rPr lang="en-US" sz="1400" dirty="0" smtClean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Get our step-by-step guidance to help drive your marketing in the right direction.  </a:t>
              </a:r>
              <a:endPara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1051" name="Group 1050"/>
            <p:cNvGrpSpPr/>
            <p:nvPr/>
          </p:nvGrpSpPr>
          <p:grpSpPr>
            <a:xfrm>
              <a:off x="1558618" y="565335"/>
              <a:ext cx="3565192" cy="2889124"/>
              <a:chOff x="1552261" y="558253"/>
              <a:chExt cx="3565192" cy="2889124"/>
            </a:xfrm>
          </p:grpSpPr>
          <p:sp>
            <p:nvSpPr>
              <p:cNvPr id="1053" name="Freeform 279"/>
              <p:cNvSpPr>
                <a:spLocks/>
              </p:cNvSpPr>
              <p:nvPr/>
            </p:nvSpPr>
            <p:spPr bwMode="auto">
              <a:xfrm>
                <a:off x="4283740" y="1042553"/>
                <a:ext cx="833713" cy="502877"/>
              </a:xfrm>
              <a:custGeom>
                <a:avLst/>
                <a:gdLst>
                  <a:gd name="T0" fmla="*/ 39 w 401"/>
                  <a:gd name="T1" fmla="*/ 120 h 241"/>
                  <a:gd name="T2" fmla="*/ 105 w 401"/>
                  <a:gd name="T3" fmla="*/ 68 h 241"/>
                  <a:gd name="T4" fmla="*/ 106 w 401"/>
                  <a:gd name="T5" fmla="*/ 68 h 241"/>
                  <a:gd name="T6" fmla="*/ 106 w 401"/>
                  <a:gd name="T7" fmla="*/ 68 h 241"/>
                  <a:gd name="T8" fmla="*/ 174 w 401"/>
                  <a:gd name="T9" fmla="*/ 0 h 241"/>
                  <a:gd name="T10" fmla="*/ 234 w 401"/>
                  <a:gd name="T11" fmla="*/ 36 h 241"/>
                  <a:gd name="T12" fmla="*/ 256 w 401"/>
                  <a:gd name="T13" fmla="*/ 32 h 241"/>
                  <a:gd name="T14" fmla="*/ 319 w 401"/>
                  <a:gd name="T15" fmla="*/ 96 h 241"/>
                  <a:gd name="T16" fmla="*/ 319 w 401"/>
                  <a:gd name="T17" fmla="*/ 96 h 241"/>
                  <a:gd name="T18" fmla="*/ 328 w 401"/>
                  <a:gd name="T19" fmla="*/ 96 h 241"/>
                  <a:gd name="T20" fmla="*/ 401 w 401"/>
                  <a:gd name="T21" fmla="*/ 168 h 241"/>
                  <a:gd name="T22" fmla="*/ 328 w 401"/>
                  <a:gd name="T23" fmla="*/ 241 h 241"/>
                  <a:gd name="T24" fmla="*/ 62 w 401"/>
                  <a:gd name="T25" fmla="*/ 241 h 241"/>
                  <a:gd name="T26" fmla="*/ 0 w 401"/>
                  <a:gd name="T27" fmla="*/ 178 h 241"/>
                  <a:gd name="T28" fmla="*/ 39 w 401"/>
                  <a:gd name="T29" fmla="*/ 12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01" h="241">
                    <a:moveTo>
                      <a:pt x="39" y="120"/>
                    </a:moveTo>
                    <a:cubicBezTo>
                      <a:pt x="47" y="90"/>
                      <a:pt x="73" y="68"/>
                      <a:pt x="105" y="68"/>
                    </a:cubicBezTo>
                    <a:cubicBezTo>
                      <a:pt x="106" y="68"/>
                      <a:pt x="106" y="68"/>
                      <a:pt x="106" y="68"/>
                    </a:cubicBezTo>
                    <a:cubicBezTo>
                      <a:pt x="106" y="68"/>
                      <a:pt x="106" y="68"/>
                      <a:pt x="106" y="68"/>
                    </a:cubicBezTo>
                    <a:cubicBezTo>
                      <a:pt x="106" y="30"/>
                      <a:pt x="136" y="0"/>
                      <a:pt x="174" y="0"/>
                    </a:cubicBezTo>
                    <a:cubicBezTo>
                      <a:pt x="200" y="0"/>
                      <a:pt x="223" y="14"/>
                      <a:pt x="234" y="36"/>
                    </a:cubicBezTo>
                    <a:cubicBezTo>
                      <a:pt x="241" y="33"/>
                      <a:pt x="248" y="32"/>
                      <a:pt x="256" y="32"/>
                    </a:cubicBezTo>
                    <a:cubicBezTo>
                      <a:pt x="291" y="32"/>
                      <a:pt x="319" y="61"/>
                      <a:pt x="319" y="96"/>
                    </a:cubicBezTo>
                    <a:cubicBezTo>
                      <a:pt x="319" y="96"/>
                      <a:pt x="319" y="96"/>
                      <a:pt x="319" y="96"/>
                    </a:cubicBezTo>
                    <a:cubicBezTo>
                      <a:pt x="322" y="96"/>
                      <a:pt x="325" y="96"/>
                      <a:pt x="328" y="96"/>
                    </a:cubicBezTo>
                    <a:cubicBezTo>
                      <a:pt x="368" y="96"/>
                      <a:pt x="401" y="128"/>
                      <a:pt x="401" y="168"/>
                    </a:cubicBezTo>
                    <a:cubicBezTo>
                      <a:pt x="401" y="208"/>
                      <a:pt x="368" y="241"/>
                      <a:pt x="328" y="241"/>
                    </a:cubicBezTo>
                    <a:cubicBezTo>
                      <a:pt x="62" y="241"/>
                      <a:pt x="62" y="241"/>
                      <a:pt x="62" y="241"/>
                    </a:cubicBezTo>
                    <a:cubicBezTo>
                      <a:pt x="28" y="241"/>
                      <a:pt x="0" y="213"/>
                      <a:pt x="0" y="178"/>
                    </a:cubicBezTo>
                    <a:cubicBezTo>
                      <a:pt x="0" y="152"/>
                      <a:pt x="16" y="129"/>
                      <a:pt x="39" y="120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4" name="Freeform 269"/>
              <p:cNvSpPr>
                <a:spLocks/>
              </p:cNvSpPr>
              <p:nvPr/>
            </p:nvSpPr>
            <p:spPr bwMode="auto">
              <a:xfrm>
                <a:off x="2483288" y="558253"/>
                <a:ext cx="2317957" cy="1255794"/>
              </a:xfrm>
              <a:custGeom>
                <a:avLst/>
                <a:gdLst>
                  <a:gd name="T0" fmla="*/ 523 w 580"/>
                  <a:gd name="T1" fmla="*/ 173 h 349"/>
                  <a:gd name="T2" fmla="*/ 427 w 580"/>
                  <a:gd name="T3" fmla="*/ 98 h 349"/>
                  <a:gd name="T4" fmla="*/ 426 w 580"/>
                  <a:gd name="T5" fmla="*/ 98 h 349"/>
                  <a:gd name="T6" fmla="*/ 426 w 580"/>
                  <a:gd name="T7" fmla="*/ 98 h 349"/>
                  <a:gd name="T8" fmla="*/ 328 w 580"/>
                  <a:gd name="T9" fmla="*/ 0 h 349"/>
                  <a:gd name="T10" fmla="*/ 241 w 580"/>
                  <a:gd name="T11" fmla="*/ 52 h 349"/>
                  <a:gd name="T12" fmla="*/ 210 w 580"/>
                  <a:gd name="T13" fmla="*/ 46 h 349"/>
                  <a:gd name="T14" fmla="*/ 117 w 580"/>
                  <a:gd name="T15" fmla="*/ 139 h 349"/>
                  <a:gd name="T16" fmla="*/ 117 w 580"/>
                  <a:gd name="T17" fmla="*/ 140 h 349"/>
                  <a:gd name="T18" fmla="*/ 105 w 580"/>
                  <a:gd name="T19" fmla="*/ 139 h 349"/>
                  <a:gd name="T20" fmla="*/ 0 w 580"/>
                  <a:gd name="T21" fmla="*/ 244 h 349"/>
                  <a:gd name="T22" fmla="*/ 105 w 580"/>
                  <a:gd name="T23" fmla="*/ 349 h 349"/>
                  <a:gd name="T24" fmla="*/ 489 w 580"/>
                  <a:gd name="T25" fmla="*/ 349 h 349"/>
                  <a:gd name="T26" fmla="*/ 580 w 580"/>
                  <a:gd name="T27" fmla="*/ 258 h 349"/>
                  <a:gd name="T28" fmla="*/ 523 w 580"/>
                  <a:gd name="T29" fmla="*/ 173 h 3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80" h="349">
                    <a:moveTo>
                      <a:pt x="523" y="173"/>
                    </a:moveTo>
                    <a:cubicBezTo>
                      <a:pt x="512" y="130"/>
                      <a:pt x="473" y="98"/>
                      <a:pt x="427" y="98"/>
                    </a:cubicBezTo>
                    <a:cubicBezTo>
                      <a:pt x="426" y="98"/>
                      <a:pt x="426" y="98"/>
                      <a:pt x="426" y="98"/>
                    </a:cubicBezTo>
                    <a:cubicBezTo>
                      <a:pt x="426" y="98"/>
                      <a:pt x="426" y="98"/>
                      <a:pt x="426" y="98"/>
                    </a:cubicBezTo>
                    <a:cubicBezTo>
                      <a:pt x="426" y="44"/>
                      <a:pt x="382" y="0"/>
                      <a:pt x="328" y="0"/>
                    </a:cubicBezTo>
                    <a:cubicBezTo>
                      <a:pt x="290" y="0"/>
                      <a:pt x="258" y="21"/>
                      <a:pt x="241" y="52"/>
                    </a:cubicBezTo>
                    <a:cubicBezTo>
                      <a:pt x="231" y="48"/>
                      <a:pt x="221" y="46"/>
                      <a:pt x="210" y="46"/>
                    </a:cubicBezTo>
                    <a:cubicBezTo>
                      <a:pt x="159" y="46"/>
                      <a:pt x="117" y="88"/>
                      <a:pt x="117" y="139"/>
                    </a:cubicBezTo>
                    <a:cubicBezTo>
                      <a:pt x="117" y="140"/>
                      <a:pt x="117" y="140"/>
                      <a:pt x="117" y="140"/>
                    </a:cubicBezTo>
                    <a:cubicBezTo>
                      <a:pt x="113" y="139"/>
                      <a:pt x="109" y="139"/>
                      <a:pt x="105" y="139"/>
                    </a:cubicBezTo>
                    <a:cubicBezTo>
                      <a:pt x="47" y="139"/>
                      <a:pt x="0" y="186"/>
                      <a:pt x="0" y="244"/>
                    </a:cubicBezTo>
                    <a:cubicBezTo>
                      <a:pt x="0" y="302"/>
                      <a:pt x="47" y="349"/>
                      <a:pt x="105" y="349"/>
                    </a:cubicBezTo>
                    <a:cubicBezTo>
                      <a:pt x="489" y="349"/>
                      <a:pt x="489" y="349"/>
                      <a:pt x="489" y="349"/>
                    </a:cubicBezTo>
                    <a:cubicBezTo>
                      <a:pt x="540" y="349"/>
                      <a:pt x="580" y="308"/>
                      <a:pt x="580" y="258"/>
                    </a:cubicBezTo>
                    <a:cubicBezTo>
                      <a:pt x="580" y="219"/>
                      <a:pt x="557" y="187"/>
                      <a:pt x="523" y="173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1055" name="Group 1054"/>
              <p:cNvGrpSpPr/>
              <p:nvPr/>
            </p:nvGrpSpPr>
            <p:grpSpPr>
              <a:xfrm>
                <a:off x="1552261" y="1303462"/>
                <a:ext cx="3114523" cy="2143915"/>
                <a:chOff x="2577801" y="862925"/>
                <a:chExt cx="4707404" cy="3240392"/>
              </a:xfrm>
            </p:grpSpPr>
            <p:grpSp>
              <p:nvGrpSpPr>
                <p:cNvPr id="1057" name="Group 1056"/>
                <p:cNvGrpSpPr/>
                <p:nvPr/>
              </p:nvGrpSpPr>
              <p:grpSpPr>
                <a:xfrm>
                  <a:off x="3247177" y="862925"/>
                  <a:ext cx="4038028" cy="3240392"/>
                  <a:chOff x="7279828" y="2020379"/>
                  <a:chExt cx="2621979" cy="2104057"/>
                </a:xfrm>
              </p:grpSpPr>
              <p:sp>
                <p:nvSpPr>
                  <p:cNvPr id="1134" name="Freeform 1133"/>
                  <p:cNvSpPr>
                    <a:spLocks/>
                  </p:cNvSpPr>
                  <p:nvPr/>
                </p:nvSpPr>
                <p:spPr bwMode="auto">
                  <a:xfrm>
                    <a:off x="7279828" y="2020379"/>
                    <a:ext cx="653876" cy="2104057"/>
                  </a:xfrm>
                  <a:custGeom>
                    <a:avLst/>
                    <a:gdLst>
                      <a:gd name="T0" fmla="*/ 0 w 202"/>
                      <a:gd name="T1" fmla="*/ 0 h 650"/>
                      <a:gd name="T2" fmla="*/ 0 w 202"/>
                      <a:gd name="T3" fmla="*/ 576 h 650"/>
                      <a:gd name="T4" fmla="*/ 202 w 202"/>
                      <a:gd name="T5" fmla="*/ 650 h 650"/>
                      <a:gd name="T6" fmla="*/ 202 w 202"/>
                      <a:gd name="T7" fmla="*/ 74 h 650"/>
                      <a:gd name="T8" fmla="*/ 0 w 202"/>
                      <a:gd name="T9" fmla="*/ 0 h 65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02" h="650">
                        <a:moveTo>
                          <a:pt x="0" y="0"/>
                        </a:moveTo>
                        <a:lnTo>
                          <a:pt x="0" y="576"/>
                        </a:lnTo>
                        <a:lnTo>
                          <a:pt x="202" y="650"/>
                        </a:lnTo>
                        <a:lnTo>
                          <a:pt x="202" y="74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chemeClr val="tx1">
                      <a:lumMod val="75000"/>
                      <a:lumOff val="2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35" name="Freeform 1134"/>
                  <p:cNvSpPr>
                    <a:spLocks/>
                  </p:cNvSpPr>
                  <p:nvPr/>
                </p:nvSpPr>
                <p:spPr bwMode="auto">
                  <a:xfrm>
                    <a:off x="8590818" y="2020379"/>
                    <a:ext cx="653876" cy="2104057"/>
                  </a:xfrm>
                  <a:custGeom>
                    <a:avLst/>
                    <a:gdLst>
                      <a:gd name="T0" fmla="*/ 0 w 202"/>
                      <a:gd name="T1" fmla="*/ 0 h 650"/>
                      <a:gd name="T2" fmla="*/ 0 w 202"/>
                      <a:gd name="T3" fmla="*/ 576 h 650"/>
                      <a:gd name="T4" fmla="*/ 202 w 202"/>
                      <a:gd name="T5" fmla="*/ 650 h 650"/>
                      <a:gd name="T6" fmla="*/ 202 w 202"/>
                      <a:gd name="T7" fmla="*/ 74 h 650"/>
                      <a:gd name="T8" fmla="*/ 0 w 202"/>
                      <a:gd name="T9" fmla="*/ 0 h 65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02" h="650">
                        <a:moveTo>
                          <a:pt x="0" y="0"/>
                        </a:moveTo>
                        <a:lnTo>
                          <a:pt x="0" y="576"/>
                        </a:lnTo>
                        <a:lnTo>
                          <a:pt x="202" y="650"/>
                        </a:lnTo>
                        <a:lnTo>
                          <a:pt x="202" y="74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chemeClr val="tx1">
                      <a:lumMod val="75000"/>
                      <a:lumOff val="2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36" name="Freeform 1135"/>
                  <p:cNvSpPr>
                    <a:spLocks/>
                  </p:cNvSpPr>
                  <p:nvPr/>
                </p:nvSpPr>
                <p:spPr bwMode="auto">
                  <a:xfrm>
                    <a:off x="7933704" y="2020379"/>
                    <a:ext cx="657113" cy="2104057"/>
                  </a:xfrm>
                  <a:custGeom>
                    <a:avLst/>
                    <a:gdLst>
                      <a:gd name="T0" fmla="*/ 203 w 203"/>
                      <a:gd name="T1" fmla="*/ 0 h 650"/>
                      <a:gd name="T2" fmla="*/ 203 w 203"/>
                      <a:gd name="T3" fmla="*/ 576 h 650"/>
                      <a:gd name="T4" fmla="*/ 0 w 203"/>
                      <a:gd name="T5" fmla="*/ 650 h 650"/>
                      <a:gd name="T6" fmla="*/ 0 w 203"/>
                      <a:gd name="T7" fmla="*/ 74 h 650"/>
                      <a:gd name="T8" fmla="*/ 203 w 203"/>
                      <a:gd name="T9" fmla="*/ 0 h 65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03" h="650">
                        <a:moveTo>
                          <a:pt x="203" y="0"/>
                        </a:moveTo>
                        <a:lnTo>
                          <a:pt x="203" y="576"/>
                        </a:lnTo>
                        <a:lnTo>
                          <a:pt x="0" y="650"/>
                        </a:lnTo>
                        <a:lnTo>
                          <a:pt x="0" y="74"/>
                        </a:lnTo>
                        <a:lnTo>
                          <a:pt x="203" y="0"/>
                        </a:lnTo>
                        <a:close/>
                      </a:path>
                    </a:pathLst>
                  </a:custGeom>
                  <a:solidFill>
                    <a:schemeClr val="tx1">
                      <a:lumMod val="75000"/>
                      <a:lumOff val="2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37" name="Freeform 1136"/>
                  <p:cNvSpPr>
                    <a:spLocks/>
                  </p:cNvSpPr>
                  <p:nvPr/>
                </p:nvSpPr>
                <p:spPr bwMode="auto">
                  <a:xfrm>
                    <a:off x="9244694" y="2020379"/>
                    <a:ext cx="657113" cy="2104057"/>
                  </a:xfrm>
                  <a:custGeom>
                    <a:avLst/>
                    <a:gdLst>
                      <a:gd name="T0" fmla="*/ 203 w 203"/>
                      <a:gd name="T1" fmla="*/ 0 h 650"/>
                      <a:gd name="T2" fmla="*/ 203 w 203"/>
                      <a:gd name="T3" fmla="*/ 576 h 650"/>
                      <a:gd name="T4" fmla="*/ 0 w 203"/>
                      <a:gd name="T5" fmla="*/ 650 h 650"/>
                      <a:gd name="T6" fmla="*/ 0 w 203"/>
                      <a:gd name="T7" fmla="*/ 74 h 650"/>
                      <a:gd name="T8" fmla="*/ 203 w 203"/>
                      <a:gd name="T9" fmla="*/ 0 h 65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03" h="650">
                        <a:moveTo>
                          <a:pt x="203" y="0"/>
                        </a:moveTo>
                        <a:lnTo>
                          <a:pt x="203" y="576"/>
                        </a:lnTo>
                        <a:lnTo>
                          <a:pt x="0" y="650"/>
                        </a:lnTo>
                        <a:lnTo>
                          <a:pt x="0" y="74"/>
                        </a:lnTo>
                        <a:lnTo>
                          <a:pt x="203" y="0"/>
                        </a:lnTo>
                        <a:close/>
                      </a:path>
                    </a:pathLst>
                  </a:custGeom>
                  <a:solidFill>
                    <a:schemeClr val="tx1">
                      <a:lumMod val="75000"/>
                      <a:lumOff val="2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38" name="Freeform 1137"/>
                  <p:cNvSpPr>
                    <a:spLocks/>
                  </p:cNvSpPr>
                  <p:nvPr/>
                </p:nvSpPr>
                <p:spPr bwMode="auto">
                  <a:xfrm>
                    <a:off x="7351042" y="2127200"/>
                    <a:ext cx="582662" cy="1922785"/>
                  </a:xfrm>
                  <a:custGeom>
                    <a:avLst/>
                    <a:gdLst>
                      <a:gd name="T0" fmla="*/ 180 w 180"/>
                      <a:gd name="T1" fmla="*/ 594 h 594"/>
                      <a:gd name="T2" fmla="*/ 180 w 180"/>
                      <a:gd name="T3" fmla="*/ 66 h 594"/>
                      <a:gd name="T4" fmla="*/ 0 w 180"/>
                      <a:gd name="T5" fmla="*/ 0 h 594"/>
                      <a:gd name="T6" fmla="*/ 0 w 180"/>
                      <a:gd name="T7" fmla="*/ 528 h 594"/>
                      <a:gd name="T8" fmla="*/ 180 w 180"/>
                      <a:gd name="T9" fmla="*/ 594 h 59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80" h="594">
                        <a:moveTo>
                          <a:pt x="180" y="594"/>
                        </a:moveTo>
                        <a:lnTo>
                          <a:pt x="180" y="66"/>
                        </a:lnTo>
                        <a:lnTo>
                          <a:pt x="0" y="0"/>
                        </a:lnTo>
                        <a:lnTo>
                          <a:pt x="0" y="528"/>
                        </a:lnTo>
                        <a:lnTo>
                          <a:pt x="180" y="594"/>
                        </a:lnTo>
                        <a:close/>
                      </a:path>
                    </a:pathLst>
                  </a:custGeom>
                  <a:solidFill>
                    <a:srgbClr val="FF8C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39" name="Freeform 1138"/>
                  <p:cNvSpPr>
                    <a:spLocks/>
                  </p:cNvSpPr>
                  <p:nvPr/>
                </p:nvSpPr>
                <p:spPr bwMode="auto">
                  <a:xfrm>
                    <a:off x="9247931" y="2127200"/>
                    <a:ext cx="582662" cy="1922785"/>
                  </a:xfrm>
                  <a:custGeom>
                    <a:avLst/>
                    <a:gdLst>
                      <a:gd name="T0" fmla="*/ 0 w 180"/>
                      <a:gd name="T1" fmla="*/ 594 h 594"/>
                      <a:gd name="T2" fmla="*/ 0 w 180"/>
                      <a:gd name="T3" fmla="*/ 66 h 594"/>
                      <a:gd name="T4" fmla="*/ 180 w 180"/>
                      <a:gd name="T5" fmla="*/ 0 h 594"/>
                      <a:gd name="T6" fmla="*/ 180 w 180"/>
                      <a:gd name="T7" fmla="*/ 528 h 594"/>
                      <a:gd name="T8" fmla="*/ 0 w 180"/>
                      <a:gd name="T9" fmla="*/ 594 h 59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80" h="594">
                        <a:moveTo>
                          <a:pt x="0" y="594"/>
                        </a:moveTo>
                        <a:lnTo>
                          <a:pt x="0" y="66"/>
                        </a:lnTo>
                        <a:lnTo>
                          <a:pt x="180" y="0"/>
                        </a:lnTo>
                        <a:lnTo>
                          <a:pt x="180" y="528"/>
                        </a:lnTo>
                        <a:lnTo>
                          <a:pt x="0" y="594"/>
                        </a:lnTo>
                        <a:close/>
                      </a:path>
                    </a:pathLst>
                  </a:custGeom>
                  <a:solidFill>
                    <a:srgbClr val="AC2F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40" name="Freeform 1139"/>
                  <p:cNvSpPr>
                    <a:spLocks/>
                  </p:cNvSpPr>
                  <p:nvPr/>
                </p:nvSpPr>
                <p:spPr bwMode="auto">
                  <a:xfrm>
                    <a:off x="7933704" y="2101304"/>
                    <a:ext cx="657113" cy="1948681"/>
                  </a:xfrm>
                  <a:custGeom>
                    <a:avLst/>
                    <a:gdLst>
                      <a:gd name="T0" fmla="*/ 0 w 203"/>
                      <a:gd name="T1" fmla="*/ 602 h 602"/>
                      <a:gd name="T2" fmla="*/ 0 w 203"/>
                      <a:gd name="T3" fmla="*/ 74 h 602"/>
                      <a:gd name="T4" fmla="*/ 203 w 203"/>
                      <a:gd name="T5" fmla="*/ 0 h 602"/>
                      <a:gd name="T6" fmla="*/ 203 w 203"/>
                      <a:gd name="T7" fmla="*/ 529 h 602"/>
                      <a:gd name="T8" fmla="*/ 0 w 203"/>
                      <a:gd name="T9" fmla="*/ 602 h 60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03" h="602">
                        <a:moveTo>
                          <a:pt x="0" y="602"/>
                        </a:moveTo>
                        <a:lnTo>
                          <a:pt x="0" y="74"/>
                        </a:lnTo>
                        <a:lnTo>
                          <a:pt x="203" y="0"/>
                        </a:lnTo>
                        <a:lnTo>
                          <a:pt x="203" y="529"/>
                        </a:lnTo>
                        <a:lnTo>
                          <a:pt x="0" y="602"/>
                        </a:lnTo>
                        <a:close/>
                      </a:path>
                    </a:pathLst>
                  </a:custGeom>
                  <a:solidFill>
                    <a:srgbClr val="AC2F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41" name="Freeform 1140"/>
                  <p:cNvSpPr>
                    <a:spLocks/>
                  </p:cNvSpPr>
                  <p:nvPr/>
                </p:nvSpPr>
                <p:spPr bwMode="auto">
                  <a:xfrm>
                    <a:off x="8590818" y="2101304"/>
                    <a:ext cx="657113" cy="1948681"/>
                  </a:xfrm>
                  <a:custGeom>
                    <a:avLst/>
                    <a:gdLst>
                      <a:gd name="T0" fmla="*/ 203 w 203"/>
                      <a:gd name="T1" fmla="*/ 602 h 602"/>
                      <a:gd name="T2" fmla="*/ 203 w 203"/>
                      <a:gd name="T3" fmla="*/ 74 h 602"/>
                      <a:gd name="T4" fmla="*/ 0 w 203"/>
                      <a:gd name="T5" fmla="*/ 0 h 602"/>
                      <a:gd name="T6" fmla="*/ 0 w 203"/>
                      <a:gd name="T7" fmla="*/ 529 h 602"/>
                      <a:gd name="T8" fmla="*/ 203 w 203"/>
                      <a:gd name="T9" fmla="*/ 602 h 60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03" h="602">
                        <a:moveTo>
                          <a:pt x="203" y="602"/>
                        </a:moveTo>
                        <a:lnTo>
                          <a:pt x="203" y="74"/>
                        </a:lnTo>
                        <a:lnTo>
                          <a:pt x="0" y="0"/>
                        </a:lnTo>
                        <a:lnTo>
                          <a:pt x="0" y="529"/>
                        </a:lnTo>
                        <a:lnTo>
                          <a:pt x="203" y="602"/>
                        </a:lnTo>
                        <a:close/>
                      </a:path>
                    </a:pathLst>
                  </a:custGeom>
                  <a:solidFill>
                    <a:srgbClr val="FF8C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42" name="Freeform 1141"/>
                  <p:cNvSpPr>
                    <a:spLocks/>
                  </p:cNvSpPr>
                  <p:nvPr/>
                </p:nvSpPr>
                <p:spPr bwMode="auto">
                  <a:xfrm>
                    <a:off x="8590818" y="2101304"/>
                    <a:ext cx="262198" cy="398152"/>
                  </a:xfrm>
                  <a:custGeom>
                    <a:avLst/>
                    <a:gdLst>
                      <a:gd name="T0" fmla="*/ 81 w 81"/>
                      <a:gd name="T1" fmla="*/ 30 h 123"/>
                      <a:gd name="T2" fmla="*/ 0 w 81"/>
                      <a:gd name="T3" fmla="*/ 0 h 123"/>
                      <a:gd name="T4" fmla="*/ 0 w 81"/>
                      <a:gd name="T5" fmla="*/ 123 h 123"/>
                      <a:gd name="T6" fmla="*/ 81 w 81"/>
                      <a:gd name="T7" fmla="*/ 30 h 12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81" h="123">
                        <a:moveTo>
                          <a:pt x="81" y="30"/>
                        </a:moveTo>
                        <a:lnTo>
                          <a:pt x="0" y="0"/>
                        </a:lnTo>
                        <a:lnTo>
                          <a:pt x="0" y="123"/>
                        </a:lnTo>
                        <a:lnTo>
                          <a:pt x="81" y="30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43" name="Freeform 1142"/>
                  <p:cNvSpPr>
                    <a:spLocks/>
                  </p:cNvSpPr>
                  <p:nvPr/>
                </p:nvSpPr>
                <p:spPr bwMode="auto">
                  <a:xfrm>
                    <a:off x="7933704" y="2101304"/>
                    <a:ext cx="657113" cy="1103821"/>
                  </a:xfrm>
                  <a:custGeom>
                    <a:avLst/>
                    <a:gdLst>
                      <a:gd name="T0" fmla="*/ 0 w 203"/>
                      <a:gd name="T1" fmla="*/ 74 h 341"/>
                      <a:gd name="T2" fmla="*/ 0 w 203"/>
                      <a:gd name="T3" fmla="*/ 341 h 341"/>
                      <a:gd name="T4" fmla="*/ 64 w 203"/>
                      <a:gd name="T5" fmla="*/ 334 h 341"/>
                      <a:gd name="T6" fmla="*/ 102 w 203"/>
                      <a:gd name="T7" fmla="*/ 334 h 341"/>
                      <a:gd name="T8" fmla="*/ 177 w 203"/>
                      <a:gd name="T9" fmla="*/ 271 h 341"/>
                      <a:gd name="T10" fmla="*/ 198 w 203"/>
                      <a:gd name="T11" fmla="*/ 129 h 341"/>
                      <a:gd name="T12" fmla="*/ 203 w 203"/>
                      <a:gd name="T13" fmla="*/ 123 h 341"/>
                      <a:gd name="T14" fmla="*/ 203 w 203"/>
                      <a:gd name="T15" fmla="*/ 0 h 341"/>
                      <a:gd name="T16" fmla="*/ 0 w 203"/>
                      <a:gd name="T17" fmla="*/ 74 h 34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3" h="341">
                        <a:moveTo>
                          <a:pt x="0" y="74"/>
                        </a:moveTo>
                        <a:lnTo>
                          <a:pt x="0" y="341"/>
                        </a:lnTo>
                        <a:lnTo>
                          <a:pt x="64" y="334"/>
                        </a:lnTo>
                        <a:lnTo>
                          <a:pt x="102" y="334"/>
                        </a:lnTo>
                        <a:lnTo>
                          <a:pt x="177" y="271"/>
                        </a:lnTo>
                        <a:lnTo>
                          <a:pt x="198" y="129"/>
                        </a:lnTo>
                        <a:lnTo>
                          <a:pt x="203" y="123"/>
                        </a:lnTo>
                        <a:lnTo>
                          <a:pt x="203" y="0"/>
                        </a:lnTo>
                        <a:lnTo>
                          <a:pt x="0" y="74"/>
                        </a:lnTo>
                        <a:close/>
                      </a:path>
                    </a:pathLst>
                  </a:custGeom>
                  <a:solidFill>
                    <a:schemeClr val="bg1">
                      <a:lumMod val="8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44" name="Freeform 1143"/>
                  <p:cNvSpPr>
                    <a:spLocks/>
                  </p:cNvSpPr>
                  <p:nvPr/>
                </p:nvSpPr>
                <p:spPr bwMode="auto">
                  <a:xfrm>
                    <a:off x="7351042" y="2127200"/>
                    <a:ext cx="582662" cy="1207405"/>
                  </a:xfrm>
                  <a:custGeom>
                    <a:avLst/>
                    <a:gdLst>
                      <a:gd name="T0" fmla="*/ 180 w 180"/>
                      <a:gd name="T1" fmla="*/ 66 h 373"/>
                      <a:gd name="T2" fmla="*/ 0 w 180"/>
                      <a:gd name="T3" fmla="*/ 0 h 373"/>
                      <a:gd name="T4" fmla="*/ 0 w 180"/>
                      <a:gd name="T5" fmla="*/ 246 h 373"/>
                      <a:gd name="T6" fmla="*/ 41 w 180"/>
                      <a:gd name="T7" fmla="*/ 228 h 373"/>
                      <a:gd name="T8" fmla="*/ 72 w 180"/>
                      <a:gd name="T9" fmla="*/ 256 h 373"/>
                      <a:gd name="T10" fmla="*/ 52 w 180"/>
                      <a:gd name="T11" fmla="*/ 297 h 373"/>
                      <a:gd name="T12" fmla="*/ 90 w 180"/>
                      <a:gd name="T13" fmla="*/ 321 h 373"/>
                      <a:gd name="T14" fmla="*/ 152 w 180"/>
                      <a:gd name="T15" fmla="*/ 373 h 373"/>
                      <a:gd name="T16" fmla="*/ 180 w 180"/>
                      <a:gd name="T17" fmla="*/ 333 h 373"/>
                      <a:gd name="T18" fmla="*/ 180 w 180"/>
                      <a:gd name="T19" fmla="*/ 66 h 37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180" h="373">
                        <a:moveTo>
                          <a:pt x="180" y="66"/>
                        </a:moveTo>
                        <a:lnTo>
                          <a:pt x="0" y="0"/>
                        </a:lnTo>
                        <a:lnTo>
                          <a:pt x="0" y="246"/>
                        </a:lnTo>
                        <a:lnTo>
                          <a:pt x="41" y="228"/>
                        </a:lnTo>
                        <a:lnTo>
                          <a:pt x="72" y="256"/>
                        </a:lnTo>
                        <a:lnTo>
                          <a:pt x="52" y="297"/>
                        </a:lnTo>
                        <a:lnTo>
                          <a:pt x="90" y="321"/>
                        </a:lnTo>
                        <a:lnTo>
                          <a:pt x="152" y="373"/>
                        </a:lnTo>
                        <a:lnTo>
                          <a:pt x="180" y="333"/>
                        </a:lnTo>
                        <a:lnTo>
                          <a:pt x="180" y="66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45" name="Freeform 1144"/>
                  <p:cNvSpPr>
                    <a:spLocks/>
                  </p:cNvSpPr>
                  <p:nvPr/>
                </p:nvSpPr>
                <p:spPr bwMode="auto">
                  <a:xfrm>
                    <a:off x="9247931" y="2567434"/>
                    <a:ext cx="582662" cy="1482551"/>
                  </a:xfrm>
                  <a:custGeom>
                    <a:avLst/>
                    <a:gdLst>
                      <a:gd name="T0" fmla="*/ 180 w 180"/>
                      <a:gd name="T1" fmla="*/ 392 h 458"/>
                      <a:gd name="T2" fmla="*/ 180 w 180"/>
                      <a:gd name="T3" fmla="*/ 64 h 458"/>
                      <a:gd name="T4" fmla="*/ 140 w 180"/>
                      <a:gd name="T5" fmla="*/ 50 h 458"/>
                      <a:gd name="T6" fmla="*/ 73 w 180"/>
                      <a:gd name="T7" fmla="*/ 50 h 458"/>
                      <a:gd name="T8" fmla="*/ 0 w 180"/>
                      <a:gd name="T9" fmla="*/ 0 h 458"/>
                      <a:gd name="T10" fmla="*/ 0 w 180"/>
                      <a:gd name="T11" fmla="*/ 458 h 458"/>
                      <a:gd name="T12" fmla="*/ 180 w 180"/>
                      <a:gd name="T13" fmla="*/ 392 h 45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80" h="458">
                        <a:moveTo>
                          <a:pt x="180" y="392"/>
                        </a:moveTo>
                        <a:lnTo>
                          <a:pt x="180" y="64"/>
                        </a:lnTo>
                        <a:lnTo>
                          <a:pt x="140" y="50"/>
                        </a:lnTo>
                        <a:lnTo>
                          <a:pt x="73" y="50"/>
                        </a:lnTo>
                        <a:lnTo>
                          <a:pt x="0" y="0"/>
                        </a:lnTo>
                        <a:lnTo>
                          <a:pt x="0" y="458"/>
                        </a:lnTo>
                        <a:lnTo>
                          <a:pt x="180" y="392"/>
                        </a:lnTo>
                        <a:close/>
                      </a:path>
                    </a:pathLst>
                  </a:custGeom>
                  <a:solidFill>
                    <a:schemeClr val="bg1">
                      <a:lumMod val="8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46" name="Freeform 1145"/>
                  <p:cNvSpPr>
                    <a:spLocks/>
                  </p:cNvSpPr>
                  <p:nvPr/>
                </p:nvSpPr>
                <p:spPr bwMode="auto">
                  <a:xfrm>
                    <a:off x="8788275" y="2567434"/>
                    <a:ext cx="459656" cy="1482551"/>
                  </a:xfrm>
                  <a:custGeom>
                    <a:avLst/>
                    <a:gdLst>
                      <a:gd name="T0" fmla="*/ 53 w 142"/>
                      <a:gd name="T1" fmla="*/ 426 h 458"/>
                      <a:gd name="T2" fmla="*/ 142 w 142"/>
                      <a:gd name="T3" fmla="*/ 458 h 458"/>
                      <a:gd name="T4" fmla="*/ 142 w 142"/>
                      <a:gd name="T5" fmla="*/ 0 h 458"/>
                      <a:gd name="T6" fmla="*/ 56 w 142"/>
                      <a:gd name="T7" fmla="*/ 10 h 458"/>
                      <a:gd name="T8" fmla="*/ 56 w 142"/>
                      <a:gd name="T9" fmla="*/ 50 h 458"/>
                      <a:gd name="T10" fmla="*/ 56 w 142"/>
                      <a:gd name="T11" fmla="*/ 204 h 458"/>
                      <a:gd name="T12" fmla="*/ 0 w 142"/>
                      <a:gd name="T13" fmla="*/ 274 h 458"/>
                      <a:gd name="T14" fmla="*/ 51 w 142"/>
                      <a:gd name="T15" fmla="*/ 327 h 458"/>
                      <a:gd name="T16" fmla="*/ 53 w 142"/>
                      <a:gd name="T17" fmla="*/ 426 h 45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42" h="458">
                        <a:moveTo>
                          <a:pt x="53" y="426"/>
                        </a:moveTo>
                        <a:lnTo>
                          <a:pt x="142" y="458"/>
                        </a:lnTo>
                        <a:lnTo>
                          <a:pt x="142" y="0"/>
                        </a:lnTo>
                        <a:lnTo>
                          <a:pt x="56" y="10"/>
                        </a:lnTo>
                        <a:lnTo>
                          <a:pt x="56" y="50"/>
                        </a:lnTo>
                        <a:lnTo>
                          <a:pt x="56" y="204"/>
                        </a:lnTo>
                        <a:lnTo>
                          <a:pt x="0" y="274"/>
                        </a:lnTo>
                        <a:lnTo>
                          <a:pt x="51" y="327"/>
                        </a:lnTo>
                        <a:lnTo>
                          <a:pt x="53" y="426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47" name="Freeform 1146"/>
                  <p:cNvSpPr>
                    <a:spLocks/>
                  </p:cNvSpPr>
                  <p:nvPr/>
                </p:nvSpPr>
                <p:spPr bwMode="auto">
                  <a:xfrm>
                    <a:off x="7551737" y="2347317"/>
                    <a:ext cx="223354" cy="381967"/>
                  </a:xfrm>
                  <a:custGeom>
                    <a:avLst/>
                    <a:gdLst>
                      <a:gd name="T0" fmla="*/ 69 w 69"/>
                      <a:gd name="T1" fmla="*/ 118 h 118"/>
                      <a:gd name="T2" fmla="*/ 69 w 69"/>
                      <a:gd name="T3" fmla="*/ 25 h 118"/>
                      <a:gd name="T4" fmla="*/ 0 w 69"/>
                      <a:gd name="T5" fmla="*/ 0 h 118"/>
                      <a:gd name="T6" fmla="*/ 0 w 69"/>
                      <a:gd name="T7" fmla="*/ 93 h 118"/>
                      <a:gd name="T8" fmla="*/ 69 w 69"/>
                      <a:gd name="T9" fmla="*/ 118 h 11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69" h="118">
                        <a:moveTo>
                          <a:pt x="69" y="118"/>
                        </a:moveTo>
                        <a:lnTo>
                          <a:pt x="69" y="25"/>
                        </a:lnTo>
                        <a:lnTo>
                          <a:pt x="0" y="0"/>
                        </a:lnTo>
                        <a:lnTo>
                          <a:pt x="0" y="93"/>
                        </a:lnTo>
                        <a:lnTo>
                          <a:pt x="69" y="118"/>
                        </a:lnTo>
                        <a:close/>
                      </a:path>
                    </a:pathLst>
                  </a:custGeom>
                  <a:solidFill>
                    <a:srgbClr val="002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48" name="Freeform 1147"/>
                  <p:cNvSpPr>
                    <a:spLocks/>
                  </p:cNvSpPr>
                  <p:nvPr/>
                </p:nvSpPr>
                <p:spPr bwMode="auto">
                  <a:xfrm>
                    <a:off x="7775091" y="2431479"/>
                    <a:ext cx="32370" cy="388441"/>
                  </a:xfrm>
                  <a:custGeom>
                    <a:avLst/>
                    <a:gdLst>
                      <a:gd name="T0" fmla="*/ 0 w 10"/>
                      <a:gd name="T1" fmla="*/ 0 h 120"/>
                      <a:gd name="T2" fmla="*/ 0 w 10"/>
                      <a:gd name="T3" fmla="*/ 1 h 120"/>
                      <a:gd name="T4" fmla="*/ 0 w 10"/>
                      <a:gd name="T5" fmla="*/ 92 h 120"/>
                      <a:gd name="T6" fmla="*/ 10 w 10"/>
                      <a:gd name="T7" fmla="*/ 120 h 120"/>
                      <a:gd name="T8" fmla="*/ 0 w 10"/>
                      <a:gd name="T9" fmla="*/ 0 h 12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0" h="120">
                        <a:moveTo>
                          <a:pt x="0" y="0"/>
                        </a:moveTo>
                        <a:lnTo>
                          <a:pt x="0" y="1"/>
                        </a:lnTo>
                        <a:lnTo>
                          <a:pt x="0" y="92"/>
                        </a:lnTo>
                        <a:lnTo>
                          <a:pt x="10" y="12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AC2F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49" name="Freeform 1148"/>
                  <p:cNvSpPr>
                    <a:spLocks/>
                  </p:cNvSpPr>
                  <p:nvPr/>
                </p:nvSpPr>
                <p:spPr bwMode="auto">
                  <a:xfrm>
                    <a:off x="7775091" y="2431479"/>
                    <a:ext cx="32370" cy="388441"/>
                  </a:xfrm>
                  <a:custGeom>
                    <a:avLst/>
                    <a:gdLst>
                      <a:gd name="T0" fmla="*/ 0 w 10"/>
                      <a:gd name="T1" fmla="*/ 0 h 120"/>
                      <a:gd name="T2" fmla="*/ 0 w 10"/>
                      <a:gd name="T3" fmla="*/ 1 h 120"/>
                      <a:gd name="T4" fmla="*/ 0 w 10"/>
                      <a:gd name="T5" fmla="*/ 92 h 120"/>
                      <a:gd name="T6" fmla="*/ 10 w 10"/>
                      <a:gd name="T7" fmla="*/ 120 h 12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0" h="120">
                        <a:moveTo>
                          <a:pt x="0" y="0"/>
                        </a:moveTo>
                        <a:lnTo>
                          <a:pt x="0" y="1"/>
                        </a:lnTo>
                        <a:lnTo>
                          <a:pt x="0" y="92"/>
                        </a:lnTo>
                        <a:lnTo>
                          <a:pt x="10" y="120"/>
                        </a:lnTo>
                      </a:path>
                    </a:pathLst>
                  </a:cu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50" name="Oval 1149"/>
                  <p:cNvSpPr>
                    <a:spLocks noChangeArrowheads="1"/>
                  </p:cNvSpPr>
                  <p:nvPr/>
                </p:nvSpPr>
                <p:spPr bwMode="auto">
                  <a:xfrm>
                    <a:off x="7794513" y="2829632"/>
                    <a:ext cx="35607" cy="32370"/>
                  </a:xfrm>
                  <a:prstGeom prst="ellipse">
                    <a:avLst/>
                  </a:prstGeom>
                  <a:solidFill>
                    <a:srgbClr val="3333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51" name="Freeform 1150"/>
                  <p:cNvSpPr>
                    <a:spLocks/>
                  </p:cNvSpPr>
                  <p:nvPr/>
                </p:nvSpPr>
                <p:spPr bwMode="auto">
                  <a:xfrm>
                    <a:off x="7564685" y="2373213"/>
                    <a:ext cx="194221" cy="330175"/>
                  </a:xfrm>
                  <a:custGeom>
                    <a:avLst/>
                    <a:gdLst>
                      <a:gd name="T0" fmla="*/ 60 w 60"/>
                      <a:gd name="T1" fmla="*/ 102 h 102"/>
                      <a:gd name="T2" fmla="*/ 60 w 60"/>
                      <a:gd name="T3" fmla="*/ 22 h 102"/>
                      <a:gd name="T4" fmla="*/ 0 w 60"/>
                      <a:gd name="T5" fmla="*/ 0 h 102"/>
                      <a:gd name="T6" fmla="*/ 0 w 60"/>
                      <a:gd name="T7" fmla="*/ 81 h 102"/>
                      <a:gd name="T8" fmla="*/ 60 w 60"/>
                      <a:gd name="T9" fmla="*/ 102 h 10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60" h="102">
                        <a:moveTo>
                          <a:pt x="60" y="102"/>
                        </a:moveTo>
                        <a:lnTo>
                          <a:pt x="60" y="22"/>
                        </a:lnTo>
                        <a:lnTo>
                          <a:pt x="0" y="0"/>
                        </a:lnTo>
                        <a:lnTo>
                          <a:pt x="0" y="81"/>
                        </a:lnTo>
                        <a:lnTo>
                          <a:pt x="60" y="102"/>
                        </a:lnTo>
                        <a:close/>
                      </a:path>
                    </a:pathLst>
                  </a:custGeom>
                  <a:solidFill>
                    <a:srgbClr val="AC2F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52" name="Freeform 1151"/>
                  <p:cNvSpPr>
                    <a:spLocks/>
                  </p:cNvSpPr>
                  <p:nvPr/>
                </p:nvSpPr>
                <p:spPr bwMode="auto">
                  <a:xfrm>
                    <a:off x="9367700" y="2939690"/>
                    <a:ext cx="223354" cy="381967"/>
                  </a:xfrm>
                  <a:custGeom>
                    <a:avLst/>
                    <a:gdLst>
                      <a:gd name="T0" fmla="*/ 69 w 69"/>
                      <a:gd name="T1" fmla="*/ 0 h 118"/>
                      <a:gd name="T2" fmla="*/ 69 w 69"/>
                      <a:gd name="T3" fmla="*/ 93 h 118"/>
                      <a:gd name="T4" fmla="*/ 0 w 69"/>
                      <a:gd name="T5" fmla="*/ 118 h 118"/>
                      <a:gd name="T6" fmla="*/ 0 w 69"/>
                      <a:gd name="T7" fmla="*/ 25 h 118"/>
                      <a:gd name="T8" fmla="*/ 69 w 69"/>
                      <a:gd name="T9" fmla="*/ 0 h 11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69" h="118">
                        <a:moveTo>
                          <a:pt x="69" y="0"/>
                        </a:moveTo>
                        <a:lnTo>
                          <a:pt x="69" y="93"/>
                        </a:lnTo>
                        <a:lnTo>
                          <a:pt x="0" y="118"/>
                        </a:lnTo>
                        <a:lnTo>
                          <a:pt x="0" y="25"/>
                        </a:lnTo>
                        <a:lnTo>
                          <a:pt x="69" y="0"/>
                        </a:lnTo>
                        <a:close/>
                      </a:path>
                    </a:pathLst>
                  </a:custGeom>
                  <a:solidFill>
                    <a:srgbClr val="002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53" name="Freeform 1152"/>
                  <p:cNvSpPr>
                    <a:spLocks/>
                  </p:cNvSpPr>
                  <p:nvPr/>
                </p:nvSpPr>
                <p:spPr bwMode="auto">
                  <a:xfrm>
                    <a:off x="9380648" y="2965586"/>
                    <a:ext cx="194221" cy="330175"/>
                  </a:xfrm>
                  <a:custGeom>
                    <a:avLst/>
                    <a:gdLst>
                      <a:gd name="T0" fmla="*/ 60 w 60"/>
                      <a:gd name="T1" fmla="*/ 0 h 102"/>
                      <a:gd name="T2" fmla="*/ 60 w 60"/>
                      <a:gd name="T3" fmla="*/ 80 h 102"/>
                      <a:gd name="T4" fmla="*/ 0 w 60"/>
                      <a:gd name="T5" fmla="*/ 102 h 102"/>
                      <a:gd name="T6" fmla="*/ 0 w 60"/>
                      <a:gd name="T7" fmla="*/ 22 h 102"/>
                      <a:gd name="T8" fmla="*/ 60 w 60"/>
                      <a:gd name="T9" fmla="*/ 0 h 10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60" h="102">
                        <a:moveTo>
                          <a:pt x="60" y="0"/>
                        </a:moveTo>
                        <a:lnTo>
                          <a:pt x="60" y="80"/>
                        </a:lnTo>
                        <a:lnTo>
                          <a:pt x="0" y="102"/>
                        </a:lnTo>
                        <a:lnTo>
                          <a:pt x="0" y="22"/>
                        </a:lnTo>
                        <a:lnTo>
                          <a:pt x="60" y="0"/>
                        </a:lnTo>
                        <a:close/>
                      </a:path>
                    </a:pathLst>
                  </a:custGeom>
                  <a:solidFill>
                    <a:srgbClr val="FAA33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54" name="Freeform 1153"/>
                  <p:cNvSpPr>
                    <a:spLocks/>
                  </p:cNvSpPr>
                  <p:nvPr/>
                </p:nvSpPr>
                <p:spPr bwMode="auto">
                  <a:xfrm>
                    <a:off x="9591054" y="2939690"/>
                    <a:ext cx="32370" cy="391678"/>
                  </a:xfrm>
                  <a:custGeom>
                    <a:avLst/>
                    <a:gdLst>
                      <a:gd name="T0" fmla="*/ 0 w 10"/>
                      <a:gd name="T1" fmla="*/ 0 h 121"/>
                      <a:gd name="T2" fmla="*/ 0 w 10"/>
                      <a:gd name="T3" fmla="*/ 2 h 121"/>
                      <a:gd name="T4" fmla="*/ 0 w 10"/>
                      <a:gd name="T5" fmla="*/ 93 h 121"/>
                      <a:gd name="T6" fmla="*/ 10 w 10"/>
                      <a:gd name="T7" fmla="*/ 121 h 121"/>
                      <a:gd name="T8" fmla="*/ 0 w 10"/>
                      <a:gd name="T9" fmla="*/ 0 h 12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0" h="121">
                        <a:moveTo>
                          <a:pt x="0" y="0"/>
                        </a:moveTo>
                        <a:lnTo>
                          <a:pt x="0" y="2"/>
                        </a:lnTo>
                        <a:lnTo>
                          <a:pt x="0" y="93"/>
                        </a:lnTo>
                        <a:lnTo>
                          <a:pt x="10" y="121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AA33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55" name="Freeform 1154"/>
                  <p:cNvSpPr>
                    <a:spLocks/>
                  </p:cNvSpPr>
                  <p:nvPr/>
                </p:nvSpPr>
                <p:spPr bwMode="auto">
                  <a:xfrm>
                    <a:off x="9591054" y="2939690"/>
                    <a:ext cx="32370" cy="391678"/>
                  </a:xfrm>
                  <a:custGeom>
                    <a:avLst/>
                    <a:gdLst>
                      <a:gd name="T0" fmla="*/ 0 w 10"/>
                      <a:gd name="T1" fmla="*/ 0 h 121"/>
                      <a:gd name="T2" fmla="*/ 0 w 10"/>
                      <a:gd name="T3" fmla="*/ 2 h 121"/>
                      <a:gd name="T4" fmla="*/ 0 w 10"/>
                      <a:gd name="T5" fmla="*/ 93 h 121"/>
                      <a:gd name="T6" fmla="*/ 10 w 10"/>
                      <a:gd name="T7" fmla="*/ 121 h 12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0" h="121">
                        <a:moveTo>
                          <a:pt x="0" y="0"/>
                        </a:moveTo>
                        <a:lnTo>
                          <a:pt x="0" y="2"/>
                        </a:lnTo>
                        <a:lnTo>
                          <a:pt x="0" y="93"/>
                        </a:lnTo>
                        <a:lnTo>
                          <a:pt x="10" y="121"/>
                        </a:lnTo>
                      </a:path>
                    </a:pathLst>
                  </a:cu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56" name="Oval 1155"/>
                  <p:cNvSpPr>
                    <a:spLocks noChangeArrowheads="1"/>
                  </p:cNvSpPr>
                  <p:nvPr/>
                </p:nvSpPr>
                <p:spPr bwMode="auto">
                  <a:xfrm>
                    <a:off x="9610476" y="3337843"/>
                    <a:ext cx="35607" cy="32370"/>
                  </a:xfrm>
                  <a:prstGeom prst="ellipse">
                    <a:avLst/>
                  </a:prstGeom>
                  <a:solidFill>
                    <a:srgbClr val="3333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57" name="Freeform 1156"/>
                  <p:cNvSpPr>
                    <a:spLocks/>
                  </p:cNvSpPr>
                  <p:nvPr/>
                </p:nvSpPr>
                <p:spPr bwMode="auto">
                  <a:xfrm>
                    <a:off x="7457864" y="3574144"/>
                    <a:ext cx="123006" cy="178036"/>
                  </a:xfrm>
                  <a:custGeom>
                    <a:avLst/>
                    <a:gdLst>
                      <a:gd name="T0" fmla="*/ 10 w 38"/>
                      <a:gd name="T1" fmla="*/ 6 h 55"/>
                      <a:gd name="T2" fmla="*/ 0 w 38"/>
                      <a:gd name="T3" fmla="*/ 21 h 55"/>
                      <a:gd name="T4" fmla="*/ 6 w 38"/>
                      <a:gd name="T5" fmla="*/ 24 h 55"/>
                      <a:gd name="T6" fmla="*/ 12 w 38"/>
                      <a:gd name="T7" fmla="*/ 13 h 55"/>
                      <a:gd name="T8" fmla="*/ 12 w 38"/>
                      <a:gd name="T9" fmla="*/ 54 h 55"/>
                      <a:gd name="T10" fmla="*/ 18 w 38"/>
                      <a:gd name="T11" fmla="*/ 55 h 55"/>
                      <a:gd name="T12" fmla="*/ 18 w 38"/>
                      <a:gd name="T13" fmla="*/ 14 h 55"/>
                      <a:gd name="T14" fmla="*/ 30 w 38"/>
                      <a:gd name="T15" fmla="*/ 32 h 55"/>
                      <a:gd name="T16" fmla="*/ 38 w 38"/>
                      <a:gd name="T17" fmla="*/ 35 h 55"/>
                      <a:gd name="T18" fmla="*/ 22 w 38"/>
                      <a:gd name="T19" fmla="*/ 10 h 55"/>
                      <a:gd name="T20" fmla="*/ 15 w 38"/>
                      <a:gd name="T21" fmla="*/ 0 h 55"/>
                      <a:gd name="T22" fmla="*/ 10 w 38"/>
                      <a:gd name="T23" fmla="*/ 6 h 5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38" h="55">
                        <a:moveTo>
                          <a:pt x="10" y="6"/>
                        </a:moveTo>
                        <a:lnTo>
                          <a:pt x="0" y="21"/>
                        </a:lnTo>
                        <a:lnTo>
                          <a:pt x="6" y="24"/>
                        </a:lnTo>
                        <a:lnTo>
                          <a:pt x="12" y="13"/>
                        </a:lnTo>
                        <a:lnTo>
                          <a:pt x="12" y="54"/>
                        </a:lnTo>
                        <a:lnTo>
                          <a:pt x="18" y="55"/>
                        </a:lnTo>
                        <a:lnTo>
                          <a:pt x="18" y="14"/>
                        </a:lnTo>
                        <a:lnTo>
                          <a:pt x="30" y="32"/>
                        </a:lnTo>
                        <a:lnTo>
                          <a:pt x="38" y="35"/>
                        </a:lnTo>
                        <a:lnTo>
                          <a:pt x="22" y="10"/>
                        </a:lnTo>
                        <a:lnTo>
                          <a:pt x="15" y="0"/>
                        </a:lnTo>
                        <a:lnTo>
                          <a:pt x="10" y="6"/>
                        </a:lnTo>
                        <a:close/>
                      </a:path>
                    </a:pathLst>
                  </a:custGeom>
                  <a:solidFill>
                    <a:srgbClr val="3333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58" name="Freeform 1157"/>
                  <p:cNvSpPr>
                    <a:spLocks/>
                  </p:cNvSpPr>
                  <p:nvPr/>
                </p:nvSpPr>
                <p:spPr bwMode="auto">
                  <a:xfrm>
                    <a:off x="7805140" y="2854827"/>
                    <a:ext cx="1837622" cy="665829"/>
                  </a:xfrm>
                  <a:custGeom>
                    <a:avLst/>
                    <a:gdLst>
                      <a:gd name="T0" fmla="*/ 1211 w 1211"/>
                      <a:gd name="T1" fmla="*/ 364 h 1702"/>
                      <a:gd name="T2" fmla="*/ 1189 w 1211"/>
                      <a:gd name="T3" fmla="*/ 337 h 1702"/>
                      <a:gd name="T4" fmla="*/ 968 w 1211"/>
                      <a:gd name="T5" fmla="*/ 420 h 1702"/>
                      <a:gd name="T6" fmla="*/ 922 w 1211"/>
                      <a:gd name="T7" fmla="*/ 387 h 1702"/>
                      <a:gd name="T8" fmla="*/ 871 w 1211"/>
                      <a:gd name="T9" fmla="*/ 296 h 1702"/>
                      <a:gd name="T10" fmla="*/ 790 w 1211"/>
                      <a:gd name="T11" fmla="*/ 339 h 1702"/>
                      <a:gd name="T12" fmla="*/ 427 w 1211"/>
                      <a:gd name="T13" fmla="*/ 51 h 1702"/>
                      <a:gd name="T14" fmla="*/ 326 w 1211"/>
                      <a:gd name="T15" fmla="*/ 70 h 1702"/>
                      <a:gd name="T16" fmla="*/ 297 w 1211"/>
                      <a:gd name="T17" fmla="*/ 0 h 1702"/>
                      <a:gd name="T18" fmla="*/ 237 w 1211"/>
                      <a:gd name="T19" fmla="*/ 43 h 1702"/>
                      <a:gd name="T20" fmla="*/ 104 w 1211"/>
                      <a:gd name="T21" fmla="*/ 3 h 1702"/>
                      <a:gd name="T22" fmla="*/ 23 w 1211"/>
                      <a:gd name="T23" fmla="*/ 28 h 1702"/>
                      <a:gd name="T24" fmla="*/ 14 w 1211"/>
                      <a:gd name="T25" fmla="*/ 8 h 1702"/>
                      <a:gd name="T26" fmla="*/ 0 w 1211"/>
                      <a:gd name="T27" fmla="*/ 15 h 1702"/>
                      <a:gd name="T28" fmla="*/ 15 w 1211"/>
                      <a:gd name="T29" fmla="*/ 47 h 1702"/>
                      <a:gd name="T30" fmla="*/ 104 w 1211"/>
                      <a:gd name="T31" fmla="*/ 20 h 1702"/>
                      <a:gd name="T32" fmla="*/ 240 w 1211"/>
                      <a:gd name="T33" fmla="*/ 60 h 1702"/>
                      <a:gd name="T34" fmla="*/ 290 w 1211"/>
                      <a:gd name="T35" fmla="*/ 23 h 1702"/>
                      <a:gd name="T36" fmla="*/ 317 w 1211"/>
                      <a:gd name="T37" fmla="*/ 88 h 1702"/>
                      <a:gd name="T38" fmla="*/ 423 w 1211"/>
                      <a:gd name="T39" fmla="*/ 67 h 1702"/>
                      <a:gd name="T40" fmla="*/ 788 w 1211"/>
                      <a:gd name="T41" fmla="*/ 357 h 1702"/>
                      <a:gd name="T42" fmla="*/ 865 w 1211"/>
                      <a:gd name="T43" fmla="*/ 317 h 1702"/>
                      <a:gd name="T44" fmla="*/ 910 w 1211"/>
                      <a:gd name="T45" fmla="*/ 397 h 1702"/>
                      <a:gd name="T46" fmla="*/ 966 w 1211"/>
                      <a:gd name="T47" fmla="*/ 437 h 1702"/>
                      <a:gd name="T48" fmla="*/ 1184 w 1211"/>
                      <a:gd name="T49" fmla="*/ 355 h 1702"/>
                      <a:gd name="T50" fmla="*/ 1191 w 1211"/>
                      <a:gd name="T51" fmla="*/ 364 h 1702"/>
                      <a:gd name="T52" fmla="*/ 1158 w 1211"/>
                      <a:gd name="T53" fmla="*/ 401 h 1702"/>
                      <a:gd name="T54" fmla="*/ 1158 w 1211"/>
                      <a:gd name="T55" fmla="*/ 472 h 1702"/>
                      <a:gd name="T56" fmla="*/ 1102 w 1211"/>
                      <a:gd name="T57" fmla="*/ 493 h 1702"/>
                      <a:gd name="T58" fmla="*/ 1102 w 1211"/>
                      <a:gd name="T59" fmla="*/ 554 h 1702"/>
                      <a:gd name="T60" fmla="*/ 942 w 1211"/>
                      <a:gd name="T61" fmla="*/ 650 h 1702"/>
                      <a:gd name="T62" fmla="*/ 499 w 1211"/>
                      <a:gd name="T63" fmla="*/ 532 h 1702"/>
                      <a:gd name="T64" fmla="*/ 499 w 1211"/>
                      <a:gd name="T65" fmla="*/ 1702 h 1702"/>
                      <a:gd name="T66" fmla="*/ 506 w 1211"/>
                      <a:gd name="T67" fmla="*/ 1702 h 1702"/>
                      <a:gd name="T68" fmla="*/ 514 w 1211"/>
                      <a:gd name="T69" fmla="*/ 1702 h 1702"/>
                      <a:gd name="T70" fmla="*/ 514 w 1211"/>
                      <a:gd name="T71" fmla="*/ 552 h 1702"/>
                      <a:gd name="T72" fmla="*/ 942 w 1211"/>
                      <a:gd name="T73" fmla="*/ 666 h 1702"/>
                      <a:gd name="T74" fmla="*/ 945 w 1211"/>
                      <a:gd name="T75" fmla="*/ 667 h 1702"/>
                      <a:gd name="T76" fmla="*/ 1118 w 1211"/>
                      <a:gd name="T77" fmla="*/ 563 h 1702"/>
                      <a:gd name="T78" fmla="*/ 1118 w 1211"/>
                      <a:gd name="T79" fmla="*/ 504 h 1702"/>
                      <a:gd name="T80" fmla="*/ 1173 w 1211"/>
                      <a:gd name="T81" fmla="*/ 483 h 1702"/>
                      <a:gd name="T82" fmla="*/ 1173 w 1211"/>
                      <a:gd name="T83" fmla="*/ 407 h 1702"/>
                      <a:gd name="T84" fmla="*/ 1211 w 1211"/>
                      <a:gd name="T85" fmla="*/ 364 h 1702"/>
                      <a:gd name="connsiteX0" fmla="*/ 10000 w 10000"/>
                      <a:gd name="connsiteY0" fmla="*/ 2139 h 10000"/>
                      <a:gd name="connsiteX1" fmla="*/ 9818 w 10000"/>
                      <a:gd name="connsiteY1" fmla="*/ 1980 h 10000"/>
                      <a:gd name="connsiteX2" fmla="*/ 7993 w 10000"/>
                      <a:gd name="connsiteY2" fmla="*/ 2468 h 10000"/>
                      <a:gd name="connsiteX3" fmla="*/ 7614 w 10000"/>
                      <a:gd name="connsiteY3" fmla="*/ 2274 h 10000"/>
                      <a:gd name="connsiteX4" fmla="*/ 7192 w 10000"/>
                      <a:gd name="connsiteY4" fmla="*/ 1739 h 10000"/>
                      <a:gd name="connsiteX5" fmla="*/ 6524 w 10000"/>
                      <a:gd name="connsiteY5" fmla="*/ 1992 h 10000"/>
                      <a:gd name="connsiteX6" fmla="*/ 3526 w 10000"/>
                      <a:gd name="connsiteY6" fmla="*/ 300 h 10000"/>
                      <a:gd name="connsiteX7" fmla="*/ 2692 w 10000"/>
                      <a:gd name="connsiteY7" fmla="*/ 411 h 10000"/>
                      <a:gd name="connsiteX8" fmla="*/ 2453 w 10000"/>
                      <a:gd name="connsiteY8" fmla="*/ 0 h 10000"/>
                      <a:gd name="connsiteX9" fmla="*/ 1957 w 10000"/>
                      <a:gd name="connsiteY9" fmla="*/ 253 h 10000"/>
                      <a:gd name="connsiteX10" fmla="*/ 859 w 10000"/>
                      <a:gd name="connsiteY10" fmla="*/ 18 h 10000"/>
                      <a:gd name="connsiteX11" fmla="*/ 190 w 10000"/>
                      <a:gd name="connsiteY11" fmla="*/ 165 h 10000"/>
                      <a:gd name="connsiteX12" fmla="*/ 116 w 10000"/>
                      <a:gd name="connsiteY12" fmla="*/ 47 h 10000"/>
                      <a:gd name="connsiteX13" fmla="*/ 0 w 10000"/>
                      <a:gd name="connsiteY13" fmla="*/ 88 h 10000"/>
                      <a:gd name="connsiteX14" fmla="*/ 124 w 10000"/>
                      <a:gd name="connsiteY14" fmla="*/ 276 h 10000"/>
                      <a:gd name="connsiteX15" fmla="*/ 859 w 10000"/>
                      <a:gd name="connsiteY15" fmla="*/ 118 h 10000"/>
                      <a:gd name="connsiteX16" fmla="*/ 1982 w 10000"/>
                      <a:gd name="connsiteY16" fmla="*/ 353 h 10000"/>
                      <a:gd name="connsiteX17" fmla="*/ 2395 w 10000"/>
                      <a:gd name="connsiteY17" fmla="*/ 135 h 10000"/>
                      <a:gd name="connsiteX18" fmla="*/ 2618 w 10000"/>
                      <a:gd name="connsiteY18" fmla="*/ 517 h 10000"/>
                      <a:gd name="connsiteX19" fmla="*/ 3493 w 10000"/>
                      <a:gd name="connsiteY19" fmla="*/ 394 h 10000"/>
                      <a:gd name="connsiteX20" fmla="*/ 6507 w 10000"/>
                      <a:gd name="connsiteY20" fmla="*/ 2098 h 10000"/>
                      <a:gd name="connsiteX21" fmla="*/ 7143 w 10000"/>
                      <a:gd name="connsiteY21" fmla="*/ 1863 h 10000"/>
                      <a:gd name="connsiteX22" fmla="*/ 7514 w 10000"/>
                      <a:gd name="connsiteY22" fmla="*/ 2333 h 10000"/>
                      <a:gd name="connsiteX23" fmla="*/ 7977 w 10000"/>
                      <a:gd name="connsiteY23" fmla="*/ 2568 h 10000"/>
                      <a:gd name="connsiteX24" fmla="*/ 9777 w 10000"/>
                      <a:gd name="connsiteY24" fmla="*/ 2086 h 10000"/>
                      <a:gd name="connsiteX25" fmla="*/ 9835 w 10000"/>
                      <a:gd name="connsiteY25" fmla="*/ 2139 h 10000"/>
                      <a:gd name="connsiteX26" fmla="*/ 9562 w 10000"/>
                      <a:gd name="connsiteY26" fmla="*/ 2356 h 10000"/>
                      <a:gd name="connsiteX27" fmla="*/ 9562 w 10000"/>
                      <a:gd name="connsiteY27" fmla="*/ 2773 h 10000"/>
                      <a:gd name="connsiteX28" fmla="*/ 9100 w 10000"/>
                      <a:gd name="connsiteY28" fmla="*/ 2897 h 10000"/>
                      <a:gd name="connsiteX29" fmla="*/ 9100 w 10000"/>
                      <a:gd name="connsiteY29" fmla="*/ 3255 h 10000"/>
                      <a:gd name="connsiteX30" fmla="*/ 7779 w 10000"/>
                      <a:gd name="connsiteY30" fmla="*/ 3819 h 10000"/>
                      <a:gd name="connsiteX31" fmla="*/ 4121 w 10000"/>
                      <a:gd name="connsiteY31" fmla="*/ 3126 h 10000"/>
                      <a:gd name="connsiteX32" fmla="*/ 4121 w 10000"/>
                      <a:gd name="connsiteY32" fmla="*/ 10000 h 10000"/>
                      <a:gd name="connsiteX33" fmla="*/ 4178 w 10000"/>
                      <a:gd name="connsiteY33" fmla="*/ 10000 h 10000"/>
                      <a:gd name="connsiteX34" fmla="*/ 4244 w 10000"/>
                      <a:gd name="connsiteY34" fmla="*/ 3243 h 10000"/>
                      <a:gd name="connsiteX35" fmla="*/ 7779 w 10000"/>
                      <a:gd name="connsiteY35" fmla="*/ 3913 h 10000"/>
                      <a:gd name="connsiteX36" fmla="*/ 7803 w 10000"/>
                      <a:gd name="connsiteY36" fmla="*/ 3919 h 10000"/>
                      <a:gd name="connsiteX37" fmla="*/ 9232 w 10000"/>
                      <a:gd name="connsiteY37" fmla="*/ 3308 h 10000"/>
                      <a:gd name="connsiteX38" fmla="*/ 9232 w 10000"/>
                      <a:gd name="connsiteY38" fmla="*/ 2961 h 10000"/>
                      <a:gd name="connsiteX39" fmla="*/ 9686 w 10000"/>
                      <a:gd name="connsiteY39" fmla="*/ 2838 h 10000"/>
                      <a:gd name="connsiteX40" fmla="*/ 9686 w 10000"/>
                      <a:gd name="connsiteY40" fmla="*/ 2391 h 10000"/>
                      <a:gd name="connsiteX41" fmla="*/ 10000 w 10000"/>
                      <a:gd name="connsiteY41" fmla="*/ 2139 h 10000"/>
                      <a:gd name="connsiteX0" fmla="*/ 10000 w 10000"/>
                      <a:gd name="connsiteY0" fmla="*/ 2139 h 10000"/>
                      <a:gd name="connsiteX1" fmla="*/ 9818 w 10000"/>
                      <a:gd name="connsiteY1" fmla="*/ 1980 h 10000"/>
                      <a:gd name="connsiteX2" fmla="*/ 7993 w 10000"/>
                      <a:gd name="connsiteY2" fmla="*/ 2468 h 10000"/>
                      <a:gd name="connsiteX3" fmla="*/ 7614 w 10000"/>
                      <a:gd name="connsiteY3" fmla="*/ 2274 h 10000"/>
                      <a:gd name="connsiteX4" fmla="*/ 7192 w 10000"/>
                      <a:gd name="connsiteY4" fmla="*/ 1739 h 10000"/>
                      <a:gd name="connsiteX5" fmla="*/ 6524 w 10000"/>
                      <a:gd name="connsiteY5" fmla="*/ 1992 h 10000"/>
                      <a:gd name="connsiteX6" fmla="*/ 3526 w 10000"/>
                      <a:gd name="connsiteY6" fmla="*/ 300 h 10000"/>
                      <a:gd name="connsiteX7" fmla="*/ 2692 w 10000"/>
                      <a:gd name="connsiteY7" fmla="*/ 411 h 10000"/>
                      <a:gd name="connsiteX8" fmla="*/ 2453 w 10000"/>
                      <a:gd name="connsiteY8" fmla="*/ 0 h 10000"/>
                      <a:gd name="connsiteX9" fmla="*/ 1957 w 10000"/>
                      <a:gd name="connsiteY9" fmla="*/ 253 h 10000"/>
                      <a:gd name="connsiteX10" fmla="*/ 859 w 10000"/>
                      <a:gd name="connsiteY10" fmla="*/ 18 h 10000"/>
                      <a:gd name="connsiteX11" fmla="*/ 190 w 10000"/>
                      <a:gd name="connsiteY11" fmla="*/ 165 h 10000"/>
                      <a:gd name="connsiteX12" fmla="*/ 116 w 10000"/>
                      <a:gd name="connsiteY12" fmla="*/ 47 h 10000"/>
                      <a:gd name="connsiteX13" fmla="*/ 0 w 10000"/>
                      <a:gd name="connsiteY13" fmla="*/ 88 h 10000"/>
                      <a:gd name="connsiteX14" fmla="*/ 124 w 10000"/>
                      <a:gd name="connsiteY14" fmla="*/ 276 h 10000"/>
                      <a:gd name="connsiteX15" fmla="*/ 859 w 10000"/>
                      <a:gd name="connsiteY15" fmla="*/ 118 h 10000"/>
                      <a:gd name="connsiteX16" fmla="*/ 1982 w 10000"/>
                      <a:gd name="connsiteY16" fmla="*/ 353 h 10000"/>
                      <a:gd name="connsiteX17" fmla="*/ 2395 w 10000"/>
                      <a:gd name="connsiteY17" fmla="*/ 135 h 10000"/>
                      <a:gd name="connsiteX18" fmla="*/ 2618 w 10000"/>
                      <a:gd name="connsiteY18" fmla="*/ 517 h 10000"/>
                      <a:gd name="connsiteX19" fmla="*/ 3493 w 10000"/>
                      <a:gd name="connsiteY19" fmla="*/ 394 h 10000"/>
                      <a:gd name="connsiteX20" fmla="*/ 6507 w 10000"/>
                      <a:gd name="connsiteY20" fmla="*/ 2098 h 10000"/>
                      <a:gd name="connsiteX21" fmla="*/ 7143 w 10000"/>
                      <a:gd name="connsiteY21" fmla="*/ 1863 h 10000"/>
                      <a:gd name="connsiteX22" fmla="*/ 7514 w 10000"/>
                      <a:gd name="connsiteY22" fmla="*/ 2333 h 10000"/>
                      <a:gd name="connsiteX23" fmla="*/ 7977 w 10000"/>
                      <a:gd name="connsiteY23" fmla="*/ 2568 h 10000"/>
                      <a:gd name="connsiteX24" fmla="*/ 9777 w 10000"/>
                      <a:gd name="connsiteY24" fmla="*/ 2086 h 10000"/>
                      <a:gd name="connsiteX25" fmla="*/ 9835 w 10000"/>
                      <a:gd name="connsiteY25" fmla="*/ 2139 h 10000"/>
                      <a:gd name="connsiteX26" fmla="*/ 9562 w 10000"/>
                      <a:gd name="connsiteY26" fmla="*/ 2356 h 10000"/>
                      <a:gd name="connsiteX27" fmla="*/ 9562 w 10000"/>
                      <a:gd name="connsiteY27" fmla="*/ 2773 h 10000"/>
                      <a:gd name="connsiteX28" fmla="*/ 9100 w 10000"/>
                      <a:gd name="connsiteY28" fmla="*/ 2897 h 10000"/>
                      <a:gd name="connsiteX29" fmla="*/ 9100 w 10000"/>
                      <a:gd name="connsiteY29" fmla="*/ 3255 h 10000"/>
                      <a:gd name="connsiteX30" fmla="*/ 7779 w 10000"/>
                      <a:gd name="connsiteY30" fmla="*/ 3819 h 10000"/>
                      <a:gd name="connsiteX31" fmla="*/ 4121 w 10000"/>
                      <a:gd name="connsiteY31" fmla="*/ 3126 h 10000"/>
                      <a:gd name="connsiteX32" fmla="*/ 4121 w 10000"/>
                      <a:gd name="connsiteY32" fmla="*/ 10000 h 10000"/>
                      <a:gd name="connsiteX33" fmla="*/ 4178 w 10000"/>
                      <a:gd name="connsiteY33" fmla="*/ 10000 h 10000"/>
                      <a:gd name="connsiteX34" fmla="*/ 7779 w 10000"/>
                      <a:gd name="connsiteY34" fmla="*/ 3913 h 10000"/>
                      <a:gd name="connsiteX35" fmla="*/ 7803 w 10000"/>
                      <a:gd name="connsiteY35" fmla="*/ 3919 h 10000"/>
                      <a:gd name="connsiteX36" fmla="*/ 9232 w 10000"/>
                      <a:gd name="connsiteY36" fmla="*/ 3308 h 10000"/>
                      <a:gd name="connsiteX37" fmla="*/ 9232 w 10000"/>
                      <a:gd name="connsiteY37" fmla="*/ 2961 h 10000"/>
                      <a:gd name="connsiteX38" fmla="*/ 9686 w 10000"/>
                      <a:gd name="connsiteY38" fmla="*/ 2838 h 10000"/>
                      <a:gd name="connsiteX39" fmla="*/ 9686 w 10000"/>
                      <a:gd name="connsiteY39" fmla="*/ 2391 h 10000"/>
                      <a:gd name="connsiteX40" fmla="*/ 10000 w 10000"/>
                      <a:gd name="connsiteY40" fmla="*/ 2139 h 10000"/>
                      <a:gd name="connsiteX0" fmla="*/ 10000 w 10000"/>
                      <a:gd name="connsiteY0" fmla="*/ 2139 h 10000"/>
                      <a:gd name="connsiteX1" fmla="*/ 9818 w 10000"/>
                      <a:gd name="connsiteY1" fmla="*/ 1980 h 10000"/>
                      <a:gd name="connsiteX2" fmla="*/ 7993 w 10000"/>
                      <a:gd name="connsiteY2" fmla="*/ 2468 h 10000"/>
                      <a:gd name="connsiteX3" fmla="*/ 7614 w 10000"/>
                      <a:gd name="connsiteY3" fmla="*/ 2274 h 10000"/>
                      <a:gd name="connsiteX4" fmla="*/ 7192 w 10000"/>
                      <a:gd name="connsiteY4" fmla="*/ 1739 h 10000"/>
                      <a:gd name="connsiteX5" fmla="*/ 6524 w 10000"/>
                      <a:gd name="connsiteY5" fmla="*/ 1992 h 10000"/>
                      <a:gd name="connsiteX6" fmla="*/ 3526 w 10000"/>
                      <a:gd name="connsiteY6" fmla="*/ 300 h 10000"/>
                      <a:gd name="connsiteX7" fmla="*/ 2692 w 10000"/>
                      <a:gd name="connsiteY7" fmla="*/ 411 h 10000"/>
                      <a:gd name="connsiteX8" fmla="*/ 2453 w 10000"/>
                      <a:gd name="connsiteY8" fmla="*/ 0 h 10000"/>
                      <a:gd name="connsiteX9" fmla="*/ 1957 w 10000"/>
                      <a:gd name="connsiteY9" fmla="*/ 253 h 10000"/>
                      <a:gd name="connsiteX10" fmla="*/ 859 w 10000"/>
                      <a:gd name="connsiteY10" fmla="*/ 18 h 10000"/>
                      <a:gd name="connsiteX11" fmla="*/ 190 w 10000"/>
                      <a:gd name="connsiteY11" fmla="*/ 165 h 10000"/>
                      <a:gd name="connsiteX12" fmla="*/ 116 w 10000"/>
                      <a:gd name="connsiteY12" fmla="*/ 47 h 10000"/>
                      <a:gd name="connsiteX13" fmla="*/ 0 w 10000"/>
                      <a:gd name="connsiteY13" fmla="*/ 88 h 10000"/>
                      <a:gd name="connsiteX14" fmla="*/ 124 w 10000"/>
                      <a:gd name="connsiteY14" fmla="*/ 276 h 10000"/>
                      <a:gd name="connsiteX15" fmla="*/ 859 w 10000"/>
                      <a:gd name="connsiteY15" fmla="*/ 118 h 10000"/>
                      <a:gd name="connsiteX16" fmla="*/ 1982 w 10000"/>
                      <a:gd name="connsiteY16" fmla="*/ 353 h 10000"/>
                      <a:gd name="connsiteX17" fmla="*/ 2395 w 10000"/>
                      <a:gd name="connsiteY17" fmla="*/ 135 h 10000"/>
                      <a:gd name="connsiteX18" fmla="*/ 2618 w 10000"/>
                      <a:gd name="connsiteY18" fmla="*/ 517 h 10000"/>
                      <a:gd name="connsiteX19" fmla="*/ 3493 w 10000"/>
                      <a:gd name="connsiteY19" fmla="*/ 394 h 10000"/>
                      <a:gd name="connsiteX20" fmla="*/ 6507 w 10000"/>
                      <a:gd name="connsiteY20" fmla="*/ 2098 h 10000"/>
                      <a:gd name="connsiteX21" fmla="*/ 7143 w 10000"/>
                      <a:gd name="connsiteY21" fmla="*/ 1863 h 10000"/>
                      <a:gd name="connsiteX22" fmla="*/ 7514 w 10000"/>
                      <a:gd name="connsiteY22" fmla="*/ 2333 h 10000"/>
                      <a:gd name="connsiteX23" fmla="*/ 7977 w 10000"/>
                      <a:gd name="connsiteY23" fmla="*/ 2568 h 10000"/>
                      <a:gd name="connsiteX24" fmla="*/ 9777 w 10000"/>
                      <a:gd name="connsiteY24" fmla="*/ 2086 h 10000"/>
                      <a:gd name="connsiteX25" fmla="*/ 9835 w 10000"/>
                      <a:gd name="connsiteY25" fmla="*/ 2139 h 10000"/>
                      <a:gd name="connsiteX26" fmla="*/ 9562 w 10000"/>
                      <a:gd name="connsiteY26" fmla="*/ 2356 h 10000"/>
                      <a:gd name="connsiteX27" fmla="*/ 9562 w 10000"/>
                      <a:gd name="connsiteY27" fmla="*/ 2773 h 10000"/>
                      <a:gd name="connsiteX28" fmla="*/ 9100 w 10000"/>
                      <a:gd name="connsiteY28" fmla="*/ 2897 h 10000"/>
                      <a:gd name="connsiteX29" fmla="*/ 9100 w 10000"/>
                      <a:gd name="connsiteY29" fmla="*/ 3255 h 10000"/>
                      <a:gd name="connsiteX30" fmla="*/ 7779 w 10000"/>
                      <a:gd name="connsiteY30" fmla="*/ 3819 h 10000"/>
                      <a:gd name="connsiteX31" fmla="*/ 4121 w 10000"/>
                      <a:gd name="connsiteY31" fmla="*/ 3126 h 10000"/>
                      <a:gd name="connsiteX32" fmla="*/ 4121 w 10000"/>
                      <a:gd name="connsiteY32" fmla="*/ 10000 h 10000"/>
                      <a:gd name="connsiteX33" fmla="*/ 7779 w 10000"/>
                      <a:gd name="connsiteY33" fmla="*/ 3913 h 10000"/>
                      <a:gd name="connsiteX34" fmla="*/ 7803 w 10000"/>
                      <a:gd name="connsiteY34" fmla="*/ 3919 h 10000"/>
                      <a:gd name="connsiteX35" fmla="*/ 9232 w 10000"/>
                      <a:gd name="connsiteY35" fmla="*/ 3308 h 10000"/>
                      <a:gd name="connsiteX36" fmla="*/ 9232 w 10000"/>
                      <a:gd name="connsiteY36" fmla="*/ 2961 h 10000"/>
                      <a:gd name="connsiteX37" fmla="*/ 9686 w 10000"/>
                      <a:gd name="connsiteY37" fmla="*/ 2838 h 10000"/>
                      <a:gd name="connsiteX38" fmla="*/ 9686 w 10000"/>
                      <a:gd name="connsiteY38" fmla="*/ 2391 h 10000"/>
                      <a:gd name="connsiteX39" fmla="*/ 10000 w 10000"/>
                      <a:gd name="connsiteY39" fmla="*/ 2139 h 10000"/>
                      <a:gd name="connsiteX0" fmla="*/ 10000 w 10000"/>
                      <a:gd name="connsiteY0" fmla="*/ 2139 h 3919"/>
                      <a:gd name="connsiteX1" fmla="*/ 9818 w 10000"/>
                      <a:gd name="connsiteY1" fmla="*/ 1980 h 3919"/>
                      <a:gd name="connsiteX2" fmla="*/ 7993 w 10000"/>
                      <a:gd name="connsiteY2" fmla="*/ 2468 h 3919"/>
                      <a:gd name="connsiteX3" fmla="*/ 7614 w 10000"/>
                      <a:gd name="connsiteY3" fmla="*/ 2274 h 3919"/>
                      <a:gd name="connsiteX4" fmla="*/ 7192 w 10000"/>
                      <a:gd name="connsiteY4" fmla="*/ 1739 h 3919"/>
                      <a:gd name="connsiteX5" fmla="*/ 6524 w 10000"/>
                      <a:gd name="connsiteY5" fmla="*/ 1992 h 3919"/>
                      <a:gd name="connsiteX6" fmla="*/ 3526 w 10000"/>
                      <a:gd name="connsiteY6" fmla="*/ 300 h 3919"/>
                      <a:gd name="connsiteX7" fmla="*/ 2692 w 10000"/>
                      <a:gd name="connsiteY7" fmla="*/ 411 h 3919"/>
                      <a:gd name="connsiteX8" fmla="*/ 2453 w 10000"/>
                      <a:gd name="connsiteY8" fmla="*/ 0 h 3919"/>
                      <a:gd name="connsiteX9" fmla="*/ 1957 w 10000"/>
                      <a:gd name="connsiteY9" fmla="*/ 253 h 3919"/>
                      <a:gd name="connsiteX10" fmla="*/ 859 w 10000"/>
                      <a:gd name="connsiteY10" fmla="*/ 18 h 3919"/>
                      <a:gd name="connsiteX11" fmla="*/ 190 w 10000"/>
                      <a:gd name="connsiteY11" fmla="*/ 165 h 3919"/>
                      <a:gd name="connsiteX12" fmla="*/ 116 w 10000"/>
                      <a:gd name="connsiteY12" fmla="*/ 47 h 3919"/>
                      <a:gd name="connsiteX13" fmla="*/ 0 w 10000"/>
                      <a:gd name="connsiteY13" fmla="*/ 88 h 3919"/>
                      <a:gd name="connsiteX14" fmla="*/ 124 w 10000"/>
                      <a:gd name="connsiteY14" fmla="*/ 276 h 3919"/>
                      <a:gd name="connsiteX15" fmla="*/ 859 w 10000"/>
                      <a:gd name="connsiteY15" fmla="*/ 118 h 3919"/>
                      <a:gd name="connsiteX16" fmla="*/ 1982 w 10000"/>
                      <a:gd name="connsiteY16" fmla="*/ 353 h 3919"/>
                      <a:gd name="connsiteX17" fmla="*/ 2395 w 10000"/>
                      <a:gd name="connsiteY17" fmla="*/ 135 h 3919"/>
                      <a:gd name="connsiteX18" fmla="*/ 2618 w 10000"/>
                      <a:gd name="connsiteY18" fmla="*/ 517 h 3919"/>
                      <a:gd name="connsiteX19" fmla="*/ 3493 w 10000"/>
                      <a:gd name="connsiteY19" fmla="*/ 394 h 3919"/>
                      <a:gd name="connsiteX20" fmla="*/ 6507 w 10000"/>
                      <a:gd name="connsiteY20" fmla="*/ 2098 h 3919"/>
                      <a:gd name="connsiteX21" fmla="*/ 7143 w 10000"/>
                      <a:gd name="connsiteY21" fmla="*/ 1863 h 3919"/>
                      <a:gd name="connsiteX22" fmla="*/ 7514 w 10000"/>
                      <a:gd name="connsiteY22" fmla="*/ 2333 h 3919"/>
                      <a:gd name="connsiteX23" fmla="*/ 7977 w 10000"/>
                      <a:gd name="connsiteY23" fmla="*/ 2568 h 3919"/>
                      <a:gd name="connsiteX24" fmla="*/ 9777 w 10000"/>
                      <a:gd name="connsiteY24" fmla="*/ 2086 h 3919"/>
                      <a:gd name="connsiteX25" fmla="*/ 9835 w 10000"/>
                      <a:gd name="connsiteY25" fmla="*/ 2139 h 3919"/>
                      <a:gd name="connsiteX26" fmla="*/ 9562 w 10000"/>
                      <a:gd name="connsiteY26" fmla="*/ 2356 h 3919"/>
                      <a:gd name="connsiteX27" fmla="*/ 9562 w 10000"/>
                      <a:gd name="connsiteY27" fmla="*/ 2773 h 3919"/>
                      <a:gd name="connsiteX28" fmla="*/ 9100 w 10000"/>
                      <a:gd name="connsiteY28" fmla="*/ 2897 h 3919"/>
                      <a:gd name="connsiteX29" fmla="*/ 9100 w 10000"/>
                      <a:gd name="connsiteY29" fmla="*/ 3255 h 3919"/>
                      <a:gd name="connsiteX30" fmla="*/ 7779 w 10000"/>
                      <a:gd name="connsiteY30" fmla="*/ 3819 h 3919"/>
                      <a:gd name="connsiteX31" fmla="*/ 4121 w 10000"/>
                      <a:gd name="connsiteY31" fmla="*/ 3126 h 3919"/>
                      <a:gd name="connsiteX32" fmla="*/ 7779 w 10000"/>
                      <a:gd name="connsiteY32" fmla="*/ 3913 h 3919"/>
                      <a:gd name="connsiteX33" fmla="*/ 7803 w 10000"/>
                      <a:gd name="connsiteY33" fmla="*/ 3919 h 3919"/>
                      <a:gd name="connsiteX34" fmla="*/ 9232 w 10000"/>
                      <a:gd name="connsiteY34" fmla="*/ 3308 h 3919"/>
                      <a:gd name="connsiteX35" fmla="*/ 9232 w 10000"/>
                      <a:gd name="connsiteY35" fmla="*/ 2961 h 3919"/>
                      <a:gd name="connsiteX36" fmla="*/ 9686 w 10000"/>
                      <a:gd name="connsiteY36" fmla="*/ 2838 h 3919"/>
                      <a:gd name="connsiteX37" fmla="*/ 9686 w 10000"/>
                      <a:gd name="connsiteY37" fmla="*/ 2391 h 3919"/>
                      <a:gd name="connsiteX38" fmla="*/ 10000 w 10000"/>
                      <a:gd name="connsiteY38" fmla="*/ 2139 h 3919"/>
                      <a:gd name="connsiteX0" fmla="*/ 10000 w 10000"/>
                      <a:gd name="connsiteY0" fmla="*/ 5458 h 10000"/>
                      <a:gd name="connsiteX1" fmla="*/ 9818 w 10000"/>
                      <a:gd name="connsiteY1" fmla="*/ 5052 h 10000"/>
                      <a:gd name="connsiteX2" fmla="*/ 7993 w 10000"/>
                      <a:gd name="connsiteY2" fmla="*/ 6298 h 10000"/>
                      <a:gd name="connsiteX3" fmla="*/ 7614 w 10000"/>
                      <a:gd name="connsiteY3" fmla="*/ 5803 h 10000"/>
                      <a:gd name="connsiteX4" fmla="*/ 7192 w 10000"/>
                      <a:gd name="connsiteY4" fmla="*/ 4437 h 10000"/>
                      <a:gd name="connsiteX5" fmla="*/ 6524 w 10000"/>
                      <a:gd name="connsiteY5" fmla="*/ 5083 h 10000"/>
                      <a:gd name="connsiteX6" fmla="*/ 3526 w 10000"/>
                      <a:gd name="connsiteY6" fmla="*/ 766 h 10000"/>
                      <a:gd name="connsiteX7" fmla="*/ 2692 w 10000"/>
                      <a:gd name="connsiteY7" fmla="*/ 1049 h 10000"/>
                      <a:gd name="connsiteX8" fmla="*/ 2453 w 10000"/>
                      <a:gd name="connsiteY8" fmla="*/ 0 h 10000"/>
                      <a:gd name="connsiteX9" fmla="*/ 1957 w 10000"/>
                      <a:gd name="connsiteY9" fmla="*/ 646 h 10000"/>
                      <a:gd name="connsiteX10" fmla="*/ 859 w 10000"/>
                      <a:gd name="connsiteY10" fmla="*/ 46 h 10000"/>
                      <a:gd name="connsiteX11" fmla="*/ 190 w 10000"/>
                      <a:gd name="connsiteY11" fmla="*/ 421 h 10000"/>
                      <a:gd name="connsiteX12" fmla="*/ 116 w 10000"/>
                      <a:gd name="connsiteY12" fmla="*/ 120 h 10000"/>
                      <a:gd name="connsiteX13" fmla="*/ 0 w 10000"/>
                      <a:gd name="connsiteY13" fmla="*/ 225 h 10000"/>
                      <a:gd name="connsiteX14" fmla="*/ 124 w 10000"/>
                      <a:gd name="connsiteY14" fmla="*/ 704 h 10000"/>
                      <a:gd name="connsiteX15" fmla="*/ 859 w 10000"/>
                      <a:gd name="connsiteY15" fmla="*/ 301 h 10000"/>
                      <a:gd name="connsiteX16" fmla="*/ 1982 w 10000"/>
                      <a:gd name="connsiteY16" fmla="*/ 901 h 10000"/>
                      <a:gd name="connsiteX17" fmla="*/ 2395 w 10000"/>
                      <a:gd name="connsiteY17" fmla="*/ 344 h 10000"/>
                      <a:gd name="connsiteX18" fmla="*/ 2618 w 10000"/>
                      <a:gd name="connsiteY18" fmla="*/ 1319 h 10000"/>
                      <a:gd name="connsiteX19" fmla="*/ 3493 w 10000"/>
                      <a:gd name="connsiteY19" fmla="*/ 1005 h 10000"/>
                      <a:gd name="connsiteX20" fmla="*/ 6507 w 10000"/>
                      <a:gd name="connsiteY20" fmla="*/ 5353 h 10000"/>
                      <a:gd name="connsiteX21" fmla="*/ 7143 w 10000"/>
                      <a:gd name="connsiteY21" fmla="*/ 4754 h 10000"/>
                      <a:gd name="connsiteX22" fmla="*/ 7514 w 10000"/>
                      <a:gd name="connsiteY22" fmla="*/ 5953 h 10000"/>
                      <a:gd name="connsiteX23" fmla="*/ 7977 w 10000"/>
                      <a:gd name="connsiteY23" fmla="*/ 6553 h 10000"/>
                      <a:gd name="connsiteX24" fmla="*/ 9777 w 10000"/>
                      <a:gd name="connsiteY24" fmla="*/ 5323 h 10000"/>
                      <a:gd name="connsiteX25" fmla="*/ 9835 w 10000"/>
                      <a:gd name="connsiteY25" fmla="*/ 5458 h 10000"/>
                      <a:gd name="connsiteX26" fmla="*/ 9562 w 10000"/>
                      <a:gd name="connsiteY26" fmla="*/ 6012 h 10000"/>
                      <a:gd name="connsiteX27" fmla="*/ 9562 w 10000"/>
                      <a:gd name="connsiteY27" fmla="*/ 7076 h 10000"/>
                      <a:gd name="connsiteX28" fmla="*/ 9100 w 10000"/>
                      <a:gd name="connsiteY28" fmla="*/ 7392 h 10000"/>
                      <a:gd name="connsiteX29" fmla="*/ 9100 w 10000"/>
                      <a:gd name="connsiteY29" fmla="*/ 8306 h 10000"/>
                      <a:gd name="connsiteX30" fmla="*/ 7779 w 10000"/>
                      <a:gd name="connsiteY30" fmla="*/ 9745 h 10000"/>
                      <a:gd name="connsiteX31" fmla="*/ 7779 w 10000"/>
                      <a:gd name="connsiteY31" fmla="*/ 9985 h 10000"/>
                      <a:gd name="connsiteX32" fmla="*/ 7803 w 10000"/>
                      <a:gd name="connsiteY32" fmla="*/ 10000 h 10000"/>
                      <a:gd name="connsiteX33" fmla="*/ 9232 w 10000"/>
                      <a:gd name="connsiteY33" fmla="*/ 8441 h 10000"/>
                      <a:gd name="connsiteX34" fmla="*/ 9232 w 10000"/>
                      <a:gd name="connsiteY34" fmla="*/ 7555 h 10000"/>
                      <a:gd name="connsiteX35" fmla="*/ 9686 w 10000"/>
                      <a:gd name="connsiteY35" fmla="*/ 7242 h 10000"/>
                      <a:gd name="connsiteX36" fmla="*/ 9686 w 10000"/>
                      <a:gd name="connsiteY36" fmla="*/ 6101 h 10000"/>
                      <a:gd name="connsiteX37" fmla="*/ 10000 w 10000"/>
                      <a:gd name="connsiteY37" fmla="*/ 5458 h 10000"/>
                      <a:gd name="connsiteX0" fmla="*/ 10000 w 10000"/>
                      <a:gd name="connsiteY0" fmla="*/ 5458 h 9985"/>
                      <a:gd name="connsiteX1" fmla="*/ 9818 w 10000"/>
                      <a:gd name="connsiteY1" fmla="*/ 5052 h 9985"/>
                      <a:gd name="connsiteX2" fmla="*/ 7993 w 10000"/>
                      <a:gd name="connsiteY2" fmla="*/ 6298 h 9985"/>
                      <a:gd name="connsiteX3" fmla="*/ 7614 w 10000"/>
                      <a:gd name="connsiteY3" fmla="*/ 5803 h 9985"/>
                      <a:gd name="connsiteX4" fmla="*/ 7192 w 10000"/>
                      <a:gd name="connsiteY4" fmla="*/ 4437 h 9985"/>
                      <a:gd name="connsiteX5" fmla="*/ 6524 w 10000"/>
                      <a:gd name="connsiteY5" fmla="*/ 5083 h 9985"/>
                      <a:gd name="connsiteX6" fmla="*/ 3526 w 10000"/>
                      <a:gd name="connsiteY6" fmla="*/ 766 h 9985"/>
                      <a:gd name="connsiteX7" fmla="*/ 2692 w 10000"/>
                      <a:gd name="connsiteY7" fmla="*/ 1049 h 9985"/>
                      <a:gd name="connsiteX8" fmla="*/ 2453 w 10000"/>
                      <a:gd name="connsiteY8" fmla="*/ 0 h 9985"/>
                      <a:gd name="connsiteX9" fmla="*/ 1957 w 10000"/>
                      <a:gd name="connsiteY9" fmla="*/ 646 h 9985"/>
                      <a:gd name="connsiteX10" fmla="*/ 859 w 10000"/>
                      <a:gd name="connsiteY10" fmla="*/ 46 h 9985"/>
                      <a:gd name="connsiteX11" fmla="*/ 190 w 10000"/>
                      <a:gd name="connsiteY11" fmla="*/ 421 h 9985"/>
                      <a:gd name="connsiteX12" fmla="*/ 116 w 10000"/>
                      <a:gd name="connsiteY12" fmla="*/ 120 h 9985"/>
                      <a:gd name="connsiteX13" fmla="*/ 0 w 10000"/>
                      <a:gd name="connsiteY13" fmla="*/ 225 h 9985"/>
                      <a:gd name="connsiteX14" fmla="*/ 124 w 10000"/>
                      <a:gd name="connsiteY14" fmla="*/ 704 h 9985"/>
                      <a:gd name="connsiteX15" fmla="*/ 859 w 10000"/>
                      <a:gd name="connsiteY15" fmla="*/ 301 h 9985"/>
                      <a:gd name="connsiteX16" fmla="*/ 1982 w 10000"/>
                      <a:gd name="connsiteY16" fmla="*/ 901 h 9985"/>
                      <a:gd name="connsiteX17" fmla="*/ 2395 w 10000"/>
                      <a:gd name="connsiteY17" fmla="*/ 344 h 9985"/>
                      <a:gd name="connsiteX18" fmla="*/ 2618 w 10000"/>
                      <a:gd name="connsiteY18" fmla="*/ 1319 h 9985"/>
                      <a:gd name="connsiteX19" fmla="*/ 3493 w 10000"/>
                      <a:gd name="connsiteY19" fmla="*/ 1005 h 9985"/>
                      <a:gd name="connsiteX20" fmla="*/ 6507 w 10000"/>
                      <a:gd name="connsiteY20" fmla="*/ 5353 h 9985"/>
                      <a:gd name="connsiteX21" fmla="*/ 7143 w 10000"/>
                      <a:gd name="connsiteY21" fmla="*/ 4754 h 9985"/>
                      <a:gd name="connsiteX22" fmla="*/ 7514 w 10000"/>
                      <a:gd name="connsiteY22" fmla="*/ 5953 h 9985"/>
                      <a:gd name="connsiteX23" fmla="*/ 7977 w 10000"/>
                      <a:gd name="connsiteY23" fmla="*/ 6553 h 9985"/>
                      <a:gd name="connsiteX24" fmla="*/ 9777 w 10000"/>
                      <a:gd name="connsiteY24" fmla="*/ 5323 h 9985"/>
                      <a:gd name="connsiteX25" fmla="*/ 9835 w 10000"/>
                      <a:gd name="connsiteY25" fmla="*/ 5458 h 9985"/>
                      <a:gd name="connsiteX26" fmla="*/ 9562 w 10000"/>
                      <a:gd name="connsiteY26" fmla="*/ 6012 h 9985"/>
                      <a:gd name="connsiteX27" fmla="*/ 9562 w 10000"/>
                      <a:gd name="connsiteY27" fmla="*/ 7076 h 9985"/>
                      <a:gd name="connsiteX28" fmla="*/ 9100 w 10000"/>
                      <a:gd name="connsiteY28" fmla="*/ 7392 h 9985"/>
                      <a:gd name="connsiteX29" fmla="*/ 9100 w 10000"/>
                      <a:gd name="connsiteY29" fmla="*/ 8306 h 9985"/>
                      <a:gd name="connsiteX30" fmla="*/ 7779 w 10000"/>
                      <a:gd name="connsiteY30" fmla="*/ 9745 h 9985"/>
                      <a:gd name="connsiteX31" fmla="*/ 7779 w 10000"/>
                      <a:gd name="connsiteY31" fmla="*/ 9985 h 9985"/>
                      <a:gd name="connsiteX32" fmla="*/ 9232 w 10000"/>
                      <a:gd name="connsiteY32" fmla="*/ 8441 h 9985"/>
                      <a:gd name="connsiteX33" fmla="*/ 9232 w 10000"/>
                      <a:gd name="connsiteY33" fmla="*/ 7555 h 9985"/>
                      <a:gd name="connsiteX34" fmla="*/ 9686 w 10000"/>
                      <a:gd name="connsiteY34" fmla="*/ 7242 h 9985"/>
                      <a:gd name="connsiteX35" fmla="*/ 9686 w 10000"/>
                      <a:gd name="connsiteY35" fmla="*/ 6101 h 9985"/>
                      <a:gd name="connsiteX36" fmla="*/ 10000 w 10000"/>
                      <a:gd name="connsiteY36" fmla="*/ 5458 h 9985"/>
                      <a:gd name="connsiteX0" fmla="*/ 10000 w 10000"/>
                      <a:gd name="connsiteY0" fmla="*/ 5466 h 9760"/>
                      <a:gd name="connsiteX1" fmla="*/ 9818 w 10000"/>
                      <a:gd name="connsiteY1" fmla="*/ 5060 h 9760"/>
                      <a:gd name="connsiteX2" fmla="*/ 7993 w 10000"/>
                      <a:gd name="connsiteY2" fmla="*/ 6307 h 9760"/>
                      <a:gd name="connsiteX3" fmla="*/ 7614 w 10000"/>
                      <a:gd name="connsiteY3" fmla="*/ 5812 h 9760"/>
                      <a:gd name="connsiteX4" fmla="*/ 7192 w 10000"/>
                      <a:gd name="connsiteY4" fmla="*/ 4444 h 9760"/>
                      <a:gd name="connsiteX5" fmla="*/ 6524 w 10000"/>
                      <a:gd name="connsiteY5" fmla="*/ 5091 h 9760"/>
                      <a:gd name="connsiteX6" fmla="*/ 3526 w 10000"/>
                      <a:gd name="connsiteY6" fmla="*/ 767 h 9760"/>
                      <a:gd name="connsiteX7" fmla="*/ 2692 w 10000"/>
                      <a:gd name="connsiteY7" fmla="*/ 1051 h 9760"/>
                      <a:gd name="connsiteX8" fmla="*/ 2453 w 10000"/>
                      <a:gd name="connsiteY8" fmla="*/ 0 h 9760"/>
                      <a:gd name="connsiteX9" fmla="*/ 1957 w 10000"/>
                      <a:gd name="connsiteY9" fmla="*/ 647 h 9760"/>
                      <a:gd name="connsiteX10" fmla="*/ 859 w 10000"/>
                      <a:gd name="connsiteY10" fmla="*/ 46 h 9760"/>
                      <a:gd name="connsiteX11" fmla="*/ 190 w 10000"/>
                      <a:gd name="connsiteY11" fmla="*/ 422 h 9760"/>
                      <a:gd name="connsiteX12" fmla="*/ 116 w 10000"/>
                      <a:gd name="connsiteY12" fmla="*/ 120 h 9760"/>
                      <a:gd name="connsiteX13" fmla="*/ 0 w 10000"/>
                      <a:gd name="connsiteY13" fmla="*/ 225 h 9760"/>
                      <a:gd name="connsiteX14" fmla="*/ 124 w 10000"/>
                      <a:gd name="connsiteY14" fmla="*/ 705 h 9760"/>
                      <a:gd name="connsiteX15" fmla="*/ 859 w 10000"/>
                      <a:gd name="connsiteY15" fmla="*/ 301 h 9760"/>
                      <a:gd name="connsiteX16" fmla="*/ 1982 w 10000"/>
                      <a:gd name="connsiteY16" fmla="*/ 902 h 9760"/>
                      <a:gd name="connsiteX17" fmla="*/ 2395 w 10000"/>
                      <a:gd name="connsiteY17" fmla="*/ 345 h 9760"/>
                      <a:gd name="connsiteX18" fmla="*/ 2618 w 10000"/>
                      <a:gd name="connsiteY18" fmla="*/ 1321 h 9760"/>
                      <a:gd name="connsiteX19" fmla="*/ 3493 w 10000"/>
                      <a:gd name="connsiteY19" fmla="*/ 1007 h 9760"/>
                      <a:gd name="connsiteX20" fmla="*/ 6507 w 10000"/>
                      <a:gd name="connsiteY20" fmla="*/ 5361 h 9760"/>
                      <a:gd name="connsiteX21" fmla="*/ 7143 w 10000"/>
                      <a:gd name="connsiteY21" fmla="*/ 4761 h 9760"/>
                      <a:gd name="connsiteX22" fmla="*/ 7514 w 10000"/>
                      <a:gd name="connsiteY22" fmla="*/ 5962 h 9760"/>
                      <a:gd name="connsiteX23" fmla="*/ 7977 w 10000"/>
                      <a:gd name="connsiteY23" fmla="*/ 6563 h 9760"/>
                      <a:gd name="connsiteX24" fmla="*/ 9777 w 10000"/>
                      <a:gd name="connsiteY24" fmla="*/ 5331 h 9760"/>
                      <a:gd name="connsiteX25" fmla="*/ 9835 w 10000"/>
                      <a:gd name="connsiteY25" fmla="*/ 5466 h 9760"/>
                      <a:gd name="connsiteX26" fmla="*/ 9562 w 10000"/>
                      <a:gd name="connsiteY26" fmla="*/ 6021 h 9760"/>
                      <a:gd name="connsiteX27" fmla="*/ 9562 w 10000"/>
                      <a:gd name="connsiteY27" fmla="*/ 7087 h 9760"/>
                      <a:gd name="connsiteX28" fmla="*/ 9100 w 10000"/>
                      <a:gd name="connsiteY28" fmla="*/ 7403 h 9760"/>
                      <a:gd name="connsiteX29" fmla="*/ 9100 w 10000"/>
                      <a:gd name="connsiteY29" fmla="*/ 8318 h 9760"/>
                      <a:gd name="connsiteX30" fmla="*/ 7779 w 10000"/>
                      <a:gd name="connsiteY30" fmla="*/ 9760 h 9760"/>
                      <a:gd name="connsiteX31" fmla="*/ 9232 w 10000"/>
                      <a:gd name="connsiteY31" fmla="*/ 8454 h 9760"/>
                      <a:gd name="connsiteX32" fmla="*/ 9232 w 10000"/>
                      <a:gd name="connsiteY32" fmla="*/ 7566 h 9760"/>
                      <a:gd name="connsiteX33" fmla="*/ 9686 w 10000"/>
                      <a:gd name="connsiteY33" fmla="*/ 7253 h 9760"/>
                      <a:gd name="connsiteX34" fmla="*/ 9686 w 10000"/>
                      <a:gd name="connsiteY34" fmla="*/ 6110 h 9760"/>
                      <a:gd name="connsiteX35" fmla="*/ 10000 w 10000"/>
                      <a:gd name="connsiteY35" fmla="*/ 5466 h 9760"/>
                      <a:gd name="connsiteX0" fmla="*/ 10000 w 10000"/>
                      <a:gd name="connsiteY0" fmla="*/ 5600 h 8662"/>
                      <a:gd name="connsiteX1" fmla="*/ 9818 w 10000"/>
                      <a:gd name="connsiteY1" fmla="*/ 5184 h 8662"/>
                      <a:gd name="connsiteX2" fmla="*/ 7993 w 10000"/>
                      <a:gd name="connsiteY2" fmla="*/ 6462 h 8662"/>
                      <a:gd name="connsiteX3" fmla="*/ 7614 w 10000"/>
                      <a:gd name="connsiteY3" fmla="*/ 5955 h 8662"/>
                      <a:gd name="connsiteX4" fmla="*/ 7192 w 10000"/>
                      <a:gd name="connsiteY4" fmla="*/ 4553 h 8662"/>
                      <a:gd name="connsiteX5" fmla="*/ 6524 w 10000"/>
                      <a:gd name="connsiteY5" fmla="*/ 5216 h 8662"/>
                      <a:gd name="connsiteX6" fmla="*/ 3526 w 10000"/>
                      <a:gd name="connsiteY6" fmla="*/ 786 h 8662"/>
                      <a:gd name="connsiteX7" fmla="*/ 2692 w 10000"/>
                      <a:gd name="connsiteY7" fmla="*/ 1077 h 8662"/>
                      <a:gd name="connsiteX8" fmla="*/ 2453 w 10000"/>
                      <a:gd name="connsiteY8" fmla="*/ 0 h 8662"/>
                      <a:gd name="connsiteX9" fmla="*/ 1957 w 10000"/>
                      <a:gd name="connsiteY9" fmla="*/ 663 h 8662"/>
                      <a:gd name="connsiteX10" fmla="*/ 859 w 10000"/>
                      <a:gd name="connsiteY10" fmla="*/ 47 h 8662"/>
                      <a:gd name="connsiteX11" fmla="*/ 190 w 10000"/>
                      <a:gd name="connsiteY11" fmla="*/ 432 h 8662"/>
                      <a:gd name="connsiteX12" fmla="*/ 116 w 10000"/>
                      <a:gd name="connsiteY12" fmla="*/ 123 h 8662"/>
                      <a:gd name="connsiteX13" fmla="*/ 0 w 10000"/>
                      <a:gd name="connsiteY13" fmla="*/ 231 h 8662"/>
                      <a:gd name="connsiteX14" fmla="*/ 124 w 10000"/>
                      <a:gd name="connsiteY14" fmla="*/ 722 h 8662"/>
                      <a:gd name="connsiteX15" fmla="*/ 859 w 10000"/>
                      <a:gd name="connsiteY15" fmla="*/ 308 h 8662"/>
                      <a:gd name="connsiteX16" fmla="*/ 1982 w 10000"/>
                      <a:gd name="connsiteY16" fmla="*/ 924 h 8662"/>
                      <a:gd name="connsiteX17" fmla="*/ 2395 w 10000"/>
                      <a:gd name="connsiteY17" fmla="*/ 353 h 8662"/>
                      <a:gd name="connsiteX18" fmla="*/ 2618 w 10000"/>
                      <a:gd name="connsiteY18" fmla="*/ 1353 h 8662"/>
                      <a:gd name="connsiteX19" fmla="*/ 3493 w 10000"/>
                      <a:gd name="connsiteY19" fmla="*/ 1032 h 8662"/>
                      <a:gd name="connsiteX20" fmla="*/ 6507 w 10000"/>
                      <a:gd name="connsiteY20" fmla="*/ 5493 h 8662"/>
                      <a:gd name="connsiteX21" fmla="*/ 7143 w 10000"/>
                      <a:gd name="connsiteY21" fmla="*/ 4878 h 8662"/>
                      <a:gd name="connsiteX22" fmla="*/ 7514 w 10000"/>
                      <a:gd name="connsiteY22" fmla="*/ 6109 h 8662"/>
                      <a:gd name="connsiteX23" fmla="*/ 7977 w 10000"/>
                      <a:gd name="connsiteY23" fmla="*/ 6724 h 8662"/>
                      <a:gd name="connsiteX24" fmla="*/ 9777 w 10000"/>
                      <a:gd name="connsiteY24" fmla="*/ 5462 h 8662"/>
                      <a:gd name="connsiteX25" fmla="*/ 9835 w 10000"/>
                      <a:gd name="connsiteY25" fmla="*/ 5600 h 8662"/>
                      <a:gd name="connsiteX26" fmla="*/ 9562 w 10000"/>
                      <a:gd name="connsiteY26" fmla="*/ 6169 h 8662"/>
                      <a:gd name="connsiteX27" fmla="*/ 9562 w 10000"/>
                      <a:gd name="connsiteY27" fmla="*/ 7261 h 8662"/>
                      <a:gd name="connsiteX28" fmla="*/ 9100 w 10000"/>
                      <a:gd name="connsiteY28" fmla="*/ 7585 h 8662"/>
                      <a:gd name="connsiteX29" fmla="*/ 9100 w 10000"/>
                      <a:gd name="connsiteY29" fmla="*/ 8523 h 8662"/>
                      <a:gd name="connsiteX30" fmla="*/ 9232 w 10000"/>
                      <a:gd name="connsiteY30" fmla="*/ 8662 h 8662"/>
                      <a:gd name="connsiteX31" fmla="*/ 9232 w 10000"/>
                      <a:gd name="connsiteY31" fmla="*/ 7752 h 8662"/>
                      <a:gd name="connsiteX32" fmla="*/ 9686 w 10000"/>
                      <a:gd name="connsiteY32" fmla="*/ 7431 h 8662"/>
                      <a:gd name="connsiteX33" fmla="*/ 9686 w 10000"/>
                      <a:gd name="connsiteY33" fmla="*/ 6260 h 8662"/>
                      <a:gd name="connsiteX34" fmla="*/ 10000 w 10000"/>
                      <a:gd name="connsiteY34" fmla="*/ 5600 h 8662"/>
                      <a:gd name="connsiteX0" fmla="*/ 10000 w 10000"/>
                      <a:gd name="connsiteY0" fmla="*/ 6465 h 9840"/>
                      <a:gd name="connsiteX1" fmla="*/ 9818 w 10000"/>
                      <a:gd name="connsiteY1" fmla="*/ 5985 h 9840"/>
                      <a:gd name="connsiteX2" fmla="*/ 7993 w 10000"/>
                      <a:gd name="connsiteY2" fmla="*/ 7460 h 9840"/>
                      <a:gd name="connsiteX3" fmla="*/ 7614 w 10000"/>
                      <a:gd name="connsiteY3" fmla="*/ 6875 h 9840"/>
                      <a:gd name="connsiteX4" fmla="*/ 7192 w 10000"/>
                      <a:gd name="connsiteY4" fmla="*/ 5256 h 9840"/>
                      <a:gd name="connsiteX5" fmla="*/ 6524 w 10000"/>
                      <a:gd name="connsiteY5" fmla="*/ 6022 h 9840"/>
                      <a:gd name="connsiteX6" fmla="*/ 3526 w 10000"/>
                      <a:gd name="connsiteY6" fmla="*/ 907 h 9840"/>
                      <a:gd name="connsiteX7" fmla="*/ 2692 w 10000"/>
                      <a:gd name="connsiteY7" fmla="*/ 1243 h 9840"/>
                      <a:gd name="connsiteX8" fmla="*/ 2453 w 10000"/>
                      <a:gd name="connsiteY8" fmla="*/ 0 h 9840"/>
                      <a:gd name="connsiteX9" fmla="*/ 1957 w 10000"/>
                      <a:gd name="connsiteY9" fmla="*/ 765 h 9840"/>
                      <a:gd name="connsiteX10" fmla="*/ 859 w 10000"/>
                      <a:gd name="connsiteY10" fmla="*/ 54 h 9840"/>
                      <a:gd name="connsiteX11" fmla="*/ 190 w 10000"/>
                      <a:gd name="connsiteY11" fmla="*/ 499 h 9840"/>
                      <a:gd name="connsiteX12" fmla="*/ 116 w 10000"/>
                      <a:gd name="connsiteY12" fmla="*/ 142 h 9840"/>
                      <a:gd name="connsiteX13" fmla="*/ 0 w 10000"/>
                      <a:gd name="connsiteY13" fmla="*/ 267 h 9840"/>
                      <a:gd name="connsiteX14" fmla="*/ 124 w 10000"/>
                      <a:gd name="connsiteY14" fmla="*/ 834 h 9840"/>
                      <a:gd name="connsiteX15" fmla="*/ 859 w 10000"/>
                      <a:gd name="connsiteY15" fmla="*/ 356 h 9840"/>
                      <a:gd name="connsiteX16" fmla="*/ 1982 w 10000"/>
                      <a:gd name="connsiteY16" fmla="*/ 1067 h 9840"/>
                      <a:gd name="connsiteX17" fmla="*/ 2395 w 10000"/>
                      <a:gd name="connsiteY17" fmla="*/ 408 h 9840"/>
                      <a:gd name="connsiteX18" fmla="*/ 2618 w 10000"/>
                      <a:gd name="connsiteY18" fmla="*/ 1562 h 9840"/>
                      <a:gd name="connsiteX19" fmla="*/ 3493 w 10000"/>
                      <a:gd name="connsiteY19" fmla="*/ 1191 h 9840"/>
                      <a:gd name="connsiteX20" fmla="*/ 6507 w 10000"/>
                      <a:gd name="connsiteY20" fmla="*/ 6341 h 9840"/>
                      <a:gd name="connsiteX21" fmla="*/ 7143 w 10000"/>
                      <a:gd name="connsiteY21" fmla="*/ 5631 h 9840"/>
                      <a:gd name="connsiteX22" fmla="*/ 7514 w 10000"/>
                      <a:gd name="connsiteY22" fmla="*/ 7053 h 9840"/>
                      <a:gd name="connsiteX23" fmla="*/ 7977 w 10000"/>
                      <a:gd name="connsiteY23" fmla="*/ 7763 h 9840"/>
                      <a:gd name="connsiteX24" fmla="*/ 9777 w 10000"/>
                      <a:gd name="connsiteY24" fmla="*/ 6306 h 9840"/>
                      <a:gd name="connsiteX25" fmla="*/ 9835 w 10000"/>
                      <a:gd name="connsiteY25" fmla="*/ 6465 h 9840"/>
                      <a:gd name="connsiteX26" fmla="*/ 9562 w 10000"/>
                      <a:gd name="connsiteY26" fmla="*/ 7122 h 9840"/>
                      <a:gd name="connsiteX27" fmla="*/ 9562 w 10000"/>
                      <a:gd name="connsiteY27" fmla="*/ 8383 h 9840"/>
                      <a:gd name="connsiteX28" fmla="*/ 9100 w 10000"/>
                      <a:gd name="connsiteY28" fmla="*/ 8757 h 9840"/>
                      <a:gd name="connsiteX29" fmla="*/ 9100 w 10000"/>
                      <a:gd name="connsiteY29" fmla="*/ 9840 h 9840"/>
                      <a:gd name="connsiteX30" fmla="*/ 9232 w 10000"/>
                      <a:gd name="connsiteY30" fmla="*/ 8949 h 9840"/>
                      <a:gd name="connsiteX31" fmla="*/ 9686 w 10000"/>
                      <a:gd name="connsiteY31" fmla="*/ 8579 h 9840"/>
                      <a:gd name="connsiteX32" fmla="*/ 9686 w 10000"/>
                      <a:gd name="connsiteY32" fmla="*/ 7227 h 9840"/>
                      <a:gd name="connsiteX33" fmla="*/ 10000 w 10000"/>
                      <a:gd name="connsiteY33" fmla="*/ 6465 h 9840"/>
                      <a:gd name="connsiteX0" fmla="*/ 10000 w 10000"/>
                      <a:gd name="connsiteY0" fmla="*/ 6570 h 10000"/>
                      <a:gd name="connsiteX1" fmla="*/ 9818 w 10000"/>
                      <a:gd name="connsiteY1" fmla="*/ 6082 h 10000"/>
                      <a:gd name="connsiteX2" fmla="*/ 7993 w 10000"/>
                      <a:gd name="connsiteY2" fmla="*/ 7581 h 10000"/>
                      <a:gd name="connsiteX3" fmla="*/ 7614 w 10000"/>
                      <a:gd name="connsiteY3" fmla="*/ 6987 h 10000"/>
                      <a:gd name="connsiteX4" fmla="*/ 7192 w 10000"/>
                      <a:gd name="connsiteY4" fmla="*/ 5341 h 10000"/>
                      <a:gd name="connsiteX5" fmla="*/ 6524 w 10000"/>
                      <a:gd name="connsiteY5" fmla="*/ 6120 h 10000"/>
                      <a:gd name="connsiteX6" fmla="*/ 3526 w 10000"/>
                      <a:gd name="connsiteY6" fmla="*/ 922 h 10000"/>
                      <a:gd name="connsiteX7" fmla="*/ 2692 w 10000"/>
                      <a:gd name="connsiteY7" fmla="*/ 1263 h 10000"/>
                      <a:gd name="connsiteX8" fmla="*/ 2453 w 10000"/>
                      <a:gd name="connsiteY8" fmla="*/ 0 h 10000"/>
                      <a:gd name="connsiteX9" fmla="*/ 1957 w 10000"/>
                      <a:gd name="connsiteY9" fmla="*/ 777 h 10000"/>
                      <a:gd name="connsiteX10" fmla="*/ 859 w 10000"/>
                      <a:gd name="connsiteY10" fmla="*/ 55 h 10000"/>
                      <a:gd name="connsiteX11" fmla="*/ 190 w 10000"/>
                      <a:gd name="connsiteY11" fmla="*/ 507 h 10000"/>
                      <a:gd name="connsiteX12" fmla="*/ 116 w 10000"/>
                      <a:gd name="connsiteY12" fmla="*/ 144 h 10000"/>
                      <a:gd name="connsiteX13" fmla="*/ 0 w 10000"/>
                      <a:gd name="connsiteY13" fmla="*/ 271 h 10000"/>
                      <a:gd name="connsiteX14" fmla="*/ 124 w 10000"/>
                      <a:gd name="connsiteY14" fmla="*/ 848 h 10000"/>
                      <a:gd name="connsiteX15" fmla="*/ 859 w 10000"/>
                      <a:gd name="connsiteY15" fmla="*/ 362 h 10000"/>
                      <a:gd name="connsiteX16" fmla="*/ 1982 w 10000"/>
                      <a:gd name="connsiteY16" fmla="*/ 1084 h 10000"/>
                      <a:gd name="connsiteX17" fmla="*/ 2395 w 10000"/>
                      <a:gd name="connsiteY17" fmla="*/ 415 h 10000"/>
                      <a:gd name="connsiteX18" fmla="*/ 2618 w 10000"/>
                      <a:gd name="connsiteY18" fmla="*/ 1587 h 10000"/>
                      <a:gd name="connsiteX19" fmla="*/ 3493 w 10000"/>
                      <a:gd name="connsiteY19" fmla="*/ 1210 h 10000"/>
                      <a:gd name="connsiteX20" fmla="*/ 6507 w 10000"/>
                      <a:gd name="connsiteY20" fmla="*/ 6444 h 10000"/>
                      <a:gd name="connsiteX21" fmla="*/ 7143 w 10000"/>
                      <a:gd name="connsiteY21" fmla="*/ 5723 h 10000"/>
                      <a:gd name="connsiteX22" fmla="*/ 7514 w 10000"/>
                      <a:gd name="connsiteY22" fmla="*/ 7168 h 10000"/>
                      <a:gd name="connsiteX23" fmla="*/ 7977 w 10000"/>
                      <a:gd name="connsiteY23" fmla="*/ 7889 h 10000"/>
                      <a:gd name="connsiteX24" fmla="*/ 9777 w 10000"/>
                      <a:gd name="connsiteY24" fmla="*/ 6409 h 10000"/>
                      <a:gd name="connsiteX25" fmla="*/ 9835 w 10000"/>
                      <a:gd name="connsiteY25" fmla="*/ 6570 h 10000"/>
                      <a:gd name="connsiteX26" fmla="*/ 9562 w 10000"/>
                      <a:gd name="connsiteY26" fmla="*/ 7238 h 10000"/>
                      <a:gd name="connsiteX27" fmla="*/ 9562 w 10000"/>
                      <a:gd name="connsiteY27" fmla="*/ 8519 h 10000"/>
                      <a:gd name="connsiteX28" fmla="*/ 9100 w 10000"/>
                      <a:gd name="connsiteY28" fmla="*/ 8899 h 10000"/>
                      <a:gd name="connsiteX29" fmla="*/ 9100 w 10000"/>
                      <a:gd name="connsiteY29" fmla="*/ 10000 h 10000"/>
                      <a:gd name="connsiteX30" fmla="*/ 9686 w 10000"/>
                      <a:gd name="connsiteY30" fmla="*/ 8718 h 10000"/>
                      <a:gd name="connsiteX31" fmla="*/ 9686 w 10000"/>
                      <a:gd name="connsiteY31" fmla="*/ 7345 h 10000"/>
                      <a:gd name="connsiteX32" fmla="*/ 10000 w 10000"/>
                      <a:gd name="connsiteY32" fmla="*/ 6570 h 10000"/>
                      <a:gd name="connsiteX0" fmla="*/ 10000 w 10000"/>
                      <a:gd name="connsiteY0" fmla="*/ 6570 h 10000"/>
                      <a:gd name="connsiteX1" fmla="*/ 9818 w 10000"/>
                      <a:gd name="connsiteY1" fmla="*/ 6082 h 10000"/>
                      <a:gd name="connsiteX2" fmla="*/ 7993 w 10000"/>
                      <a:gd name="connsiteY2" fmla="*/ 7581 h 10000"/>
                      <a:gd name="connsiteX3" fmla="*/ 7614 w 10000"/>
                      <a:gd name="connsiteY3" fmla="*/ 6987 h 10000"/>
                      <a:gd name="connsiteX4" fmla="*/ 7192 w 10000"/>
                      <a:gd name="connsiteY4" fmla="*/ 5341 h 10000"/>
                      <a:gd name="connsiteX5" fmla="*/ 6524 w 10000"/>
                      <a:gd name="connsiteY5" fmla="*/ 6120 h 10000"/>
                      <a:gd name="connsiteX6" fmla="*/ 3526 w 10000"/>
                      <a:gd name="connsiteY6" fmla="*/ 922 h 10000"/>
                      <a:gd name="connsiteX7" fmla="*/ 2692 w 10000"/>
                      <a:gd name="connsiteY7" fmla="*/ 1263 h 10000"/>
                      <a:gd name="connsiteX8" fmla="*/ 2453 w 10000"/>
                      <a:gd name="connsiteY8" fmla="*/ 0 h 10000"/>
                      <a:gd name="connsiteX9" fmla="*/ 1957 w 10000"/>
                      <a:gd name="connsiteY9" fmla="*/ 777 h 10000"/>
                      <a:gd name="connsiteX10" fmla="*/ 859 w 10000"/>
                      <a:gd name="connsiteY10" fmla="*/ 55 h 10000"/>
                      <a:gd name="connsiteX11" fmla="*/ 190 w 10000"/>
                      <a:gd name="connsiteY11" fmla="*/ 507 h 10000"/>
                      <a:gd name="connsiteX12" fmla="*/ 116 w 10000"/>
                      <a:gd name="connsiteY12" fmla="*/ 144 h 10000"/>
                      <a:gd name="connsiteX13" fmla="*/ 0 w 10000"/>
                      <a:gd name="connsiteY13" fmla="*/ 271 h 10000"/>
                      <a:gd name="connsiteX14" fmla="*/ 124 w 10000"/>
                      <a:gd name="connsiteY14" fmla="*/ 848 h 10000"/>
                      <a:gd name="connsiteX15" fmla="*/ 859 w 10000"/>
                      <a:gd name="connsiteY15" fmla="*/ 362 h 10000"/>
                      <a:gd name="connsiteX16" fmla="*/ 1982 w 10000"/>
                      <a:gd name="connsiteY16" fmla="*/ 1084 h 10000"/>
                      <a:gd name="connsiteX17" fmla="*/ 2395 w 10000"/>
                      <a:gd name="connsiteY17" fmla="*/ 415 h 10000"/>
                      <a:gd name="connsiteX18" fmla="*/ 2618 w 10000"/>
                      <a:gd name="connsiteY18" fmla="*/ 1587 h 10000"/>
                      <a:gd name="connsiteX19" fmla="*/ 3493 w 10000"/>
                      <a:gd name="connsiteY19" fmla="*/ 1210 h 10000"/>
                      <a:gd name="connsiteX20" fmla="*/ 6507 w 10000"/>
                      <a:gd name="connsiteY20" fmla="*/ 6444 h 10000"/>
                      <a:gd name="connsiteX21" fmla="*/ 7143 w 10000"/>
                      <a:gd name="connsiteY21" fmla="*/ 5723 h 10000"/>
                      <a:gd name="connsiteX22" fmla="*/ 7514 w 10000"/>
                      <a:gd name="connsiteY22" fmla="*/ 7168 h 10000"/>
                      <a:gd name="connsiteX23" fmla="*/ 7977 w 10000"/>
                      <a:gd name="connsiteY23" fmla="*/ 7889 h 10000"/>
                      <a:gd name="connsiteX24" fmla="*/ 9777 w 10000"/>
                      <a:gd name="connsiteY24" fmla="*/ 6409 h 10000"/>
                      <a:gd name="connsiteX25" fmla="*/ 9835 w 10000"/>
                      <a:gd name="connsiteY25" fmla="*/ 6570 h 10000"/>
                      <a:gd name="connsiteX26" fmla="*/ 9562 w 10000"/>
                      <a:gd name="connsiteY26" fmla="*/ 7238 h 10000"/>
                      <a:gd name="connsiteX27" fmla="*/ 9562 w 10000"/>
                      <a:gd name="connsiteY27" fmla="*/ 8519 h 10000"/>
                      <a:gd name="connsiteX28" fmla="*/ 9100 w 10000"/>
                      <a:gd name="connsiteY28" fmla="*/ 8899 h 10000"/>
                      <a:gd name="connsiteX29" fmla="*/ 9100 w 10000"/>
                      <a:gd name="connsiteY29" fmla="*/ 10000 h 10000"/>
                      <a:gd name="connsiteX30" fmla="*/ 9686 w 10000"/>
                      <a:gd name="connsiteY30" fmla="*/ 7345 h 10000"/>
                      <a:gd name="connsiteX31" fmla="*/ 10000 w 10000"/>
                      <a:gd name="connsiteY31" fmla="*/ 6570 h 10000"/>
                      <a:gd name="connsiteX0" fmla="*/ 10000 w 10000"/>
                      <a:gd name="connsiteY0" fmla="*/ 6570 h 10000"/>
                      <a:gd name="connsiteX1" fmla="*/ 9818 w 10000"/>
                      <a:gd name="connsiteY1" fmla="*/ 6082 h 10000"/>
                      <a:gd name="connsiteX2" fmla="*/ 7993 w 10000"/>
                      <a:gd name="connsiteY2" fmla="*/ 7581 h 10000"/>
                      <a:gd name="connsiteX3" fmla="*/ 7614 w 10000"/>
                      <a:gd name="connsiteY3" fmla="*/ 6987 h 10000"/>
                      <a:gd name="connsiteX4" fmla="*/ 7192 w 10000"/>
                      <a:gd name="connsiteY4" fmla="*/ 5341 h 10000"/>
                      <a:gd name="connsiteX5" fmla="*/ 6524 w 10000"/>
                      <a:gd name="connsiteY5" fmla="*/ 6120 h 10000"/>
                      <a:gd name="connsiteX6" fmla="*/ 3526 w 10000"/>
                      <a:gd name="connsiteY6" fmla="*/ 922 h 10000"/>
                      <a:gd name="connsiteX7" fmla="*/ 2692 w 10000"/>
                      <a:gd name="connsiteY7" fmla="*/ 1263 h 10000"/>
                      <a:gd name="connsiteX8" fmla="*/ 2453 w 10000"/>
                      <a:gd name="connsiteY8" fmla="*/ 0 h 10000"/>
                      <a:gd name="connsiteX9" fmla="*/ 1957 w 10000"/>
                      <a:gd name="connsiteY9" fmla="*/ 777 h 10000"/>
                      <a:gd name="connsiteX10" fmla="*/ 859 w 10000"/>
                      <a:gd name="connsiteY10" fmla="*/ 55 h 10000"/>
                      <a:gd name="connsiteX11" fmla="*/ 190 w 10000"/>
                      <a:gd name="connsiteY11" fmla="*/ 507 h 10000"/>
                      <a:gd name="connsiteX12" fmla="*/ 116 w 10000"/>
                      <a:gd name="connsiteY12" fmla="*/ 144 h 10000"/>
                      <a:gd name="connsiteX13" fmla="*/ 0 w 10000"/>
                      <a:gd name="connsiteY13" fmla="*/ 271 h 10000"/>
                      <a:gd name="connsiteX14" fmla="*/ 124 w 10000"/>
                      <a:gd name="connsiteY14" fmla="*/ 848 h 10000"/>
                      <a:gd name="connsiteX15" fmla="*/ 859 w 10000"/>
                      <a:gd name="connsiteY15" fmla="*/ 362 h 10000"/>
                      <a:gd name="connsiteX16" fmla="*/ 1982 w 10000"/>
                      <a:gd name="connsiteY16" fmla="*/ 1084 h 10000"/>
                      <a:gd name="connsiteX17" fmla="*/ 2395 w 10000"/>
                      <a:gd name="connsiteY17" fmla="*/ 415 h 10000"/>
                      <a:gd name="connsiteX18" fmla="*/ 2618 w 10000"/>
                      <a:gd name="connsiteY18" fmla="*/ 1587 h 10000"/>
                      <a:gd name="connsiteX19" fmla="*/ 3493 w 10000"/>
                      <a:gd name="connsiteY19" fmla="*/ 1210 h 10000"/>
                      <a:gd name="connsiteX20" fmla="*/ 6507 w 10000"/>
                      <a:gd name="connsiteY20" fmla="*/ 6444 h 10000"/>
                      <a:gd name="connsiteX21" fmla="*/ 7143 w 10000"/>
                      <a:gd name="connsiteY21" fmla="*/ 5723 h 10000"/>
                      <a:gd name="connsiteX22" fmla="*/ 7514 w 10000"/>
                      <a:gd name="connsiteY22" fmla="*/ 7168 h 10000"/>
                      <a:gd name="connsiteX23" fmla="*/ 7977 w 10000"/>
                      <a:gd name="connsiteY23" fmla="*/ 7889 h 10000"/>
                      <a:gd name="connsiteX24" fmla="*/ 9777 w 10000"/>
                      <a:gd name="connsiteY24" fmla="*/ 6409 h 10000"/>
                      <a:gd name="connsiteX25" fmla="*/ 9835 w 10000"/>
                      <a:gd name="connsiteY25" fmla="*/ 6570 h 10000"/>
                      <a:gd name="connsiteX26" fmla="*/ 9562 w 10000"/>
                      <a:gd name="connsiteY26" fmla="*/ 7238 h 10000"/>
                      <a:gd name="connsiteX27" fmla="*/ 9562 w 10000"/>
                      <a:gd name="connsiteY27" fmla="*/ 8519 h 10000"/>
                      <a:gd name="connsiteX28" fmla="*/ 9100 w 10000"/>
                      <a:gd name="connsiteY28" fmla="*/ 10000 h 10000"/>
                      <a:gd name="connsiteX29" fmla="*/ 9686 w 10000"/>
                      <a:gd name="connsiteY29" fmla="*/ 7345 h 10000"/>
                      <a:gd name="connsiteX30" fmla="*/ 10000 w 10000"/>
                      <a:gd name="connsiteY30" fmla="*/ 6570 h 10000"/>
                      <a:gd name="connsiteX0" fmla="*/ 10000 w 10000"/>
                      <a:gd name="connsiteY0" fmla="*/ 6570 h 8519"/>
                      <a:gd name="connsiteX1" fmla="*/ 9818 w 10000"/>
                      <a:gd name="connsiteY1" fmla="*/ 6082 h 8519"/>
                      <a:gd name="connsiteX2" fmla="*/ 7993 w 10000"/>
                      <a:gd name="connsiteY2" fmla="*/ 7581 h 8519"/>
                      <a:gd name="connsiteX3" fmla="*/ 7614 w 10000"/>
                      <a:gd name="connsiteY3" fmla="*/ 6987 h 8519"/>
                      <a:gd name="connsiteX4" fmla="*/ 7192 w 10000"/>
                      <a:gd name="connsiteY4" fmla="*/ 5341 h 8519"/>
                      <a:gd name="connsiteX5" fmla="*/ 6524 w 10000"/>
                      <a:gd name="connsiteY5" fmla="*/ 6120 h 8519"/>
                      <a:gd name="connsiteX6" fmla="*/ 3526 w 10000"/>
                      <a:gd name="connsiteY6" fmla="*/ 922 h 8519"/>
                      <a:gd name="connsiteX7" fmla="*/ 2692 w 10000"/>
                      <a:gd name="connsiteY7" fmla="*/ 1263 h 8519"/>
                      <a:gd name="connsiteX8" fmla="*/ 2453 w 10000"/>
                      <a:gd name="connsiteY8" fmla="*/ 0 h 8519"/>
                      <a:gd name="connsiteX9" fmla="*/ 1957 w 10000"/>
                      <a:gd name="connsiteY9" fmla="*/ 777 h 8519"/>
                      <a:gd name="connsiteX10" fmla="*/ 859 w 10000"/>
                      <a:gd name="connsiteY10" fmla="*/ 55 h 8519"/>
                      <a:gd name="connsiteX11" fmla="*/ 190 w 10000"/>
                      <a:gd name="connsiteY11" fmla="*/ 507 h 8519"/>
                      <a:gd name="connsiteX12" fmla="*/ 116 w 10000"/>
                      <a:gd name="connsiteY12" fmla="*/ 144 h 8519"/>
                      <a:gd name="connsiteX13" fmla="*/ 0 w 10000"/>
                      <a:gd name="connsiteY13" fmla="*/ 271 h 8519"/>
                      <a:gd name="connsiteX14" fmla="*/ 124 w 10000"/>
                      <a:gd name="connsiteY14" fmla="*/ 848 h 8519"/>
                      <a:gd name="connsiteX15" fmla="*/ 859 w 10000"/>
                      <a:gd name="connsiteY15" fmla="*/ 362 h 8519"/>
                      <a:gd name="connsiteX16" fmla="*/ 1982 w 10000"/>
                      <a:gd name="connsiteY16" fmla="*/ 1084 h 8519"/>
                      <a:gd name="connsiteX17" fmla="*/ 2395 w 10000"/>
                      <a:gd name="connsiteY17" fmla="*/ 415 h 8519"/>
                      <a:gd name="connsiteX18" fmla="*/ 2618 w 10000"/>
                      <a:gd name="connsiteY18" fmla="*/ 1587 h 8519"/>
                      <a:gd name="connsiteX19" fmla="*/ 3493 w 10000"/>
                      <a:gd name="connsiteY19" fmla="*/ 1210 h 8519"/>
                      <a:gd name="connsiteX20" fmla="*/ 6507 w 10000"/>
                      <a:gd name="connsiteY20" fmla="*/ 6444 h 8519"/>
                      <a:gd name="connsiteX21" fmla="*/ 7143 w 10000"/>
                      <a:gd name="connsiteY21" fmla="*/ 5723 h 8519"/>
                      <a:gd name="connsiteX22" fmla="*/ 7514 w 10000"/>
                      <a:gd name="connsiteY22" fmla="*/ 7168 h 8519"/>
                      <a:gd name="connsiteX23" fmla="*/ 7977 w 10000"/>
                      <a:gd name="connsiteY23" fmla="*/ 7889 h 8519"/>
                      <a:gd name="connsiteX24" fmla="*/ 9777 w 10000"/>
                      <a:gd name="connsiteY24" fmla="*/ 6409 h 8519"/>
                      <a:gd name="connsiteX25" fmla="*/ 9835 w 10000"/>
                      <a:gd name="connsiteY25" fmla="*/ 6570 h 8519"/>
                      <a:gd name="connsiteX26" fmla="*/ 9562 w 10000"/>
                      <a:gd name="connsiteY26" fmla="*/ 7238 h 8519"/>
                      <a:gd name="connsiteX27" fmla="*/ 9562 w 10000"/>
                      <a:gd name="connsiteY27" fmla="*/ 8519 h 8519"/>
                      <a:gd name="connsiteX28" fmla="*/ 9686 w 10000"/>
                      <a:gd name="connsiteY28" fmla="*/ 7345 h 8519"/>
                      <a:gd name="connsiteX29" fmla="*/ 10000 w 10000"/>
                      <a:gd name="connsiteY29" fmla="*/ 6570 h 8519"/>
                      <a:gd name="connsiteX0" fmla="*/ 10000 w 10000"/>
                      <a:gd name="connsiteY0" fmla="*/ 7712 h 9260"/>
                      <a:gd name="connsiteX1" fmla="*/ 9818 w 10000"/>
                      <a:gd name="connsiteY1" fmla="*/ 7139 h 9260"/>
                      <a:gd name="connsiteX2" fmla="*/ 7993 w 10000"/>
                      <a:gd name="connsiteY2" fmla="*/ 8899 h 9260"/>
                      <a:gd name="connsiteX3" fmla="*/ 7614 w 10000"/>
                      <a:gd name="connsiteY3" fmla="*/ 8202 h 9260"/>
                      <a:gd name="connsiteX4" fmla="*/ 7192 w 10000"/>
                      <a:gd name="connsiteY4" fmla="*/ 6270 h 9260"/>
                      <a:gd name="connsiteX5" fmla="*/ 6524 w 10000"/>
                      <a:gd name="connsiteY5" fmla="*/ 7184 h 9260"/>
                      <a:gd name="connsiteX6" fmla="*/ 3526 w 10000"/>
                      <a:gd name="connsiteY6" fmla="*/ 1082 h 9260"/>
                      <a:gd name="connsiteX7" fmla="*/ 2692 w 10000"/>
                      <a:gd name="connsiteY7" fmla="*/ 1483 h 9260"/>
                      <a:gd name="connsiteX8" fmla="*/ 2453 w 10000"/>
                      <a:gd name="connsiteY8" fmla="*/ 0 h 9260"/>
                      <a:gd name="connsiteX9" fmla="*/ 1957 w 10000"/>
                      <a:gd name="connsiteY9" fmla="*/ 912 h 9260"/>
                      <a:gd name="connsiteX10" fmla="*/ 859 w 10000"/>
                      <a:gd name="connsiteY10" fmla="*/ 65 h 9260"/>
                      <a:gd name="connsiteX11" fmla="*/ 190 w 10000"/>
                      <a:gd name="connsiteY11" fmla="*/ 595 h 9260"/>
                      <a:gd name="connsiteX12" fmla="*/ 116 w 10000"/>
                      <a:gd name="connsiteY12" fmla="*/ 169 h 9260"/>
                      <a:gd name="connsiteX13" fmla="*/ 0 w 10000"/>
                      <a:gd name="connsiteY13" fmla="*/ 318 h 9260"/>
                      <a:gd name="connsiteX14" fmla="*/ 124 w 10000"/>
                      <a:gd name="connsiteY14" fmla="*/ 995 h 9260"/>
                      <a:gd name="connsiteX15" fmla="*/ 859 w 10000"/>
                      <a:gd name="connsiteY15" fmla="*/ 425 h 9260"/>
                      <a:gd name="connsiteX16" fmla="*/ 1982 w 10000"/>
                      <a:gd name="connsiteY16" fmla="*/ 1272 h 9260"/>
                      <a:gd name="connsiteX17" fmla="*/ 2395 w 10000"/>
                      <a:gd name="connsiteY17" fmla="*/ 487 h 9260"/>
                      <a:gd name="connsiteX18" fmla="*/ 2618 w 10000"/>
                      <a:gd name="connsiteY18" fmla="*/ 1863 h 9260"/>
                      <a:gd name="connsiteX19" fmla="*/ 3493 w 10000"/>
                      <a:gd name="connsiteY19" fmla="*/ 1420 h 9260"/>
                      <a:gd name="connsiteX20" fmla="*/ 6507 w 10000"/>
                      <a:gd name="connsiteY20" fmla="*/ 7564 h 9260"/>
                      <a:gd name="connsiteX21" fmla="*/ 7143 w 10000"/>
                      <a:gd name="connsiteY21" fmla="*/ 6718 h 9260"/>
                      <a:gd name="connsiteX22" fmla="*/ 7514 w 10000"/>
                      <a:gd name="connsiteY22" fmla="*/ 8414 h 9260"/>
                      <a:gd name="connsiteX23" fmla="*/ 7977 w 10000"/>
                      <a:gd name="connsiteY23" fmla="*/ 9260 h 9260"/>
                      <a:gd name="connsiteX24" fmla="*/ 9777 w 10000"/>
                      <a:gd name="connsiteY24" fmla="*/ 7523 h 9260"/>
                      <a:gd name="connsiteX25" fmla="*/ 9835 w 10000"/>
                      <a:gd name="connsiteY25" fmla="*/ 7712 h 9260"/>
                      <a:gd name="connsiteX26" fmla="*/ 9562 w 10000"/>
                      <a:gd name="connsiteY26" fmla="*/ 8496 h 9260"/>
                      <a:gd name="connsiteX27" fmla="*/ 9686 w 10000"/>
                      <a:gd name="connsiteY27" fmla="*/ 8622 h 9260"/>
                      <a:gd name="connsiteX28" fmla="*/ 10000 w 10000"/>
                      <a:gd name="connsiteY28" fmla="*/ 7712 h 9260"/>
                      <a:gd name="connsiteX0" fmla="*/ 9686 w 9922"/>
                      <a:gd name="connsiteY0" fmla="*/ 9311 h 10000"/>
                      <a:gd name="connsiteX1" fmla="*/ 9818 w 9922"/>
                      <a:gd name="connsiteY1" fmla="*/ 7710 h 10000"/>
                      <a:gd name="connsiteX2" fmla="*/ 7993 w 9922"/>
                      <a:gd name="connsiteY2" fmla="*/ 9610 h 10000"/>
                      <a:gd name="connsiteX3" fmla="*/ 7614 w 9922"/>
                      <a:gd name="connsiteY3" fmla="*/ 8857 h 10000"/>
                      <a:gd name="connsiteX4" fmla="*/ 7192 w 9922"/>
                      <a:gd name="connsiteY4" fmla="*/ 6771 h 10000"/>
                      <a:gd name="connsiteX5" fmla="*/ 6524 w 9922"/>
                      <a:gd name="connsiteY5" fmla="*/ 7758 h 10000"/>
                      <a:gd name="connsiteX6" fmla="*/ 3526 w 9922"/>
                      <a:gd name="connsiteY6" fmla="*/ 1168 h 10000"/>
                      <a:gd name="connsiteX7" fmla="*/ 2692 w 9922"/>
                      <a:gd name="connsiteY7" fmla="*/ 1602 h 10000"/>
                      <a:gd name="connsiteX8" fmla="*/ 2453 w 9922"/>
                      <a:gd name="connsiteY8" fmla="*/ 0 h 10000"/>
                      <a:gd name="connsiteX9" fmla="*/ 1957 w 9922"/>
                      <a:gd name="connsiteY9" fmla="*/ 985 h 10000"/>
                      <a:gd name="connsiteX10" fmla="*/ 859 w 9922"/>
                      <a:gd name="connsiteY10" fmla="*/ 70 h 10000"/>
                      <a:gd name="connsiteX11" fmla="*/ 190 w 9922"/>
                      <a:gd name="connsiteY11" fmla="*/ 643 h 10000"/>
                      <a:gd name="connsiteX12" fmla="*/ 116 w 9922"/>
                      <a:gd name="connsiteY12" fmla="*/ 183 h 10000"/>
                      <a:gd name="connsiteX13" fmla="*/ 0 w 9922"/>
                      <a:gd name="connsiteY13" fmla="*/ 343 h 10000"/>
                      <a:gd name="connsiteX14" fmla="*/ 124 w 9922"/>
                      <a:gd name="connsiteY14" fmla="*/ 1075 h 10000"/>
                      <a:gd name="connsiteX15" fmla="*/ 859 w 9922"/>
                      <a:gd name="connsiteY15" fmla="*/ 459 h 10000"/>
                      <a:gd name="connsiteX16" fmla="*/ 1982 w 9922"/>
                      <a:gd name="connsiteY16" fmla="*/ 1374 h 10000"/>
                      <a:gd name="connsiteX17" fmla="*/ 2395 w 9922"/>
                      <a:gd name="connsiteY17" fmla="*/ 526 h 10000"/>
                      <a:gd name="connsiteX18" fmla="*/ 2618 w 9922"/>
                      <a:gd name="connsiteY18" fmla="*/ 2012 h 10000"/>
                      <a:gd name="connsiteX19" fmla="*/ 3493 w 9922"/>
                      <a:gd name="connsiteY19" fmla="*/ 1533 h 10000"/>
                      <a:gd name="connsiteX20" fmla="*/ 6507 w 9922"/>
                      <a:gd name="connsiteY20" fmla="*/ 8168 h 10000"/>
                      <a:gd name="connsiteX21" fmla="*/ 7143 w 9922"/>
                      <a:gd name="connsiteY21" fmla="*/ 7255 h 10000"/>
                      <a:gd name="connsiteX22" fmla="*/ 7514 w 9922"/>
                      <a:gd name="connsiteY22" fmla="*/ 9086 h 10000"/>
                      <a:gd name="connsiteX23" fmla="*/ 7977 w 9922"/>
                      <a:gd name="connsiteY23" fmla="*/ 10000 h 10000"/>
                      <a:gd name="connsiteX24" fmla="*/ 9777 w 9922"/>
                      <a:gd name="connsiteY24" fmla="*/ 8124 h 10000"/>
                      <a:gd name="connsiteX25" fmla="*/ 9835 w 9922"/>
                      <a:gd name="connsiteY25" fmla="*/ 8328 h 10000"/>
                      <a:gd name="connsiteX26" fmla="*/ 9562 w 9922"/>
                      <a:gd name="connsiteY26" fmla="*/ 9175 h 10000"/>
                      <a:gd name="connsiteX27" fmla="*/ 9686 w 9922"/>
                      <a:gd name="connsiteY27" fmla="*/ 9311 h 10000"/>
                      <a:gd name="connsiteX0" fmla="*/ 9637 w 9969"/>
                      <a:gd name="connsiteY0" fmla="*/ 9175 h 10000"/>
                      <a:gd name="connsiteX1" fmla="*/ 9895 w 9969"/>
                      <a:gd name="connsiteY1" fmla="*/ 7710 h 10000"/>
                      <a:gd name="connsiteX2" fmla="*/ 8056 w 9969"/>
                      <a:gd name="connsiteY2" fmla="*/ 9610 h 10000"/>
                      <a:gd name="connsiteX3" fmla="*/ 7674 w 9969"/>
                      <a:gd name="connsiteY3" fmla="*/ 8857 h 10000"/>
                      <a:gd name="connsiteX4" fmla="*/ 7249 w 9969"/>
                      <a:gd name="connsiteY4" fmla="*/ 6771 h 10000"/>
                      <a:gd name="connsiteX5" fmla="*/ 6575 w 9969"/>
                      <a:gd name="connsiteY5" fmla="*/ 7758 h 10000"/>
                      <a:gd name="connsiteX6" fmla="*/ 3554 w 9969"/>
                      <a:gd name="connsiteY6" fmla="*/ 1168 h 10000"/>
                      <a:gd name="connsiteX7" fmla="*/ 2713 w 9969"/>
                      <a:gd name="connsiteY7" fmla="*/ 1602 h 10000"/>
                      <a:gd name="connsiteX8" fmla="*/ 2472 w 9969"/>
                      <a:gd name="connsiteY8" fmla="*/ 0 h 10000"/>
                      <a:gd name="connsiteX9" fmla="*/ 1972 w 9969"/>
                      <a:gd name="connsiteY9" fmla="*/ 985 h 10000"/>
                      <a:gd name="connsiteX10" fmla="*/ 866 w 9969"/>
                      <a:gd name="connsiteY10" fmla="*/ 70 h 10000"/>
                      <a:gd name="connsiteX11" fmla="*/ 191 w 9969"/>
                      <a:gd name="connsiteY11" fmla="*/ 643 h 10000"/>
                      <a:gd name="connsiteX12" fmla="*/ 117 w 9969"/>
                      <a:gd name="connsiteY12" fmla="*/ 183 h 10000"/>
                      <a:gd name="connsiteX13" fmla="*/ 0 w 9969"/>
                      <a:gd name="connsiteY13" fmla="*/ 343 h 10000"/>
                      <a:gd name="connsiteX14" fmla="*/ 125 w 9969"/>
                      <a:gd name="connsiteY14" fmla="*/ 1075 h 10000"/>
                      <a:gd name="connsiteX15" fmla="*/ 866 w 9969"/>
                      <a:gd name="connsiteY15" fmla="*/ 459 h 10000"/>
                      <a:gd name="connsiteX16" fmla="*/ 1998 w 9969"/>
                      <a:gd name="connsiteY16" fmla="*/ 1374 h 10000"/>
                      <a:gd name="connsiteX17" fmla="*/ 2414 w 9969"/>
                      <a:gd name="connsiteY17" fmla="*/ 526 h 10000"/>
                      <a:gd name="connsiteX18" fmla="*/ 2639 w 9969"/>
                      <a:gd name="connsiteY18" fmla="*/ 2012 h 10000"/>
                      <a:gd name="connsiteX19" fmla="*/ 3520 w 9969"/>
                      <a:gd name="connsiteY19" fmla="*/ 1533 h 10000"/>
                      <a:gd name="connsiteX20" fmla="*/ 6558 w 9969"/>
                      <a:gd name="connsiteY20" fmla="*/ 8168 h 10000"/>
                      <a:gd name="connsiteX21" fmla="*/ 7199 w 9969"/>
                      <a:gd name="connsiteY21" fmla="*/ 7255 h 10000"/>
                      <a:gd name="connsiteX22" fmla="*/ 7573 w 9969"/>
                      <a:gd name="connsiteY22" fmla="*/ 9086 h 10000"/>
                      <a:gd name="connsiteX23" fmla="*/ 8040 w 9969"/>
                      <a:gd name="connsiteY23" fmla="*/ 10000 h 10000"/>
                      <a:gd name="connsiteX24" fmla="*/ 9854 w 9969"/>
                      <a:gd name="connsiteY24" fmla="*/ 8124 h 10000"/>
                      <a:gd name="connsiteX25" fmla="*/ 9912 w 9969"/>
                      <a:gd name="connsiteY25" fmla="*/ 8328 h 10000"/>
                      <a:gd name="connsiteX26" fmla="*/ 9637 w 9969"/>
                      <a:gd name="connsiteY26" fmla="*/ 9175 h 10000"/>
                      <a:gd name="connsiteX0" fmla="*/ 9943 w 10069"/>
                      <a:gd name="connsiteY0" fmla="*/ 8328 h 10000"/>
                      <a:gd name="connsiteX1" fmla="*/ 9926 w 10069"/>
                      <a:gd name="connsiteY1" fmla="*/ 7710 h 10000"/>
                      <a:gd name="connsiteX2" fmla="*/ 8081 w 10069"/>
                      <a:gd name="connsiteY2" fmla="*/ 9610 h 10000"/>
                      <a:gd name="connsiteX3" fmla="*/ 7698 w 10069"/>
                      <a:gd name="connsiteY3" fmla="*/ 8857 h 10000"/>
                      <a:gd name="connsiteX4" fmla="*/ 7272 w 10069"/>
                      <a:gd name="connsiteY4" fmla="*/ 6771 h 10000"/>
                      <a:gd name="connsiteX5" fmla="*/ 6595 w 10069"/>
                      <a:gd name="connsiteY5" fmla="*/ 7758 h 10000"/>
                      <a:gd name="connsiteX6" fmla="*/ 3565 w 10069"/>
                      <a:gd name="connsiteY6" fmla="*/ 1168 h 10000"/>
                      <a:gd name="connsiteX7" fmla="*/ 2721 w 10069"/>
                      <a:gd name="connsiteY7" fmla="*/ 1602 h 10000"/>
                      <a:gd name="connsiteX8" fmla="*/ 2480 w 10069"/>
                      <a:gd name="connsiteY8" fmla="*/ 0 h 10000"/>
                      <a:gd name="connsiteX9" fmla="*/ 1978 w 10069"/>
                      <a:gd name="connsiteY9" fmla="*/ 985 h 10000"/>
                      <a:gd name="connsiteX10" fmla="*/ 869 w 10069"/>
                      <a:gd name="connsiteY10" fmla="*/ 70 h 10000"/>
                      <a:gd name="connsiteX11" fmla="*/ 192 w 10069"/>
                      <a:gd name="connsiteY11" fmla="*/ 643 h 10000"/>
                      <a:gd name="connsiteX12" fmla="*/ 117 w 10069"/>
                      <a:gd name="connsiteY12" fmla="*/ 183 h 10000"/>
                      <a:gd name="connsiteX13" fmla="*/ 0 w 10069"/>
                      <a:gd name="connsiteY13" fmla="*/ 343 h 10000"/>
                      <a:gd name="connsiteX14" fmla="*/ 125 w 10069"/>
                      <a:gd name="connsiteY14" fmla="*/ 1075 h 10000"/>
                      <a:gd name="connsiteX15" fmla="*/ 869 w 10069"/>
                      <a:gd name="connsiteY15" fmla="*/ 459 h 10000"/>
                      <a:gd name="connsiteX16" fmla="*/ 2004 w 10069"/>
                      <a:gd name="connsiteY16" fmla="*/ 1374 h 10000"/>
                      <a:gd name="connsiteX17" fmla="*/ 2422 w 10069"/>
                      <a:gd name="connsiteY17" fmla="*/ 526 h 10000"/>
                      <a:gd name="connsiteX18" fmla="*/ 2647 w 10069"/>
                      <a:gd name="connsiteY18" fmla="*/ 2012 h 10000"/>
                      <a:gd name="connsiteX19" fmla="*/ 3531 w 10069"/>
                      <a:gd name="connsiteY19" fmla="*/ 1533 h 10000"/>
                      <a:gd name="connsiteX20" fmla="*/ 6578 w 10069"/>
                      <a:gd name="connsiteY20" fmla="*/ 8168 h 10000"/>
                      <a:gd name="connsiteX21" fmla="*/ 7221 w 10069"/>
                      <a:gd name="connsiteY21" fmla="*/ 7255 h 10000"/>
                      <a:gd name="connsiteX22" fmla="*/ 7597 w 10069"/>
                      <a:gd name="connsiteY22" fmla="*/ 9086 h 10000"/>
                      <a:gd name="connsiteX23" fmla="*/ 8065 w 10069"/>
                      <a:gd name="connsiteY23" fmla="*/ 10000 h 10000"/>
                      <a:gd name="connsiteX24" fmla="*/ 9885 w 10069"/>
                      <a:gd name="connsiteY24" fmla="*/ 8124 h 10000"/>
                      <a:gd name="connsiteX25" fmla="*/ 9943 w 10069"/>
                      <a:gd name="connsiteY25" fmla="*/ 8328 h 100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</a:cxnLst>
                    <a:rect l="l" t="t" r="r" b="b"/>
                    <a:pathLst>
                      <a:path w="10069" h="10000">
                        <a:moveTo>
                          <a:pt x="9943" y="8328"/>
                        </a:moveTo>
                        <a:cubicBezTo>
                          <a:pt x="9950" y="8259"/>
                          <a:pt x="10236" y="7496"/>
                          <a:pt x="9926" y="7710"/>
                        </a:cubicBezTo>
                        <a:cubicBezTo>
                          <a:pt x="9616" y="7924"/>
                          <a:pt x="8696" y="8977"/>
                          <a:pt x="8081" y="9610"/>
                        </a:cubicBezTo>
                        <a:lnTo>
                          <a:pt x="7698" y="8857"/>
                        </a:lnTo>
                        <a:cubicBezTo>
                          <a:pt x="7555" y="8162"/>
                          <a:pt x="7414" y="7465"/>
                          <a:pt x="7272" y="6771"/>
                        </a:cubicBezTo>
                        <a:lnTo>
                          <a:pt x="6595" y="7758"/>
                        </a:lnTo>
                        <a:lnTo>
                          <a:pt x="3565" y="1168"/>
                        </a:lnTo>
                        <a:lnTo>
                          <a:pt x="2721" y="1602"/>
                        </a:lnTo>
                        <a:cubicBezTo>
                          <a:pt x="2641" y="1067"/>
                          <a:pt x="2561" y="533"/>
                          <a:pt x="2480" y="0"/>
                        </a:cubicBezTo>
                        <a:lnTo>
                          <a:pt x="1978" y="985"/>
                        </a:lnTo>
                        <a:lnTo>
                          <a:pt x="869" y="70"/>
                        </a:lnTo>
                        <a:lnTo>
                          <a:pt x="192" y="643"/>
                        </a:lnTo>
                        <a:cubicBezTo>
                          <a:pt x="167" y="490"/>
                          <a:pt x="142" y="334"/>
                          <a:pt x="117" y="183"/>
                        </a:cubicBezTo>
                        <a:cubicBezTo>
                          <a:pt x="78" y="235"/>
                          <a:pt x="39" y="290"/>
                          <a:pt x="0" y="343"/>
                        </a:cubicBezTo>
                        <a:cubicBezTo>
                          <a:pt x="41" y="586"/>
                          <a:pt x="84" y="829"/>
                          <a:pt x="125" y="1075"/>
                        </a:cubicBezTo>
                        <a:lnTo>
                          <a:pt x="869" y="459"/>
                        </a:lnTo>
                        <a:lnTo>
                          <a:pt x="2004" y="1374"/>
                        </a:lnTo>
                        <a:lnTo>
                          <a:pt x="2422" y="526"/>
                        </a:lnTo>
                        <a:cubicBezTo>
                          <a:pt x="2496" y="1021"/>
                          <a:pt x="2572" y="1515"/>
                          <a:pt x="2647" y="2012"/>
                        </a:cubicBezTo>
                        <a:lnTo>
                          <a:pt x="3531" y="1533"/>
                        </a:lnTo>
                        <a:lnTo>
                          <a:pt x="6578" y="8168"/>
                        </a:lnTo>
                        <a:lnTo>
                          <a:pt x="7221" y="7255"/>
                        </a:lnTo>
                        <a:cubicBezTo>
                          <a:pt x="7347" y="7865"/>
                          <a:pt x="7471" y="8475"/>
                          <a:pt x="7597" y="9086"/>
                        </a:cubicBezTo>
                        <a:lnTo>
                          <a:pt x="8065" y="10000"/>
                        </a:lnTo>
                        <a:lnTo>
                          <a:pt x="9885" y="8124"/>
                        </a:lnTo>
                        <a:cubicBezTo>
                          <a:pt x="9904" y="8193"/>
                          <a:pt x="9936" y="8397"/>
                          <a:pt x="9943" y="8328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</p:grpSp>
            <p:sp>
              <p:nvSpPr>
                <p:cNvPr id="1058" name="Freeform 119"/>
                <p:cNvSpPr>
                  <a:spLocks/>
                </p:cNvSpPr>
                <p:nvPr/>
              </p:nvSpPr>
              <p:spPr bwMode="auto">
                <a:xfrm>
                  <a:off x="2600026" y="3876576"/>
                  <a:ext cx="938197" cy="125415"/>
                </a:xfrm>
                <a:custGeom>
                  <a:avLst/>
                  <a:gdLst>
                    <a:gd name="T0" fmla="*/ 460 w 648"/>
                    <a:gd name="T1" fmla="*/ 0 h 87"/>
                    <a:gd name="T2" fmla="*/ 306 w 648"/>
                    <a:gd name="T3" fmla="*/ 0 h 87"/>
                    <a:gd name="T4" fmla="*/ 334 w 648"/>
                    <a:gd name="T5" fmla="*/ 29 h 87"/>
                    <a:gd name="T6" fmla="*/ 334 w 648"/>
                    <a:gd name="T7" fmla="*/ 45 h 87"/>
                    <a:gd name="T8" fmla="*/ 211 w 648"/>
                    <a:gd name="T9" fmla="*/ 45 h 87"/>
                    <a:gd name="T10" fmla="*/ 211 w 648"/>
                    <a:gd name="T11" fmla="*/ 0 h 87"/>
                    <a:gd name="T12" fmla="*/ 43 w 648"/>
                    <a:gd name="T13" fmla="*/ 0 h 87"/>
                    <a:gd name="T14" fmla="*/ 0 w 648"/>
                    <a:gd name="T15" fmla="*/ 43 h 87"/>
                    <a:gd name="T16" fmla="*/ 43 w 648"/>
                    <a:gd name="T17" fmla="*/ 87 h 87"/>
                    <a:gd name="T18" fmla="*/ 604 w 648"/>
                    <a:gd name="T19" fmla="*/ 87 h 87"/>
                    <a:gd name="T20" fmla="*/ 648 w 648"/>
                    <a:gd name="T21" fmla="*/ 43 h 87"/>
                    <a:gd name="T22" fmla="*/ 647 w 648"/>
                    <a:gd name="T23" fmla="*/ 39 h 87"/>
                    <a:gd name="T24" fmla="*/ 460 w 648"/>
                    <a:gd name="T25" fmla="*/ 39 h 87"/>
                    <a:gd name="T26" fmla="*/ 460 w 648"/>
                    <a:gd name="T27" fmla="*/ 0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648" h="87">
                      <a:moveTo>
                        <a:pt x="460" y="0"/>
                      </a:moveTo>
                      <a:cubicBezTo>
                        <a:pt x="306" y="0"/>
                        <a:pt x="306" y="0"/>
                        <a:pt x="306" y="0"/>
                      </a:cubicBezTo>
                      <a:cubicBezTo>
                        <a:pt x="334" y="29"/>
                        <a:pt x="334" y="29"/>
                        <a:pt x="334" y="29"/>
                      </a:cubicBezTo>
                      <a:cubicBezTo>
                        <a:pt x="334" y="45"/>
                        <a:pt x="334" y="45"/>
                        <a:pt x="334" y="45"/>
                      </a:cubicBezTo>
                      <a:cubicBezTo>
                        <a:pt x="211" y="45"/>
                        <a:pt x="211" y="45"/>
                        <a:pt x="211" y="45"/>
                      </a:cubicBezTo>
                      <a:cubicBezTo>
                        <a:pt x="211" y="0"/>
                        <a:pt x="211" y="0"/>
                        <a:pt x="211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19" y="0"/>
                        <a:pt x="0" y="20"/>
                        <a:pt x="0" y="43"/>
                      </a:cubicBezTo>
                      <a:cubicBezTo>
                        <a:pt x="0" y="67"/>
                        <a:pt x="19" y="87"/>
                        <a:pt x="43" y="87"/>
                      </a:cubicBezTo>
                      <a:cubicBezTo>
                        <a:pt x="604" y="87"/>
                        <a:pt x="604" y="87"/>
                        <a:pt x="604" y="87"/>
                      </a:cubicBezTo>
                      <a:cubicBezTo>
                        <a:pt x="628" y="87"/>
                        <a:pt x="648" y="67"/>
                        <a:pt x="648" y="43"/>
                      </a:cubicBezTo>
                      <a:cubicBezTo>
                        <a:pt x="648" y="42"/>
                        <a:pt x="648" y="41"/>
                        <a:pt x="647" y="39"/>
                      </a:cubicBezTo>
                      <a:cubicBezTo>
                        <a:pt x="460" y="39"/>
                        <a:pt x="460" y="39"/>
                        <a:pt x="460" y="39"/>
                      </a:cubicBezTo>
                      <a:cubicBezTo>
                        <a:pt x="460" y="0"/>
                        <a:pt x="460" y="0"/>
                        <a:pt x="460" y="0"/>
                      </a:cubicBez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59" name="Rectangle 120"/>
                <p:cNvSpPr>
                  <a:spLocks noChangeArrowheads="1"/>
                </p:cNvSpPr>
                <p:nvPr/>
              </p:nvSpPr>
              <p:spPr bwMode="auto">
                <a:xfrm>
                  <a:off x="2904821" y="3186000"/>
                  <a:ext cx="100011" cy="655651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60" name="Rectangle 121"/>
                <p:cNvSpPr>
                  <a:spLocks noChangeArrowheads="1"/>
                </p:cNvSpPr>
                <p:nvPr/>
              </p:nvSpPr>
              <p:spPr bwMode="auto">
                <a:xfrm>
                  <a:off x="2904821" y="3186000"/>
                  <a:ext cx="100011" cy="6556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61" name="Freeform 122"/>
                <p:cNvSpPr>
                  <a:spLocks/>
                </p:cNvSpPr>
                <p:nvPr/>
              </p:nvSpPr>
              <p:spPr bwMode="auto">
                <a:xfrm>
                  <a:off x="2904821" y="3841651"/>
                  <a:ext cx="179385" cy="100015"/>
                </a:xfrm>
                <a:custGeom>
                  <a:avLst/>
                  <a:gdLst>
                    <a:gd name="T0" fmla="*/ 113 w 113"/>
                    <a:gd name="T1" fmla="*/ 48 h 63"/>
                    <a:gd name="T2" fmla="*/ 64 w 113"/>
                    <a:gd name="T3" fmla="*/ 0 h 63"/>
                    <a:gd name="T4" fmla="*/ 0 w 113"/>
                    <a:gd name="T5" fmla="*/ 0 h 63"/>
                    <a:gd name="T6" fmla="*/ 0 w 113"/>
                    <a:gd name="T7" fmla="*/ 63 h 63"/>
                    <a:gd name="T8" fmla="*/ 113 w 113"/>
                    <a:gd name="T9" fmla="*/ 63 h 63"/>
                    <a:gd name="T10" fmla="*/ 113 w 113"/>
                    <a:gd name="T11" fmla="*/ 48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13" h="63">
                      <a:moveTo>
                        <a:pt x="113" y="48"/>
                      </a:moveTo>
                      <a:lnTo>
                        <a:pt x="64" y="0"/>
                      </a:lnTo>
                      <a:lnTo>
                        <a:pt x="0" y="0"/>
                      </a:lnTo>
                      <a:lnTo>
                        <a:pt x="0" y="63"/>
                      </a:lnTo>
                      <a:lnTo>
                        <a:pt x="113" y="63"/>
                      </a:lnTo>
                      <a:lnTo>
                        <a:pt x="113" y="48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62" name="Freeform 123"/>
                <p:cNvSpPr>
                  <a:spLocks/>
                </p:cNvSpPr>
                <p:nvPr/>
              </p:nvSpPr>
              <p:spPr bwMode="auto">
                <a:xfrm>
                  <a:off x="2904821" y="3841651"/>
                  <a:ext cx="179385" cy="100015"/>
                </a:xfrm>
                <a:custGeom>
                  <a:avLst/>
                  <a:gdLst>
                    <a:gd name="T0" fmla="*/ 113 w 113"/>
                    <a:gd name="T1" fmla="*/ 48 h 63"/>
                    <a:gd name="T2" fmla="*/ 64 w 113"/>
                    <a:gd name="T3" fmla="*/ 0 h 63"/>
                    <a:gd name="T4" fmla="*/ 0 w 113"/>
                    <a:gd name="T5" fmla="*/ 0 h 63"/>
                    <a:gd name="T6" fmla="*/ 0 w 113"/>
                    <a:gd name="T7" fmla="*/ 63 h 63"/>
                    <a:gd name="T8" fmla="*/ 113 w 113"/>
                    <a:gd name="T9" fmla="*/ 63 h 63"/>
                    <a:gd name="T10" fmla="*/ 113 w 113"/>
                    <a:gd name="T11" fmla="*/ 48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13" h="63">
                      <a:moveTo>
                        <a:pt x="113" y="48"/>
                      </a:moveTo>
                      <a:lnTo>
                        <a:pt x="64" y="0"/>
                      </a:lnTo>
                      <a:lnTo>
                        <a:pt x="0" y="0"/>
                      </a:lnTo>
                      <a:lnTo>
                        <a:pt x="0" y="63"/>
                      </a:lnTo>
                      <a:lnTo>
                        <a:pt x="113" y="63"/>
                      </a:lnTo>
                      <a:lnTo>
                        <a:pt x="113" y="48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63" name="Rectangle 124"/>
                <p:cNvSpPr>
                  <a:spLocks noChangeArrowheads="1"/>
                </p:cNvSpPr>
                <p:nvPr/>
              </p:nvSpPr>
              <p:spPr bwMode="auto">
                <a:xfrm>
                  <a:off x="2904821" y="3216163"/>
                  <a:ext cx="49212" cy="625488"/>
                </a:xfrm>
                <a:prstGeom prst="rect">
                  <a:avLst/>
                </a:prstGeom>
                <a:solidFill>
                  <a:schemeClr val="tx1">
                    <a:lumMod val="65000"/>
                    <a:lumOff val="3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64" name="Rectangle 125"/>
                <p:cNvSpPr>
                  <a:spLocks noChangeArrowheads="1"/>
                </p:cNvSpPr>
                <p:nvPr/>
              </p:nvSpPr>
              <p:spPr bwMode="auto">
                <a:xfrm>
                  <a:off x="2904821" y="3216163"/>
                  <a:ext cx="49212" cy="6254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65" name="Rectangle 126"/>
                <p:cNvSpPr>
                  <a:spLocks noChangeArrowheads="1"/>
                </p:cNvSpPr>
                <p:nvPr/>
              </p:nvSpPr>
              <p:spPr bwMode="auto">
                <a:xfrm>
                  <a:off x="2904821" y="3841651"/>
                  <a:ext cx="49212" cy="100015"/>
                </a:xfrm>
                <a:prstGeom prst="rect">
                  <a:avLst/>
                </a:prstGeom>
                <a:solidFill>
                  <a:srgbClr val="001B4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66" name="Rectangle 127"/>
                <p:cNvSpPr>
                  <a:spLocks noChangeArrowheads="1"/>
                </p:cNvSpPr>
                <p:nvPr/>
              </p:nvSpPr>
              <p:spPr bwMode="auto">
                <a:xfrm>
                  <a:off x="2904821" y="3841651"/>
                  <a:ext cx="49212" cy="10001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67" name="Freeform 128"/>
                <p:cNvSpPr>
                  <a:spLocks noEditPoints="1"/>
                </p:cNvSpPr>
                <p:nvPr/>
              </p:nvSpPr>
              <p:spPr bwMode="auto">
                <a:xfrm>
                  <a:off x="3071505" y="3133611"/>
                  <a:ext cx="387344" cy="490548"/>
                </a:xfrm>
                <a:custGeom>
                  <a:avLst/>
                  <a:gdLst>
                    <a:gd name="T0" fmla="*/ 138 w 267"/>
                    <a:gd name="T1" fmla="*/ 318 h 340"/>
                    <a:gd name="T2" fmla="*/ 192 w 267"/>
                    <a:gd name="T3" fmla="*/ 176 h 340"/>
                    <a:gd name="T4" fmla="*/ 0 w 267"/>
                    <a:gd name="T5" fmla="*/ 54 h 340"/>
                    <a:gd name="T6" fmla="*/ 34 w 267"/>
                    <a:gd name="T7" fmla="*/ 0 h 340"/>
                    <a:gd name="T8" fmla="*/ 248 w 267"/>
                    <a:gd name="T9" fmla="*/ 136 h 340"/>
                    <a:gd name="T10" fmla="*/ 261 w 267"/>
                    <a:gd name="T11" fmla="*/ 174 h 340"/>
                    <a:gd name="T12" fmla="*/ 198 w 267"/>
                    <a:gd name="T13" fmla="*/ 340 h 340"/>
                    <a:gd name="T14" fmla="*/ 138 w 267"/>
                    <a:gd name="T15" fmla="*/ 318 h 340"/>
                    <a:gd name="T16" fmla="*/ 0 w 267"/>
                    <a:gd name="T17" fmla="*/ 54 h 340"/>
                    <a:gd name="T18" fmla="*/ 0 w 267"/>
                    <a:gd name="T19" fmla="*/ 54 h 340"/>
                    <a:gd name="T20" fmla="*/ 0 w 267"/>
                    <a:gd name="T21" fmla="*/ 54 h 340"/>
                    <a:gd name="T22" fmla="*/ 0 w 267"/>
                    <a:gd name="T23" fmla="*/ 54 h 3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67" h="340">
                      <a:moveTo>
                        <a:pt x="138" y="318"/>
                      </a:moveTo>
                      <a:cubicBezTo>
                        <a:pt x="192" y="176"/>
                        <a:pt x="192" y="176"/>
                        <a:pt x="192" y="176"/>
                      </a:cubicBezTo>
                      <a:cubicBezTo>
                        <a:pt x="0" y="54"/>
                        <a:pt x="0" y="54"/>
                        <a:pt x="0" y="54"/>
                      </a:cubicBezTo>
                      <a:cubicBezTo>
                        <a:pt x="34" y="0"/>
                        <a:pt x="34" y="0"/>
                        <a:pt x="34" y="0"/>
                      </a:cubicBezTo>
                      <a:cubicBezTo>
                        <a:pt x="248" y="136"/>
                        <a:pt x="248" y="136"/>
                        <a:pt x="248" y="136"/>
                      </a:cubicBezTo>
                      <a:cubicBezTo>
                        <a:pt x="261" y="144"/>
                        <a:pt x="267" y="160"/>
                        <a:pt x="261" y="174"/>
                      </a:cubicBezTo>
                      <a:cubicBezTo>
                        <a:pt x="198" y="340"/>
                        <a:pt x="198" y="340"/>
                        <a:pt x="198" y="340"/>
                      </a:cubicBezTo>
                      <a:cubicBezTo>
                        <a:pt x="138" y="318"/>
                        <a:pt x="138" y="318"/>
                        <a:pt x="138" y="318"/>
                      </a:cubicBezTo>
                      <a:moveTo>
                        <a:pt x="0" y="54"/>
                      </a:moveTo>
                      <a:cubicBezTo>
                        <a:pt x="0" y="54"/>
                        <a:pt x="0" y="54"/>
                        <a:pt x="0" y="54"/>
                      </a:cubicBezTo>
                      <a:cubicBezTo>
                        <a:pt x="0" y="54"/>
                        <a:pt x="0" y="54"/>
                        <a:pt x="0" y="54"/>
                      </a:cubicBezTo>
                      <a:cubicBezTo>
                        <a:pt x="0" y="54"/>
                        <a:pt x="0" y="54"/>
                        <a:pt x="0" y="54"/>
                      </a:cubicBezTo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68" name="Freeform 129"/>
                <p:cNvSpPr>
                  <a:spLocks/>
                </p:cNvSpPr>
                <p:nvPr/>
              </p:nvSpPr>
              <p:spPr bwMode="auto">
                <a:xfrm>
                  <a:off x="3271527" y="3589233"/>
                  <a:ext cx="179385" cy="100015"/>
                </a:xfrm>
                <a:custGeom>
                  <a:avLst/>
                  <a:gdLst>
                    <a:gd name="T0" fmla="*/ 113 w 113"/>
                    <a:gd name="T1" fmla="*/ 48 h 63"/>
                    <a:gd name="T2" fmla="*/ 65 w 113"/>
                    <a:gd name="T3" fmla="*/ 0 h 63"/>
                    <a:gd name="T4" fmla="*/ 0 w 113"/>
                    <a:gd name="T5" fmla="*/ 0 h 63"/>
                    <a:gd name="T6" fmla="*/ 0 w 113"/>
                    <a:gd name="T7" fmla="*/ 63 h 63"/>
                    <a:gd name="T8" fmla="*/ 113 w 113"/>
                    <a:gd name="T9" fmla="*/ 63 h 63"/>
                    <a:gd name="T10" fmla="*/ 113 w 113"/>
                    <a:gd name="T11" fmla="*/ 48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13" h="63">
                      <a:moveTo>
                        <a:pt x="113" y="48"/>
                      </a:moveTo>
                      <a:lnTo>
                        <a:pt x="65" y="0"/>
                      </a:lnTo>
                      <a:lnTo>
                        <a:pt x="0" y="0"/>
                      </a:lnTo>
                      <a:lnTo>
                        <a:pt x="0" y="63"/>
                      </a:lnTo>
                      <a:lnTo>
                        <a:pt x="113" y="63"/>
                      </a:lnTo>
                      <a:lnTo>
                        <a:pt x="113" y="48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69" name="Freeform 130"/>
                <p:cNvSpPr>
                  <a:spLocks/>
                </p:cNvSpPr>
                <p:nvPr/>
              </p:nvSpPr>
              <p:spPr bwMode="auto">
                <a:xfrm>
                  <a:off x="3271527" y="3589233"/>
                  <a:ext cx="179385" cy="100015"/>
                </a:xfrm>
                <a:custGeom>
                  <a:avLst/>
                  <a:gdLst>
                    <a:gd name="T0" fmla="*/ 113 w 113"/>
                    <a:gd name="T1" fmla="*/ 48 h 63"/>
                    <a:gd name="T2" fmla="*/ 65 w 113"/>
                    <a:gd name="T3" fmla="*/ 0 h 63"/>
                    <a:gd name="T4" fmla="*/ 0 w 113"/>
                    <a:gd name="T5" fmla="*/ 0 h 63"/>
                    <a:gd name="T6" fmla="*/ 0 w 113"/>
                    <a:gd name="T7" fmla="*/ 63 h 63"/>
                    <a:gd name="T8" fmla="*/ 113 w 113"/>
                    <a:gd name="T9" fmla="*/ 63 h 63"/>
                    <a:gd name="T10" fmla="*/ 113 w 113"/>
                    <a:gd name="T11" fmla="*/ 48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13" h="63">
                      <a:moveTo>
                        <a:pt x="113" y="48"/>
                      </a:moveTo>
                      <a:lnTo>
                        <a:pt x="65" y="0"/>
                      </a:lnTo>
                      <a:lnTo>
                        <a:pt x="0" y="0"/>
                      </a:lnTo>
                      <a:lnTo>
                        <a:pt x="0" y="63"/>
                      </a:lnTo>
                      <a:lnTo>
                        <a:pt x="113" y="63"/>
                      </a:lnTo>
                      <a:lnTo>
                        <a:pt x="113" y="48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70" name="Freeform 131"/>
                <p:cNvSpPr>
                  <a:spLocks/>
                </p:cNvSpPr>
                <p:nvPr/>
              </p:nvSpPr>
              <p:spPr bwMode="auto">
                <a:xfrm>
                  <a:off x="3081030" y="3216163"/>
                  <a:ext cx="315907" cy="373070"/>
                </a:xfrm>
                <a:custGeom>
                  <a:avLst/>
                  <a:gdLst>
                    <a:gd name="T0" fmla="*/ 46 w 199"/>
                    <a:gd name="T1" fmla="*/ 0 h 235"/>
                    <a:gd name="T2" fmla="*/ 0 w 199"/>
                    <a:gd name="T3" fmla="*/ 0 h 235"/>
                    <a:gd name="T4" fmla="*/ 169 w 199"/>
                    <a:gd name="T5" fmla="*/ 108 h 235"/>
                    <a:gd name="T6" fmla="*/ 121 w 199"/>
                    <a:gd name="T7" fmla="*/ 235 h 235"/>
                    <a:gd name="T8" fmla="*/ 121 w 199"/>
                    <a:gd name="T9" fmla="*/ 235 h 235"/>
                    <a:gd name="T10" fmla="*/ 150 w 199"/>
                    <a:gd name="T11" fmla="*/ 235 h 235"/>
                    <a:gd name="T12" fmla="*/ 150 w 199"/>
                    <a:gd name="T13" fmla="*/ 233 h 235"/>
                    <a:gd name="T14" fmla="*/ 199 w 199"/>
                    <a:gd name="T15" fmla="*/ 96 h 235"/>
                    <a:gd name="T16" fmla="*/ 46 w 199"/>
                    <a:gd name="T17" fmla="*/ 0 h 2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99" h="235">
                      <a:moveTo>
                        <a:pt x="46" y="0"/>
                      </a:moveTo>
                      <a:lnTo>
                        <a:pt x="0" y="0"/>
                      </a:lnTo>
                      <a:lnTo>
                        <a:pt x="169" y="108"/>
                      </a:lnTo>
                      <a:lnTo>
                        <a:pt x="121" y="235"/>
                      </a:lnTo>
                      <a:lnTo>
                        <a:pt x="121" y="235"/>
                      </a:lnTo>
                      <a:lnTo>
                        <a:pt x="150" y="235"/>
                      </a:lnTo>
                      <a:lnTo>
                        <a:pt x="150" y="233"/>
                      </a:lnTo>
                      <a:lnTo>
                        <a:pt x="199" y="96"/>
                      </a:lnTo>
                      <a:lnTo>
                        <a:pt x="46" y="0"/>
                      </a:lnTo>
                      <a:close/>
                    </a:path>
                  </a:pathLst>
                </a:custGeom>
                <a:solidFill>
                  <a:schemeClr val="tx1">
                    <a:lumMod val="65000"/>
                    <a:lumOff val="3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71" name="Freeform 132"/>
                <p:cNvSpPr>
                  <a:spLocks/>
                </p:cNvSpPr>
                <p:nvPr/>
              </p:nvSpPr>
              <p:spPr bwMode="auto">
                <a:xfrm>
                  <a:off x="3081030" y="3216163"/>
                  <a:ext cx="315907" cy="373070"/>
                </a:xfrm>
                <a:custGeom>
                  <a:avLst/>
                  <a:gdLst>
                    <a:gd name="T0" fmla="*/ 46 w 199"/>
                    <a:gd name="T1" fmla="*/ 0 h 235"/>
                    <a:gd name="T2" fmla="*/ 0 w 199"/>
                    <a:gd name="T3" fmla="*/ 0 h 235"/>
                    <a:gd name="T4" fmla="*/ 169 w 199"/>
                    <a:gd name="T5" fmla="*/ 108 h 235"/>
                    <a:gd name="T6" fmla="*/ 121 w 199"/>
                    <a:gd name="T7" fmla="*/ 235 h 235"/>
                    <a:gd name="T8" fmla="*/ 121 w 199"/>
                    <a:gd name="T9" fmla="*/ 235 h 235"/>
                    <a:gd name="T10" fmla="*/ 150 w 199"/>
                    <a:gd name="T11" fmla="*/ 235 h 235"/>
                    <a:gd name="T12" fmla="*/ 150 w 199"/>
                    <a:gd name="T13" fmla="*/ 233 h 235"/>
                    <a:gd name="T14" fmla="*/ 199 w 199"/>
                    <a:gd name="T15" fmla="*/ 96 h 235"/>
                    <a:gd name="T16" fmla="*/ 46 w 199"/>
                    <a:gd name="T17" fmla="*/ 0 h 2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99" h="235">
                      <a:moveTo>
                        <a:pt x="46" y="0"/>
                      </a:moveTo>
                      <a:lnTo>
                        <a:pt x="0" y="0"/>
                      </a:lnTo>
                      <a:lnTo>
                        <a:pt x="169" y="108"/>
                      </a:lnTo>
                      <a:lnTo>
                        <a:pt x="121" y="235"/>
                      </a:lnTo>
                      <a:lnTo>
                        <a:pt x="121" y="235"/>
                      </a:lnTo>
                      <a:lnTo>
                        <a:pt x="150" y="235"/>
                      </a:lnTo>
                      <a:lnTo>
                        <a:pt x="150" y="233"/>
                      </a:lnTo>
                      <a:lnTo>
                        <a:pt x="199" y="96"/>
                      </a:lnTo>
                      <a:lnTo>
                        <a:pt x="46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72" name="Freeform 133"/>
                <p:cNvSpPr>
                  <a:spLocks/>
                </p:cNvSpPr>
                <p:nvPr/>
              </p:nvSpPr>
              <p:spPr bwMode="auto">
                <a:xfrm>
                  <a:off x="3271527" y="3589233"/>
                  <a:ext cx="47624" cy="76202"/>
                </a:xfrm>
                <a:custGeom>
                  <a:avLst/>
                  <a:gdLst>
                    <a:gd name="T0" fmla="*/ 30 w 30"/>
                    <a:gd name="T1" fmla="*/ 0 h 48"/>
                    <a:gd name="T2" fmla="*/ 1 w 30"/>
                    <a:gd name="T3" fmla="*/ 0 h 48"/>
                    <a:gd name="T4" fmla="*/ 0 w 30"/>
                    <a:gd name="T5" fmla="*/ 0 h 48"/>
                    <a:gd name="T6" fmla="*/ 0 w 30"/>
                    <a:gd name="T7" fmla="*/ 48 h 48"/>
                    <a:gd name="T8" fmla="*/ 30 w 30"/>
                    <a:gd name="T9" fmla="*/ 48 h 48"/>
                    <a:gd name="T10" fmla="*/ 30 w 30"/>
                    <a:gd name="T11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0" h="48">
                      <a:moveTo>
                        <a:pt x="30" y="0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48"/>
                      </a:lnTo>
                      <a:lnTo>
                        <a:pt x="30" y="48"/>
                      </a:lnTo>
                      <a:lnTo>
                        <a:pt x="30" y="0"/>
                      </a:lnTo>
                      <a:close/>
                    </a:path>
                  </a:pathLst>
                </a:custGeom>
                <a:solidFill>
                  <a:srgbClr val="001B4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73" name="Freeform 134"/>
                <p:cNvSpPr>
                  <a:spLocks/>
                </p:cNvSpPr>
                <p:nvPr/>
              </p:nvSpPr>
              <p:spPr bwMode="auto">
                <a:xfrm>
                  <a:off x="3271527" y="3589233"/>
                  <a:ext cx="47624" cy="76202"/>
                </a:xfrm>
                <a:custGeom>
                  <a:avLst/>
                  <a:gdLst>
                    <a:gd name="T0" fmla="*/ 30 w 30"/>
                    <a:gd name="T1" fmla="*/ 0 h 48"/>
                    <a:gd name="T2" fmla="*/ 1 w 30"/>
                    <a:gd name="T3" fmla="*/ 0 h 48"/>
                    <a:gd name="T4" fmla="*/ 0 w 30"/>
                    <a:gd name="T5" fmla="*/ 0 h 48"/>
                    <a:gd name="T6" fmla="*/ 0 w 30"/>
                    <a:gd name="T7" fmla="*/ 48 h 48"/>
                    <a:gd name="T8" fmla="*/ 30 w 30"/>
                    <a:gd name="T9" fmla="*/ 48 h 48"/>
                    <a:gd name="T10" fmla="*/ 30 w 30"/>
                    <a:gd name="T11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0" h="48">
                      <a:moveTo>
                        <a:pt x="30" y="0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48"/>
                      </a:lnTo>
                      <a:lnTo>
                        <a:pt x="30" y="48"/>
                      </a:lnTo>
                      <a:lnTo>
                        <a:pt x="30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74" name="Rectangle 135"/>
                <p:cNvSpPr>
                  <a:spLocks noChangeArrowheads="1"/>
                </p:cNvSpPr>
                <p:nvPr/>
              </p:nvSpPr>
              <p:spPr bwMode="auto">
                <a:xfrm>
                  <a:off x="2738136" y="2382708"/>
                  <a:ext cx="471480" cy="638188"/>
                </a:xfrm>
                <a:prstGeom prst="rect">
                  <a:avLst/>
                </a:pr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75" name="Rectangle 136"/>
                <p:cNvSpPr>
                  <a:spLocks noChangeArrowheads="1"/>
                </p:cNvSpPr>
                <p:nvPr/>
              </p:nvSpPr>
              <p:spPr bwMode="auto">
                <a:xfrm>
                  <a:off x="2738136" y="2382708"/>
                  <a:ext cx="471480" cy="6381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76" name="Rectangle 137"/>
                <p:cNvSpPr>
                  <a:spLocks noChangeArrowheads="1"/>
                </p:cNvSpPr>
                <p:nvPr/>
              </p:nvSpPr>
              <p:spPr bwMode="auto">
                <a:xfrm>
                  <a:off x="2738136" y="3044709"/>
                  <a:ext cx="471480" cy="147641"/>
                </a:xfrm>
                <a:prstGeom prst="rect">
                  <a:avLst/>
                </a:pr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77" name="Rectangle 138"/>
                <p:cNvSpPr>
                  <a:spLocks noChangeArrowheads="1"/>
                </p:cNvSpPr>
                <p:nvPr/>
              </p:nvSpPr>
              <p:spPr bwMode="auto">
                <a:xfrm>
                  <a:off x="2738136" y="3044709"/>
                  <a:ext cx="471480" cy="14764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78" name="Freeform 139"/>
                <p:cNvSpPr>
                  <a:spLocks/>
                </p:cNvSpPr>
                <p:nvPr/>
              </p:nvSpPr>
              <p:spPr bwMode="auto">
                <a:xfrm>
                  <a:off x="2792110" y="2382708"/>
                  <a:ext cx="417506" cy="638188"/>
                </a:xfrm>
                <a:custGeom>
                  <a:avLst/>
                  <a:gdLst>
                    <a:gd name="T0" fmla="*/ 288 w 288"/>
                    <a:gd name="T1" fmla="*/ 0 h 442"/>
                    <a:gd name="T2" fmla="*/ 247 w 288"/>
                    <a:gd name="T3" fmla="*/ 0 h 442"/>
                    <a:gd name="T4" fmla="*/ 180 w 288"/>
                    <a:gd name="T5" fmla="*/ 28 h 442"/>
                    <a:gd name="T6" fmla="*/ 149 w 288"/>
                    <a:gd name="T7" fmla="*/ 20 h 442"/>
                    <a:gd name="T8" fmla="*/ 148 w 288"/>
                    <a:gd name="T9" fmla="*/ 21 h 442"/>
                    <a:gd name="T10" fmla="*/ 139 w 288"/>
                    <a:gd name="T11" fmla="*/ 21 h 442"/>
                    <a:gd name="T12" fmla="*/ 83 w 288"/>
                    <a:gd name="T13" fmla="*/ 0 h 442"/>
                    <a:gd name="T14" fmla="*/ 0 w 288"/>
                    <a:gd name="T15" fmla="*/ 0 h 442"/>
                    <a:gd name="T16" fmla="*/ 0 w 288"/>
                    <a:gd name="T17" fmla="*/ 442 h 442"/>
                    <a:gd name="T18" fmla="*/ 31 w 288"/>
                    <a:gd name="T19" fmla="*/ 442 h 442"/>
                    <a:gd name="T20" fmla="*/ 31 w 288"/>
                    <a:gd name="T21" fmla="*/ 60 h 442"/>
                    <a:gd name="T22" fmla="*/ 288 w 288"/>
                    <a:gd name="T23" fmla="*/ 60 h 442"/>
                    <a:gd name="T24" fmla="*/ 288 w 288"/>
                    <a:gd name="T25" fmla="*/ 0 h 4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88" h="442">
                      <a:moveTo>
                        <a:pt x="288" y="0"/>
                      </a:moveTo>
                      <a:cubicBezTo>
                        <a:pt x="247" y="0"/>
                        <a:pt x="247" y="0"/>
                        <a:pt x="247" y="0"/>
                      </a:cubicBezTo>
                      <a:cubicBezTo>
                        <a:pt x="226" y="17"/>
                        <a:pt x="203" y="28"/>
                        <a:pt x="180" y="28"/>
                      </a:cubicBezTo>
                      <a:cubicBezTo>
                        <a:pt x="170" y="28"/>
                        <a:pt x="159" y="26"/>
                        <a:pt x="149" y="20"/>
                      </a:cubicBezTo>
                      <a:cubicBezTo>
                        <a:pt x="148" y="21"/>
                        <a:pt x="148" y="21"/>
                        <a:pt x="148" y="21"/>
                      </a:cubicBezTo>
                      <a:cubicBezTo>
                        <a:pt x="148" y="21"/>
                        <a:pt x="145" y="21"/>
                        <a:pt x="139" y="21"/>
                      </a:cubicBezTo>
                      <a:cubicBezTo>
                        <a:pt x="126" y="21"/>
                        <a:pt x="100" y="19"/>
                        <a:pt x="8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442"/>
                        <a:pt x="0" y="442"/>
                        <a:pt x="0" y="442"/>
                      </a:cubicBezTo>
                      <a:cubicBezTo>
                        <a:pt x="31" y="442"/>
                        <a:pt x="31" y="442"/>
                        <a:pt x="31" y="442"/>
                      </a:cubicBezTo>
                      <a:cubicBezTo>
                        <a:pt x="31" y="60"/>
                        <a:pt x="31" y="60"/>
                        <a:pt x="31" y="60"/>
                      </a:cubicBezTo>
                      <a:cubicBezTo>
                        <a:pt x="288" y="60"/>
                        <a:pt x="288" y="60"/>
                        <a:pt x="288" y="60"/>
                      </a:cubicBezTo>
                      <a:cubicBezTo>
                        <a:pt x="288" y="0"/>
                        <a:pt x="288" y="0"/>
                        <a:pt x="288" y="0"/>
                      </a:cubicBezTo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79" name="Rectangle 140"/>
                <p:cNvSpPr>
                  <a:spLocks noChangeArrowheads="1"/>
                </p:cNvSpPr>
                <p:nvPr/>
              </p:nvSpPr>
              <p:spPr bwMode="auto">
                <a:xfrm>
                  <a:off x="2792110" y="3044709"/>
                  <a:ext cx="46037" cy="147641"/>
                </a:xfrm>
                <a:prstGeom prst="rect">
                  <a:avLst/>
                </a:pr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80" name="Rectangle 141"/>
                <p:cNvSpPr>
                  <a:spLocks noChangeArrowheads="1"/>
                </p:cNvSpPr>
                <p:nvPr/>
              </p:nvSpPr>
              <p:spPr bwMode="auto">
                <a:xfrm>
                  <a:off x="2792110" y="3044709"/>
                  <a:ext cx="46037" cy="14764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81" name="Freeform 142"/>
                <p:cNvSpPr>
                  <a:spLocks/>
                </p:cNvSpPr>
                <p:nvPr/>
              </p:nvSpPr>
              <p:spPr bwMode="auto">
                <a:xfrm>
                  <a:off x="2838147" y="2468435"/>
                  <a:ext cx="411156" cy="747728"/>
                </a:xfrm>
                <a:custGeom>
                  <a:avLst/>
                  <a:gdLst>
                    <a:gd name="T0" fmla="*/ 285 w 285"/>
                    <a:gd name="T1" fmla="*/ 230 h 517"/>
                    <a:gd name="T2" fmla="*/ 285 w 285"/>
                    <a:gd name="T3" fmla="*/ 0 h 517"/>
                    <a:gd name="T4" fmla="*/ 0 w 285"/>
                    <a:gd name="T5" fmla="*/ 0 h 517"/>
                    <a:gd name="T6" fmla="*/ 0 w 285"/>
                    <a:gd name="T7" fmla="*/ 517 h 517"/>
                    <a:gd name="T8" fmla="*/ 285 w 285"/>
                    <a:gd name="T9" fmla="*/ 517 h 517"/>
                    <a:gd name="T10" fmla="*/ 257 w 285"/>
                    <a:gd name="T11" fmla="*/ 230 h 517"/>
                    <a:gd name="T12" fmla="*/ 285 w 285"/>
                    <a:gd name="T13" fmla="*/ 230 h 5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85" h="517">
                      <a:moveTo>
                        <a:pt x="285" y="230"/>
                      </a:moveTo>
                      <a:cubicBezTo>
                        <a:pt x="285" y="0"/>
                        <a:pt x="285" y="0"/>
                        <a:pt x="285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517"/>
                        <a:pt x="0" y="517"/>
                        <a:pt x="0" y="517"/>
                      </a:cubicBezTo>
                      <a:cubicBezTo>
                        <a:pt x="285" y="517"/>
                        <a:pt x="285" y="517"/>
                        <a:pt x="285" y="517"/>
                      </a:cubicBezTo>
                      <a:cubicBezTo>
                        <a:pt x="285" y="517"/>
                        <a:pt x="278" y="276"/>
                        <a:pt x="257" y="230"/>
                      </a:cubicBezTo>
                      <a:cubicBezTo>
                        <a:pt x="285" y="230"/>
                        <a:pt x="285" y="230"/>
                        <a:pt x="285" y="230"/>
                      </a:cubicBezTo>
                    </a:path>
                  </a:pathLst>
                </a:custGeom>
                <a:solidFill>
                  <a:srgbClr val="E1623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82" name="Freeform 143"/>
                <p:cNvSpPr>
                  <a:spLocks noEditPoints="1"/>
                </p:cNvSpPr>
                <p:nvPr/>
              </p:nvSpPr>
              <p:spPr bwMode="auto">
                <a:xfrm>
                  <a:off x="3249302" y="3216163"/>
                  <a:ext cx="0" cy="0"/>
                </a:xfrm>
                <a:custGeom>
                  <a:avLst/>
                  <a:gdLst>
                    <a:gd name="T0" fmla="*/ 1 h 1"/>
                    <a:gd name="T1" fmla="*/ 1 h 1"/>
                    <a:gd name="T2" fmla="*/ 1 h 1"/>
                    <a:gd name="T3" fmla="*/ 0 h 1"/>
                    <a:gd name="T4" fmla="*/ 1 h 1"/>
                    <a:gd name="T5" fmla="*/ 0 h 1"/>
                    <a:gd name="T6" fmla="*/ 0 h 1"/>
                    <a:gd name="T7" fmla="*/ 0 h 1"/>
                    <a:gd name="T8" fmla="*/ 0 h 1"/>
                    <a:gd name="T9" fmla="*/ 0 h 1"/>
                    <a:gd name="T10" fmla="*/ 0 h 1"/>
                    <a:gd name="T11" fmla="*/ 0 h 1"/>
                    <a:gd name="T12" fmla="*/ 0 h 1"/>
                    <a:gd name="T13" fmla="*/ 0 h 1"/>
                    <a:gd name="T14" fmla="*/ 0 h 1"/>
                    <a:gd name="T15" fmla="*/ 0 h 1"/>
                    <a:gd name="T16" fmla="*/ 0 h 1"/>
                    <a:gd name="T17" fmla="*/ 0 h 1"/>
                    <a:gd name="T18" fmla="*/ 0 h 1"/>
                    <a:gd name="T19" fmla="*/ 0 h 1"/>
                    <a:gd name="T20" fmla="*/ 0 h 1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  <a:cxn ang="0">
                      <a:pos x="0" y="T5"/>
                    </a:cxn>
                    <a:cxn ang="0">
                      <a:pos x="0" y="T6"/>
                    </a:cxn>
                    <a:cxn ang="0">
                      <a:pos x="0" y="T7"/>
                    </a:cxn>
                    <a:cxn ang="0">
                      <a:pos x="0" y="T8"/>
                    </a:cxn>
                    <a:cxn ang="0">
                      <a:pos x="0" y="T9"/>
                    </a:cxn>
                    <a:cxn ang="0">
                      <a:pos x="0" y="T10"/>
                    </a:cxn>
                    <a:cxn ang="0">
                      <a:pos x="0" y="T11"/>
                    </a:cxn>
                    <a:cxn ang="0">
                      <a:pos x="0" y="T12"/>
                    </a:cxn>
                    <a:cxn ang="0">
                      <a:pos x="0" y="T13"/>
                    </a:cxn>
                    <a:cxn ang="0">
                      <a:pos x="0" y="T14"/>
                    </a:cxn>
                    <a:cxn ang="0">
                      <a:pos x="0" y="T15"/>
                    </a:cxn>
                    <a:cxn ang="0">
                      <a:pos x="0" y="T16"/>
                    </a:cxn>
                    <a:cxn ang="0">
                      <a:pos x="0" y="T17"/>
                    </a:cxn>
                    <a:cxn ang="0">
                      <a:pos x="0" y="T18"/>
                    </a:cxn>
                    <a:cxn ang="0">
                      <a:pos x="0" y="T19"/>
                    </a:cxn>
                    <a:cxn ang="0">
                      <a:pos x="0" y="T20"/>
                    </a:cxn>
                  </a:cxnLst>
                  <a:rect l="0" t="0" r="r" b="b"/>
                  <a:pathLst>
                    <a:path h="1">
                      <a:moveTo>
                        <a:pt x="0" y="1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moveTo>
                        <a:pt x="0" y="0"/>
                      </a:move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0" y="1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00A9D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83" name="Freeform 144"/>
                <p:cNvSpPr>
                  <a:spLocks/>
                </p:cNvSpPr>
                <p:nvPr/>
              </p:nvSpPr>
              <p:spPr bwMode="auto">
                <a:xfrm>
                  <a:off x="2838147" y="2668464"/>
                  <a:ext cx="411156" cy="547699"/>
                </a:xfrm>
                <a:custGeom>
                  <a:avLst/>
                  <a:gdLst>
                    <a:gd name="T0" fmla="*/ 0 w 285"/>
                    <a:gd name="T1" fmla="*/ 0 h 379"/>
                    <a:gd name="T2" fmla="*/ 0 w 285"/>
                    <a:gd name="T3" fmla="*/ 379 h 379"/>
                    <a:gd name="T4" fmla="*/ 285 w 285"/>
                    <a:gd name="T5" fmla="*/ 379 h 379"/>
                    <a:gd name="T6" fmla="*/ 285 w 285"/>
                    <a:gd name="T7" fmla="*/ 379 h 379"/>
                    <a:gd name="T8" fmla="*/ 285 w 285"/>
                    <a:gd name="T9" fmla="*/ 379 h 379"/>
                    <a:gd name="T10" fmla="*/ 285 w 285"/>
                    <a:gd name="T11" fmla="*/ 379 h 379"/>
                    <a:gd name="T12" fmla="*/ 285 w 285"/>
                    <a:gd name="T13" fmla="*/ 379 h 379"/>
                    <a:gd name="T14" fmla="*/ 285 w 285"/>
                    <a:gd name="T15" fmla="*/ 378 h 379"/>
                    <a:gd name="T16" fmla="*/ 285 w 285"/>
                    <a:gd name="T17" fmla="*/ 378 h 379"/>
                    <a:gd name="T18" fmla="*/ 285 w 285"/>
                    <a:gd name="T19" fmla="*/ 378 h 379"/>
                    <a:gd name="T20" fmla="*/ 285 w 285"/>
                    <a:gd name="T21" fmla="*/ 378 h 379"/>
                    <a:gd name="T22" fmla="*/ 285 w 285"/>
                    <a:gd name="T23" fmla="*/ 378 h 379"/>
                    <a:gd name="T24" fmla="*/ 285 w 285"/>
                    <a:gd name="T25" fmla="*/ 378 h 379"/>
                    <a:gd name="T26" fmla="*/ 285 w 285"/>
                    <a:gd name="T27" fmla="*/ 378 h 379"/>
                    <a:gd name="T28" fmla="*/ 285 w 285"/>
                    <a:gd name="T29" fmla="*/ 378 h 379"/>
                    <a:gd name="T30" fmla="*/ 285 w 285"/>
                    <a:gd name="T31" fmla="*/ 378 h 379"/>
                    <a:gd name="T32" fmla="*/ 285 w 285"/>
                    <a:gd name="T33" fmla="*/ 378 h 379"/>
                    <a:gd name="T34" fmla="*/ 285 w 285"/>
                    <a:gd name="T35" fmla="*/ 378 h 379"/>
                    <a:gd name="T36" fmla="*/ 277 w 285"/>
                    <a:gd name="T37" fmla="*/ 220 h 379"/>
                    <a:gd name="T38" fmla="*/ 0 w 285"/>
                    <a:gd name="T39" fmla="*/ 0 h 3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285" h="379">
                      <a:moveTo>
                        <a:pt x="0" y="0"/>
                      </a:moveTo>
                      <a:cubicBezTo>
                        <a:pt x="0" y="379"/>
                        <a:pt x="0" y="379"/>
                        <a:pt x="0" y="379"/>
                      </a:cubicBezTo>
                      <a:cubicBezTo>
                        <a:pt x="285" y="379"/>
                        <a:pt x="285" y="379"/>
                        <a:pt x="285" y="379"/>
                      </a:cubicBezTo>
                      <a:cubicBezTo>
                        <a:pt x="285" y="379"/>
                        <a:pt x="285" y="379"/>
                        <a:pt x="285" y="379"/>
                      </a:cubicBezTo>
                      <a:cubicBezTo>
                        <a:pt x="285" y="379"/>
                        <a:pt x="285" y="379"/>
                        <a:pt x="285" y="379"/>
                      </a:cubicBezTo>
                      <a:cubicBezTo>
                        <a:pt x="285" y="379"/>
                        <a:pt x="285" y="379"/>
                        <a:pt x="285" y="379"/>
                      </a:cubicBezTo>
                      <a:cubicBezTo>
                        <a:pt x="285" y="379"/>
                        <a:pt x="285" y="379"/>
                        <a:pt x="285" y="379"/>
                      </a:cubicBezTo>
                      <a:cubicBezTo>
                        <a:pt x="285" y="379"/>
                        <a:pt x="285" y="378"/>
                        <a:pt x="285" y="378"/>
                      </a:cubicBezTo>
                      <a:cubicBezTo>
                        <a:pt x="285" y="378"/>
                        <a:pt x="285" y="378"/>
                        <a:pt x="285" y="378"/>
                      </a:cubicBezTo>
                      <a:cubicBezTo>
                        <a:pt x="285" y="378"/>
                        <a:pt x="285" y="378"/>
                        <a:pt x="285" y="378"/>
                      </a:cubicBezTo>
                      <a:cubicBezTo>
                        <a:pt x="285" y="378"/>
                        <a:pt x="285" y="378"/>
                        <a:pt x="285" y="378"/>
                      </a:cubicBezTo>
                      <a:cubicBezTo>
                        <a:pt x="285" y="378"/>
                        <a:pt x="285" y="378"/>
                        <a:pt x="285" y="378"/>
                      </a:cubicBezTo>
                      <a:cubicBezTo>
                        <a:pt x="285" y="378"/>
                        <a:pt x="285" y="378"/>
                        <a:pt x="285" y="378"/>
                      </a:cubicBezTo>
                      <a:cubicBezTo>
                        <a:pt x="285" y="378"/>
                        <a:pt x="285" y="378"/>
                        <a:pt x="285" y="378"/>
                      </a:cubicBezTo>
                      <a:cubicBezTo>
                        <a:pt x="285" y="378"/>
                        <a:pt x="285" y="378"/>
                        <a:pt x="285" y="378"/>
                      </a:cubicBezTo>
                      <a:cubicBezTo>
                        <a:pt x="285" y="378"/>
                        <a:pt x="285" y="378"/>
                        <a:pt x="285" y="378"/>
                      </a:cubicBezTo>
                      <a:cubicBezTo>
                        <a:pt x="285" y="378"/>
                        <a:pt x="285" y="378"/>
                        <a:pt x="285" y="378"/>
                      </a:cubicBezTo>
                      <a:cubicBezTo>
                        <a:pt x="285" y="378"/>
                        <a:pt x="285" y="378"/>
                        <a:pt x="285" y="378"/>
                      </a:cubicBezTo>
                      <a:cubicBezTo>
                        <a:pt x="285" y="368"/>
                        <a:pt x="282" y="292"/>
                        <a:pt x="277" y="22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AC2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grpSp>
              <p:nvGrpSpPr>
                <p:cNvPr id="1084" name="Group 1083"/>
                <p:cNvGrpSpPr/>
                <p:nvPr/>
              </p:nvGrpSpPr>
              <p:grpSpPr>
                <a:xfrm>
                  <a:off x="2817509" y="1485753"/>
                  <a:ext cx="346069" cy="531823"/>
                  <a:chOff x="4951075" y="1519091"/>
                  <a:chExt cx="346069" cy="531823"/>
                </a:xfrm>
              </p:grpSpPr>
              <p:sp>
                <p:nvSpPr>
                  <p:cNvPr id="1107" name="Freeform 145"/>
                  <p:cNvSpPr>
                    <a:spLocks noEditPoints="1"/>
                  </p:cNvSpPr>
                  <p:nvPr/>
                </p:nvSpPr>
                <p:spPr bwMode="auto">
                  <a:xfrm>
                    <a:off x="4951075" y="1519091"/>
                    <a:ext cx="346069" cy="457209"/>
                  </a:xfrm>
                  <a:custGeom>
                    <a:avLst/>
                    <a:gdLst>
                      <a:gd name="T0" fmla="*/ 239 w 239"/>
                      <a:gd name="T1" fmla="*/ 120 h 316"/>
                      <a:gd name="T2" fmla="*/ 119 w 239"/>
                      <a:gd name="T3" fmla="*/ 0 h 316"/>
                      <a:gd name="T4" fmla="*/ 0 w 239"/>
                      <a:gd name="T5" fmla="*/ 119 h 316"/>
                      <a:gd name="T6" fmla="*/ 53 w 239"/>
                      <a:gd name="T7" fmla="*/ 218 h 316"/>
                      <a:gd name="T8" fmla="*/ 79 w 239"/>
                      <a:gd name="T9" fmla="*/ 299 h 316"/>
                      <a:gd name="T10" fmla="*/ 119 w 239"/>
                      <a:gd name="T11" fmla="*/ 316 h 316"/>
                      <a:gd name="T12" fmla="*/ 119 w 239"/>
                      <a:gd name="T13" fmla="*/ 316 h 316"/>
                      <a:gd name="T14" fmla="*/ 119 w 239"/>
                      <a:gd name="T15" fmla="*/ 316 h 316"/>
                      <a:gd name="T16" fmla="*/ 119 w 239"/>
                      <a:gd name="T17" fmla="*/ 316 h 316"/>
                      <a:gd name="T18" fmla="*/ 119 w 239"/>
                      <a:gd name="T19" fmla="*/ 316 h 316"/>
                      <a:gd name="T20" fmla="*/ 160 w 239"/>
                      <a:gd name="T21" fmla="*/ 299 h 316"/>
                      <a:gd name="T22" fmla="*/ 160 w 239"/>
                      <a:gd name="T23" fmla="*/ 299 h 316"/>
                      <a:gd name="T24" fmla="*/ 160 w 239"/>
                      <a:gd name="T25" fmla="*/ 293 h 316"/>
                      <a:gd name="T26" fmla="*/ 186 w 239"/>
                      <a:gd name="T27" fmla="*/ 219 h 316"/>
                      <a:gd name="T28" fmla="*/ 239 w 239"/>
                      <a:gd name="T29" fmla="*/ 120 h 316"/>
                      <a:gd name="T30" fmla="*/ 119 w 239"/>
                      <a:gd name="T31" fmla="*/ 314 h 316"/>
                      <a:gd name="T32" fmla="*/ 119 w 239"/>
                      <a:gd name="T33" fmla="*/ 299 h 316"/>
                      <a:gd name="T34" fmla="*/ 120 w 239"/>
                      <a:gd name="T35" fmla="*/ 299 h 316"/>
                      <a:gd name="T36" fmla="*/ 119 w 239"/>
                      <a:gd name="T37" fmla="*/ 314 h 3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239" h="316">
                        <a:moveTo>
                          <a:pt x="239" y="120"/>
                        </a:moveTo>
                        <a:cubicBezTo>
                          <a:pt x="239" y="54"/>
                          <a:pt x="185" y="0"/>
                          <a:pt x="119" y="0"/>
                        </a:cubicBezTo>
                        <a:cubicBezTo>
                          <a:pt x="54" y="0"/>
                          <a:pt x="0" y="54"/>
                          <a:pt x="0" y="119"/>
                        </a:cubicBezTo>
                        <a:cubicBezTo>
                          <a:pt x="0" y="161"/>
                          <a:pt x="21" y="197"/>
                          <a:pt x="53" y="218"/>
                        </a:cubicBezTo>
                        <a:cubicBezTo>
                          <a:pt x="53" y="218"/>
                          <a:pt x="79" y="239"/>
                          <a:pt x="79" y="299"/>
                        </a:cubicBezTo>
                        <a:cubicBezTo>
                          <a:pt x="119" y="316"/>
                          <a:pt x="119" y="316"/>
                          <a:pt x="119" y="316"/>
                        </a:cubicBezTo>
                        <a:cubicBezTo>
                          <a:pt x="119" y="316"/>
                          <a:pt x="119" y="316"/>
                          <a:pt x="119" y="316"/>
                        </a:cubicBezTo>
                        <a:cubicBezTo>
                          <a:pt x="119" y="316"/>
                          <a:pt x="119" y="316"/>
                          <a:pt x="119" y="316"/>
                        </a:cubicBezTo>
                        <a:cubicBezTo>
                          <a:pt x="119" y="316"/>
                          <a:pt x="119" y="316"/>
                          <a:pt x="119" y="316"/>
                        </a:cubicBezTo>
                        <a:cubicBezTo>
                          <a:pt x="119" y="316"/>
                          <a:pt x="119" y="316"/>
                          <a:pt x="119" y="316"/>
                        </a:cubicBezTo>
                        <a:cubicBezTo>
                          <a:pt x="160" y="299"/>
                          <a:pt x="160" y="299"/>
                          <a:pt x="160" y="299"/>
                        </a:cubicBezTo>
                        <a:cubicBezTo>
                          <a:pt x="160" y="299"/>
                          <a:pt x="160" y="299"/>
                          <a:pt x="160" y="299"/>
                        </a:cubicBezTo>
                        <a:cubicBezTo>
                          <a:pt x="160" y="293"/>
                          <a:pt x="160" y="293"/>
                          <a:pt x="160" y="293"/>
                        </a:cubicBezTo>
                        <a:cubicBezTo>
                          <a:pt x="162" y="241"/>
                          <a:pt x="183" y="221"/>
                          <a:pt x="186" y="219"/>
                        </a:cubicBezTo>
                        <a:cubicBezTo>
                          <a:pt x="218" y="197"/>
                          <a:pt x="239" y="161"/>
                          <a:pt x="239" y="120"/>
                        </a:cubicBezTo>
                        <a:moveTo>
                          <a:pt x="119" y="314"/>
                        </a:moveTo>
                        <a:cubicBezTo>
                          <a:pt x="119" y="299"/>
                          <a:pt x="119" y="299"/>
                          <a:pt x="119" y="299"/>
                        </a:cubicBezTo>
                        <a:cubicBezTo>
                          <a:pt x="120" y="299"/>
                          <a:pt x="120" y="299"/>
                          <a:pt x="120" y="299"/>
                        </a:cubicBezTo>
                        <a:cubicBezTo>
                          <a:pt x="119" y="314"/>
                          <a:pt x="119" y="314"/>
                          <a:pt x="119" y="314"/>
                        </a:cubicBezTo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08" name="Rectangle 146"/>
                  <p:cNvSpPr>
                    <a:spLocks noChangeArrowheads="1"/>
                  </p:cNvSpPr>
                  <p:nvPr/>
                </p:nvSpPr>
                <p:spPr bwMode="auto">
                  <a:xfrm>
                    <a:off x="5066960" y="1950899"/>
                    <a:ext cx="119061" cy="79377"/>
                  </a:xfrm>
                  <a:prstGeom prst="rect">
                    <a:avLst/>
                  </a:prstGeom>
                  <a:solidFill>
                    <a:srgbClr val="4668C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09" name="Rectangle 147"/>
                  <p:cNvSpPr>
                    <a:spLocks noChangeArrowheads="1"/>
                  </p:cNvSpPr>
                  <p:nvPr/>
                </p:nvSpPr>
                <p:spPr bwMode="auto">
                  <a:xfrm>
                    <a:off x="5066960" y="1950899"/>
                    <a:ext cx="119061" cy="7937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10" name="Freeform 148"/>
                  <p:cNvSpPr>
                    <a:spLocks/>
                  </p:cNvSpPr>
                  <p:nvPr/>
                </p:nvSpPr>
                <p:spPr bwMode="auto">
                  <a:xfrm>
                    <a:off x="5066960" y="1963600"/>
                    <a:ext cx="119061" cy="23813"/>
                  </a:xfrm>
                  <a:custGeom>
                    <a:avLst/>
                    <a:gdLst>
                      <a:gd name="T0" fmla="*/ 0 w 75"/>
                      <a:gd name="T1" fmla="*/ 15 h 15"/>
                      <a:gd name="T2" fmla="*/ 0 w 75"/>
                      <a:gd name="T3" fmla="*/ 11 h 15"/>
                      <a:gd name="T4" fmla="*/ 74 w 75"/>
                      <a:gd name="T5" fmla="*/ 0 h 15"/>
                      <a:gd name="T6" fmla="*/ 75 w 75"/>
                      <a:gd name="T7" fmla="*/ 3 h 15"/>
                      <a:gd name="T8" fmla="*/ 0 w 75"/>
                      <a:gd name="T9" fmla="*/ 15 h 1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5" h="15">
                        <a:moveTo>
                          <a:pt x="0" y="15"/>
                        </a:moveTo>
                        <a:lnTo>
                          <a:pt x="0" y="11"/>
                        </a:lnTo>
                        <a:lnTo>
                          <a:pt x="74" y="0"/>
                        </a:lnTo>
                        <a:lnTo>
                          <a:pt x="75" y="3"/>
                        </a:lnTo>
                        <a:lnTo>
                          <a:pt x="0" y="15"/>
                        </a:lnTo>
                        <a:close/>
                      </a:path>
                    </a:pathLst>
                  </a:custGeom>
                  <a:solidFill>
                    <a:srgbClr val="00188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11" name="Freeform 149"/>
                  <p:cNvSpPr>
                    <a:spLocks/>
                  </p:cNvSpPr>
                  <p:nvPr/>
                </p:nvSpPr>
                <p:spPr bwMode="auto">
                  <a:xfrm>
                    <a:off x="5066960" y="1963600"/>
                    <a:ext cx="119061" cy="23813"/>
                  </a:xfrm>
                  <a:custGeom>
                    <a:avLst/>
                    <a:gdLst>
                      <a:gd name="T0" fmla="*/ 0 w 75"/>
                      <a:gd name="T1" fmla="*/ 15 h 15"/>
                      <a:gd name="T2" fmla="*/ 0 w 75"/>
                      <a:gd name="T3" fmla="*/ 11 h 15"/>
                      <a:gd name="T4" fmla="*/ 74 w 75"/>
                      <a:gd name="T5" fmla="*/ 0 h 15"/>
                      <a:gd name="T6" fmla="*/ 75 w 75"/>
                      <a:gd name="T7" fmla="*/ 3 h 15"/>
                      <a:gd name="T8" fmla="*/ 0 w 75"/>
                      <a:gd name="T9" fmla="*/ 15 h 1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5" h="15">
                        <a:moveTo>
                          <a:pt x="0" y="15"/>
                        </a:moveTo>
                        <a:lnTo>
                          <a:pt x="0" y="11"/>
                        </a:lnTo>
                        <a:lnTo>
                          <a:pt x="74" y="0"/>
                        </a:lnTo>
                        <a:lnTo>
                          <a:pt x="75" y="3"/>
                        </a:lnTo>
                        <a:lnTo>
                          <a:pt x="0" y="15"/>
                        </a:lnTo>
                      </a:path>
                    </a:pathLst>
                  </a:cu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12" name="Freeform 150"/>
                  <p:cNvSpPr>
                    <a:spLocks/>
                  </p:cNvSpPr>
                  <p:nvPr/>
                </p:nvSpPr>
                <p:spPr bwMode="auto">
                  <a:xfrm>
                    <a:off x="5066960" y="1987413"/>
                    <a:ext cx="119061" cy="25401"/>
                  </a:xfrm>
                  <a:custGeom>
                    <a:avLst/>
                    <a:gdLst>
                      <a:gd name="T0" fmla="*/ 0 w 75"/>
                      <a:gd name="T1" fmla="*/ 16 h 16"/>
                      <a:gd name="T2" fmla="*/ 0 w 75"/>
                      <a:gd name="T3" fmla="*/ 12 h 16"/>
                      <a:gd name="T4" fmla="*/ 74 w 75"/>
                      <a:gd name="T5" fmla="*/ 0 h 16"/>
                      <a:gd name="T6" fmla="*/ 75 w 75"/>
                      <a:gd name="T7" fmla="*/ 4 h 16"/>
                      <a:gd name="T8" fmla="*/ 0 w 75"/>
                      <a:gd name="T9" fmla="*/ 16 h 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5" h="16">
                        <a:moveTo>
                          <a:pt x="0" y="16"/>
                        </a:moveTo>
                        <a:lnTo>
                          <a:pt x="0" y="12"/>
                        </a:lnTo>
                        <a:lnTo>
                          <a:pt x="74" y="0"/>
                        </a:lnTo>
                        <a:lnTo>
                          <a:pt x="75" y="4"/>
                        </a:lnTo>
                        <a:lnTo>
                          <a:pt x="0" y="16"/>
                        </a:lnTo>
                        <a:close/>
                      </a:path>
                    </a:pathLst>
                  </a:custGeom>
                  <a:solidFill>
                    <a:srgbClr val="00188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13" name="Freeform 151"/>
                  <p:cNvSpPr>
                    <a:spLocks/>
                  </p:cNvSpPr>
                  <p:nvPr/>
                </p:nvSpPr>
                <p:spPr bwMode="auto">
                  <a:xfrm>
                    <a:off x="5066960" y="1987413"/>
                    <a:ext cx="119061" cy="25401"/>
                  </a:xfrm>
                  <a:custGeom>
                    <a:avLst/>
                    <a:gdLst>
                      <a:gd name="T0" fmla="*/ 0 w 75"/>
                      <a:gd name="T1" fmla="*/ 16 h 16"/>
                      <a:gd name="T2" fmla="*/ 0 w 75"/>
                      <a:gd name="T3" fmla="*/ 12 h 16"/>
                      <a:gd name="T4" fmla="*/ 74 w 75"/>
                      <a:gd name="T5" fmla="*/ 0 h 16"/>
                      <a:gd name="T6" fmla="*/ 75 w 75"/>
                      <a:gd name="T7" fmla="*/ 4 h 16"/>
                      <a:gd name="T8" fmla="*/ 0 w 75"/>
                      <a:gd name="T9" fmla="*/ 16 h 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5" h="16">
                        <a:moveTo>
                          <a:pt x="0" y="16"/>
                        </a:moveTo>
                        <a:lnTo>
                          <a:pt x="0" y="12"/>
                        </a:lnTo>
                        <a:lnTo>
                          <a:pt x="74" y="0"/>
                        </a:lnTo>
                        <a:lnTo>
                          <a:pt x="75" y="4"/>
                        </a:lnTo>
                        <a:lnTo>
                          <a:pt x="0" y="16"/>
                        </a:lnTo>
                      </a:path>
                    </a:pathLst>
                  </a:cu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14" name="Freeform 152"/>
                  <p:cNvSpPr>
                    <a:spLocks/>
                  </p:cNvSpPr>
                  <p:nvPr/>
                </p:nvSpPr>
                <p:spPr bwMode="auto">
                  <a:xfrm>
                    <a:off x="5066960" y="2009638"/>
                    <a:ext cx="119061" cy="22225"/>
                  </a:xfrm>
                  <a:custGeom>
                    <a:avLst/>
                    <a:gdLst>
                      <a:gd name="T0" fmla="*/ 0 w 75"/>
                      <a:gd name="T1" fmla="*/ 14 h 14"/>
                      <a:gd name="T2" fmla="*/ 0 w 75"/>
                      <a:gd name="T3" fmla="*/ 11 h 14"/>
                      <a:gd name="T4" fmla="*/ 74 w 75"/>
                      <a:gd name="T5" fmla="*/ 0 h 14"/>
                      <a:gd name="T6" fmla="*/ 75 w 75"/>
                      <a:gd name="T7" fmla="*/ 3 h 14"/>
                      <a:gd name="T8" fmla="*/ 0 w 75"/>
                      <a:gd name="T9" fmla="*/ 14 h 1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5" h="14">
                        <a:moveTo>
                          <a:pt x="0" y="14"/>
                        </a:moveTo>
                        <a:lnTo>
                          <a:pt x="0" y="11"/>
                        </a:lnTo>
                        <a:lnTo>
                          <a:pt x="74" y="0"/>
                        </a:lnTo>
                        <a:lnTo>
                          <a:pt x="75" y="3"/>
                        </a:lnTo>
                        <a:lnTo>
                          <a:pt x="0" y="14"/>
                        </a:lnTo>
                        <a:close/>
                      </a:path>
                    </a:pathLst>
                  </a:custGeom>
                  <a:solidFill>
                    <a:srgbClr val="3333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15" name="Freeform 153"/>
                  <p:cNvSpPr>
                    <a:spLocks/>
                  </p:cNvSpPr>
                  <p:nvPr/>
                </p:nvSpPr>
                <p:spPr bwMode="auto">
                  <a:xfrm>
                    <a:off x="5066960" y="2009638"/>
                    <a:ext cx="119061" cy="22225"/>
                  </a:xfrm>
                  <a:custGeom>
                    <a:avLst/>
                    <a:gdLst>
                      <a:gd name="T0" fmla="*/ 0 w 75"/>
                      <a:gd name="T1" fmla="*/ 14 h 14"/>
                      <a:gd name="T2" fmla="*/ 0 w 75"/>
                      <a:gd name="T3" fmla="*/ 11 h 14"/>
                      <a:gd name="T4" fmla="*/ 74 w 75"/>
                      <a:gd name="T5" fmla="*/ 0 h 14"/>
                      <a:gd name="T6" fmla="*/ 75 w 75"/>
                      <a:gd name="T7" fmla="*/ 3 h 14"/>
                      <a:gd name="T8" fmla="*/ 0 w 75"/>
                      <a:gd name="T9" fmla="*/ 14 h 1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5" h="14">
                        <a:moveTo>
                          <a:pt x="0" y="14"/>
                        </a:moveTo>
                        <a:lnTo>
                          <a:pt x="0" y="11"/>
                        </a:lnTo>
                        <a:lnTo>
                          <a:pt x="74" y="0"/>
                        </a:lnTo>
                        <a:lnTo>
                          <a:pt x="75" y="3"/>
                        </a:lnTo>
                        <a:lnTo>
                          <a:pt x="0" y="14"/>
                        </a:lnTo>
                      </a:path>
                    </a:pathLst>
                  </a:cu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16" name="Freeform 154"/>
                  <p:cNvSpPr>
                    <a:spLocks/>
                  </p:cNvSpPr>
                  <p:nvPr/>
                </p:nvSpPr>
                <p:spPr bwMode="auto">
                  <a:xfrm>
                    <a:off x="5095535" y="2030276"/>
                    <a:ext cx="61911" cy="20638"/>
                  </a:xfrm>
                  <a:custGeom>
                    <a:avLst/>
                    <a:gdLst>
                      <a:gd name="T0" fmla="*/ 0 w 39"/>
                      <a:gd name="T1" fmla="*/ 0 h 13"/>
                      <a:gd name="T2" fmla="*/ 6 w 39"/>
                      <a:gd name="T3" fmla="*/ 13 h 13"/>
                      <a:gd name="T4" fmla="*/ 32 w 39"/>
                      <a:gd name="T5" fmla="*/ 13 h 13"/>
                      <a:gd name="T6" fmla="*/ 39 w 39"/>
                      <a:gd name="T7" fmla="*/ 0 h 13"/>
                      <a:gd name="T8" fmla="*/ 0 w 39"/>
                      <a:gd name="T9" fmla="*/ 0 h 1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9" h="13">
                        <a:moveTo>
                          <a:pt x="0" y="0"/>
                        </a:moveTo>
                        <a:lnTo>
                          <a:pt x="6" y="13"/>
                        </a:lnTo>
                        <a:lnTo>
                          <a:pt x="32" y="13"/>
                        </a:lnTo>
                        <a:lnTo>
                          <a:pt x="39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00188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17" name="Freeform 155"/>
                  <p:cNvSpPr>
                    <a:spLocks/>
                  </p:cNvSpPr>
                  <p:nvPr/>
                </p:nvSpPr>
                <p:spPr bwMode="auto">
                  <a:xfrm>
                    <a:off x="5095535" y="2030276"/>
                    <a:ext cx="61911" cy="20638"/>
                  </a:xfrm>
                  <a:custGeom>
                    <a:avLst/>
                    <a:gdLst>
                      <a:gd name="T0" fmla="*/ 0 w 39"/>
                      <a:gd name="T1" fmla="*/ 0 h 13"/>
                      <a:gd name="T2" fmla="*/ 6 w 39"/>
                      <a:gd name="T3" fmla="*/ 13 h 13"/>
                      <a:gd name="T4" fmla="*/ 32 w 39"/>
                      <a:gd name="T5" fmla="*/ 13 h 13"/>
                      <a:gd name="T6" fmla="*/ 39 w 39"/>
                      <a:gd name="T7" fmla="*/ 0 h 13"/>
                      <a:gd name="T8" fmla="*/ 0 w 39"/>
                      <a:gd name="T9" fmla="*/ 0 h 1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9" h="13">
                        <a:moveTo>
                          <a:pt x="0" y="0"/>
                        </a:moveTo>
                        <a:lnTo>
                          <a:pt x="6" y="13"/>
                        </a:lnTo>
                        <a:lnTo>
                          <a:pt x="32" y="13"/>
                        </a:lnTo>
                        <a:lnTo>
                          <a:pt x="39" y="0"/>
                        </a:lnTo>
                        <a:lnTo>
                          <a:pt x="0" y="0"/>
                        </a:lnTo>
                      </a:path>
                    </a:pathLst>
                  </a:cu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18" name="Freeform 156"/>
                  <p:cNvSpPr>
                    <a:spLocks noEditPoints="1"/>
                  </p:cNvSpPr>
                  <p:nvPr/>
                </p:nvSpPr>
                <p:spPr bwMode="auto">
                  <a:xfrm>
                    <a:off x="5059023" y="1690544"/>
                    <a:ext cx="238121" cy="274643"/>
                  </a:xfrm>
                  <a:custGeom>
                    <a:avLst/>
                    <a:gdLst>
                      <a:gd name="T0" fmla="*/ 5 w 165"/>
                      <a:gd name="T1" fmla="*/ 180 h 190"/>
                      <a:gd name="T2" fmla="*/ 6 w 165"/>
                      <a:gd name="T3" fmla="*/ 181 h 190"/>
                      <a:gd name="T4" fmla="*/ 6 w 165"/>
                      <a:gd name="T5" fmla="*/ 181 h 190"/>
                      <a:gd name="T6" fmla="*/ 5 w 165"/>
                      <a:gd name="T7" fmla="*/ 180 h 190"/>
                      <a:gd name="T8" fmla="*/ 5 w 165"/>
                      <a:gd name="T9" fmla="*/ 179 h 190"/>
                      <a:gd name="T10" fmla="*/ 5 w 165"/>
                      <a:gd name="T11" fmla="*/ 180 h 190"/>
                      <a:gd name="T12" fmla="*/ 5 w 165"/>
                      <a:gd name="T13" fmla="*/ 179 h 190"/>
                      <a:gd name="T14" fmla="*/ 5 w 165"/>
                      <a:gd name="T15" fmla="*/ 179 h 190"/>
                      <a:gd name="T16" fmla="*/ 5 w 165"/>
                      <a:gd name="T17" fmla="*/ 179 h 190"/>
                      <a:gd name="T18" fmla="*/ 5 w 165"/>
                      <a:gd name="T19" fmla="*/ 179 h 190"/>
                      <a:gd name="T20" fmla="*/ 86 w 165"/>
                      <a:gd name="T21" fmla="*/ 174 h 190"/>
                      <a:gd name="T22" fmla="*/ 86 w 165"/>
                      <a:gd name="T23" fmla="*/ 174 h 190"/>
                      <a:gd name="T24" fmla="*/ 86 w 165"/>
                      <a:gd name="T25" fmla="*/ 180 h 190"/>
                      <a:gd name="T26" fmla="*/ 86 w 165"/>
                      <a:gd name="T27" fmla="*/ 180 h 190"/>
                      <a:gd name="T28" fmla="*/ 88 w 165"/>
                      <a:gd name="T29" fmla="*/ 180 h 190"/>
                      <a:gd name="T30" fmla="*/ 88 w 165"/>
                      <a:gd name="T31" fmla="*/ 190 h 190"/>
                      <a:gd name="T32" fmla="*/ 88 w 165"/>
                      <a:gd name="T33" fmla="*/ 180 h 190"/>
                      <a:gd name="T34" fmla="*/ 86 w 165"/>
                      <a:gd name="T35" fmla="*/ 180 h 190"/>
                      <a:gd name="T36" fmla="*/ 86 w 165"/>
                      <a:gd name="T37" fmla="*/ 174 h 190"/>
                      <a:gd name="T38" fmla="*/ 3 w 165"/>
                      <a:gd name="T39" fmla="*/ 152 h 190"/>
                      <a:gd name="T40" fmla="*/ 3 w 165"/>
                      <a:gd name="T41" fmla="*/ 152 h 190"/>
                      <a:gd name="T42" fmla="*/ 3 w 165"/>
                      <a:gd name="T43" fmla="*/ 152 h 190"/>
                      <a:gd name="T44" fmla="*/ 2 w 165"/>
                      <a:gd name="T45" fmla="*/ 151 h 190"/>
                      <a:gd name="T46" fmla="*/ 2 w 165"/>
                      <a:gd name="T47" fmla="*/ 151 h 190"/>
                      <a:gd name="T48" fmla="*/ 2 w 165"/>
                      <a:gd name="T49" fmla="*/ 151 h 190"/>
                      <a:gd name="T50" fmla="*/ 0 w 165"/>
                      <a:gd name="T51" fmla="*/ 138 h 190"/>
                      <a:gd name="T52" fmla="*/ 0 w 165"/>
                      <a:gd name="T53" fmla="*/ 138 h 190"/>
                      <a:gd name="T54" fmla="*/ 2 w 165"/>
                      <a:gd name="T55" fmla="*/ 151 h 190"/>
                      <a:gd name="T56" fmla="*/ 0 w 165"/>
                      <a:gd name="T57" fmla="*/ 138 h 190"/>
                      <a:gd name="T58" fmla="*/ 165 w 165"/>
                      <a:gd name="T59" fmla="*/ 0 h 190"/>
                      <a:gd name="T60" fmla="*/ 165 w 165"/>
                      <a:gd name="T61" fmla="*/ 1 h 190"/>
                      <a:gd name="T62" fmla="*/ 165 w 165"/>
                      <a:gd name="T63" fmla="*/ 1 h 190"/>
                      <a:gd name="T64" fmla="*/ 165 w 165"/>
                      <a:gd name="T65" fmla="*/ 0 h 19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</a:cxnLst>
                    <a:rect l="0" t="0" r="r" b="b"/>
                    <a:pathLst>
                      <a:path w="165" h="190">
                        <a:moveTo>
                          <a:pt x="5" y="180"/>
                        </a:moveTo>
                        <a:cubicBezTo>
                          <a:pt x="6" y="181"/>
                          <a:pt x="6" y="181"/>
                          <a:pt x="6" y="181"/>
                        </a:cubicBezTo>
                        <a:cubicBezTo>
                          <a:pt x="6" y="181"/>
                          <a:pt x="6" y="181"/>
                          <a:pt x="6" y="181"/>
                        </a:cubicBezTo>
                        <a:cubicBezTo>
                          <a:pt x="5" y="180"/>
                          <a:pt x="5" y="180"/>
                          <a:pt x="5" y="180"/>
                        </a:cubicBezTo>
                        <a:moveTo>
                          <a:pt x="5" y="179"/>
                        </a:moveTo>
                        <a:cubicBezTo>
                          <a:pt x="5" y="180"/>
                          <a:pt x="5" y="180"/>
                          <a:pt x="5" y="180"/>
                        </a:cubicBezTo>
                        <a:cubicBezTo>
                          <a:pt x="5" y="180"/>
                          <a:pt x="5" y="180"/>
                          <a:pt x="5" y="179"/>
                        </a:cubicBezTo>
                        <a:moveTo>
                          <a:pt x="5" y="179"/>
                        </a:moveTo>
                        <a:cubicBezTo>
                          <a:pt x="5" y="179"/>
                          <a:pt x="5" y="179"/>
                          <a:pt x="5" y="179"/>
                        </a:cubicBezTo>
                        <a:cubicBezTo>
                          <a:pt x="5" y="179"/>
                          <a:pt x="5" y="179"/>
                          <a:pt x="5" y="179"/>
                        </a:cubicBezTo>
                        <a:moveTo>
                          <a:pt x="86" y="174"/>
                        </a:moveTo>
                        <a:cubicBezTo>
                          <a:pt x="86" y="174"/>
                          <a:pt x="86" y="174"/>
                          <a:pt x="86" y="174"/>
                        </a:cubicBezTo>
                        <a:cubicBezTo>
                          <a:pt x="86" y="180"/>
                          <a:pt x="86" y="180"/>
                          <a:pt x="86" y="180"/>
                        </a:cubicBezTo>
                        <a:cubicBezTo>
                          <a:pt x="86" y="180"/>
                          <a:pt x="86" y="180"/>
                          <a:pt x="86" y="180"/>
                        </a:cubicBezTo>
                        <a:cubicBezTo>
                          <a:pt x="88" y="180"/>
                          <a:pt x="88" y="180"/>
                          <a:pt x="88" y="180"/>
                        </a:cubicBezTo>
                        <a:cubicBezTo>
                          <a:pt x="88" y="190"/>
                          <a:pt x="88" y="190"/>
                          <a:pt x="88" y="190"/>
                        </a:cubicBezTo>
                        <a:cubicBezTo>
                          <a:pt x="88" y="180"/>
                          <a:pt x="88" y="180"/>
                          <a:pt x="88" y="180"/>
                        </a:cubicBezTo>
                        <a:cubicBezTo>
                          <a:pt x="86" y="180"/>
                          <a:pt x="86" y="180"/>
                          <a:pt x="86" y="180"/>
                        </a:cubicBezTo>
                        <a:cubicBezTo>
                          <a:pt x="86" y="174"/>
                          <a:pt x="86" y="174"/>
                          <a:pt x="86" y="174"/>
                        </a:cubicBezTo>
                        <a:moveTo>
                          <a:pt x="3" y="152"/>
                        </a:moveTo>
                        <a:cubicBezTo>
                          <a:pt x="3" y="152"/>
                          <a:pt x="3" y="152"/>
                          <a:pt x="3" y="152"/>
                        </a:cubicBezTo>
                        <a:cubicBezTo>
                          <a:pt x="3" y="152"/>
                          <a:pt x="3" y="152"/>
                          <a:pt x="3" y="152"/>
                        </a:cubicBezTo>
                        <a:moveTo>
                          <a:pt x="2" y="151"/>
                        </a:moveTo>
                        <a:cubicBezTo>
                          <a:pt x="2" y="151"/>
                          <a:pt x="2" y="151"/>
                          <a:pt x="2" y="151"/>
                        </a:cubicBezTo>
                        <a:cubicBezTo>
                          <a:pt x="2" y="151"/>
                          <a:pt x="2" y="151"/>
                          <a:pt x="2" y="151"/>
                        </a:cubicBezTo>
                        <a:moveTo>
                          <a:pt x="0" y="138"/>
                        </a:moveTo>
                        <a:cubicBezTo>
                          <a:pt x="0" y="138"/>
                          <a:pt x="0" y="138"/>
                          <a:pt x="0" y="138"/>
                        </a:cubicBezTo>
                        <a:cubicBezTo>
                          <a:pt x="1" y="142"/>
                          <a:pt x="2" y="146"/>
                          <a:pt x="2" y="151"/>
                        </a:cubicBezTo>
                        <a:cubicBezTo>
                          <a:pt x="2" y="146"/>
                          <a:pt x="1" y="142"/>
                          <a:pt x="0" y="138"/>
                        </a:cubicBezTo>
                        <a:moveTo>
                          <a:pt x="165" y="0"/>
                        </a:moveTo>
                        <a:cubicBezTo>
                          <a:pt x="165" y="0"/>
                          <a:pt x="165" y="0"/>
                          <a:pt x="165" y="1"/>
                        </a:cubicBezTo>
                        <a:cubicBezTo>
                          <a:pt x="165" y="1"/>
                          <a:pt x="165" y="1"/>
                          <a:pt x="165" y="1"/>
                        </a:cubicBezTo>
                        <a:cubicBezTo>
                          <a:pt x="165" y="0"/>
                          <a:pt x="165" y="0"/>
                          <a:pt x="165" y="0"/>
                        </a:cubicBezTo>
                      </a:path>
                    </a:pathLst>
                  </a:custGeom>
                  <a:solidFill>
                    <a:srgbClr val="E5D8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19" name="Freeform 157"/>
                  <p:cNvSpPr>
                    <a:spLocks/>
                  </p:cNvSpPr>
                  <p:nvPr/>
                </p:nvSpPr>
                <p:spPr bwMode="auto">
                  <a:xfrm>
                    <a:off x="5059023" y="1657206"/>
                    <a:ext cx="238121" cy="295281"/>
                  </a:xfrm>
                  <a:custGeom>
                    <a:avLst/>
                    <a:gdLst>
                      <a:gd name="T0" fmla="*/ 162 w 165"/>
                      <a:gd name="T1" fmla="*/ 0 h 204"/>
                      <a:gd name="T2" fmla="*/ 160 w 165"/>
                      <a:gd name="T3" fmla="*/ 0 h 204"/>
                      <a:gd name="T4" fmla="*/ 0 w 165"/>
                      <a:gd name="T5" fmla="*/ 161 h 204"/>
                      <a:gd name="T6" fmla="*/ 2 w 165"/>
                      <a:gd name="T7" fmla="*/ 174 h 204"/>
                      <a:gd name="T8" fmla="*/ 2 w 165"/>
                      <a:gd name="T9" fmla="*/ 174 h 204"/>
                      <a:gd name="T10" fmla="*/ 2 w 165"/>
                      <a:gd name="T11" fmla="*/ 174 h 204"/>
                      <a:gd name="T12" fmla="*/ 3 w 165"/>
                      <a:gd name="T13" fmla="*/ 175 h 204"/>
                      <a:gd name="T14" fmla="*/ 3 w 165"/>
                      <a:gd name="T15" fmla="*/ 175 h 204"/>
                      <a:gd name="T16" fmla="*/ 5 w 165"/>
                      <a:gd name="T17" fmla="*/ 202 h 204"/>
                      <a:gd name="T18" fmla="*/ 5 w 165"/>
                      <a:gd name="T19" fmla="*/ 202 h 204"/>
                      <a:gd name="T20" fmla="*/ 5 w 165"/>
                      <a:gd name="T21" fmla="*/ 202 h 204"/>
                      <a:gd name="T22" fmla="*/ 5 w 165"/>
                      <a:gd name="T23" fmla="*/ 203 h 204"/>
                      <a:gd name="T24" fmla="*/ 5 w 165"/>
                      <a:gd name="T25" fmla="*/ 203 h 204"/>
                      <a:gd name="T26" fmla="*/ 6 w 165"/>
                      <a:gd name="T27" fmla="*/ 204 h 204"/>
                      <a:gd name="T28" fmla="*/ 6 w 165"/>
                      <a:gd name="T29" fmla="*/ 203 h 204"/>
                      <a:gd name="T30" fmla="*/ 86 w 165"/>
                      <a:gd name="T31" fmla="*/ 203 h 204"/>
                      <a:gd name="T32" fmla="*/ 86 w 165"/>
                      <a:gd name="T33" fmla="*/ 203 h 204"/>
                      <a:gd name="T34" fmla="*/ 86 w 165"/>
                      <a:gd name="T35" fmla="*/ 203 h 204"/>
                      <a:gd name="T36" fmla="*/ 86 w 165"/>
                      <a:gd name="T37" fmla="*/ 197 h 204"/>
                      <a:gd name="T38" fmla="*/ 86 w 165"/>
                      <a:gd name="T39" fmla="*/ 197 h 204"/>
                      <a:gd name="T40" fmla="*/ 112 w 165"/>
                      <a:gd name="T41" fmla="*/ 123 h 204"/>
                      <a:gd name="T42" fmla="*/ 165 w 165"/>
                      <a:gd name="T43" fmla="*/ 24 h 204"/>
                      <a:gd name="T44" fmla="*/ 165 w 165"/>
                      <a:gd name="T45" fmla="*/ 23 h 204"/>
                      <a:gd name="T46" fmla="*/ 162 w 165"/>
                      <a:gd name="T47" fmla="*/ 0 h 20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165" h="204">
                        <a:moveTo>
                          <a:pt x="162" y="0"/>
                        </a:moveTo>
                        <a:cubicBezTo>
                          <a:pt x="160" y="0"/>
                          <a:pt x="160" y="0"/>
                          <a:pt x="160" y="0"/>
                        </a:cubicBezTo>
                        <a:cubicBezTo>
                          <a:pt x="0" y="161"/>
                          <a:pt x="0" y="161"/>
                          <a:pt x="0" y="161"/>
                        </a:cubicBezTo>
                        <a:cubicBezTo>
                          <a:pt x="1" y="165"/>
                          <a:pt x="2" y="169"/>
                          <a:pt x="2" y="174"/>
                        </a:cubicBezTo>
                        <a:cubicBezTo>
                          <a:pt x="2" y="174"/>
                          <a:pt x="2" y="174"/>
                          <a:pt x="2" y="174"/>
                        </a:cubicBezTo>
                        <a:cubicBezTo>
                          <a:pt x="2" y="174"/>
                          <a:pt x="2" y="174"/>
                          <a:pt x="2" y="174"/>
                        </a:cubicBezTo>
                        <a:cubicBezTo>
                          <a:pt x="2" y="175"/>
                          <a:pt x="2" y="175"/>
                          <a:pt x="3" y="175"/>
                        </a:cubicBezTo>
                        <a:cubicBezTo>
                          <a:pt x="3" y="175"/>
                          <a:pt x="3" y="175"/>
                          <a:pt x="3" y="175"/>
                        </a:cubicBezTo>
                        <a:cubicBezTo>
                          <a:pt x="4" y="183"/>
                          <a:pt x="5" y="192"/>
                          <a:pt x="5" y="202"/>
                        </a:cubicBezTo>
                        <a:cubicBezTo>
                          <a:pt x="5" y="202"/>
                          <a:pt x="5" y="202"/>
                          <a:pt x="5" y="202"/>
                        </a:cubicBezTo>
                        <a:cubicBezTo>
                          <a:pt x="5" y="202"/>
                          <a:pt x="5" y="202"/>
                          <a:pt x="5" y="202"/>
                        </a:cubicBezTo>
                        <a:cubicBezTo>
                          <a:pt x="5" y="203"/>
                          <a:pt x="5" y="203"/>
                          <a:pt x="5" y="203"/>
                        </a:cubicBezTo>
                        <a:cubicBezTo>
                          <a:pt x="5" y="203"/>
                          <a:pt x="5" y="203"/>
                          <a:pt x="5" y="203"/>
                        </a:cubicBezTo>
                        <a:cubicBezTo>
                          <a:pt x="6" y="204"/>
                          <a:pt x="6" y="204"/>
                          <a:pt x="6" y="204"/>
                        </a:cubicBezTo>
                        <a:cubicBezTo>
                          <a:pt x="6" y="203"/>
                          <a:pt x="6" y="203"/>
                          <a:pt x="6" y="203"/>
                        </a:cubicBezTo>
                        <a:cubicBezTo>
                          <a:pt x="86" y="203"/>
                          <a:pt x="86" y="203"/>
                          <a:pt x="86" y="203"/>
                        </a:cubicBezTo>
                        <a:cubicBezTo>
                          <a:pt x="86" y="203"/>
                          <a:pt x="86" y="203"/>
                          <a:pt x="86" y="203"/>
                        </a:cubicBezTo>
                        <a:cubicBezTo>
                          <a:pt x="86" y="203"/>
                          <a:pt x="86" y="203"/>
                          <a:pt x="86" y="203"/>
                        </a:cubicBezTo>
                        <a:cubicBezTo>
                          <a:pt x="86" y="197"/>
                          <a:pt x="86" y="197"/>
                          <a:pt x="86" y="197"/>
                        </a:cubicBezTo>
                        <a:cubicBezTo>
                          <a:pt x="86" y="197"/>
                          <a:pt x="86" y="197"/>
                          <a:pt x="86" y="197"/>
                        </a:cubicBezTo>
                        <a:cubicBezTo>
                          <a:pt x="88" y="145"/>
                          <a:pt x="109" y="125"/>
                          <a:pt x="112" y="123"/>
                        </a:cubicBezTo>
                        <a:cubicBezTo>
                          <a:pt x="144" y="101"/>
                          <a:pt x="165" y="65"/>
                          <a:pt x="165" y="24"/>
                        </a:cubicBezTo>
                        <a:cubicBezTo>
                          <a:pt x="165" y="23"/>
                          <a:pt x="165" y="23"/>
                          <a:pt x="165" y="23"/>
                        </a:cubicBezTo>
                        <a:cubicBezTo>
                          <a:pt x="165" y="15"/>
                          <a:pt x="164" y="7"/>
                          <a:pt x="162" y="0"/>
                        </a:cubicBezTo>
                      </a:path>
                    </a:pathLst>
                  </a:custGeom>
                  <a:solidFill>
                    <a:schemeClr val="bg1">
                      <a:lumMod val="8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20" name="Freeform 158"/>
                  <p:cNvSpPr>
                    <a:spLocks noEditPoints="1"/>
                  </p:cNvSpPr>
                  <p:nvPr/>
                </p:nvSpPr>
                <p:spPr bwMode="auto">
                  <a:xfrm>
                    <a:off x="5066960" y="1950899"/>
                    <a:ext cx="119061" cy="55564"/>
                  </a:xfrm>
                  <a:custGeom>
                    <a:avLst/>
                    <a:gdLst>
                      <a:gd name="T0" fmla="*/ 75 w 75"/>
                      <a:gd name="T1" fmla="*/ 11 h 35"/>
                      <a:gd name="T2" fmla="*/ 0 w 75"/>
                      <a:gd name="T3" fmla="*/ 23 h 35"/>
                      <a:gd name="T4" fmla="*/ 0 w 75"/>
                      <a:gd name="T5" fmla="*/ 21 h 35"/>
                      <a:gd name="T6" fmla="*/ 0 w 75"/>
                      <a:gd name="T7" fmla="*/ 35 h 35"/>
                      <a:gd name="T8" fmla="*/ 74 w 75"/>
                      <a:gd name="T9" fmla="*/ 23 h 35"/>
                      <a:gd name="T10" fmla="*/ 75 w 75"/>
                      <a:gd name="T11" fmla="*/ 25 h 35"/>
                      <a:gd name="T12" fmla="*/ 75 w 75"/>
                      <a:gd name="T13" fmla="*/ 11 h 35"/>
                      <a:gd name="T14" fmla="*/ 75 w 75"/>
                      <a:gd name="T15" fmla="*/ 0 h 35"/>
                      <a:gd name="T16" fmla="*/ 73 w 75"/>
                      <a:gd name="T17" fmla="*/ 0 h 35"/>
                      <a:gd name="T18" fmla="*/ 0 w 75"/>
                      <a:gd name="T19" fmla="*/ 0 h 35"/>
                      <a:gd name="T20" fmla="*/ 0 w 75"/>
                      <a:gd name="T21" fmla="*/ 1 h 35"/>
                      <a:gd name="T22" fmla="*/ 0 w 75"/>
                      <a:gd name="T23" fmla="*/ 1 h 35"/>
                      <a:gd name="T24" fmla="*/ 0 w 75"/>
                      <a:gd name="T25" fmla="*/ 19 h 35"/>
                      <a:gd name="T26" fmla="*/ 74 w 75"/>
                      <a:gd name="T27" fmla="*/ 8 h 35"/>
                      <a:gd name="T28" fmla="*/ 75 w 75"/>
                      <a:gd name="T29" fmla="*/ 9 h 35"/>
                      <a:gd name="T30" fmla="*/ 75 w 75"/>
                      <a:gd name="T31" fmla="*/ 0 h 3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</a:cxnLst>
                    <a:rect l="0" t="0" r="r" b="b"/>
                    <a:pathLst>
                      <a:path w="75" h="35">
                        <a:moveTo>
                          <a:pt x="75" y="11"/>
                        </a:moveTo>
                        <a:lnTo>
                          <a:pt x="0" y="23"/>
                        </a:lnTo>
                        <a:lnTo>
                          <a:pt x="0" y="21"/>
                        </a:lnTo>
                        <a:lnTo>
                          <a:pt x="0" y="35"/>
                        </a:lnTo>
                        <a:lnTo>
                          <a:pt x="74" y="23"/>
                        </a:lnTo>
                        <a:lnTo>
                          <a:pt x="75" y="25"/>
                        </a:lnTo>
                        <a:lnTo>
                          <a:pt x="75" y="11"/>
                        </a:lnTo>
                        <a:close/>
                        <a:moveTo>
                          <a:pt x="75" y="0"/>
                        </a:moveTo>
                        <a:lnTo>
                          <a:pt x="73" y="0"/>
                        </a:lnTo>
                        <a:lnTo>
                          <a:pt x="0" y="0"/>
                        </a:lnTo>
                        <a:lnTo>
                          <a:pt x="0" y="1"/>
                        </a:lnTo>
                        <a:lnTo>
                          <a:pt x="0" y="1"/>
                        </a:lnTo>
                        <a:lnTo>
                          <a:pt x="0" y="19"/>
                        </a:lnTo>
                        <a:lnTo>
                          <a:pt x="74" y="8"/>
                        </a:lnTo>
                        <a:lnTo>
                          <a:pt x="75" y="9"/>
                        </a:lnTo>
                        <a:lnTo>
                          <a:pt x="75" y="0"/>
                        </a:lnTo>
                        <a:close/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21" name="Freeform 159"/>
                  <p:cNvSpPr>
                    <a:spLocks noEditPoints="1"/>
                  </p:cNvSpPr>
                  <p:nvPr/>
                </p:nvSpPr>
                <p:spPr bwMode="auto">
                  <a:xfrm>
                    <a:off x="5066960" y="1950899"/>
                    <a:ext cx="119061" cy="55564"/>
                  </a:xfrm>
                  <a:custGeom>
                    <a:avLst/>
                    <a:gdLst>
                      <a:gd name="T0" fmla="*/ 75 w 75"/>
                      <a:gd name="T1" fmla="*/ 11 h 35"/>
                      <a:gd name="T2" fmla="*/ 0 w 75"/>
                      <a:gd name="T3" fmla="*/ 23 h 35"/>
                      <a:gd name="T4" fmla="*/ 0 w 75"/>
                      <a:gd name="T5" fmla="*/ 21 h 35"/>
                      <a:gd name="T6" fmla="*/ 0 w 75"/>
                      <a:gd name="T7" fmla="*/ 35 h 35"/>
                      <a:gd name="T8" fmla="*/ 74 w 75"/>
                      <a:gd name="T9" fmla="*/ 23 h 35"/>
                      <a:gd name="T10" fmla="*/ 75 w 75"/>
                      <a:gd name="T11" fmla="*/ 25 h 35"/>
                      <a:gd name="T12" fmla="*/ 75 w 75"/>
                      <a:gd name="T13" fmla="*/ 11 h 35"/>
                      <a:gd name="T14" fmla="*/ 75 w 75"/>
                      <a:gd name="T15" fmla="*/ 0 h 35"/>
                      <a:gd name="T16" fmla="*/ 73 w 75"/>
                      <a:gd name="T17" fmla="*/ 0 h 35"/>
                      <a:gd name="T18" fmla="*/ 0 w 75"/>
                      <a:gd name="T19" fmla="*/ 0 h 35"/>
                      <a:gd name="T20" fmla="*/ 0 w 75"/>
                      <a:gd name="T21" fmla="*/ 1 h 35"/>
                      <a:gd name="T22" fmla="*/ 0 w 75"/>
                      <a:gd name="T23" fmla="*/ 1 h 35"/>
                      <a:gd name="T24" fmla="*/ 0 w 75"/>
                      <a:gd name="T25" fmla="*/ 19 h 35"/>
                      <a:gd name="T26" fmla="*/ 74 w 75"/>
                      <a:gd name="T27" fmla="*/ 8 h 35"/>
                      <a:gd name="T28" fmla="*/ 75 w 75"/>
                      <a:gd name="T29" fmla="*/ 9 h 35"/>
                      <a:gd name="T30" fmla="*/ 75 w 75"/>
                      <a:gd name="T31" fmla="*/ 0 h 3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</a:cxnLst>
                    <a:rect l="0" t="0" r="r" b="b"/>
                    <a:pathLst>
                      <a:path w="75" h="35">
                        <a:moveTo>
                          <a:pt x="75" y="11"/>
                        </a:moveTo>
                        <a:lnTo>
                          <a:pt x="0" y="23"/>
                        </a:lnTo>
                        <a:lnTo>
                          <a:pt x="0" y="21"/>
                        </a:lnTo>
                        <a:lnTo>
                          <a:pt x="0" y="35"/>
                        </a:lnTo>
                        <a:lnTo>
                          <a:pt x="74" y="23"/>
                        </a:lnTo>
                        <a:lnTo>
                          <a:pt x="75" y="25"/>
                        </a:lnTo>
                        <a:lnTo>
                          <a:pt x="75" y="11"/>
                        </a:lnTo>
                        <a:moveTo>
                          <a:pt x="75" y="0"/>
                        </a:moveTo>
                        <a:lnTo>
                          <a:pt x="73" y="0"/>
                        </a:lnTo>
                        <a:lnTo>
                          <a:pt x="0" y="0"/>
                        </a:lnTo>
                        <a:lnTo>
                          <a:pt x="0" y="1"/>
                        </a:lnTo>
                        <a:lnTo>
                          <a:pt x="0" y="1"/>
                        </a:lnTo>
                        <a:lnTo>
                          <a:pt x="0" y="19"/>
                        </a:lnTo>
                        <a:lnTo>
                          <a:pt x="74" y="8"/>
                        </a:lnTo>
                        <a:lnTo>
                          <a:pt x="75" y="9"/>
                        </a:lnTo>
                        <a:lnTo>
                          <a:pt x="75" y="0"/>
                        </a:lnTo>
                      </a:path>
                    </a:pathLst>
                  </a:cu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22" name="Freeform 160"/>
                  <p:cNvSpPr>
                    <a:spLocks/>
                  </p:cNvSpPr>
                  <p:nvPr/>
                </p:nvSpPr>
                <p:spPr bwMode="auto">
                  <a:xfrm>
                    <a:off x="5066960" y="1963600"/>
                    <a:ext cx="119061" cy="23813"/>
                  </a:xfrm>
                  <a:custGeom>
                    <a:avLst/>
                    <a:gdLst>
                      <a:gd name="T0" fmla="*/ 74 w 75"/>
                      <a:gd name="T1" fmla="*/ 0 h 15"/>
                      <a:gd name="T2" fmla="*/ 0 w 75"/>
                      <a:gd name="T3" fmla="*/ 11 h 15"/>
                      <a:gd name="T4" fmla="*/ 0 w 75"/>
                      <a:gd name="T5" fmla="*/ 13 h 15"/>
                      <a:gd name="T6" fmla="*/ 0 w 75"/>
                      <a:gd name="T7" fmla="*/ 15 h 15"/>
                      <a:gd name="T8" fmla="*/ 75 w 75"/>
                      <a:gd name="T9" fmla="*/ 3 h 15"/>
                      <a:gd name="T10" fmla="*/ 75 w 75"/>
                      <a:gd name="T11" fmla="*/ 1 h 15"/>
                      <a:gd name="T12" fmla="*/ 74 w 75"/>
                      <a:gd name="T13" fmla="*/ 0 h 1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75" h="15">
                        <a:moveTo>
                          <a:pt x="74" y="0"/>
                        </a:moveTo>
                        <a:lnTo>
                          <a:pt x="0" y="11"/>
                        </a:lnTo>
                        <a:lnTo>
                          <a:pt x="0" y="13"/>
                        </a:lnTo>
                        <a:lnTo>
                          <a:pt x="0" y="15"/>
                        </a:lnTo>
                        <a:lnTo>
                          <a:pt x="75" y="3"/>
                        </a:lnTo>
                        <a:lnTo>
                          <a:pt x="75" y="1"/>
                        </a:lnTo>
                        <a:lnTo>
                          <a:pt x="74" y="0"/>
                        </a:lnTo>
                        <a:close/>
                      </a:path>
                    </a:pathLst>
                  </a:custGeom>
                  <a:solidFill>
                    <a:srgbClr val="3333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23" name="Freeform 161"/>
                  <p:cNvSpPr>
                    <a:spLocks/>
                  </p:cNvSpPr>
                  <p:nvPr/>
                </p:nvSpPr>
                <p:spPr bwMode="auto">
                  <a:xfrm>
                    <a:off x="5066960" y="1963600"/>
                    <a:ext cx="119061" cy="23813"/>
                  </a:xfrm>
                  <a:custGeom>
                    <a:avLst/>
                    <a:gdLst>
                      <a:gd name="T0" fmla="*/ 74 w 75"/>
                      <a:gd name="T1" fmla="*/ 0 h 15"/>
                      <a:gd name="T2" fmla="*/ 0 w 75"/>
                      <a:gd name="T3" fmla="*/ 11 h 15"/>
                      <a:gd name="T4" fmla="*/ 0 w 75"/>
                      <a:gd name="T5" fmla="*/ 13 h 15"/>
                      <a:gd name="T6" fmla="*/ 0 w 75"/>
                      <a:gd name="T7" fmla="*/ 15 h 15"/>
                      <a:gd name="T8" fmla="*/ 75 w 75"/>
                      <a:gd name="T9" fmla="*/ 3 h 15"/>
                      <a:gd name="T10" fmla="*/ 75 w 75"/>
                      <a:gd name="T11" fmla="*/ 1 h 15"/>
                      <a:gd name="T12" fmla="*/ 74 w 75"/>
                      <a:gd name="T13" fmla="*/ 0 h 1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75" h="15">
                        <a:moveTo>
                          <a:pt x="74" y="0"/>
                        </a:moveTo>
                        <a:lnTo>
                          <a:pt x="0" y="11"/>
                        </a:lnTo>
                        <a:lnTo>
                          <a:pt x="0" y="13"/>
                        </a:lnTo>
                        <a:lnTo>
                          <a:pt x="0" y="15"/>
                        </a:lnTo>
                        <a:lnTo>
                          <a:pt x="75" y="3"/>
                        </a:lnTo>
                        <a:lnTo>
                          <a:pt x="75" y="1"/>
                        </a:lnTo>
                        <a:lnTo>
                          <a:pt x="74" y="0"/>
                        </a:lnTo>
                      </a:path>
                    </a:pathLst>
                  </a:cu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24" name="Freeform 162"/>
                  <p:cNvSpPr>
                    <a:spLocks/>
                  </p:cNvSpPr>
                  <p:nvPr/>
                </p:nvSpPr>
                <p:spPr bwMode="auto">
                  <a:xfrm>
                    <a:off x="5066960" y="1993763"/>
                    <a:ext cx="119061" cy="33338"/>
                  </a:xfrm>
                  <a:custGeom>
                    <a:avLst/>
                    <a:gdLst>
                      <a:gd name="T0" fmla="*/ 75 w 75"/>
                      <a:gd name="T1" fmla="*/ 0 h 21"/>
                      <a:gd name="T2" fmla="*/ 0 w 75"/>
                      <a:gd name="T3" fmla="*/ 12 h 21"/>
                      <a:gd name="T4" fmla="*/ 0 w 75"/>
                      <a:gd name="T5" fmla="*/ 10 h 21"/>
                      <a:gd name="T6" fmla="*/ 0 w 75"/>
                      <a:gd name="T7" fmla="*/ 21 h 21"/>
                      <a:gd name="T8" fmla="*/ 74 w 75"/>
                      <a:gd name="T9" fmla="*/ 10 h 21"/>
                      <a:gd name="T10" fmla="*/ 75 w 75"/>
                      <a:gd name="T11" fmla="*/ 12 h 21"/>
                      <a:gd name="T12" fmla="*/ 75 w 75"/>
                      <a:gd name="T13" fmla="*/ 0 h 2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75" h="21">
                        <a:moveTo>
                          <a:pt x="75" y="0"/>
                        </a:moveTo>
                        <a:lnTo>
                          <a:pt x="0" y="12"/>
                        </a:lnTo>
                        <a:lnTo>
                          <a:pt x="0" y="10"/>
                        </a:lnTo>
                        <a:lnTo>
                          <a:pt x="0" y="21"/>
                        </a:lnTo>
                        <a:lnTo>
                          <a:pt x="74" y="10"/>
                        </a:lnTo>
                        <a:lnTo>
                          <a:pt x="75" y="12"/>
                        </a:lnTo>
                        <a:lnTo>
                          <a:pt x="75" y="0"/>
                        </a:lnTo>
                        <a:close/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25" name="Freeform 163"/>
                  <p:cNvSpPr>
                    <a:spLocks/>
                  </p:cNvSpPr>
                  <p:nvPr/>
                </p:nvSpPr>
                <p:spPr bwMode="auto">
                  <a:xfrm>
                    <a:off x="5066960" y="1993763"/>
                    <a:ext cx="119061" cy="33338"/>
                  </a:xfrm>
                  <a:custGeom>
                    <a:avLst/>
                    <a:gdLst>
                      <a:gd name="T0" fmla="*/ 75 w 75"/>
                      <a:gd name="T1" fmla="*/ 0 h 21"/>
                      <a:gd name="T2" fmla="*/ 0 w 75"/>
                      <a:gd name="T3" fmla="*/ 12 h 21"/>
                      <a:gd name="T4" fmla="*/ 0 w 75"/>
                      <a:gd name="T5" fmla="*/ 10 h 21"/>
                      <a:gd name="T6" fmla="*/ 0 w 75"/>
                      <a:gd name="T7" fmla="*/ 21 h 21"/>
                      <a:gd name="T8" fmla="*/ 74 w 75"/>
                      <a:gd name="T9" fmla="*/ 10 h 21"/>
                      <a:gd name="T10" fmla="*/ 75 w 75"/>
                      <a:gd name="T11" fmla="*/ 12 h 21"/>
                      <a:gd name="T12" fmla="*/ 75 w 75"/>
                      <a:gd name="T13" fmla="*/ 0 h 2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75" h="21">
                        <a:moveTo>
                          <a:pt x="75" y="0"/>
                        </a:moveTo>
                        <a:lnTo>
                          <a:pt x="0" y="12"/>
                        </a:lnTo>
                        <a:lnTo>
                          <a:pt x="0" y="10"/>
                        </a:lnTo>
                        <a:lnTo>
                          <a:pt x="0" y="21"/>
                        </a:lnTo>
                        <a:lnTo>
                          <a:pt x="74" y="10"/>
                        </a:lnTo>
                        <a:lnTo>
                          <a:pt x="75" y="12"/>
                        </a:lnTo>
                        <a:lnTo>
                          <a:pt x="75" y="0"/>
                        </a:lnTo>
                      </a:path>
                    </a:pathLst>
                  </a:cu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26" name="Freeform 164"/>
                  <p:cNvSpPr>
                    <a:spLocks/>
                  </p:cNvSpPr>
                  <p:nvPr/>
                </p:nvSpPr>
                <p:spPr bwMode="auto">
                  <a:xfrm>
                    <a:off x="5086010" y="2014401"/>
                    <a:ext cx="100011" cy="15875"/>
                  </a:xfrm>
                  <a:custGeom>
                    <a:avLst/>
                    <a:gdLst>
                      <a:gd name="T0" fmla="*/ 63 w 63"/>
                      <a:gd name="T1" fmla="*/ 0 h 10"/>
                      <a:gd name="T2" fmla="*/ 0 w 63"/>
                      <a:gd name="T3" fmla="*/ 10 h 10"/>
                      <a:gd name="T4" fmla="*/ 45 w 63"/>
                      <a:gd name="T5" fmla="*/ 10 h 10"/>
                      <a:gd name="T6" fmla="*/ 63 w 63"/>
                      <a:gd name="T7" fmla="*/ 10 h 10"/>
                      <a:gd name="T8" fmla="*/ 63 w 63"/>
                      <a:gd name="T9" fmla="*/ 0 h 1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63" h="10">
                        <a:moveTo>
                          <a:pt x="63" y="0"/>
                        </a:moveTo>
                        <a:lnTo>
                          <a:pt x="0" y="10"/>
                        </a:lnTo>
                        <a:lnTo>
                          <a:pt x="45" y="10"/>
                        </a:lnTo>
                        <a:lnTo>
                          <a:pt x="63" y="10"/>
                        </a:lnTo>
                        <a:lnTo>
                          <a:pt x="63" y="0"/>
                        </a:lnTo>
                        <a:close/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27" name="Freeform 165"/>
                  <p:cNvSpPr>
                    <a:spLocks/>
                  </p:cNvSpPr>
                  <p:nvPr/>
                </p:nvSpPr>
                <p:spPr bwMode="auto">
                  <a:xfrm>
                    <a:off x="5086010" y="2014401"/>
                    <a:ext cx="100011" cy="15875"/>
                  </a:xfrm>
                  <a:custGeom>
                    <a:avLst/>
                    <a:gdLst>
                      <a:gd name="T0" fmla="*/ 63 w 63"/>
                      <a:gd name="T1" fmla="*/ 0 h 10"/>
                      <a:gd name="T2" fmla="*/ 0 w 63"/>
                      <a:gd name="T3" fmla="*/ 10 h 10"/>
                      <a:gd name="T4" fmla="*/ 45 w 63"/>
                      <a:gd name="T5" fmla="*/ 10 h 10"/>
                      <a:gd name="T6" fmla="*/ 63 w 63"/>
                      <a:gd name="T7" fmla="*/ 10 h 10"/>
                      <a:gd name="T8" fmla="*/ 63 w 63"/>
                      <a:gd name="T9" fmla="*/ 0 h 1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63" h="10">
                        <a:moveTo>
                          <a:pt x="63" y="0"/>
                        </a:moveTo>
                        <a:lnTo>
                          <a:pt x="0" y="10"/>
                        </a:lnTo>
                        <a:lnTo>
                          <a:pt x="45" y="10"/>
                        </a:lnTo>
                        <a:lnTo>
                          <a:pt x="63" y="10"/>
                        </a:lnTo>
                        <a:lnTo>
                          <a:pt x="63" y="0"/>
                        </a:lnTo>
                      </a:path>
                    </a:pathLst>
                  </a:cu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28" name="Freeform 166"/>
                  <p:cNvSpPr>
                    <a:spLocks/>
                  </p:cNvSpPr>
                  <p:nvPr/>
                </p:nvSpPr>
                <p:spPr bwMode="auto">
                  <a:xfrm>
                    <a:off x="5066960" y="1987413"/>
                    <a:ext cx="119061" cy="25401"/>
                  </a:xfrm>
                  <a:custGeom>
                    <a:avLst/>
                    <a:gdLst>
                      <a:gd name="T0" fmla="*/ 74 w 75"/>
                      <a:gd name="T1" fmla="*/ 0 h 16"/>
                      <a:gd name="T2" fmla="*/ 0 w 75"/>
                      <a:gd name="T3" fmla="*/ 12 h 16"/>
                      <a:gd name="T4" fmla="*/ 0 w 75"/>
                      <a:gd name="T5" fmla="*/ 14 h 16"/>
                      <a:gd name="T6" fmla="*/ 0 w 75"/>
                      <a:gd name="T7" fmla="*/ 16 h 16"/>
                      <a:gd name="T8" fmla="*/ 75 w 75"/>
                      <a:gd name="T9" fmla="*/ 4 h 16"/>
                      <a:gd name="T10" fmla="*/ 75 w 75"/>
                      <a:gd name="T11" fmla="*/ 2 h 16"/>
                      <a:gd name="T12" fmla="*/ 74 w 75"/>
                      <a:gd name="T13" fmla="*/ 0 h 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75" h="16">
                        <a:moveTo>
                          <a:pt x="74" y="0"/>
                        </a:moveTo>
                        <a:lnTo>
                          <a:pt x="0" y="12"/>
                        </a:lnTo>
                        <a:lnTo>
                          <a:pt x="0" y="14"/>
                        </a:lnTo>
                        <a:lnTo>
                          <a:pt x="0" y="16"/>
                        </a:lnTo>
                        <a:lnTo>
                          <a:pt x="75" y="4"/>
                        </a:lnTo>
                        <a:lnTo>
                          <a:pt x="75" y="2"/>
                        </a:lnTo>
                        <a:lnTo>
                          <a:pt x="74" y="0"/>
                        </a:lnTo>
                        <a:close/>
                      </a:path>
                    </a:pathLst>
                  </a:custGeom>
                  <a:solidFill>
                    <a:srgbClr val="3333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29" name="Freeform 167"/>
                  <p:cNvSpPr>
                    <a:spLocks/>
                  </p:cNvSpPr>
                  <p:nvPr/>
                </p:nvSpPr>
                <p:spPr bwMode="auto">
                  <a:xfrm>
                    <a:off x="5066960" y="1987413"/>
                    <a:ext cx="119061" cy="25401"/>
                  </a:xfrm>
                  <a:custGeom>
                    <a:avLst/>
                    <a:gdLst>
                      <a:gd name="T0" fmla="*/ 74 w 75"/>
                      <a:gd name="T1" fmla="*/ 0 h 16"/>
                      <a:gd name="T2" fmla="*/ 0 w 75"/>
                      <a:gd name="T3" fmla="*/ 12 h 16"/>
                      <a:gd name="T4" fmla="*/ 0 w 75"/>
                      <a:gd name="T5" fmla="*/ 14 h 16"/>
                      <a:gd name="T6" fmla="*/ 0 w 75"/>
                      <a:gd name="T7" fmla="*/ 16 h 16"/>
                      <a:gd name="T8" fmla="*/ 75 w 75"/>
                      <a:gd name="T9" fmla="*/ 4 h 16"/>
                      <a:gd name="T10" fmla="*/ 75 w 75"/>
                      <a:gd name="T11" fmla="*/ 2 h 16"/>
                      <a:gd name="T12" fmla="*/ 74 w 75"/>
                      <a:gd name="T13" fmla="*/ 0 h 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75" h="16">
                        <a:moveTo>
                          <a:pt x="74" y="0"/>
                        </a:moveTo>
                        <a:lnTo>
                          <a:pt x="0" y="12"/>
                        </a:lnTo>
                        <a:lnTo>
                          <a:pt x="0" y="14"/>
                        </a:lnTo>
                        <a:lnTo>
                          <a:pt x="0" y="16"/>
                        </a:lnTo>
                        <a:lnTo>
                          <a:pt x="75" y="4"/>
                        </a:lnTo>
                        <a:lnTo>
                          <a:pt x="75" y="2"/>
                        </a:lnTo>
                        <a:lnTo>
                          <a:pt x="74" y="0"/>
                        </a:lnTo>
                      </a:path>
                    </a:pathLst>
                  </a:cu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30" name="Freeform 168"/>
                  <p:cNvSpPr>
                    <a:spLocks/>
                  </p:cNvSpPr>
                  <p:nvPr/>
                </p:nvSpPr>
                <p:spPr bwMode="auto">
                  <a:xfrm>
                    <a:off x="5066960" y="2009638"/>
                    <a:ext cx="119061" cy="20638"/>
                  </a:xfrm>
                  <a:custGeom>
                    <a:avLst/>
                    <a:gdLst>
                      <a:gd name="T0" fmla="*/ 74 w 75"/>
                      <a:gd name="T1" fmla="*/ 0 h 13"/>
                      <a:gd name="T2" fmla="*/ 0 w 75"/>
                      <a:gd name="T3" fmla="*/ 11 h 13"/>
                      <a:gd name="T4" fmla="*/ 0 w 75"/>
                      <a:gd name="T5" fmla="*/ 13 h 13"/>
                      <a:gd name="T6" fmla="*/ 12 w 75"/>
                      <a:gd name="T7" fmla="*/ 13 h 13"/>
                      <a:gd name="T8" fmla="*/ 75 w 75"/>
                      <a:gd name="T9" fmla="*/ 3 h 13"/>
                      <a:gd name="T10" fmla="*/ 75 w 75"/>
                      <a:gd name="T11" fmla="*/ 2 h 13"/>
                      <a:gd name="T12" fmla="*/ 74 w 75"/>
                      <a:gd name="T13" fmla="*/ 0 h 1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75" h="13">
                        <a:moveTo>
                          <a:pt x="74" y="0"/>
                        </a:moveTo>
                        <a:lnTo>
                          <a:pt x="0" y="11"/>
                        </a:lnTo>
                        <a:lnTo>
                          <a:pt x="0" y="13"/>
                        </a:lnTo>
                        <a:lnTo>
                          <a:pt x="12" y="13"/>
                        </a:lnTo>
                        <a:lnTo>
                          <a:pt x="75" y="3"/>
                        </a:lnTo>
                        <a:lnTo>
                          <a:pt x="75" y="2"/>
                        </a:lnTo>
                        <a:lnTo>
                          <a:pt x="74" y="0"/>
                        </a:lnTo>
                        <a:close/>
                      </a:path>
                    </a:pathLst>
                  </a:custGeom>
                  <a:solidFill>
                    <a:srgbClr val="3333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31" name="Freeform 169"/>
                  <p:cNvSpPr>
                    <a:spLocks/>
                  </p:cNvSpPr>
                  <p:nvPr/>
                </p:nvSpPr>
                <p:spPr bwMode="auto">
                  <a:xfrm>
                    <a:off x="5066960" y="2009638"/>
                    <a:ext cx="119061" cy="20638"/>
                  </a:xfrm>
                  <a:custGeom>
                    <a:avLst/>
                    <a:gdLst>
                      <a:gd name="T0" fmla="*/ 74 w 75"/>
                      <a:gd name="T1" fmla="*/ 0 h 13"/>
                      <a:gd name="T2" fmla="*/ 0 w 75"/>
                      <a:gd name="T3" fmla="*/ 11 h 13"/>
                      <a:gd name="T4" fmla="*/ 0 w 75"/>
                      <a:gd name="T5" fmla="*/ 13 h 13"/>
                      <a:gd name="T6" fmla="*/ 12 w 75"/>
                      <a:gd name="T7" fmla="*/ 13 h 13"/>
                      <a:gd name="T8" fmla="*/ 75 w 75"/>
                      <a:gd name="T9" fmla="*/ 3 h 13"/>
                      <a:gd name="T10" fmla="*/ 75 w 75"/>
                      <a:gd name="T11" fmla="*/ 2 h 13"/>
                      <a:gd name="T12" fmla="*/ 74 w 75"/>
                      <a:gd name="T13" fmla="*/ 0 h 1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75" h="13">
                        <a:moveTo>
                          <a:pt x="74" y="0"/>
                        </a:moveTo>
                        <a:lnTo>
                          <a:pt x="0" y="11"/>
                        </a:lnTo>
                        <a:lnTo>
                          <a:pt x="0" y="13"/>
                        </a:lnTo>
                        <a:lnTo>
                          <a:pt x="12" y="13"/>
                        </a:lnTo>
                        <a:lnTo>
                          <a:pt x="75" y="3"/>
                        </a:lnTo>
                        <a:lnTo>
                          <a:pt x="75" y="2"/>
                        </a:lnTo>
                        <a:lnTo>
                          <a:pt x="74" y="0"/>
                        </a:lnTo>
                      </a:path>
                    </a:pathLst>
                  </a:cu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32" name="Freeform 170"/>
                  <p:cNvSpPr>
                    <a:spLocks/>
                  </p:cNvSpPr>
                  <p:nvPr/>
                </p:nvSpPr>
                <p:spPr bwMode="auto">
                  <a:xfrm>
                    <a:off x="5095535" y="2030276"/>
                    <a:ext cx="61911" cy="20638"/>
                  </a:xfrm>
                  <a:custGeom>
                    <a:avLst/>
                    <a:gdLst>
                      <a:gd name="T0" fmla="*/ 39 w 39"/>
                      <a:gd name="T1" fmla="*/ 0 h 13"/>
                      <a:gd name="T2" fmla="*/ 0 w 39"/>
                      <a:gd name="T3" fmla="*/ 0 h 13"/>
                      <a:gd name="T4" fmla="*/ 6 w 39"/>
                      <a:gd name="T5" fmla="*/ 13 h 13"/>
                      <a:gd name="T6" fmla="*/ 32 w 39"/>
                      <a:gd name="T7" fmla="*/ 13 h 13"/>
                      <a:gd name="T8" fmla="*/ 39 w 39"/>
                      <a:gd name="T9" fmla="*/ 0 h 1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9" h="13">
                        <a:moveTo>
                          <a:pt x="39" y="0"/>
                        </a:moveTo>
                        <a:lnTo>
                          <a:pt x="0" y="0"/>
                        </a:lnTo>
                        <a:lnTo>
                          <a:pt x="6" y="13"/>
                        </a:lnTo>
                        <a:lnTo>
                          <a:pt x="32" y="13"/>
                        </a:lnTo>
                        <a:lnTo>
                          <a:pt x="39" y="0"/>
                        </a:lnTo>
                        <a:close/>
                      </a:path>
                    </a:pathLst>
                  </a:custGeom>
                  <a:solidFill>
                    <a:srgbClr val="3333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33" name="Freeform 171"/>
                  <p:cNvSpPr>
                    <a:spLocks/>
                  </p:cNvSpPr>
                  <p:nvPr/>
                </p:nvSpPr>
                <p:spPr bwMode="auto">
                  <a:xfrm>
                    <a:off x="5095535" y="2030276"/>
                    <a:ext cx="61911" cy="20638"/>
                  </a:xfrm>
                  <a:custGeom>
                    <a:avLst/>
                    <a:gdLst>
                      <a:gd name="T0" fmla="*/ 39 w 39"/>
                      <a:gd name="T1" fmla="*/ 0 h 13"/>
                      <a:gd name="T2" fmla="*/ 0 w 39"/>
                      <a:gd name="T3" fmla="*/ 0 h 13"/>
                      <a:gd name="T4" fmla="*/ 6 w 39"/>
                      <a:gd name="T5" fmla="*/ 13 h 13"/>
                      <a:gd name="T6" fmla="*/ 32 w 39"/>
                      <a:gd name="T7" fmla="*/ 13 h 13"/>
                      <a:gd name="T8" fmla="*/ 39 w 39"/>
                      <a:gd name="T9" fmla="*/ 0 h 1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9" h="13">
                        <a:moveTo>
                          <a:pt x="39" y="0"/>
                        </a:moveTo>
                        <a:lnTo>
                          <a:pt x="0" y="0"/>
                        </a:lnTo>
                        <a:lnTo>
                          <a:pt x="6" y="13"/>
                        </a:lnTo>
                        <a:lnTo>
                          <a:pt x="32" y="13"/>
                        </a:lnTo>
                        <a:lnTo>
                          <a:pt x="39" y="0"/>
                        </a:lnTo>
                      </a:path>
                    </a:pathLst>
                  </a:cu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</p:grpSp>
            <p:sp>
              <p:nvSpPr>
                <p:cNvPr id="1085" name="Freeform 172"/>
                <p:cNvSpPr>
                  <a:spLocks/>
                </p:cNvSpPr>
                <p:nvPr/>
              </p:nvSpPr>
              <p:spPr bwMode="auto">
                <a:xfrm>
                  <a:off x="2577801" y="2468435"/>
                  <a:ext cx="311145" cy="246068"/>
                </a:xfrm>
                <a:custGeom>
                  <a:avLst/>
                  <a:gdLst>
                    <a:gd name="T0" fmla="*/ 15 w 216"/>
                    <a:gd name="T1" fmla="*/ 115 h 170"/>
                    <a:gd name="T2" fmla="*/ 15 w 216"/>
                    <a:gd name="T3" fmla="*/ 115 h 170"/>
                    <a:gd name="T4" fmla="*/ 4 w 216"/>
                    <a:gd name="T5" fmla="*/ 149 h 170"/>
                    <a:gd name="T6" fmla="*/ 32 w 216"/>
                    <a:gd name="T7" fmla="*/ 170 h 170"/>
                    <a:gd name="T8" fmla="*/ 166 w 216"/>
                    <a:gd name="T9" fmla="*/ 170 h 170"/>
                    <a:gd name="T10" fmla="*/ 166 w 216"/>
                    <a:gd name="T11" fmla="*/ 110 h 170"/>
                    <a:gd name="T12" fmla="*/ 127 w 216"/>
                    <a:gd name="T13" fmla="*/ 110 h 170"/>
                    <a:gd name="T14" fmla="*/ 216 w 216"/>
                    <a:gd name="T15" fmla="*/ 48 h 170"/>
                    <a:gd name="T16" fmla="*/ 180 w 216"/>
                    <a:gd name="T17" fmla="*/ 0 h 170"/>
                    <a:gd name="T18" fmla="*/ 15 w 216"/>
                    <a:gd name="T19" fmla="*/ 115 h 1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16" h="170">
                      <a:moveTo>
                        <a:pt x="15" y="115"/>
                      </a:moveTo>
                      <a:cubicBezTo>
                        <a:pt x="15" y="115"/>
                        <a:pt x="15" y="115"/>
                        <a:pt x="15" y="115"/>
                      </a:cubicBezTo>
                      <a:cubicBezTo>
                        <a:pt x="5" y="123"/>
                        <a:pt x="0" y="136"/>
                        <a:pt x="4" y="149"/>
                      </a:cubicBezTo>
                      <a:cubicBezTo>
                        <a:pt x="8" y="161"/>
                        <a:pt x="19" y="170"/>
                        <a:pt x="32" y="170"/>
                      </a:cubicBezTo>
                      <a:cubicBezTo>
                        <a:pt x="166" y="170"/>
                        <a:pt x="166" y="170"/>
                        <a:pt x="166" y="170"/>
                      </a:cubicBezTo>
                      <a:cubicBezTo>
                        <a:pt x="166" y="110"/>
                        <a:pt x="166" y="110"/>
                        <a:pt x="166" y="110"/>
                      </a:cubicBezTo>
                      <a:cubicBezTo>
                        <a:pt x="127" y="110"/>
                        <a:pt x="127" y="110"/>
                        <a:pt x="127" y="110"/>
                      </a:cubicBezTo>
                      <a:cubicBezTo>
                        <a:pt x="216" y="48"/>
                        <a:pt x="216" y="48"/>
                        <a:pt x="216" y="48"/>
                      </a:cubicBezTo>
                      <a:cubicBezTo>
                        <a:pt x="180" y="0"/>
                        <a:pt x="180" y="0"/>
                        <a:pt x="180" y="0"/>
                      </a:cubicBezTo>
                      <a:lnTo>
                        <a:pt x="15" y="115"/>
                      </a:lnTo>
                      <a:close/>
                    </a:path>
                  </a:pathLst>
                </a:custGeom>
                <a:solidFill>
                  <a:srgbClr val="E1623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86" name="Freeform 173"/>
                <p:cNvSpPr>
                  <a:spLocks/>
                </p:cNvSpPr>
                <p:nvPr/>
              </p:nvSpPr>
              <p:spPr bwMode="auto">
                <a:xfrm>
                  <a:off x="2976257" y="2468435"/>
                  <a:ext cx="125410" cy="49214"/>
                </a:xfrm>
                <a:custGeom>
                  <a:avLst/>
                  <a:gdLst>
                    <a:gd name="T0" fmla="*/ 0 w 87"/>
                    <a:gd name="T1" fmla="*/ 0 h 33"/>
                    <a:gd name="T2" fmla="*/ 44 w 87"/>
                    <a:gd name="T3" fmla="*/ 33 h 33"/>
                    <a:gd name="T4" fmla="*/ 87 w 87"/>
                    <a:gd name="T5" fmla="*/ 0 h 33"/>
                    <a:gd name="T6" fmla="*/ 0 w 87"/>
                    <a:gd name="T7" fmla="*/ 0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7" h="33">
                      <a:moveTo>
                        <a:pt x="0" y="0"/>
                      </a:moveTo>
                      <a:cubicBezTo>
                        <a:pt x="5" y="19"/>
                        <a:pt x="23" y="33"/>
                        <a:pt x="44" y="33"/>
                      </a:cubicBezTo>
                      <a:cubicBezTo>
                        <a:pt x="64" y="33"/>
                        <a:pt x="82" y="19"/>
                        <a:pt x="87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CB96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87" name="Freeform 174"/>
                <p:cNvSpPr>
                  <a:spLocks/>
                </p:cNvSpPr>
                <p:nvPr/>
              </p:nvSpPr>
              <p:spPr bwMode="auto">
                <a:xfrm>
                  <a:off x="3006419" y="2355720"/>
                  <a:ext cx="96836" cy="117477"/>
                </a:xfrm>
                <a:custGeom>
                  <a:avLst/>
                  <a:gdLst>
                    <a:gd name="T0" fmla="*/ 67 w 67"/>
                    <a:gd name="T1" fmla="*/ 7 h 81"/>
                    <a:gd name="T2" fmla="*/ 46 w 67"/>
                    <a:gd name="T3" fmla="*/ 0 h 81"/>
                    <a:gd name="T4" fmla="*/ 39 w 67"/>
                    <a:gd name="T5" fmla="*/ 18 h 81"/>
                    <a:gd name="T6" fmla="*/ 0 w 67"/>
                    <a:gd name="T7" fmla="*/ 18 h 81"/>
                    <a:gd name="T8" fmla="*/ 0 w 67"/>
                    <a:gd name="T9" fmla="*/ 81 h 81"/>
                    <a:gd name="T10" fmla="*/ 46 w 67"/>
                    <a:gd name="T11" fmla="*/ 81 h 81"/>
                    <a:gd name="T12" fmla="*/ 46 w 67"/>
                    <a:gd name="T13" fmla="*/ 45 h 81"/>
                    <a:gd name="T14" fmla="*/ 67 w 67"/>
                    <a:gd name="T15" fmla="*/ 7 h 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7" h="81">
                      <a:moveTo>
                        <a:pt x="67" y="7"/>
                      </a:move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39" y="18"/>
                        <a:pt x="39" y="18"/>
                        <a:pt x="39" y="18"/>
                      </a:cubicBezTo>
                      <a:cubicBezTo>
                        <a:pt x="0" y="18"/>
                        <a:pt x="0" y="18"/>
                        <a:pt x="0" y="18"/>
                      </a:cubicBezTo>
                      <a:cubicBezTo>
                        <a:pt x="0" y="81"/>
                        <a:pt x="0" y="81"/>
                        <a:pt x="0" y="81"/>
                      </a:cubicBezTo>
                      <a:cubicBezTo>
                        <a:pt x="46" y="81"/>
                        <a:pt x="46" y="81"/>
                        <a:pt x="46" y="81"/>
                      </a:cubicBezTo>
                      <a:cubicBezTo>
                        <a:pt x="46" y="45"/>
                        <a:pt x="46" y="45"/>
                        <a:pt x="46" y="45"/>
                      </a:cubicBezTo>
                      <a:cubicBezTo>
                        <a:pt x="47" y="33"/>
                        <a:pt x="51" y="13"/>
                        <a:pt x="67" y="7"/>
                      </a:cubicBezTo>
                      <a:close/>
                    </a:path>
                  </a:pathLst>
                </a:custGeom>
                <a:solidFill>
                  <a:srgbClr val="FCB96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88" name="Freeform 175"/>
                <p:cNvSpPr>
                  <a:spLocks/>
                </p:cNvSpPr>
                <p:nvPr/>
              </p:nvSpPr>
              <p:spPr bwMode="auto">
                <a:xfrm>
                  <a:off x="3060393" y="2227130"/>
                  <a:ext cx="88899" cy="87314"/>
                </a:xfrm>
                <a:custGeom>
                  <a:avLst/>
                  <a:gdLst>
                    <a:gd name="T0" fmla="*/ 0 w 56"/>
                    <a:gd name="T1" fmla="*/ 0 h 55"/>
                    <a:gd name="T2" fmla="*/ 56 w 56"/>
                    <a:gd name="T3" fmla="*/ 31 h 55"/>
                    <a:gd name="T4" fmla="*/ 32 w 56"/>
                    <a:gd name="T5" fmla="*/ 55 h 55"/>
                    <a:gd name="T6" fmla="*/ 0 w 56"/>
                    <a:gd name="T7" fmla="*/ 0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6" h="55">
                      <a:moveTo>
                        <a:pt x="0" y="0"/>
                      </a:moveTo>
                      <a:lnTo>
                        <a:pt x="56" y="31"/>
                      </a:lnTo>
                      <a:lnTo>
                        <a:pt x="32" y="5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9A8D7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89" name="Freeform 176"/>
                <p:cNvSpPr>
                  <a:spLocks/>
                </p:cNvSpPr>
                <p:nvPr/>
              </p:nvSpPr>
              <p:spPr bwMode="auto">
                <a:xfrm>
                  <a:off x="3036581" y="2271581"/>
                  <a:ext cx="15875" cy="14288"/>
                </a:xfrm>
                <a:custGeom>
                  <a:avLst/>
                  <a:gdLst>
                    <a:gd name="T0" fmla="*/ 9 w 11"/>
                    <a:gd name="T1" fmla="*/ 1 h 10"/>
                    <a:gd name="T2" fmla="*/ 9 w 11"/>
                    <a:gd name="T3" fmla="*/ 8 h 10"/>
                    <a:gd name="T4" fmla="*/ 2 w 11"/>
                    <a:gd name="T5" fmla="*/ 8 h 10"/>
                    <a:gd name="T6" fmla="*/ 2 w 11"/>
                    <a:gd name="T7" fmla="*/ 1 h 10"/>
                    <a:gd name="T8" fmla="*/ 9 w 11"/>
                    <a:gd name="T9" fmla="*/ 1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" h="10">
                      <a:moveTo>
                        <a:pt x="9" y="1"/>
                      </a:moveTo>
                      <a:cubicBezTo>
                        <a:pt x="11" y="3"/>
                        <a:pt x="11" y="6"/>
                        <a:pt x="9" y="8"/>
                      </a:cubicBezTo>
                      <a:cubicBezTo>
                        <a:pt x="7" y="10"/>
                        <a:pt x="4" y="10"/>
                        <a:pt x="2" y="8"/>
                      </a:cubicBezTo>
                      <a:cubicBezTo>
                        <a:pt x="0" y="6"/>
                        <a:pt x="0" y="3"/>
                        <a:pt x="2" y="1"/>
                      </a:cubicBezTo>
                      <a:cubicBezTo>
                        <a:pt x="4" y="0"/>
                        <a:pt x="7" y="0"/>
                        <a:pt x="9" y="1"/>
                      </a:cubicBezTo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90" name="Freeform 177"/>
                <p:cNvSpPr>
                  <a:spLocks/>
                </p:cNvSpPr>
                <p:nvPr/>
              </p:nvSpPr>
              <p:spPr bwMode="auto">
                <a:xfrm>
                  <a:off x="3060393" y="2227130"/>
                  <a:ext cx="88899" cy="87314"/>
                </a:xfrm>
                <a:custGeom>
                  <a:avLst/>
                  <a:gdLst>
                    <a:gd name="T0" fmla="*/ 0 w 56"/>
                    <a:gd name="T1" fmla="*/ 0 h 55"/>
                    <a:gd name="T2" fmla="*/ 56 w 56"/>
                    <a:gd name="T3" fmla="*/ 31 h 55"/>
                    <a:gd name="T4" fmla="*/ 32 w 56"/>
                    <a:gd name="T5" fmla="*/ 55 h 55"/>
                    <a:gd name="T6" fmla="*/ 0 w 56"/>
                    <a:gd name="T7" fmla="*/ 0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6" h="55">
                      <a:moveTo>
                        <a:pt x="0" y="0"/>
                      </a:moveTo>
                      <a:lnTo>
                        <a:pt x="56" y="31"/>
                      </a:lnTo>
                      <a:lnTo>
                        <a:pt x="32" y="5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CB96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91" name="Freeform 178"/>
                <p:cNvSpPr>
                  <a:spLocks/>
                </p:cNvSpPr>
                <p:nvPr/>
              </p:nvSpPr>
              <p:spPr bwMode="auto">
                <a:xfrm>
                  <a:off x="2887358" y="2179504"/>
                  <a:ext cx="296858" cy="273056"/>
                </a:xfrm>
                <a:custGeom>
                  <a:avLst/>
                  <a:gdLst>
                    <a:gd name="T0" fmla="*/ 0 w 205"/>
                    <a:gd name="T1" fmla="*/ 85 h 188"/>
                    <a:gd name="T2" fmla="*/ 61 w 205"/>
                    <a:gd name="T3" fmla="*/ 146 h 188"/>
                    <a:gd name="T4" fmla="*/ 61 w 205"/>
                    <a:gd name="T5" fmla="*/ 146 h 188"/>
                    <a:gd name="T6" fmla="*/ 205 w 205"/>
                    <a:gd name="T7" fmla="*/ 119 h 188"/>
                    <a:gd name="T8" fmla="*/ 201 w 205"/>
                    <a:gd name="T9" fmla="*/ 115 h 188"/>
                    <a:gd name="T10" fmla="*/ 167 w 205"/>
                    <a:gd name="T11" fmla="*/ 80 h 188"/>
                    <a:gd name="T12" fmla="*/ 124 w 205"/>
                    <a:gd name="T13" fmla="*/ 37 h 188"/>
                    <a:gd name="T14" fmla="*/ 86 w 205"/>
                    <a:gd name="T15" fmla="*/ 0 h 188"/>
                    <a:gd name="T16" fmla="*/ 0 w 205"/>
                    <a:gd name="T17" fmla="*/ 85 h 1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05" h="188">
                      <a:moveTo>
                        <a:pt x="0" y="85"/>
                      </a:moveTo>
                      <a:cubicBezTo>
                        <a:pt x="61" y="146"/>
                        <a:pt x="61" y="146"/>
                        <a:pt x="61" y="146"/>
                      </a:cubicBezTo>
                      <a:cubicBezTo>
                        <a:pt x="61" y="146"/>
                        <a:pt x="61" y="146"/>
                        <a:pt x="61" y="146"/>
                      </a:cubicBezTo>
                      <a:cubicBezTo>
                        <a:pt x="109" y="188"/>
                        <a:pt x="160" y="164"/>
                        <a:pt x="205" y="119"/>
                      </a:cubicBezTo>
                      <a:cubicBezTo>
                        <a:pt x="201" y="115"/>
                        <a:pt x="201" y="115"/>
                        <a:pt x="201" y="115"/>
                      </a:cubicBezTo>
                      <a:cubicBezTo>
                        <a:pt x="167" y="80"/>
                        <a:pt x="167" y="80"/>
                        <a:pt x="167" y="80"/>
                      </a:cubicBezTo>
                      <a:cubicBezTo>
                        <a:pt x="124" y="37"/>
                        <a:pt x="124" y="37"/>
                        <a:pt x="124" y="37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0" y="85"/>
                        <a:pt x="0" y="85"/>
                        <a:pt x="0" y="85"/>
                      </a:cubicBezTo>
                    </a:path>
                  </a:pathLst>
                </a:custGeom>
                <a:solidFill>
                  <a:srgbClr val="FCB96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92" name="Freeform 179"/>
                <p:cNvSpPr>
                  <a:spLocks/>
                </p:cNvSpPr>
                <p:nvPr/>
              </p:nvSpPr>
              <p:spPr bwMode="auto">
                <a:xfrm>
                  <a:off x="3036579" y="2271580"/>
                  <a:ext cx="25284" cy="25284"/>
                </a:xfrm>
                <a:custGeom>
                  <a:avLst/>
                  <a:gdLst>
                    <a:gd name="T0" fmla="*/ 9 w 11"/>
                    <a:gd name="T1" fmla="*/ 1 h 10"/>
                    <a:gd name="T2" fmla="*/ 9 w 11"/>
                    <a:gd name="T3" fmla="*/ 8 h 10"/>
                    <a:gd name="T4" fmla="*/ 2 w 11"/>
                    <a:gd name="T5" fmla="*/ 8 h 10"/>
                    <a:gd name="T6" fmla="*/ 2 w 11"/>
                    <a:gd name="T7" fmla="*/ 1 h 10"/>
                    <a:gd name="T8" fmla="*/ 9 w 11"/>
                    <a:gd name="T9" fmla="*/ 1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" h="10">
                      <a:moveTo>
                        <a:pt x="9" y="1"/>
                      </a:moveTo>
                      <a:cubicBezTo>
                        <a:pt x="11" y="3"/>
                        <a:pt x="11" y="6"/>
                        <a:pt x="9" y="8"/>
                      </a:cubicBezTo>
                      <a:cubicBezTo>
                        <a:pt x="7" y="10"/>
                        <a:pt x="4" y="10"/>
                        <a:pt x="2" y="8"/>
                      </a:cubicBezTo>
                      <a:cubicBezTo>
                        <a:pt x="0" y="6"/>
                        <a:pt x="0" y="3"/>
                        <a:pt x="2" y="1"/>
                      </a:cubicBezTo>
                      <a:cubicBezTo>
                        <a:pt x="4" y="0"/>
                        <a:pt x="7" y="0"/>
                        <a:pt x="9" y="1"/>
                      </a:cubicBezTo>
                    </a:path>
                  </a:pathLst>
                </a:custGeom>
                <a:solidFill>
                  <a:srgbClr val="002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93" name="Freeform 180"/>
                <p:cNvSpPr>
                  <a:spLocks/>
                </p:cNvSpPr>
                <p:nvPr/>
              </p:nvSpPr>
              <p:spPr bwMode="auto">
                <a:xfrm>
                  <a:off x="3198503" y="2468435"/>
                  <a:ext cx="309557" cy="246068"/>
                </a:xfrm>
                <a:custGeom>
                  <a:avLst/>
                  <a:gdLst>
                    <a:gd name="T0" fmla="*/ 200 w 215"/>
                    <a:gd name="T1" fmla="*/ 115 h 170"/>
                    <a:gd name="T2" fmla="*/ 200 w 215"/>
                    <a:gd name="T3" fmla="*/ 115 h 170"/>
                    <a:gd name="T4" fmla="*/ 212 w 215"/>
                    <a:gd name="T5" fmla="*/ 149 h 170"/>
                    <a:gd name="T6" fmla="*/ 183 w 215"/>
                    <a:gd name="T7" fmla="*/ 170 h 170"/>
                    <a:gd name="T8" fmla="*/ 50 w 215"/>
                    <a:gd name="T9" fmla="*/ 170 h 170"/>
                    <a:gd name="T10" fmla="*/ 49 w 215"/>
                    <a:gd name="T11" fmla="*/ 110 h 170"/>
                    <a:gd name="T12" fmla="*/ 89 w 215"/>
                    <a:gd name="T13" fmla="*/ 110 h 170"/>
                    <a:gd name="T14" fmla="*/ 0 w 215"/>
                    <a:gd name="T15" fmla="*/ 48 h 170"/>
                    <a:gd name="T16" fmla="*/ 36 w 215"/>
                    <a:gd name="T17" fmla="*/ 0 h 170"/>
                    <a:gd name="T18" fmla="*/ 200 w 215"/>
                    <a:gd name="T19" fmla="*/ 115 h 1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15" h="170">
                      <a:moveTo>
                        <a:pt x="200" y="115"/>
                      </a:moveTo>
                      <a:cubicBezTo>
                        <a:pt x="200" y="115"/>
                        <a:pt x="200" y="115"/>
                        <a:pt x="200" y="115"/>
                      </a:cubicBezTo>
                      <a:cubicBezTo>
                        <a:pt x="211" y="123"/>
                        <a:pt x="215" y="136"/>
                        <a:pt x="212" y="149"/>
                      </a:cubicBezTo>
                      <a:cubicBezTo>
                        <a:pt x="208" y="161"/>
                        <a:pt x="196" y="170"/>
                        <a:pt x="183" y="170"/>
                      </a:cubicBezTo>
                      <a:cubicBezTo>
                        <a:pt x="50" y="170"/>
                        <a:pt x="50" y="170"/>
                        <a:pt x="50" y="170"/>
                      </a:cubicBezTo>
                      <a:cubicBezTo>
                        <a:pt x="49" y="110"/>
                        <a:pt x="49" y="110"/>
                        <a:pt x="49" y="110"/>
                      </a:cubicBezTo>
                      <a:cubicBezTo>
                        <a:pt x="89" y="110"/>
                        <a:pt x="89" y="110"/>
                        <a:pt x="89" y="110"/>
                      </a:cubicBezTo>
                      <a:cubicBezTo>
                        <a:pt x="0" y="48"/>
                        <a:pt x="0" y="48"/>
                        <a:pt x="0" y="48"/>
                      </a:cubicBezTo>
                      <a:cubicBezTo>
                        <a:pt x="36" y="0"/>
                        <a:pt x="36" y="0"/>
                        <a:pt x="36" y="0"/>
                      </a:cubicBezTo>
                      <a:lnTo>
                        <a:pt x="200" y="115"/>
                      </a:lnTo>
                      <a:close/>
                    </a:path>
                  </a:pathLst>
                </a:custGeom>
                <a:solidFill>
                  <a:srgbClr val="E1623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94" name="Freeform 182"/>
                <p:cNvSpPr>
                  <a:spLocks noEditPoints="1"/>
                </p:cNvSpPr>
                <p:nvPr/>
              </p:nvSpPr>
              <p:spPr bwMode="auto">
                <a:xfrm>
                  <a:off x="4320848" y="2049326"/>
                  <a:ext cx="0" cy="9525"/>
                </a:xfrm>
                <a:custGeom>
                  <a:avLst/>
                  <a:gdLst>
                    <a:gd name="T0" fmla="*/ 6 h 6"/>
                    <a:gd name="T1" fmla="*/ 6 h 6"/>
                    <a:gd name="T2" fmla="*/ 6 h 6"/>
                    <a:gd name="T3" fmla="*/ 5 h 6"/>
                    <a:gd name="T4" fmla="*/ 5 h 6"/>
                    <a:gd name="T5" fmla="*/ 5 h 6"/>
                    <a:gd name="T6" fmla="*/ 4 h 6"/>
                    <a:gd name="T7" fmla="*/ 5 h 6"/>
                    <a:gd name="T8" fmla="*/ 4 h 6"/>
                    <a:gd name="T9" fmla="*/ 4 h 6"/>
                    <a:gd name="T10" fmla="*/ 4 h 6"/>
                    <a:gd name="T11" fmla="*/ 4 h 6"/>
                    <a:gd name="T12" fmla="*/ 3 h 6"/>
                    <a:gd name="T13" fmla="*/ 3 h 6"/>
                    <a:gd name="T14" fmla="*/ 3 h 6"/>
                    <a:gd name="T15" fmla="*/ 2 h 6"/>
                    <a:gd name="T16" fmla="*/ 2 h 6"/>
                    <a:gd name="T17" fmla="*/ 2 h 6"/>
                    <a:gd name="T18" fmla="*/ 1 h 6"/>
                    <a:gd name="T19" fmla="*/ 1 h 6"/>
                    <a:gd name="T20" fmla="*/ 1 h 6"/>
                    <a:gd name="T21" fmla="*/ 0 h 6"/>
                    <a:gd name="T22" fmla="*/ 0 h 6"/>
                    <a:gd name="T23" fmla="*/ 0 h 6"/>
                    <a:gd name="T24" fmla="*/ 0 h 6"/>
                    <a:gd name="T25" fmla="*/ 0 h 6"/>
                    <a:gd name="T26" fmla="*/ 0 h 6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  <a:cxn ang="0">
                      <a:pos x="0" y="T5"/>
                    </a:cxn>
                    <a:cxn ang="0">
                      <a:pos x="0" y="T6"/>
                    </a:cxn>
                    <a:cxn ang="0">
                      <a:pos x="0" y="T7"/>
                    </a:cxn>
                    <a:cxn ang="0">
                      <a:pos x="0" y="T8"/>
                    </a:cxn>
                    <a:cxn ang="0">
                      <a:pos x="0" y="T9"/>
                    </a:cxn>
                    <a:cxn ang="0">
                      <a:pos x="0" y="T10"/>
                    </a:cxn>
                    <a:cxn ang="0">
                      <a:pos x="0" y="T11"/>
                    </a:cxn>
                    <a:cxn ang="0">
                      <a:pos x="0" y="T12"/>
                    </a:cxn>
                    <a:cxn ang="0">
                      <a:pos x="0" y="T13"/>
                    </a:cxn>
                    <a:cxn ang="0">
                      <a:pos x="0" y="T14"/>
                    </a:cxn>
                    <a:cxn ang="0">
                      <a:pos x="0" y="T15"/>
                    </a:cxn>
                    <a:cxn ang="0">
                      <a:pos x="0" y="T16"/>
                    </a:cxn>
                    <a:cxn ang="0">
                      <a:pos x="0" y="T17"/>
                    </a:cxn>
                    <a:cxn ang="0">
                      <a:pos x="0" y="T18"/>
                    </a:cxn>
                    <a:cxn ang="0">
                      <a:pos x="0" y="T19"/>
                    </a:cxn>
                    <a:cxn ang="0">
                      <a:pos x="0" y="T20"/>
                    </a:cxn>
                    <a:cxn ang="0">
                      <a:pos x="0" y="T21"/>
                    </a:cxn>
                    <a:cxn ang="0">
                      <a:pos x="0" y="T22"/>
                    </a:cxn>
                    <a:cxn ang="0">
                      <a:pos x="0" y="T23"/>
                    </a:cxn>
                    <a:cxn ang="0">
                      <a:pos x="0" y="T24"/>
                    </a:cxn>
                    <a:cxn ang="0">
                      <a:pos x="0" y="T25"/>
                    </a:cxn>
                    <a:cxn ang="0">
                      <a:pos x="0" y="T26"/>
                    </a:cxn>
                  </a:cxnLst>
                  <a:rect l="0" t="0" r="r" b="b"/>
                  <a:pathLst>
                    <a:path h="6">
                      <a:moveTo>
                        <a:pt x="0" y="6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6"/>
                        <a:pt x="0" y="6"/>
                        <a:pt x="0" y="6"/>
                      </a:cubicBezTo>
                      <a:moveTo>
                        <a:pt x="0" y="5"/>
                      </a:move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moveTo>
                        <a:pt x="0" y="4"/>
                      </a:move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4"/>
                      </a:cubicBezTo>
                      <a:moveTo>
                        <a:pt x="0" y="4"/>
                      </a:move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0" y="4"/>
                        <a:pt x="0" y="4"/>
                        <a:pt x="0" y="4"/>
                      </a:cubicBezTo>
                      <a:moveTo>
                        <a:pt x="0" y="3"/>
                      </a:move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0" y="3"/>
                        <a:pt x="0" y="3"/>
                        <a:pt x="0" y="3"/>
                      </a:cubicBezTo>
                      <a:moveTo>
                        <a:pt x="0" y="2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0" y="2"/>
                        <a:pt x="0" y="2"/>
                      </a:cubicBezTo>
                      <a:moveTo>
                        <a:pt x="0" y="1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E5D8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95" name="Freeform 192"/>
                <p:cNvSpPr>
                  <a:spLocks/>
                </p:cNvSpPr>
                <p:nvPr/>
              </p:nvSpPr>
              <p:spPr bwMode="auto">
                <a:xfrm>
                  <a:off x="2830209" y="2125528"/>
                  <a:ext cx="195259" cy="300044"/>
                </a:xfrm>
                <a:custGeom>
                  <a:avLst/>
                  <a:gdLst>
                    <a:gd name="T0" fmla="*/ 94 w 135"/>
                    <a:gd name="T1" fmla="*/ 127 h 208"/>
                    <a:gd name="T2" fmla="*/ 95 w 135"/>
                    <a:gd name="T3" fmla="*/ 123 h 208"/>
                    <a:gd name="T4" fmla="*/ 112 w 135"/>
                    <a:gd name="T5" fmla="*/ 95 h 208"/>
                    <a:gd name="T6" fmla="*/ 126 w 135"/>
                    <a:gd name="T7" fmla="*/ 38 h 208"/>
                    <a:gd name="T8" fmla="*/ 126 w 135"/>
                    <a:gd name="T9" fmla="*/ 36 h 208"/>
                    <a:gd name="T10" fmla="*/ 105 w 135"/>
                    <a:gd name="T11" fmla="*/ 22 h 208"/>
                    <a:gd name="T12" fmla="*/ 53 w 135"/>
                    <a:gd name="T13" fmla="*/ 38 h 208"/>
                    <a:gd name="T14" fmla="*/ 32 w 135"/>
                    <a:gd name="T15" fmla="*/ 71 h 208"/>
                    <a:gd name="T16" fmla="*/ 32 w 135"/>
                    <a:gd name="T17" fmla="*/ 71 h 208"/>
                    <a:gd name="T18" fmla="*/ 40 w 135"/>
                    <a:gd name="T19" fmla="*/ 142 h 208"/>
                    <a:gd name="T20" fmla="*/ 122 w 135"/>
                    <a:gd name="T21" fmla="*/ 199 h 208"/>
                    <a:gd name="T22" fmla="*/ 94 w 135"/>
                    <a:gd name="T23" fmla="*/ 127 h 2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35" h="208">
                      <a:moveTo>
                        <a:pt x="94" y="127"/>
                      </a:moveTo>
                      <a:cubicBezTo>
                        <a:pt x="95" y="126"/>
                        <a:pt x="95" y="124"/>
                        <a:pt x="95" y="123"/>
                      </a:cubicBezTo>
                      <a:cubicBezTo>
                        <a:pt x="95" y="109"/>
                        <a:pt x="102" y="105"/>
                        <a:pt x="112" y="95"/>
                      </a:cubicBezTo>
                      <a:cubicBezTo>
                        <a:pt x="123" y="82"/>
                        <a:pt x="135" y="54"/>
                        <a:pt x="126" y="38"/>
                      </a:cubicBezTo>
                      <a:cubicBezTo>
                        <a:pt x="126" y="37"/>
                        <a:pt x="126" y="37"/>
                        <a:pt x="126" y="36"/>
                      </a:cubicBezTo>
                      <a:cubicBezTo>
                        <a:pt x="125" y="7"/>
                        <a:pt x="105" y="22"/>
                        <a:pt x="105" y="22"/>
                      </a:cubicBezTo>
                      <a:cubicBezTo>
                        <a:pt x="78" y="0"/>
                        <a:pt x="53" y="38"/>
                        <a:pt x="53" y="38"/>
                      </a:cubicBezTo>
                      <a:cubicBezTo>
                        <a:pt x="37" y="37"/>
                        <a:pt x="32" y="53"/>
                        <a:pt x="32" y="71"/>
                      </a:cubicBezTo>
                      <a:cubicBezTo>
                        <a:pt x="32" y="71"/>
                        <a:pt x="32" y="71"/>
                        <a:pt x="32" y="71"/>
                      </a:cubicBezTo>
                      <a:cubicBezTo>
                        <a:pt x="0" y="102"/>
                        <a:pt x="26" y="131"/>
                        <a:pt x="40" y="142"/>
                      </a:cubicBezTo>
                      <a:cubicBezTo>
                        <a:pt x="52" y="208"/>
                        <a:pt x="122" y="199"/>
                        <a:pt x="122" y="199"/>
                      </a:cubicBezTo>
                      <a:cubicBezTo>
                        <a:pt x="131" y="162"/>
                        <a:pt x="95" y="127"/>
                        <a:pt x="94" y="127"/>
                      </a:cubicBezTo>
                    </a:path>
                  </a:pathLst>
                </a:custGeom>
                <a:solidFill>
                  <a:srgbClr val="33333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96" name="Rectangle 195"/>
                <p:cNvSpPr>
                  <a:spLocks noChangeArrowheads="1"/>
                </p:cNvSpPr>
                <p:nvPr/>
              </p:nvSpPr>
              <p:spPr bwMode="auto">
                <a:xfrm>
                  <a:off x="2825447" y="2454147"/>
                  <a:ext cx="60324" cy="347670"/>
                </a:xfrm>
                <a:prstGeom prst="rect">
                  <a:avLst/>
                </a:pr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97" name="Rectangle 196"/>
                <p:cNvSpPr>
                  <a:spLocks noChangeArrowheads="1"/>
                </p:cNvSpPr>
                <p:nvPr/>
              </p:nvSpPr>
              <p:spPr bwMode="auto">
                <a:xfrm>
                  <a:off x="3209616" y="2454147"/>
                  <a:ext cx="60324" cy="347670"/>
                </a:xfrm>
                <a:prstGeom prst="rect">
                  <a:avLst/>
                </a:pr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98" name="Freeform 197"/>
                <p:cNvSpPr>
                  <a:spLocks/>
                </p:cNvSpPr>
                <p:nvPr/>
              </p:nvSpPr>
              <p:spPr bwMode="auto">
                <a:xfrm>
                  <a:off x="2817509" y="2628776"/>
                  <a:ext cx="88899" cy="87314"/>
                </a:xfrm>
                <a:custGeom>
                  <a:avLst/>
                  <a:gdLst>
                    <a:gd name="T0" fmla="*/ 31 w 62"/>
                    <a:gd name="T1" fmla="*/ 60 h 61"/>
                    <a:gd name="T2" fmla="*/ 32 w 62"/>
                    <a:gd name="T3" fmla="*/ 61 h 61"/>
                    <a:gd name="T4" fmla="*/ 62 w 62"/>
                    <a:gd name="T5" fmla="*/ 31 h 61"/>
                    <a:gd name="T6" fmla="*/ 32 w 62"/>
                    <a:gd name="T7" fmla="*/ 0 h 61"/>
                    <a:gd name="T8" fmla="*/ 31 w 62"/>
                    <a:gd name="T9" fmla="*/ 1 h 61"/>
                    <a:gd name="T10" fmla="*/ 31 w 62"/>
                    <a:gd name="T11" fmla="*/ 0 h 61"/>
                    <a:gd name="T12" fmla="*/ 0 w 62"/>
                    <a:gd name="T13" fmla="*/ 0 h 61"/>
                    <a:gd name="T14" fmla="*/ 0 w 62"/>
                    <a:gd name="T15" fmla="*/ 61 h 61"/>
                    <a:gd name="T16" fmla="*/ 31 w 62"/>
                    <a:gd name="T17" fmla="*/ 61 h 61"/>
                    <a:gd name="T18" fmla="*/ 31 w 62"/>
                    <a:gd name="T19" fmla="*/ 60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2" h="61">
                      <a:moveTo>
                        <a:pt x="31" y="60"/>
                      </a:moveTo>
                      <a:cubicBezTo>
                        <a:pt x="31" y="60"/>
                        <a:pt x="32" y="61"/>
                        <a:pt x="32" y="61"/>
                      </a:cubicBezTo>
                      <a:cubicBezTo>
                        <a:pt x="49" y="61"/>
                        <a:pt x="62" y="47"/>
                        <a:pt x="62" y="31"/>
                      </a:cubicBezTo>
                      <a:cubicBezTo>
                        <a:pt x="62" y="14"/>
                        <a:pt x="49" y="0"/>
                        <a:pt x="32" y="0"/>
                      </a:cubicBezTo>
                      <a:cubicBezTo>
                        <a:pt x="32" y="0"/>
                        <a:pt x="31" y="1"/>
                        <a:pt x="31" y="1"/>
                      </a:cubicBezTo>
                      <a:cubicBezTo>
                        <a:pt x="31" y="0"/>
                        <a:pt x="31" y="0"/>
                        <a:pt x="31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61"/>
                        <a:pt x="0" y="61"/>
                        <a:pt x="0" y="61"/>
                      </a:cubicBezTo>
                      <a:cubicBezTo>
                        <a:pt x="31" y="61"/>
                        <a:pt x="31" y="61"/>
                        <a:pt x="31" y="61"/>
                      </a:cubicBezTo>
                      <a:lnTo>
                        <a:pt x="31" y="60"/>
                      </a:lnTo>
                      <a:close/>
                    </a:path>
                  </a:pathLst>
                </a:custGeom>
                <a:solidFill>
                  <a:srgbClr val="FCB96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99" name="Freeform 198"/>
                <p:cNvSpPr>
                  <a:spLocks/>
                </p:cNvSpPr>
                <p:nvPr/>
              </p:nvSpPr>
              <p:spPr bwMode="auto">
                <a:xfrm>
                  <a:off x="3181041" y="2628776"/>
                  <a:ext cx="88899" cy="87314"/>
                </a:xfrm>
                <a:custGeom>
                  <a:avLst/>
                  <a:gdLst>
                    <a:gd name="T0" fmla="*/ 31 w 62"/>
                    <a:gd name="T1" fmla="*/ 60 h 61"/>
                    <a:gd name="T2" fmla="*/ 30 w 62"/>
                    <a:gd name="T3" fmla="*/ 61 h 61"/>
                    <a:gd name="T4" fmla="*/ 0 w 62"/>
                    <a:gd name="T5" fmla="*/ 31 h 61"/>
                    <a:gd name="T6" fmla="*/ 30 w 62"/>
                    <a:gd name="T7" fmla="*/ 0 h 61"/>
                    <a:gd name="T8" fmla="*/ 31 w 62"/>
                    <a:gd name="T9" fmla="*/ 1 h 61"/>
                    <a:gd name="T10" fmla="*/ 31 w 62"/>
                    <a:gd name="T11" fmla="*/ 0 h 61"/>
                    <a:gd name="T12" fmla="*/ 62 w 62"/>
                    <a:gd name="T13" fmla="*/ 0 h 61"/>
                    <a:gd name="T14" fmla="*/ 62 w 62"/>
                    <a:gd name="T15" fmla="*/ 61 h 61"/>
                    <a:gd name="T16" fmla="*/ 31 w 62"/>
                    <a:gd name="T17" fmla="*/ 61 h 61"/>
                    <a:gd name="T18" fmla="*/ 31 w 62"/>
                    <a:gd name="T19" fmla="*/ 60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2" h="61">
                      <a:moveTo>
                        <a:pt x="31" y="60"/>
                      </a:moveTo>
                      <a:cubicBezTo>
                        <a:pt x="30" y="60"/>
                        <a:pt x="30" y="61"/>
                        <a:pt x="30" y="61"/>
                      </a:cubicBezTo>
                      <a:cubicBezTo>
                        <a:pt x="13" y="61"/>
                        <a:pt x="0" y="47"/>
                        <a:pt x="0" y="31"/>
                      </a:cubicBezTo>
                      <a:cubicBezTo>
                        <a:pt x="0" y="14"/>
                        <a:pt x="13" y="0"/>
                        <a:pt x="30" y="0"/>
                      </a:cubicBezTo>
                      <a:cubicBezTo>
                        <a:pt x="30" y="0"/>
                        <a:pt x="30" y="1"/>
                        <a:pt x="31" y="1"/>
                      </a:cubicBezTo>
                      <a:cubicBezTo>
                        <a:pt x="31" y="0"/>
                        <a:pt x="31" y="0"/>
                        <a:pt x="31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61"/>
                        <a:pt x="62" y="61"/>
                        <a:pt x="62" y="61"/>
                      </a:cubicBezTo>
                      <a:cubicBezTo>
                        <a:pt x="31" y="61"/>
                        <a:pt x="31" y="61"/>
                        <a:pt x="31" y="61"/>
                      </a:cubicBezTo>
                      <a:lnTo>
                        <a:pt x="31" y="60"/>
                      </a:lnTo>
                      <a:close/>
                    </a:path>
                  </a:pathLst>
                </a:custGeom>
                <a:solidFill>
                  <a:srgbClr val="FCB96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00" name="Freeform 199"/>
                <p:cNvSpPr>
                  <a:spLocks/>
                </p:cNvSpPr>
                <p:nvPr/>
              </p:nvSpPr>
              <p:spPr bwMode="auto">
                <a:xfrm>
                  <a:off x="2952445" y="2308094"/>
                  <a:ext cx="69849" cy="71439"/>
                </a:xfrm>
                <a:custGeom>
                  <a:avLst/>
                  <a:gdLst>
                    <a:gd name="T0" fmla="*/ 11 w 49"/>
                    <a:gd name="T1" fmla="*/ 0 h 49"/>
                    <a:gd name="T2" fmla="*/ 11 w 49"/>
                    <a:gd name="T3" fmla="*/ 38 h 49"/>
                    <a:gd name="T4" fmla="*/ 49 w 49"/>
                    <a:gd name="T5" fmla="*/ 38 h 49"/>
                    <a:gd name="T6" fmla="*/ 11 w 49"/>
                    <a:gd name="T7" fmla="*/ 0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9" h="49">
                      <a:moveTo>
                        <a:pt x="11" y="0"/>
                      </a:moveTo>
                      <a:cubicBezTo>
                        <a:pt x="0" y="10"/>
                        <a:pt x="0" y="27"/>
                        <a:pt x="11" y="38"/>
                      </a:cubicBezTo>
                      <a:cubicBezTo>
                        <a:pt x="21" y="49"/>
                        <a:pt x="39" y="49"/>
                        <a:pt x="49" y="38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CB96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01" name="Freeform 200"/>
                <p:cNvSpPr>
                  <a:spLocks/>
                </p:cNvSpPr>
                <p:nvPr/>
              </p:nvSpPr>
              <p:spPr bwMode="auto">
                <a:xfrm>
                  <a:off x="2981019" y="2322382"/>
                  <a:ext cx="28575" cy="26988"/>
                </a:xfrm>
                <a:custGeom>
                  <a:avLst/>
                  <a:gdLst>
                    <a:gd name="T0" fmla="*/ 0 w 20"/>
                    <a:gd name="T1" fmla="*/ 0 h 19"/>
                    <a:gd name="T2" fmla="*/ 0 w 20"/>
                    <a:gd name="T3" fmla="*/ 0 h 19"/>
                    <a:gd name="T4" fmla="*/ 20 w 20"/>
                    <a:gd name="T5" fmla="*/ 19 h 19"/>
                    <a:gd name="T6" fmla="*/ 20 w 20"/>
                    <a:gd name="T7" fmla="*/ 19 h 19"/>
                    <a:gd name="T8" fmla="*/ 0 w 20"/>
                    <a:gd name="T9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0" h="19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0" y="19"/>
                        <a:pt x="20" y="19"/>
                        <a:pt x="20" y="19"/>
                      </a:cubicBezTo>
                      <a:cubicBezTo>
                        <a:pt x="20" y="19"/>
                        <a:pt x="20" y="19"/>
                        <a:pt x="20" y="19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99D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02" name="Freeform 201"/>
                <p:cNvSpPr>
                  <a:spLocks/>
                </p:cNvSpPr>
                <p:nvPr/>
              </p:nvSpPr>
              <p:spPr bwMode="auto">
                <a:xfrm>
                  <a:off x="2973082" y="2322382"/>
                  <a:ext cx="36512" cy="33338"/>
                </a:xfrm>
                <a:custGeom>
                  <a:avLst/>
                  <a:gdLst>
                    <a:gd name="T0" fmla="*/ 5 w 25"/>
                    <a:gd name="T1" fmla="*/ 0 h 23"/>
                    <a:gd name="T2" fmla="*/ 5 w 25"/>
                    <a:gd name="T3" fmla="*/ 19 h 23"/>
                    <a:gd name="T4" fmla="*/ 15 w 25"/>
                    <a:gd name="T5" fmla="*/ 23 h 23"/>
                    <a:gd name="T6" fmla="*/ 25 w 25"/>
                    <a:gd name="T7" fmla="*/ 19 h 23"/>
                    <a:gd name="T8" fmla="*/ 5 w 25"/>
                    <a:gd name="T9" fmla="*/ 0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5" h="23">
                      <a:moveTo>
                        <a:pt x="5" y="0"/>
                      </a:moveTo>
                      <a:cubicBezTo>
                        <a:pt x="0" y="5"/>
                        <a:pt x="0" y="14"/>
                        <a:pt x="5" y="19"/>
                      </a:cubicBezTo>
                      <a:cubicBezTo>
                        <a:pt x="8" y="22"/>
                        <a:pt x="12" y="23"/>
                        <a:pt x="15" y="23"/>
                      </a:cubicBezTo>
                      <a:cubicBezTo>
                        <a:pt x="18" y="23"/>
                        <a:pt x="22" y="22"/>
                        <a:pt x="25" y="19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D99D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03" name="Freeform 279"/>
                <p:cNvSpPr>
                  <a:spLocks/>
                </p:cNvSpPr>
                <p:nvPr/>
              </p:nvSpPr>
              <p:spPr bwMode="auto">
                <a:xfrm>
                  <a:off x="4794674" y="1234015"/>
                  <a:ext cx="300038" cy="180976"/>
                </a:xfrm>
                <a:custGeom>
                  <a:avLst/>
                  <a:gdLst>
                    <a:gd name="T0" fmla="*/ 39 w 401"/>
                    <a:gd name="T1" fmla="*/ 120 h 241"/>
                    <a:gd name="T2" fmla="*/ 105 w 401"/>
                    <a:gd name="T3" fmla="*/ 68 h 241"/>
                    <a:gd name="T4" fmla="*/ 106 w 401"/>
                    <a:gd name="T5" fmla="*/ 68 h 241"/>
                    <a:gd name="T6" fmla="*/ 106 w 401"/>
                    <a:gd name="T7" fmla="*/ 68 h 241"/>
                    <a:gd name="T8" fmla="*/ 174 w 401"/>
                    <a:gd name="T9" fmla="*/ 0 h 241"/>
                    <a:gd name="T10" fmla="*/ 234 w 401"/>
                    <a:gd name="T11" fmla="*/ 36 h 241"/>
                    <a:gd name="T12" fmla="*/ 256 w 401"/>
                    <a:gd name="T13" fmla="*/ 32 h 241"/>
                    <a:gd name="T14" fmla="*/ 319 w 401"/>
                    <a:gd name="T15" fmla="*/ 96 h 241"/>
                    <a:gd name="T16" fmla="*/ 319 w 401"/>
                    <a:gd name="T17" fmla="*/ 96 h 241"/>
                    <a:gd name="T18" fmla="*/ 328 w 401"/>
                    <a:gd name="T19" fmla="*/ 96 h 241"/>
                    <a:gd name="T20" fmla="*/ 401 w 401"/>
                    <a:gd name="T21" fmla="*/ 168 h 241"/>
                    <a:gd name="T22" fmla="*/ 328 w 401"/>
                    <a:gd name="T23" fmla="*/ 241 h 241"/>
                    <a:gd name="T24" fmla="*/ 62 w 401"/>
                    <a:gd name="T25" fmla="*/ 241 h 241"/>
                    <a:gd name="T26" fmla="*/ 0 w 401"/>
                    <a:gd name="T27" fmla="*/ 178 h 241"/>
                    <a:gd name="T28" fmla="*/ 39 w 401"/>
                    <a:gd name="T29" fmla="*/ 120 h 2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401" h="241">
                      <a:moveTo>
                        <a:pt x="39" y="120"/>
                      </a:moveTo>
                      <a:cubicBezTo>
                        <a:pt x="47" y="90"/>
                        <a:pt x="73" y="68"/>
                        <a:pt x="105" y="68"/>
                      </a:cubicBezTo>
                      <a:cubicBezTo>
                        <a:pt x="106" y="68"/>
                        <a:pt x="106" y="68"/>
                        <a:pt x="106" y="68"/>
                      </a:cubicBezTo>
                      <a:cubicBezTo>
                        <a:pt x="106" y="68"/>
                        <a:pt x="106" y="68"/>
                        <a:pt x="106" y="68"/>
                      </a:cubicBezTo>
                      <a:cubicBezTo>
                        <a:pt x="106" y="30"/>
                        <a:pt x="136" y="0"/>
                        <a:pt x="174" y="0"/>
                      </a:cubicBezTo>
                      <a:cubicBezTo>
                        <a:pt x="200" y="0"/>
                        <a:pt x="223" y="14"/>
                        <a:pt x="234" y="36"/>
                      </a:cubicBezTo>
                      <a:cubicBezTo>
                        <a:pt x="241" y="33"/>
                        <a:pt x="248" y="32"/>
                        <a:pt x="256" y="32"/>
                      </a:cubicBezTo>
                      <a:cubicBezTo>
                        <a:pt x="291" y="32"/>
                        <a:pt x="319" y="61"/>
                        <a:pt x="319" y="96"/>
                      </a:cubicBezTo>
                      <a:cubicBezTo>
                        <a:pt x="319" y="96"/>
                        <a:pt x="319" y="96"/>
                        <a:pt x="319" y="96"/>
                      </a:cubicBezTo>
                      <a:cubicBezTo>
                        <a:pt x="322" y="96"/>
                        <a:pt x="325" y="96"/>
                        <a:pt x="328" y="96"/>
                      </a:cubicBezTo>
                      <a:cubicBezTo>
                        <a:pt x="368" y="96"/>
                        <a:pt x="401" y="128"/>
                        <a:pt x="401" y="168"/>
                      </a:cubicBezTo>
                      <a:cubicBezTo>
                        <a:pt x="401" y="208"/>
                        <a:pt x="368" y="241"/>
                        <a:pt x="328" y="241"/>
                      </a:cubicBezTo>
                      <a:cubicBezTo>
                        <a:pt x="62" y="241"/>
                        <a:pt x="62" y="241"/>
                        <a:pt x="62" y="241"/>
                      </a:cubicBezTo>
                      <a:cubicBezTo>
                        <a:pt x="28" y="241"/>
                        <a:pt x="0" y="213"/>
                        <a:pt x="0" y="178"/>
                      </a:cubicBezTo>
                      <a:cubicBezTo>
                        <a:pt x="0" y="152"/>
                        <a:pt x="16" y="129"/>
                        <a:pt x="39" y="120"/>
                      </a:cubicBez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grpSp>
              <p:nvGrpSpPr>
                <p:cNvPr id="1104" name="Group 1103"/>
                <p:cNvGrpSpPr/>
                <p:nvPr/>
              </p:nvGrpSpPr>
              <p:grpSpPr>
                <a:xfrm>
                  <a:off x="6589928" y="1374281"/>
                  <a:ext cx="433392" cy="260361"/>
                  <a:chOff x="8261267" y="967867"/>
                  <a:chExt cx="433392" cy="260361"/>
                </a:xfrm>
              </p:grpSpPr>
              <p:sp>
                <p:nvSpPr>
                  <p:cNvPr id="1105" name="Freeform 269"/>
                  <p:cNvSpPr>
                    <a:spLocks/>
                  </p:cNvSpPr>
                  <p:nvPr/>
                </p:nvSpPr>
                <p:spPr bwMode="auto">
                  <a:xfrm>
                    <a:off x="8261267" y="967867"/>
                    <a:ext cx="433392" cy="260361"/>
                  </a:xfrm>
                  <a:custGeom>
                    <a:avLst/>
                    <a:gdLst>
                      <a:gd name="T0" fmla="*/ 523 w 580"/>
                      <a:gd name="T1" fmla="*/ 173 h 349"/>
                      <a:gd name="T2" fmla="*/ 427 w 580"/>
                      <a:gd name="T3" fmla="*/ 98 h 349"/>
                      <a:gd name="T4" fmla="*/ 426 w 580"/>
                      <a:gd name="T5" fmla="*/ 98 h 349"/>
                      <a:gd name="T6" fmla="*/ 426 w 580"/>
                      <a:gd name="T7" fmla="*/ 98 h 349"/>
                      <a:gd name="T8" fmla="*/ 328 w 580"/>
                      <a:gd name="T9" fmla="*/ 0 h 349"/>
                      <a:gd name="T10" fmla="*/ 241 w 580"/>
                      <a:gd name="T11" fmla="*/ 52 h 349"/>
                      <a:gd name="T12" fmla="*/ 210 w 580"/>
                      <a:gd name="T13" fmla="*/ 46 h 349"/>
                      <a:gd name="T14" fmla="*/ 117 w 580"/>
                      <a:gd name="T15" fmla="*/ 139 h 349"/>
                      <a:gd name="T16" fmla="*/ 117 w 580"/>
                      <a:gd name="T17" fmla="*/ 140 h 349"/>
                      <a:gd name="T18" fmla="*/ 105 w 580"/>
                      <a:gd name="T19" fmla="*/ 139 h 349"/>
                      <a:gd name="T20" fmla="*/ 0 w 580"/>
                      <a:gd name="T21" fmla="*/ 244 h 349"/>
                      <a:gd name="T22" fmla="*/ 105 w 580"/>
                      <a:gd name="T23" fmla="*/ 349 h 349"/>
                      <a:gd name="T24" fmla="*/ 489 w 580"/>
                      <a:gd name="T25" fmla="*/ 349 h 349"/>
                      <a:gd name="T26" fmla="*/ 580 w 580"/>
                      <a:gd name="T27" fmla="*/ 258 h 349"/>
                      <a:gd name="T28" fmla="*/ 523 w 580"/>
                      <a:gd name="T29" fmla="*/ 173 h 34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580" h="349">
                        <a:moveTo>
                          <a:pt x="523" y="173"/>
                        </a:moveTo>
                        <a:cubicBezTo>
                          <a:pt x="512" y="130"/>
                          <a:pt x="473" y="98"/>
                          <a:pt x="427" y="98"/>
                        </a:cubicBezTo>
                        <a:cubicBezTo>
                          <a:pt x="426" y="98"/>
                          <a:pt x="426" y="98"/>
                          <a:pt x="426" y="98"/>
                        </a:cubicBezTo>
                        <a:cubicBezTo>
                          <a:pt x="426" y="98"/>
                          <a:pt x="426" y="98"/>
                          <a:pt x="426" y="98"/>
                        </a:cubicBezTo>
                        <a:cubicBezTo>
                          <a:pt x="426" y="44"/>
                          <a:pt x="382" y="0"/>
                          <a:pt x="328" y="0"/>
                        </a:cubicBezTo>
                        <a:cubicBezTo>
                          <a:pt x="290" y="0"/>
                          <a:pt x="258" y="21"/>
                          <a:pt x="241" y="52"/>
                        </a:cubicBezTo>
                        <a:cubicBezTo>
                          <a:pt x="231" y="48"/>
                          <a:pt x="221" y="46"/>
                          <a:pt x="210" y="46"/>
                        </a:cubicBezTo>
                        <a:cubicBezTo>
                          <a:pt x="159" y="46"/>
                          <a:pt x="117" y="88"/>
                          <a:pt x="117" y="139"/>
                        </a:cubicBezTo>
                        <a:cubicBezTo>
                          <a:pt x="117" y="140"/>
                          <a:pt x="117" y="140"/>
                          <a:pt x="117" y="140"/>
                        </a:cubicBezTo>
                        <a:cubicBezTo>
                          <a:pt x="113" y="139"/>
                          <a:pt x="109" y="139"/>
                          <a:pt x="105" y="139"/>
                        </a:cubicBezTo>
                        <a:cubicBezTo>
                          <a:pt x="47" y="139"/>
                          <a:pt x="0" y="186"/>
                          <a:pt x="0" y="244"/>
                        </a:cubicBezTo>
                        <a:cubicBezTo>
                          <a:pt x="0" y="302"/>
                          <a:pt x="47" y="349"/>
                          <a:pt x="105" y="349"/>
                        </a:cubicBezTo>
                        <a:cubicBezTo>
                          <a:pt x="489" y="349"/>
                          <a:pt x="489" y="349"/>
                          <a:pt x="489" y="349"/>
                        </a:cubicBezTo>
                        <a:cubicBezTo>
                          <a:pt x="540" y="349"/>
                          <a:pt x="580" y="308"/>
                          <a:pt x="580" y="258"/>
                        </a:cubicBezTo>
                        <a:cubicBezTo>
                          <a:pt x="580" y="219"/>
                          <a:pt x="557" y="187"/>
                          <a:pt x="523" y="173"/>
                        </a:cubicBezTo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06" name="Freeform 271"/>
                  <p:cNvSpPr>
                    <a:spLocks/>
                  </p:cNvSpPr>
                  <p:nvPr/>
                </p:nvSpPr>
                <p:spPr bwMode="auto">
                  <a:xfrm>
                    <a:off x="8261267" y="1015494"/>
                    <a:ext cx="334966" cy="212734"/>
                  </a:xfrm>
                  <a:custGeom>
                    <a:avLst/>
                    <a:gdLst>
                      <a:gd name="T0" fmla="*/ 154 w 447"/>
                      <a:gd name="T1" fmla="*/ 0 h 284"/>
                      <a:gd name="T2" fmla="*/ 117 w 447"/>
                      <a:gd name="T3" fmla="*/ 67 h 284"/>
                      <a:gd name="T4" fmla="*/ 117 w 447"/>
                      <a:gd name="T5" fmla="*/ 67 h 284"/>
                      <a:gd name="T6" fmla="*/ 117 w 447"/>
                      <a:gd name="T7" fmla="*/ 67 h 284"/>
                      <a:gd name="T8" fmla="*/ 117 w 447"/>
                      <a:gd name="T9" fmla="*/ 67 h 284"/>
                      <a:gd name="T10" fmla="*/ 117 w 447"/>
                      <a:gd name="T11" fmla="*/ 68 h 284"/>
                      <a:gd name="T12" fmla="*/ 117 w 447"/>
                      <a:gd name="T13" fmla="*/ 68 h 284"/>
                      <a:gd name="T14" fmla="*/ 117 w 447"/>
                      <a:gd name="T15" fmla="*/ 69 h 284"/>
                      <a:gd name="T16" fmla="*/ 117 w 447"/>
                      <a:gd name="T17" fmla="*/ 69 h 284"/>
                      <a:gd name="T18" fmla="*/ 117 w 447"/>
                      <a:gd name="T19" fmla="*/ 70 h 284"/>
                      <a:gd name="T20" fmla="*/ 117 w 447"/>
                      <a:gd name="T21" fmla="*/ 70 h 284"/>
                      <a:gd name="T22" fmla="*/ 117 w 447"/>
                      <a:gd name="T23" fmla="*/ 71 h 284"/>
                      <a:gd name="T24" fmla="*/ 117 w 447"/>
                      <a:gd name="T25" fmla="*/ 71 h 284"/>
                      <a:gd name="T26" fmla="*/ 117 w 447"/>
                      <a:gd name="T27" fmla="*/ 71 h 284"/>
                      <a:gd name="T28" fmla="*/ 117 w 447"/>
                      <a:gd name="T29" fmla="*/ 72 h 284"/>
                      <a:gd name="T30" fmla="*/ 117 w 447"/>
                      <a:gd name="T31" fmla="*/ 72 h 284"/>
                      <a:gd name="T32" fmla="*/ 117 w 447"/>
                      <a:gd name="T33" fmla="*/ 72 h 284"/>
                      <a:gd name="T34" fmla="*/ 117 w 447"/>
                      <a:gd name="T35" fmla="*/ 73 h 284"/>
                      <a:gd name="T36" fmla="*/ 117 w 447"/>
                      <a:gd name="T37" fmla="*/ 73 h 284"/>
                      <a:gd name="T38" fmla="*/ 117 w 447"/>
                      <a:gd name="T39" fmla="*/ 74 h 284"/>
                      <a:gd name="T40" fmla="*/ 117 w 447"/>
                      <a:gd name="T41" fmla="*/ 74 h 284"/>
                      <a:gd name="T42" fmla="*/ 117 w 447"/>
                      <a:gd name="T43" fmla="*/ 75 h 284"/>
                      <a:gd name="T44" fmla="*/ 117 w 447"/>
                      <a:gd name="T45" fmla="*/ 75 h 284"/>
                      <a:gd name="T46" fmla="*/ 105 w 447"/>
                      <a:gd name="T47" fmla="*/ 74 h 284"/>
                      <a:gd name="T48" fmla="*/ 0 w 447"/>
                      <a:gd name="T49" fmla="*/ 179 h 284"/>
                      <a:gd name="T50" fmla="*/ 105 w 447"/>
                      <a:gd name="T51" fmla="*/ 284 h 284"/>
                      <a:gd name="T52" fmla="*/ 447 w 447"/>
                      <a:gd name="T53" fmla="*/ 284 h 284"/>
                      <a:gd name="T54" fmla="*/ 154 w 447"/>
                      <a:gd name="T55" fmla="*/ 0 h 2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</a:cxnLst>
                    <a:rect l="0" t="0" r="r" b="b"/>
                    <a:pathLst>
                      <a:path w="447" h="284">
                        <a:moveTo>
                          <a:pt x="154" y="0"/>
                        </a:moveTo>
                        <a:cubicBezTo>
                          <a:pt x="133" y="16"/>
                          <a:pt x="120" y="40"/>
                          <a:pt x="117" y="67"/>
                        </a:cubicBezTo>
                        <a:cubicBezTo>
                          <a:pt x="117" y="67"/>
                          <a:pt x="117" y="67"/>
                          <a:pt x="117" y="67"/>
                        </a:cubicBezTo>
                        <a:cubicBezTo>
                          <a:pt x="117" y="67"/>
                          <a:pt x="117" y="67"/>
                          <a:pt x="117" y="67"/>
                        </a:cubicBezTo>
                        <a:cubicBezTo>
                          <a:pt x="117" y="67"/>
                          <a:pt x="117" y="67"/>
                          <a:pt x="117" y="67"/>
                        </a:cubicBezTo>
                        <a:cubicBezTo>
                          <a:pt x="117" y="68"/>
                          <a:pt x="117" y="68"/>
                          <a:pt x="117" y="68"/>
                        </a:cubicBezTo>
                        <a:cubicBezTo>
                          <a:pt x="117" y="68"/>
                          <a:pt x="117" y="68"/>
                          <a:pt x="117" y="68"/>
                        </a:cubicBezTo>
                        <a:cubicBezTo>
                          <a:pt x="117" y="68"/>
                          <a:pt x="117" y="69"/>
                          <a:pt x="117" y="69"/>
                        </a:cubicBezTo>
                        <a:cubicBezTo>
                          <a:pt x="117" y="69"/>
                          <a:pt x="117" y="69"/>
                          <a:pt x="117" y="69"/>
                        </a:cubicBezTo>
                        <a:cubicBezTo>
                          <a:pt x="117" y="69"/>
                          <a:pt x="117" y="70"/>
                          <a:pt x="117" y="70"/>
                        </a:cubicBezTo>
                        <a:cubicBezTo>
                          <a:pt x="117" y="70"/>
                          <a:pt x="117" y="70"/>
                          <a:pt x="117" y="70"/>
                        </a:cubicBezTo>
                        <a:cubicBezTo>
                          <a:pt x="117" y="70"/>
                          <a:pt x="117" y="71"/>
                          <a:pt x="117" y="71"/>
                        </a:cubicBezTo>
                        <a:cubicBezTo>
                          <a:pt x="117" y="71"/>
                          <a:pt x="117" y="71"/>
                          <a:pt x="117" y="71"/>
                        </a:cubicBezTo>
                        <a:cubicBezTo>
                          <a:pt x="117" y="71"/>
                          <a:pt x="117" y="71"/>
                          <a:pt x="117" y="71"/>
                        </a:cubicBezTo>
                        <a:cubicBezTo>
                          <a:pt x="117" y="72"/>
                          <a:pt x="117" y="72"/>
                          <a:pt x="117" y="72"/>
                        </a:cubicBezTo>
                        <a:cubicBezTo>
                          <a:pt x="117" y="72"/>
                          <a:pt x="117" y="72"/>
                          <a:pt x="117" y="72"/>
                        </a:cubicBezTo>
                        <a:cubicBezTo>
                          <a:pt x="117" y="72"/>
                          <a:pt x="117" y="72"/>
                          <a:pt x="117" y="72"/>
                        </a:cubicBezTo>
                        <a:cubicBezTo>
                          <a:pt x="117" y="73"/>
                          <a:pt x="117" y="73"/>
                          <a:pt x="117" y="73"/>
                        </a:cubicBezTo>
                        <a:cubicBezTo>
                          <a:pt x="117" y="73"/>
                          <a:pt x="117" y="73"/>
                          <a:pt x="117" y="73"/>
                        </a:cubicBezTo>
                        <a:cubicBezTo>
                          <a:pt x="117" y="73"/>
                          <a:pt x="117" y="73"/>
                          <a:pt x="117" y="74"/>
                        </a:cubicBezTo>
                        <a:cubicBezTo>
                          <a:pt x="117" y="74"/>
                          <a:pt x="117" y="74"/>
                          <a:pt x="117" y="74"/>
                        </a:cubicBezTo>
                        <a:cubicBezTo>
                          <a:pt x="117" y="75"/>
                          <a:pt x="117" y="75"/>
                          <a:pt x="117" y="75"/>
                        </a:cubicBezTo>
                        <a:cubicBezTo>
                          <a:pt x="117" y="75"/>
                          <a:pt x="117" y="75"/>
                          <a:pt x="117" y="75"/>
                        </a:cubicBezTo>
                        <a:cubicBezTo>
                          <a:pt x="113" y="74"/>
                          <a:pt x="109" y="74"/>
                          <a:pt x="105" y="74"/>
                        </a:cubicBezTo>
                        <a:cubicBezTo>
                          <a:pt x="47" y="74"/>
                          <a:pt x="0" y="121"/>
                          <a:pt x="0" y="179"/>
                        </a:cubicBezTo>
                        <a:cubicBezTo>
                          <a:pt x="0" y="237"/>
                          <a:pt x="47" y="284"/>
                          <a:pt x="105" y="284"/>
                        </a:cubicBezTo>
                        <a:cubicBezTo>
                          <a:pt x="447" y="284"/>
                          <a:pt x="447" y="284"/>
                          <a:pt x="447" y="284"/>
                        </a:cubicBezTo>
                        <a:cubicBezTo>
                          <a:pt x="154" y="0"/>
                          <a:pt x="154" y="0"/>
                          <a:pt x="154" y="0"/>
                        </a:cubicBezTo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</p:grpSp>
          </p:grpSp>
          <p:sp>
            <p:nvSpPr>
              <p:cNvPr id="1056" name="Freeform 327"/>
              <p:cNvSpPr>
                <a:spLocks/>
              </p:cNvSpPr>
              <p:nvPr/>
            </p:nvSpPr>
            <p:spPr bwMode="auto">
              <a:xfrm>
                <a:off x="4189519" y="2351025"/>
                <a:ext cx="97571" cy="176758"/>
              </a:xfrm>
              <a:custGeom>
                <a:avLst/>
                <a:gdLst>
                  <a:gd name="T0" fmla="*/ 49 w 49"/>
                  <a:gd name="T1" fmla="*/ 58 h 89"/>
                  <a:gd name="T2" fmla="*/ 49 w 49"/>
                  <a:gd name="T3" fmla="*/ 63 h 89"/>
                  <a:gd name="T4" fmla="*/ 46 w 49"/>
                  <a:gd name="T5" fmla="*/ 69 h 89"/>
                  <a:gd name="T6" fmla="*/ 40 w 49"/>
                  <a:gd name="T7" fmla="*/ 74 h 89"/>
                  <a:gd name="T8" fmla="*/ 32 w 49"/>
                  <a:gd name="T9" fmla="*/ 78 h 89"/>
                  <a:gd name="T10" fmla="*/ 32 w 49"/>
                  <a:gd name="T11" fmla="*/ 89 h 89"/>
                  <a:gd name="T12" fmla="*/ 20 w 49"/>
                  <a:gd name="T13" fmla="*/ 89 h 89"/>
                  <a:gd name="T14" fmla="*/ 20 w 49"/>
                  <a:gd name="T15" fmla="*/ 79 h 89"/>
                  <a:gd name="T16" fmla="*/ 14 w 49"/>
                  <a:gd name="T17" fmla="*/ 79 h 89"/>
                  <a:gd name="T18" fmla="*/ 9 w 49"/>
                  <a:gd name="T19" fmla="*/ 78 h 89"/>
                  <a:gd name="T20" fmla="*/ 4 w 49"/>
                  <a:gd name="T21" fmla="*/ 77 h 89"/>
                  <a:gd name="T22" fmla="*/ 1 w 49"/>
                  <a:gd name="T23" fmla="*/ 75 h 89"/>
                  <a:gd name="T24" fmla="*/ 1 w 49"/>
                  <a:gd name="T25" fmla="*/ 56 h 89"/>
                  <a:gd name="T26" fmla="*/ 11 w 49"/>
                  <a:gd name="T27" fmla="*/ 62 h 89"/>
                  <a:gd name="T28" fmla="*/ 21 w 49"/>
                  <a:gd name="T29" fmla="*/ 64 h 89"/>
                  <a:gd name="T30" fmla="*/ 24 w 49"/>
                  <a:gd name="T31" fmla="*/ 64 h 89"/>
                  <a:gd name="T32" fmla="*/ 26 w 49"/>
                  <a:gd name="T33" fmla="*/ 62 h 89"/>
                  <a:gd name="T34" fmla="*/ 27 w 49"/>
                  <a:gd name="T35" fmla="*/ 61 h 89"/>
                  <a:gd name="T36" fmla="*/ 27 w 49"/>
                  <a:gd name="T37" fmla="*/ 59 h 89"/>
                  <a:gd name="T38" fmla="*/ 27 w 49"/>
                  <a:gd name="T39" fmla="*/ 57 h 89"/>
                  <a:gd name="T40" fmla="*/ 25 w 49"/>
                  <a:gd name="T41" fmla="*/ 55 h 89"/>
                  <a:gd name="T42" fmla="*/ 22 w 49"/>
                  <a:gd name="T43" fmla="*/ 53 h 89"/>
                  <a:gd name="T44" fmla="*/ 16 w 49"/>
                  <a:gd name="T45" fmla="*/ 51 h 89"/>
                  <a:gd name="T46" fmla="*/ 9 w 49"/>
                  <a:gd name="T47" fmla="*/ 47 h 89"/>
                  <a:gd name="T48" fmla="*/ 4 w 49"/>
                  <a:gd name="T49" fmla="*/ 42 h 89"/>
                  <a:gd name="T50" fmla="*/ 1 w 49"/>
                  <a:gd name="T51" fmla="*/ 37 h 89"/>
                  <a:gd name="T52" fmla="*/ 0 w 49"/>
                  <a:gd name="T53" fmla="*/ 30 h 89"/>
                  <a:gd name="T54" fmla="*/ 2 w 49"/>
                  <a:gd name="T55" fmla="*/ 23 h 89"/>
                  <a:gd name="T56" fmla="*/ 6 w 49"/>
                  <a:gd name="T57" fmla="*/ 17 h 89"/>
                  <a:gd name="T58" fmla="*/ 12 w 49"/>
                  <a:gd name="T59" fmla="*/ 12 h 89"/>
                  <a:gd name="T60" fmla="*/ 20 w 49"/>
                  <a:gd name="T61" fmla="*/ 9 h 89"/>
                  <a:gd name="T62" fmla="*/ 20 w 49"/>
                  <a:gd name="T63" fmla="*/ 0 h 89"/>
                  <a:gd name="T64" fmla="*/ 32 w 49"/>
                  <a:gd name="T65" fmla="*/ 0 h 89"/>
                  <a:gd name="T66" fmla="*/ 32 w 49"/>
                  <a:gd name="T67" fmla="*/ 9 h 89"/>
                  <a:gd name="T68" fmla="*/ 40 w 49"/>
                  <a:gd name="T69" fmla="*/ 10 h 89"/>
                  <a:gd name="T70" fmla="*/ 46 w 49"/>
                  <a:gd name="T71" fmla="*/ 11 h 89"/>
                  <a:gd name="T72" fmla="*/ 46 w 49"/>
                  <a:gd name="T73" fmla="*/ 29 h 89"/>
                  <a:gd name="T74" fmla="*/ 42 w 49"/>
                  <a:gd name="T75" fmla="*/ 27 h 89"/>
                  <a:gd name="T76" fmla="*/ 38 w 49"/>
                  <a:gd name="T77" fmla="*/ 26 h 89"/>
                  <a:gd name="T78" fmla="*/ 33 w 49"/>
                  <a:gd name="T79" fmla="*/ 24 h 89"/>
                  <a:gd name="T80" fmla="*/ 28 w 49"/>
                  <a:gd name="T81" fmla="*/ 24 h 89"/>
                  <a:gd name="T82" fmla="*/ 25 w 49"/>
                  <a:gd name="T83" fmla="*/ 24 h 89"/>
                  <a:gd name="T84" fmla="*/ 23 w 49"/>
                  <a:gd name="T85" fmla="*/ 25 h 89"/>
                  <a:gd name="T86" fmla="*/ 22 w 49"/>
                  <a:gd name="T87" fmla="*/ 27 h 89"/>
                  <a:gd name="T88" fmla="*/ 22 w 49"/>
                  <a:gd name="T89" fmla="*/ 28 h 89"/>
                  <a:gd name="T90" fmla="*/ 22 w 49"/>
                  <a:gd name="T91" fmla="*/ 30 h 89"/>
                  <a:gd name="T92" fmla="*/ 23 w 49"/>
                  <a:gd name="T93" fmla="*/ 32 h 89"/>
                  <a:gd name="T94" fmla="*/ 26 w 49"/>
                  <a:gd name="T95" fmla="*/ 34 h 89"/>
                  <a:gd name="T96" fmla="*/ 30 w 49"/>
                  <a:gd name="T97" fmla="*/ 36 h 89"/>
                  <a:gd name="T98" fmla="*/ 39 w 49"/>
                  <a:gd name="T99" fmla="*/ 41 h 89"/>
                  <a:gd name="T100" fmla="*/ 45 w 49"/>
                  <a:gd name="T101" fmla="*/ 46 h 89"/>
                  <a:gd name="T102" fmla="*/ 48 w 49"/>
                  <a:gd name="T103" fmla="*/ 51 h 89"/>
                  <a:gd name="T104" fmla="*/ 49 w 49"/>
                  <a:gd name="T105" fmla="*/ 58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9" h="89">
                    <a:moveTo>
                      <a:pt x="49" y="58"/>
                    </a:moveTo>
                    <a:cubicBezTo>
                      <a:pt x="49" y="59"/>
                      <a:pt x="49" y="61"/>
                      <a:pt x="49" y="63"/>
                    </a:cubicBezTo>
                    <a:cubicBezTo>
                      <a:pt x="48" y="65"/>
                      <a:pt x="47" y="67"/>
                      <a:pt x="46" y="69"/>
                    </a:cubicBezTo>
                    <a:cubicBezTo>
                      <a:pt x="44" y="71"/>
                      <a:pt x="43" y="72"/>
                      <a:pt x="40" y="74"/>
                    </a:cubicBezTo>
                    <a:cubicBezTo>
                      <a:pt x="38" y="76"/>
                      <a:pt x="35" y="77"/>
                      <a:pt x="32" y="78"/>
                    </a:cubicBezTo>
                    <a:cubicBezTo>
                      <a:pt x="32" y="89"/>
                      <a:pt x="32" y="89"/>
                      <a:pt x="32" y="89"/>
                    </a:cubicBezTo>
                    <a:cubicBezTo>
                      <a:pt x="20" y="89"/>
                      <a:pt x="20" y="89"/>
                      <a:pt x="20" y="89"/>
                    </a:cubicBezTo>
                    <a:cubicBezTo>
                      <a:pt x="20" y="79"/>
                      <a:pt x="20" y="79"/>
                      <a:pt x="20" y="79"/>
                    </a:cubicBezTo>
                    <a:cubicBezTo>
                      <a:pt x="18" y="79"/>
                      <a:pt x="16" y="79"/>
                      <a:pt x="14" y="79"/>
                    </a:cubicBezTo>
                    <a:cubicBezTo>
                      <a:pt x="12" y="79"/>
                      <a:pt x="11" y="78"/>
                      <a:pt x="9" y="78"/>
                    </a:cubicBezTo>
                    <a:cubicBezTo>
                      <a:pt x="7" y="77"/>
                      <a:pt x="6" y="77"/>
                      <a:pt x="4" y="77"/>
                    </a:cubicBezTo>
                    <a:cubicBezTo>
                      <a:pt x="3" y="76"/>
                      <a:pt x="2" y="76"/>
                      <a:pt x="1" y="75"/>
                    </a:cubicBezTo>
                    <a:cubicBezTo>
                      <a:pt x="1" y="56"/>
                      <a:pt x="1" y="56"/>
                      <a:pt x="1" y="56"/>
                    </a:cubicBezTo>
                    <a:cubicBezTo>
                      <a:pt x="4" y="59"/>
                      <a:pt x="8" y="61"/>
                      <a:pt x="11" y="62"/>
                    </a:cubicBezTo>
                    <a:cubicBezTo>
                      <a:pt x="14" y="63"/>
                      <a:pt x="18" y="64"/>
                      <a:pt x="21" y="64"/>
                    </a:cubicBezTo>
                    <a:cubicBezTo>
                      <a:pt x="22" y="64"/>
                      <a:pt x="23" y="64"/>
                      <a:pt x="24" y="64"/>
                    </a:cubicBezTo>
                    <a:cubicBezTo>
                      <a:pt x="25" y="63"/>
                      <a:pt x="25" y="63"/>
                      <a:pt x="26" y="62"/>
                    </a:cubicBezTo>
                    <a:cubicBezTo>
                      <a:pt x="26" y="62"/>
                      <a:pt x="26" y="61"/>
                      <a:pt x="27" y="61"/>
                    </a:cubicBezTo>
                    <a:cubicBezTo>
                      <a:pt x="27" y="60"/>
                      <a:pt x="27" y="60"/>
                      <a:pt x="27" y="59"/>
                    </a:cubicBezTo>
                    <a:cubicBezTo>
                      <a:pt x="27" y="58"/>
                      <a:pt x="27" y="58"/>
                      <a:pt x="27" y="57"/>
                    </a:cubicBezTo>
                    <a:cubicBezTo>
                      <a:pt x="26" y="57"/>
                      <a:pt x="26" y="56"/>
                      <a:pt x="25" y="55"/>
                    </a:cubicBezTo>
                    <a:cubicBezTo>
                      <a:pt x="25" y="55"/>
                      <a:pt x="23" y="54"/>
                      <a:pt x="22" y="53"/>
                    </a:cubicBezTo>
                    <a:cubicBezTo>
                      <a:pt x="21" y="53"/>
                      <a:pt x="19" y="52"/>
                      <a:pt x="16" y="51"/>
                    </a:cubicBezTo>
                    <a:cubicBezTo>
                      <a:pt x="13" y="50"/>
                      <a:pt x="11" y="48"/>
                      <a:pt x="9" y="47"/>
                    </a:cubicBezTo>
                    <a:cubicBezTo>
                      <a:pt x="7" y="45"/>
                      <a:pt x="5" y="44"/>
                      <a:pt x="4" y="42"/>
                    </a:cubicBezTo>
                    <a:cubicBezTo>
                      <a:pt x="3" y="40"/>
                      <a:pt x="2" y="39"/>
                      <a:pt x="1" y="37"/>
                    </a:cubicBezTo>
                    <a:cubicBezTo>
                      <a:pt x="1" y="35"/>
                      <a:pt x="0" y="33"/>
                      <a:pt x="0" y="30"/>
                    </a:cubicBezTo>
                    <a:cubicBezTo>
                      <a:pt x="0" y="28"/>
                      <a:pt x="1" y="25"/>
                      <a:pt x="2" y="23"/>
                    </a:cubicBezTo>
                    <a:cubicBezTo>
                      <a:pt x="3" y="20"/>
                      <a:pt x="4" y="18"/>
                      <a:pt x="6" y="17"/>
                    </a:cubicBezTo>
                    <a:cubicBezTo>
                      <a:pt x="7" y="15"/>
                      <a:pt x="9" y="13"/>
                      <a:pt x="12" y="12"/>
                    </a:cubicBezTo>
                    <a:cubicBezTo>
                      <a:pt x="14" y="11"/>
                      <a:pt x="17" y="10"/>
                      <a:pt x="20" y="9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2" y="9"/>
                      <a:pt x="32" y="9"/>
                      <a:pt x="32" y="9"/>
                    </a:cubicBezTo>
                    <a:cubicBezTo>
                      <a:pt x="35" y="9"/>
                      <a:pt x="37" y="9"/>
                      <a:pt x="40" y="10"/>
                    </a:cubicBezTo>
                    <a:cubicBezTo>
                      <a:pt x="42" y="10"/>
                      <a:pt x="44" y="11"/>
                      <a:pt x="46" y="11"/>
                    </a:cubicBezTo>
                    <a:cubicBezTo>
                      <a:pt x="46" y="29"/>
                      <a:pt x="46" y="29"/>
                      <a:pt x="46" y="29"/>
                    </a:cubicBezTo>
                    <a:cubicBezTo>
                      <a:pt x="45" y="29"/>
                      <a:pt x="44" y="28"/>
                      <a:pt x="42" y="27"/>
                    </a:cubicBezTo>
                    <a:cubicBezTo>
                      <a:pt x="41" y="27"/>
                      <a:pt x="40" y="26"/>
                      <a:pt x="38" y="26"/>
                    </a:cubicBezTo>
                    <a:cubicBezTo>
                      <a:pt x="36" y="25"/>
                      <a:pt x="35" y="25"/>
                      <a:pt x="33" y="24"/>
                    </a:cubicBezTo>
                    <a:cubicBezTo>
                      <a:pt x="31" y="24"/>
                      <a:pt x="30" y="24"/>
                      <a:pt x="28" y="24"/>
                    </a:cubicBezTo>
                    <a:cubicBezTo>
                      <a:pt x="27" y="24"/>
                      <a:pt x="26" y="24"/>
                      <a:pt x="25" y="24"/>
                    </a:cubicBezTo>
                    <a:cubicBezTo>
                      <a:pt x="25" y="25"/>
                      <a:pt x="24" y="25"/>
                      <a:pt x="23" y="25"/>
                    </a:cubicBezTo>
                    <a:cubicBezTo>
                      <a:pt x="23" y="26"/>
                      <a:pt x="22" y="26"/>
                      <a:pt x="22" y="27"/>
                    </a:cubicBezTo>
                    <a:cubicBezTo>
                      <a:pt x="22" y="27"/>
                      <a:pt x="22" y="28"/>
                      <a:pt x="22" y="28"/>
                    </a:cubicBezTo>
                    <a:cubicBezTo>
                      <a:pt x="22" y="29"/>
                      <a:pt x="22" y="30"/>
                      <a:pt x="22" y="30"/>
                    </a:cubicBezTo>
                    <a:cubicBezTo>
                      <a:pt x="22" y="31"/>
                      <a:pt x="23" y="31"/>
                      <a:pt x="23" y="32"/>
                    </a:cubicBezTo>
                    <a:cubicBezTo>
                      <a:pt x="24" y="32"/>
                      <a:pt x="24" y="33"/>
                      <a:pt x="26" y="34"/>
                    </a:cubicBezTo>
                    <a:cubicBezTo>
                      <a:pt x="27" y="34"/>
                      <a:pt x="28" y="35"/>
                      <a:pt x="30" y="36"/>
                    </a:cubicBezTo>
                    <a:cubicBezTo>
                      <a:pt x="34" y="38"/>
                      <a:pt x="37" y="39"/>
                      <a:pt x="39" y="41"/>
                    </a:cubicBezTo>
                    <a:cubicBezTo>
                      <a:pt x="42" y="42"/>
                      <a:pt x="44" y="44"/>
                      <a:pt x="45" y="46"/>
                    </a:cubicBezTo>
                    <a:cubicBezTo>
                      <a:pt x="47" y="48"/>
                      <a:pt x="48" y="49"/>
                      <a:pt x="48" y="51"/>
                    </a:cubicBezTo>
                    <a:cubicBezTo>
                      <a:pt x="49" y="53"/>
                      <a:pt x="49" y="55"/>
                      <a:pt x="49" y="58"/>
                    </a:cubicBezTo>
                    <a:close/>
                  </a:path>
                </a:pathLst>
              </a:custGeom>
              <a:solidFill>
                <a:srgbClr val="33333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052" name="Freeform 9"/>
            <p:cNvSpPr>
              <a:spLocks noEditPoints="1"/>
            </p:cNvSpPr>
            <p:nvPr/>
          </p:nvSpPr>
          <p:spPr bwMode="black">
            <a:xfrm>
              <a:off x="9777443" y="2759629"/>
              <a:ext cx="640080" cy="640080"/>
            </a:xfrm>
            <a:custGeom>
              <a:avLst/>
              <a:gdLst>
                <a:gd name="T0" fmla="*/ 88 w 149"/>
                <a:gd name="T1" fmla="*/ 67 h 149"/>
                <a:gd name="T2" fmla="*/ 65 w 149"/>
                <a:gd name="T3" fmla="*/ 46 h 149"/>
                <a:gd name="T4" fmla="*/ 84 w 149"/>
                <a:gd name="T5" fmla="*/ 46 h 149"/>
                <a:gd name="T6" fmla="*/ 115 w 149"/>
                <a:gd name="T7" fmla="*/ 75 h 149"/>
                <a:gd name="T8" fmla="*/ 84 w 149"/>
                <a:gd name="T9" fmla="*/ 104 h 149"/>
                <a:gd name="T10" fmla="*/ 65 w 149"/>
                <a:gd name="T11" fmla="*/ 104 h 149"/>
                <a:gd name="T12" fmla="*/ 88 w 149"/>
                <a:gd name="T13" fmla="*/ 82 h 149"/>
                <a:gd name="T14" fmla="*/ 36 w 149"/>
                <a:gd name="T15" fmla="*/ 82 h 149"/>
                <a:gd name="T16" fmla="*/ 36 w 149"/>
                <a:gd name="T17" fmla="*/ 67 h 149"/>
                <a:gd name="T18" fmla="*/ 88 w 149"/>
                <a:gd name="T19" fmla="*/ 67 h 149"/>
                <a:gd name="T20" fmla="*/ 74 w 149"/>
                <a:gd name="T21" fmla="*/ 9 h 149"/>
                <a:gd name="T22" fmla="*/ 140 w 149"/>
                <a:gd name="T23" fmla="*/ 75 h 149"/>
                <a:gd name="T24" fmla="*/ 74 w 149"/>
                <a:gd name="T25" fmla="*/ 140 h 149"/>
                <a:gd name="T26" fmla="*/ 9 w 149"/>
                <a:gd name="T27" fmla="*/ 75 h 149"/>
                <a:gd name="T28" fmla="*/ 74 w 149"/>
                <a:gd name="T29" fmla="*/ 9 h 149"/>
                <a:gd name="T30" fmla="*/ 74 w 149"/>
                <a:gd name="T31" fmla="*/ 0 h 149"/>
                <a:gd name="T32" fmla="*/ 0 w 149"/>
                <a:gd name="T33" fmla="*/ 75 h 149"/>
                <a:gd name="T34" fmla="*/ 74 w 149"/>
                <a:gd name="T35" fmla="*/ 149 h 149"/>
                <a:gd name="T36" fmla="*/ 149 w 149"/>
                <a:gd name="T37" fmla="*/ 75 h 149"/>
                <a:gd name="T38" fmla="*/ 74 w 149"/>
                <a:gd name="T3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9" h="149">
                  <a:moveTo>
                    <a:pt x="88" y="67"/>
                  </a:moveTo>
                  <a:cubicBezTo>
                    <a:pt x="65" y="46"/>
                    <a:pt x="65" y="46"/>
                    <a:pt x="65" y="46"/>
                  </a:cubicBezTo>
                  <a:cubicBezTo>
                    <a:pt x="84" y="46"/>
                    <a:pt x="84" y="46"/>
                    <a:pt x="84" y="46"/>
                  </a:cubicBezTo>
                  <a:cubicBezTo>
                    <a:pt x="115" y="75"/>
                    <a:pt x="115" y="75"/>
                    <a:pt x="115" y="75"/>
                  </a:cubicBezTo>
                  <a:cubicBezTo>
                    <a:pt x="84" y="104"/>
                    <a:pt x="84" y="104"/>
                    <a:pt x="84" y="104"/>
                  </a:cubicBezTo>
                  <a:cubicBezTo>
                    <a:pt x="65" y="104"/>
                    <a:pt x="65" y="104"/>
                    <a:pt x="65" y="104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6" y="67"/>
                    <a:pt x="36" y="67"/>
                    <a:pt x="36" y="67"/>
                  </a:cubicBezTo>
                  <a:lnTo>
                    <a:pt x="88" y="67"/>
                  </a:lnTo>
                  <a:close/>
                  <a:moveTo>
                    <a:pt x="74" y="9"/>
                  </a:moveTo>
                  <a:cubicBezTo>
                    <a:pt x="110" y="9"/>
                    <a:pt x="140" y="39"/>
                    <a:pt x="140" y="75"/>
                  </a:cubicBezTo>
                  <a:cubicBezTo>
                    <a:pt x="140" y="111"/>
                    <a:pt x="110" y="140"/>
                    <a:pt x="74" y="140"/>
                  </a:cubicBezTo>
                  <a:cubicBezTo>
                    <a:pt x="38" y="140"/>
                    <a:pt x="9" y="111"/>
                    <a:pt x="9" y="75"/>
                  </a:cubicBezTo>
                  <a:cubicBezTo>
                    <a:pt x="9" y="39"/>
                    <a:pt x="38" y="9"/>
                    <a:pt x="74" y="9"/>
                  </a:cubicBezTo>
                  <a:moveTo>
                    <a:pt x="74" y="0"/>
                  </a:moveTo>
                  <a:cubicBezTo>
                    <a:pt x="33" y="0"/>
                    <a:pt x="0" y="33"/>
                    <a:pt x="0" y="75"/>
                  </a:cubicBezTo>
                  <a:cubicBezTo>
                    <a:pt x="0" y="116"/>
                    <a:pt x="33" y="149"/>
                    <a:pt x="74" y="149"/>
                  </a:cubicBezTo>
                  <a:cubicBezTo>
                    <a:pt x="116" y="149"/>
                    <a:pt x="149" y="116"/>
                    <a:pt x="149" y="75"/>
                  </a:cubicBezTo>
                  <a:cubicBezTo>
                    <a:pt x="149" y="33"/>
                    <a:pt x="116" y="0"/>
                    <a:pt x="74" y="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8" tIns="34293" rIns="68588" bIns="34293" numCol="1" anchor="t" anchorCtr="0" compatLnSpc="1">
              <a:prstTxWarp prst="textNoShape">
                <a:avLst/>
              </a:prstTxWarp>
            </a:bodyPr>
            <a:lstStyle/>
            <a:p>
              <a:endParaRPr lang="en-US" sz="1324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8353081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2" name="Group 71"/>
          <p:cNvGrpSpPr/>
          <p:nvPr/>
        </p:nvGrpSpPr>
        <p:grpSpPr>
          <a:xfrm>
            <a:off x="3850256" y="1255040"/>
            <a:ext cx="2617906" cy="5162976"/>
            <a:chOff x="3454016" y="1559840"/>
            <a:chExt cx="2617906" cy="5162976"/>
          </a:xfrm>
        </p:grpSpPr>
        <p:sp>
          <p:nvSpPr>
            <p:cNvPr id="73" name="Rectangle 72"/>
            <p:cNvSpPr/>
            <p:nvPr/>
          </p:nvSpPr>
          <p:spPr>
            <a:xfrm>
              <a:off x="3455467" y="6445817"/>
              <a:ext cx="2518173" cy="276999"/>
            </a:xfrm>
            <a:prstGeom prst="rect">
              <a:avLst/>
            </a:prstGeom>
          </p:spPr>
          <p:txBody>
            <a:bodyPr wrap="square" lIns="0" tIns="0" rIns="0" bIns="0" anchor="b">
              <a:spAutoFit/>
            </a:bodyPr>
            <a:lstStyle/>
            <a:p>
              <a:pPr marL="0" marR="0" lvl="0" indent="0" defTabSz="932742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Segoe UI"/>
                </a:rPr>
                <a:t>MICROSOFT: Lync usage and adoption survey, 2014</a:t>
              </a:r>
            </a:p>
          </p:txBody>
        </p:sp>
        <p:sp>
          <p:nvSpPr>
            <p:cNvPr id="74" name="Rectangle 7"/>
            <p:cNvSpPr/>
            <p:nvPr/>
          </p:nvSpPr>
          <p:spPr>
            <a:xfrm>
              <a:off x="3455467" y="4658408"/>
              <a:ext cx="2616455" cy="1541961"/>
            </a:xfrm>
            <a:prstGeom prst="rect">
              <a:avLst/>
            </a:prstGeom>
          </p:spPr>
          <p:txBody>
            <a:bodyPr wrap="square" lIns="0" tIns="146304" rIns="0" bIns="146304">
              <a:spAutoFit/>
            </a:bodyPr>
            <a:lstStyle/>
            <a:p>
              <a:pPr marL="0" marR="0" lvl="0" indent="0" defTabSz="932742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Segoe UI"/>
                </a:rPr>
                <a:t>surveyed information workers say they use web conferencing to meet at least once a week, sometimes daily</a:t>
              </a:r>
              <a:r>
                <a:rPr kumimoji="0" lang="en-US" sz="1800" b="0" i="0" u="none" strike="noStrike" kern="0" cap="none" spc="0" normalizeH="0" baseline="30000" noProof="0" dirty="0" smtClean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Segoe UI"/>
                </a:rPr>
                <a:t>1</a:t>
              </a: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3455467" y="3850734"/>
              <a:ext cx="1870643" cy="733769"/>
            </a:xfrm>
            <a:prstGeom prst="rect">
              <a:avLst/>
            </a:prstGeom>
            <a:noFill/>
          </p:spPr>
          <p:txBody>
            <a:bodyPr wrap="none" lIns="0" tIns="91440" rIns="146304" bIns="91440" rtlCol="0">
              <a:noAutofit/>
            </a:bodyPr>
            <a:lstStyle/>
            <a:p>
              <a:pPr marL="0" marR="0" lvl="0" indent="0" defTabSz="932742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4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Segoe UI"/>
                </a:rPr>
                <a:t>4</a:t>
              </a:r>
              <a:r>
                <a:rPr kumimoji="0" lang="en-US" sz="4800" b="0" i="0" u="none" strike="noStrike" kern="0" cap="none" spc="0" normalizeH="0" baseline="18000" noProof="0" dirty="0" smtClean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Segoe UI"/>
                </a:rPr>
                <a:t> of </a:t>
              </a:r>
              <a:r>
                <a:rPr kumimoji="0" lang="en-US" sz="54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Segoe UI"/>
                </a:rPr>
                <a:t>5</a:t>
              </a:r>
              <a:endParaRPr kumimoji="0" 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egoe UI"/>
              </a:endParaRPr>
            </a:p>
          </p:txBody>
        </p:sp>
        <p:grpSp>
          <p:nvGrpSpPr>
            <p:cNvPr id="76" name="Group 75"/>
            <p:cNvGrpSpPr/>
            <p:nvPr/>
          </p:nvGrpSpPr>
          <p:grpSpPr>
            <a:xfrm>
              <a:off x="3454016" y="1559840"/>
              <a:ext cx="2103120" cy="2103120"/>
              <a:chOff x="8047356" y="1211287"/>
              <a:chExt cx="2659063" cy="2659064"/>
            </a:xfrm>
          </p:grpSpPr>
          <p:sp>
            <p:nvSpPr>
              <p:cNvPr id="77" name="Oval 5"/>
              <p:cNvSpPr>
                <a:spLocks noChangeArrowheads="1"/>
              </p:cNvSpPr>
              <p:nvPr/>
            </p:nvSpPr>
            <p:spPr bwMode="auto">
              <a:xfrm>
                <a:off x="8047356" y="1211287"/>
                <a:ext cx="2659063" cy="2659064"/>
              </a:xfrm>
              <a:prstGeom prst="ellipse">
                <a:avLst/>
              </a:prstGeom>
              <a:solidFill>
                <a:srgbClr val="00A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274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grpSp>
            <p:nvGrpSpPr>
              <p:cNvPr id="78" name="Group 77"/>
              <p:cNvGrpSpPr>
                <a:grpSpLocks noChangeAspect="1"/>
              </p:cNvGrpSpPr>
              <p:nvPr/>
            </p:nvGrpSpPr>
            <p:grpSpPr>
              <a:xfrm>
                <a:off x="8690834" y="1946459"/>
                <a:ext cx="1372106" cy="1188720"/>
                <a:chOff x="8869968" y="1682294"/>
                <a:chExt cx="1567239" cy="1357773"/>
              </a:xfrm>
            </p:grpSpPr>
            <p:sp>
              <p:nvSpPr>
                <p:cNvPr id="79" name="Freeform 78"/>
                <p:cNvSpPr>
                  <a:spLocks noChangeAspect="1"/>
                </p:cNvSpPr>
                <p:nvPr/>
              </p:nvSpPr>
              <p:spPr bwMode="black">
                <a:xfrm flipH="1">
                  <a:off x="8869968" y="2034238"/>
                  <a:ext cx="1567239" cy="1005829"/>
                </a:xfrm>
                <a:custGeom>
                  <a:avLst/>
                  <a:gdLst>
                    <a:gd name="connsiteX0" fmla="*/ 4635324 w 4635324"/>
                    <a:gd name="connsiteY0" fmla="*/ 2786728 h 2974887"/>
                    <a:gd name="connsiteX1" fmla="*/ 0 w 4635324"/>
                    <a:gd name="connsiteY1" fmla="*/ 2786728 h 2974887"/>
                    <a:gd name="connsiteX2" fmla="*/ 0 w 4635324"/>
                    <a:gd name="connsiteY2" fmla="*/ 2813608 h 2974887"/>
                    <a:gd name="connsiteX3" fmla="*/ 185413 w 4635324"/>
                    <a:gd name="connsiteY3" fmla="*/ 2974887 h 2974887"/>
                    <a:gd name="connsiteX4" fmla="*/ 4449911 w 4635324"/>
                    <a:gd name="connsiteY4" fmla="*/ 2974887 h 2974887"/>
                    <a:gd name="connsiteX5" fmla="*/ 4635324 w 4635324"/>
                    <a:gd name="connsiteY5" fmla="*/ 2813608 h 2974887"/>
                    <a:gd name="connsiteX6" fmla="*/ 4635324 w 4635324"/>
                    <a:gd name="connsiteY6" fmla="*/ 2786728 h 2974887"/>
                    <a:gd name="connsiteX7" fmla="*/ 4005331 w 4635324"/>
                    <a:gd name="connsiteY7" fmla="*/ 205988 h 2974887"/>
                    <a:gd name="connsiteX8" fmla="*/ 4005331 w 4635324"/>
                    <a:gd name="connsiteY8" fmla="*/ 2473188 h 2974887"/>
                    <a:gd name="connsiteX9" fmla="*/ 630009 w 4635324"/>
                    <a:gd name="connsiteY9" fmla="*/ 2473188 h 2974887"/>
                    <a:gd name="connsiteX10" fmla="*/ 630009 w 4635324"/>
                    <a:gd name="connsiteY10" fmla="*/ 205988 h 2974887"/>
                    <a:gd name="connsiteX11" fmla="*/ 4115213 w 4635324"/>
                    <a:gd name="connsiteY11" fmla="*/ 0 h 2974887"/>
                    <a:gd name="connsiteX12" fmla="*/ 520123 w 4635324"/>
                    <a:gd name="connsiteY12" fmla="*/ 0 h 2974887"/>
                    <a:gd name="connsiteX13" fmla="*/ 391787 w 4635324"/>
                    <a:gd name="connsiteY13" fmla="*/ 128336 h 2974887"/>
                    <a:gd name="connsiteX14" fmla="*/ 391787 w 4635324"/>
                    <a:gd name="connsiteY14" fmla="*/ 2548645 h 2974887"/>
                    <a:gd name="connsiteX15" fmla="*/ 520123 w 4635324"/>
                    <a:gd name="connsiteY15" fmla="*/ 2676981 h 2974887"/>
                    <a:gd name="connsiteX16" fmla="*/ 4115213 w 4635324"/>
                    <a:gd name="connsiteY16" fmla="*/ 2676981 h 2974887"/>
                    <a:gd name="connsiteX17" fmla="*/ 4243549 w 4635324"/>
                    <a:gd name="connsiteY17" fmla="*/ 2548645 h 2974887"/>
                    <a:gd name="connsiteX18" fmla="*/ 4243549 w 4635324"/>
                    <a:gd name="connsiteY18" fmla="*/ 128336 h 2974887"/>
                    <a:gd name="connsiteX19" fmla="*/ 4115213 w 4635324"/>
                    <a:gd name="connsiteY19" fmla="*/ 0 h 29748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4635324" h="2974887">
                      <a:moveTo>
                        <a:pt x="4635324" y="2786728"/>
                      </a:moveTo>
                      <a:lnTo>
                        <a:pt x="0" y="2786728"/>
                      </a:lnTo>
                      <a:cubicBezTo>
                        <a:pt x="0" y="2813608"/>
                        <a:pt x="0" y="2813608"/>
                        <a:pt x="0" y="2813608"/>
                      </a:cubicBezTo>
                      <a:cubicBezTo>
                        <a:pt x="0" y="2894248"/>
                        <a:pt x="79463" y="2974887"/>
                        <a:pt x="185413" y="2974887"/>
                      </a:cubicBezTo>
                      <a:cubicBezTo>
                        <a:pt x="4449911" y="2974887"/>
                        <a:pt x="4449911" y="2974887"/>
                        <a:pt x="4449911" y="2974887"/>
                      </a:cubicBezTo>
                      <a:cubicBezTo>
                        <a:pt x="4555862" y="2974887"/>
                        <a:pt x="4635324" y="2894248"/>
                        <a:pt x="4635324" y="2813608"/>
                      </a:cubicBezTo>
                      <a:cubicBezTo>
                        <a:pt x="4635324" y="2786728"/>
                        <a:pt x="4635324" y="2786728"/>
                        <a:pt x="4635324" y="2786728"/>
                      </a:cubicBezTo>
                      <a:close/>
                      <a:moveTo>
                        <a:pt x="4005331" y="205988"/>
                      </a:moveTo>
                      <a:lnTo>
                        <a:pt x="4005331" y="2473188"/>
                      </a:lnTo>
                      <a:lnTo>
                        <a:pt x="630009" y="2473188"/>
                      </a:lnTo>
                      <a:lnTo>
                        <a:pt x="630009" y="205988"/>
                      </a:lnTo>
                      <a:close/>
                      <a:moveTo>
                        <a:pt x="4115213" y="0"/>
                      </a:moveTo>
                      <a:lnTo>
                        <a:pt x="520123" y="0"/>
                      </a:lnTo>
                      <a:cubicBezTo>
                        <a:pt x="449244" y="0"/>
                        <a:pt x="391787" y="57457"/>
                        <a:pt x="391787" y="128336"/>
                      </a:cubicBezTo>
                      <a:lnTo>
                        <a:pt x="391787" y="2548645"/>
                      </a:lnTo>
                      <a:cubicBezTo>
                        <a:pt x="391787" y="2619524"/>
                        <a:pt x="449244" y="2676981"/>
                        <a:pt x="520123" y="2676981"/>
                      </a:cubicBezTo>
                      <a:lnTo>
                        <a:pt x="4115213" y="2676981"/>
                      </a:lnTo>
                      <a:cubicBezTo>
                        <a:pt x="4186092" y="2676981"/>
                        <a:pt x="4243549" y="2619524"/>
                        <a:pt x="4243549" y="2548645"/>
                      </a:cubicBezTo>
                      <a:lnTo>
                        <a:pt x="4243549" y="128336"/>
                      </a:lnTo>
                      <a:cubicBezTo>
                        <a:pt x="4243549" y="57457"/>
                        <a:pt x="4186092" y="0"/>
                        <a:pt x="4115213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3274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66371" algn="l" defTabSz="93274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32742" algn="l" defTabSz="93274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99113" algn="l" defTabSz="93274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65484" algn="l" defTabSz="93274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31856" algn="l" defTabSz="93274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98226" algn="l" defTabSz="93274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64597" algn="l" defTabSz="93274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730969" algn="l" defTabSz="93274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7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pic>
              <p:nvPicPr>
                <p:cNvPr id="80" name="Picture 79"/>
                <p:cNvPicPr>
                  <a:picLocks noChangeAspect="1"/>
                </p:cNvPicPr>
                <p:nvPr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9510041" y="1682294"/>
                  <a:ext cx="702419" cy="643883"/>
                </a:xfrm>
                <a:prstGeom prst="rect">
                  <a:avLst/>
                </a:prstGeom>
              </p:spPr>
            </p:pic>
          </p:grpSp>
        </p:grpSp>
      </p:grpSp>
      <p:grpSp>
        <p:nvGrpSpPr>
          <p:cNvPr id="81" name="Group 80"/>
          <p:cNvGrpSpPr/>
          <p:nvPr/>
        </p:nvGrpSpPr>
        <p:grpSpPr>
          <a:xfrm>
            <a:off x="817975" y="1255040"/>
            <a:ext cx="2871861" cy="5141173"/>
            <a:chOff x="421735" y="1559840"/>
            <a:chExt cx="2871861" cy="5141173"/>
          </a:xfrm>
        </p:grpSpPr>
        <p:sp>
          <p:nvSpPr>
            <p:cNvPr id="82" name="Rectangle 7"/>
            <p:cNvSpPr/>
            <p:nvPr/>
          </p:nvSpPr>
          <p:spPr>
            <a:xfrm>
              <a:off x="426181" y="4658408"/>
              <a:ext cx="2867415" cy="1541961"/>
            </a:xfrm>
            <a:prstGeom prst="rect">
              <a:avLst/>
            </a:prstGeom>
          </p:spPr>
          <p:txBody>
            <a:bodyPr wrap="square" lIns="0" tIns="146304" rIns="0" bIns="146304">
              <a:spAutoFit/>
            </a:bodyPr>
            <a:lstStyle/>
            <a:p>
              <a:pPr defTabSz="932742">
                <a:lnSpc>
                  <a:spcPct val="90000"/>
                </a:lnSpc>
              </a:pPr>
              <a:r>
                <a:rPr lang="en-US" dirty="0" smtClean="0">
                  <a:solidFill>
                    <a:schemeClr val="tx2"/>
                  </a:solidFill>
                  <a:latin typeface="Segoe UI"/>
                </a:rPr>
                <a:t>of </a:t>
              </a:r>
              <a:r>
                <a:rPr lang="en-US" dirty="0">
                  <a:solidFill>
                    <a:schemeClr val="tx2"/>
                  </a:solidFill>
                  <a:latin typeface="Segoe UI"/>
                </a:rPr>
                <a:t>people </a:t>
              </a:r>
              <a:r>
                <a:rPr lang="en-US" dirty="0" smtClean="0">
                  <a:solidFill>
                    <a:schemeClr val="tx2"/>
                  </a:solidFill>
                  <a:latin typeface="Segoe UI"/>
                </a:rPr>
                <a:t>that say they </a:t>
              </a:r>
              <a:r>
                <a:rPr lang="en-US" dirty="0">
                  <a:solidFill>
                    <a:schemeClr val="tx2"/>
                  </a:solidFill>
                  <a:latin typeface="Segoe UI"/>
                </a:rPr>
                <a:t>collaborate with </a:t>
              </a:r>
              <a:r>
                <a:rPr lang="en-US" dirty="0" smtClean="0">
                  <a:solidFill>
                    <a:schemeClr val="tx2"/>
                  </a:solidFill>
                  <a:latin typeface="Segoe UI"/>
                </a:rPr>
                <a:t>colleagues who </a:t>
              </a:r>
              <a:r>
                <a:rPr lang="en-US" dirty="0">
                  <a:solidFill>
                    <a:schemeClr val="tx2"/>
                  </a:solidFill>
                  <a:latin typeface="Segoe UI"/>
                </a:rPr>
                <a:t>are located somewhere else in the </a:t>
              </a:r>
              <a:r>
                <a:rPr lang="en-US" dirty="0" smtClean="0">
                  <a:solidFill>
                    <a:schemeClr val="tx2"/>
                  </a:solidFill>
                  <a:latin typeface="Segoe UI"/>
                </a:rPr>
                <a:t>world, on a daily basis</a:t>
              </a:r>
              <a:r>
                <a:rPr lang="en-US" baseline="30000" dirty="0">
                  <a:solidFill>
                    <a:schemeClr val="tx2"/>
                  </a:solidFill>
                  <a:latin typeface="Segoe UI"/>
                </a:rPr>
                <a:t>1</a:t>
              </a:r>
              <a:endParaRPr lang="en-US" dirty="0">
                <a:solidFill>
                  <a:schemeClr val="tx2"/>
                </a:solidFill>
                <a:latin typeface="Segoe UI"/>
              </a:endParaRPr>
            </a:p>
          </p:txBody>
        </p:sp>
        <p:sp>
          <p:nvSpPr>
            <p:cNvPr id="83" name="TextBox 82"/>
            <p:cNvSpPr txBox="1"/>
            <p:nvPr/>
          </p:nvSpPr>
          <p:spPr>
            <a:xfrm>
              <a:off x="426181" y="3850734"/>
              <a:ext cx="1880219" cy="737525"/>
            </a:xfrm>
            <a:prstGeom prst="rect">
              <a:avLst/>
            </a:prstGeom>
            <a:noFill/>
          </p:spPr>
          <p:txBody>
            <a:bodyPr wrap="none" lIns="0" tIns="91440" rIns="146304" bIns="91440" rtlCol="0">
              <a:noAutofit/>
            </a:bodyPr>
            <a:lstStyle/>
            <a:p>
              <a:pPr defTabSz="932742">
                <a:lnSpc>
                  <a:spcPct val="90000"/>
                </a:lnSpc>
                <a:spcAft>
                  <a:spcPts val="600"/>
                </a:spcAft>
              </a:pPr>
              <a:r>
                <a:rPr lang="en-US" sz="5400" dirty="0" smtClean="0">
                  <a:solidFill>
                    <a:schemeClr val="tx2"/>
                  </a:solidFill>
                  <a:latin typeface="Segoe UI"/>
                </a:rPr>
                <a:t>78</a:t>
              </a:r>
              <a:r>
                <a:rPr lang="en-US" sz="4800" baseline="18000" dirty="0" smtClean="0">
                  <a:solidFill>
                    <a:schemeClr val="tx2"/>
                  </a:solidFill>
                  <a:latin typeface="Segoe UI"/>
                </a:rPr>
                <a:t>%</a:t>
              </a:r>
              <a:endParaRPr lang="en-US" sz="4800" baseline="18000" dirty="0">
                <a:solidFill>
                  <a:schemeClr val="tx2"/>
                </a:solidFill>
                <a:latin typeface="Segoe UI"/>
              </a:endParaRPr>
            </a:p>
          </p:txBody>
        </p:sp>
        <p:sp>
          <p:nvSpPr>
            <p:cNvPr id="84" name="Rectangle 83"/>
            <p:cNvSpPr/>
            <p:nvPr/>
          </p:nvSpPr>
          <p:spPr>
            <a:xfrm>
              <a:off x="421735" y="6424014"/>
              <a:ext cx="2531064" cy="276999"/>
            </a:xfrm>
            <a:prstGeom prst="rect">
              <a:avLst/>
            </a:prstGeom>
          </p:spPr>
          <p:txBody>
            <a:bodyPr wrap="square" lIns="0" tIns="0" rIns="0" bIns="0" anchor="b">
              <a:spAutoFit/>
            </a:bodyPr>
            <a:lstStyle/>
            <a:p>
              <a:pPr defTabSz="932742">
                <a:lnSpc>
                  <a:spcPct val="90000"/>
                </a:lnSpc>
                <a:spcAft>
                  <a:spcPts val="300"/>
                </a:spcAft>
              </a:pPr>
              <a:r>
                <a:rPr lang="en-US" sz="1000" dirty="0" smtClean="0">
                  <a:solidFill>
                    <a:schemeClr val="tx2"/>
                  </a:solidFill>
                  <a:latin typeface="Segoe UI"/>
                </a:rPr>
                <a:t>MICROSOFT: Lync usage and adoption survey, 2014 </a:t>
              </a:r>
              <a:endParaRPr lang="en-US" sz="1000" dirty="0">
                <a:solidFill>
                  <a:schemeClr val="tx2"/>
                </a:solidFill>
                <a:latin typeface="Segoe UI"/>
              </a:endParaRPr>
            </a:p>
          </p:txBody>
        </p:sp>
        <p:grpSp>
          <p:nvGrpSpPr>
            <p:cNvPr id="85" name="Group 84"/>
            <p:cNvGrpSpPr/>
            <p:nvPr/>
          </p:nvGrpSpPr>
          <p:grpSpPr>
            <a:xfrm>
              <a:off x="426181" y="1559840"/>
              <a:ext cx="2102943" cy="2102943"/>
              <a:chOff x="1737996" y="1245576"/>
              <a:chExt cx="2659063" cy="2659064"/>
            </a:xfrm>
          </p:grpSpPr>
          <p:sp>
            <p:nvSpPr>
              <p:cNvPr id="86" name="Oval 5"/>
              <p:cNvSpPr>
                <a:spLocks noChangeArrowheads="1"/>
              </p:cNvSpPr>
              <p:nvPr/>
            </p:nvSpPr>
            <p:spPr bwMode="auto">
              <a:xfrm>
                <a:off x="1737996" y="1245576"/>
                <a:ext cx="2659063" cy="2659064"/>
              </a:xfrm>
              <a:prstGeom prst="ellipse">
                <a:avLst/>
              </a:prstGeom>
              <a:solidFill>
                <a:srgbClr val="00A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32742"/>
                <a:endParaRPr lang="en-US">
                  <a:solidFill>
                    <a:schemeClr val="tx2"/>
                  </a:solidFill>
                  <a:latin typeface="Segoe UI"/>
                </a:endParaRPr>
              </a:p>
            </p:txBody>
          </p:sp>
          <p:pic>
            <p:nvPicPr>
              <p:cNvPr id="87" name="Picture 86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2427447" y="2200543"/>
                <a:ext cx="1280160" cy="749131"/>
              </a:xfrm>
              <a:prstGeom prst="rect">
                <a:avLst/>
              </a:prstGeom>
            </p:spPr>
          </p:pic>
        </p:grpSp>
      </p:grpSp>
      <p:grpSp>
        <p:nvGrpSpPr>
          <p:cNvPr id="88" name="Group 87"/>
          <p:cNvGrpSpPr/>
          <p:nvPr/>
        </p:nvGrpSpPr>
        <p:grpSpPr>
          <a:xfrm>
            <a:off x="6878268" y="1255040"/>
            <a:ext cx="2825601" cy="5136410"/>
            <a:chOff x="6482028" y="1559840"/>
            <a:chExt cx="2825601" cy="5136410"/>
          </a:xfrm>
        </p:grpSpPr>
        <p:sp>
          <p:nvSpPr>
            <p:cNvPr id="89" name="Rectangle 7"/>
            <p:cNvSpPr/>
            <p:nvPr/>
          </p:nvSpPr>
          <p:spPr>
            <a:xfrm>
              <a:off x="6482028" y="4658408"/>
              <a:ext cx="2825601" cy="1541961"/>
            </a:xfrm>
            <a:prstGeom prst="rect">
              <a:avLst/>
            </a:prstGeom>
          </p:spPr>
          <p:txBody>
            <a:bodyPr wrap="square" lIns="0" tIns="146304" rIns="0" bIns="146304">
              <a:spAutoFit/>
            </a:bodyPr>
            <a:lstStyle/>
            <a:p>
              <a:pPr marL="0" marR="0" lvl="0" indent="0" defTabSz="932742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Segoe UI"/>
                </a:rPr>
                <a:t>of the people who use a smartphone to attend a web conference say that doing so affords them more freedom and flexibility</a:t>
              </a:r>
              <a:r>
                <a:rPr kumimoji="0" lang="en-US" sz="1800" b="0" i="0" u="none" strike="noStrike" kern="0" cap="none" spc="0" normalizeH="0" baseline="30000" noProof="0" dirty="0" smtClean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Segoe UI"/>
                </a:rPr>
                <a:t>2</a:t>
              </a: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90" name="TextBox 89"/>
            <p:cNvSpPr txBox="1"/>
            <p:nvPr/>
          </p:nvSpPr>
          <p:spPr>
            <a:xfrm>
              <a:off x="6482028" y="3850734"/>
              <a:ext cx="1921416" cy="753685"/>
            </a:xfrm>
            <a:prstGeom prst="rect">
              <a:avLst/>
            </a:prstGeom>
            <a:noFill/>
          </p:spPr>
          <p:txBody>
            <a:bodyPr wrap="none" lIns="0" tIns="91440" rIns="146304" bIns="91440" rtlCol="0">
              <a:noAutofit/>
            </a:bodyPr>
            <a:lstStyle/>
            <a:p>
              <a:pPr marL="0" marR="0" lvl="0" indent="0" defTabSz="932742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4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Segoe UI"/>
                </a:rPr>
                <a:t>66</a:t>
              </a:r>
              <a:r>
                <a:rPr kumimoji="0" lang="en-US" sz="4800" b="0" i="0" u="none" strike="noStrike" kern="0" cap="none" spc="0" normalizeH="0" baseline="18000" noProof="0" dirty="0" smtClean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Segoe UI"/>
                </a:rPr>
                <a:t>%</a:t>
              </a:r>
            </a:p>
          </p:txBody>
        </p:sp>
        <p:sp>
          <p:nvSpPr>
            <p:cNvPr id="91" name="Rectangle 90"/>
            <p:cNvSpPr/>
            <p:nvPr/>
          </p:nvSpPr>
          <p:spPr>
            <a:xfrm>
              <a:off x="6482028" y="6419251"/>
              <a:ext cx="2586521" cy="276999"/>
            </a:xfrm>
            <a:prstGeom prst="rect">
              <a:avLst/>
            </a:prstGeom>
          </p:spPr>
          <p:txBody>
            <a:bodyPr wrap="square" lIns="0" tIns="0" rIns="0" bIns="0" anchor="b">
              <a:spAutoFit/>
            </a:bodyPr>
            <a:lstStyle/>
            <a:p>
              <a:pPr marL="0" marR="0" lvl="0" indent="0" defTabSz="932742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Segoe UI"/>
                </a:rPr>
                <a:t>WAINHOUSE: Web conferencing usage summary, 2014.</a:t>
              </a:r>
            </a:p>
          </p:txBody>
        </p:sp>
        <p:grpSp>
          <p:nvGrpSpPr>
            <p:cNvPr id="92" name="Group 91"/>
            <p:cNvGrpSpPr/>
            <p:nvPr/>
          </p:nvGrpSpPr>
          <p:grpSpPr>
            <a:xfrm>
              <a:off x="6482028" y="1559840"/>
              <a:ext cx="2103120" cy="2103120"/>
              <a:chOff x="1737996" y="1245576"/>
              <a:chExt cx="2659063" cy="2659064"/>
            </a:xfrm>
          </p:grpSpPr>
          <p:sp>
            <p:nvSpPr>
              <p:cNvPr id="93" name="Oval 5"/>
              <p:cNvSpPr>
                <a:spLocks noChangeArrowheads="1"/>
              </p:cNvSpPr>
              <p:nvPr/>
            </p:nvSpPr>
            <p:spPr bwMode="auto">
              <a:xfrm>
                <a:off x="1737996" y="1245576"/>
                <a:ext cx="2659063" cy="2659064"/>
              </a:xfrm>
              <a:prstGeom prst="ellipse">
                <a:avLst/>
              </a:prstGeom>
              <a:solidFill>
                <a:srgbClr val="00A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274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grpSp>
            <p:nvGrpSpPr>
              <p:cNvPr id="94" name="Group 93"/>
              <p:cNvGrpSpPr/>
              <p:nvPr/>
            </p:nvGrpSpPr>
            <p:grpSpPr>
              <a:xfrm>
                <a:off x="2666699" y="1896566"/>
                <a:ext cx="801656" cy="1483212"/>
                <a:chOff x="2929590" y="1974331"/>
                <a:chExt cx="801656" cy="1483212"/>
              </a:xfrm>
            </p:grpSpPr>
            <p:pic>
              <p:nvPicPr>
                <p:cNvPr id="95" name="Picture 94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2929590" y="1974331"/>
                  <a:ext cx="457195" cy="756131"/>
                </a:xfrm>
                <a:prstGeom prst="rect">
                  <a:avLst/>
                </a:prstGeom>
              </p:spPr>
            </p:pic>
            <p:grpSp>
              <p:nvGrpSpPr>
                <p:cNvPr id="96" name="Group 95"/>
                <p:cNvGrpSpPr/>
                <p:nvPr/>
              </p:nvGrpSpPr>
              <p:grpSpPr>
                <a:xfrm>
                  <a:off x="3017872" y="2491433"/>
                  <a:ext cx="713374" cy="966110"/>
                  <a:chOff x="3017872" y="2399994"/>
                  <a:chExt cx="713374" cy="966110"/>
                </a:xfrm>
              </p:grpSpPr>
              <p:sp>
                <p:nvSpPr>
                  <p:cNvPr id="97" name="Freeform 132"/>
                  <p:cNvSpPr>
                    <a:spLocks noChangeAspect="1" noEditPoints="1"/>
                  </p:cNvSpPr>
                  <p:nvPr/>
                </p:nvSpPr>
                <p:spPr bwMode="black">
                  <a:xfrm>
                    <a:off x="3017872" y="2765750"/>
                    <a:ext cx="256179" cy="417476"/>
                  </a:xfrm>
                  <a:custGeom>
                    <a:avLst/>
                    <a:gdLst>
                      <a:gd name="T0" fmla="*/ 42 w 49"/>
                      <a:gd name="T1" fmla="*/ 7 h 80"/>
                      <a:gd name="T2" fmla="*/ 25 w 49"/>
                      <a:gd name="T3" fmla="*/ 0 h 80"/>
                      <a:gd name="T4" fmla="*/ 8 w 49"/>
                      <a:gd name="T5" fmla="*/ 7 h 80"/>
                      <a:gd name="T6" fmla="*/ 0 w 49"/>
                      <a:gd name="T7" fmla="*/ 24 h 80"/>
                      <a:gd name="T8" fmla="*/ 4 w 49"/>
                      <a:gd name="T9" fmla="*/ 39 h 80"/>
                      <a:gd name="T10" fmla="*/ 16 w 49"/>
                      <a:gd name="T11" fmla="*/ 55 h 80"/>
                      <a:gd name="T12" fmla="*/ 23 w 49"/>
                      <a:gd name="T13" fmla="*/ 80 h 80"/>
                      <a:gd name="T14" fmla="*/ 27 w 49"/>
                      <a:gd name="T15" fmla="*/ 80 h 80"/>
                      <a:gd name="T16" fmla="*/ 37 w 49"/>
                      <a:gd name="T17" fmla="*/ 49 h 80"/>
                      <a:gd name="T18" fmla="*/ 45 w 49"/>
                      <a:gd name="T19" fmla="*/ 39 h 80"/>
                      <a:gd name="T20" fmla="*/ 49 w 49"/>
                      <a:gd name="T21" fmla="*/ 24 h 80"/>
                      <a:gd name="T22" fmla="*/ 42 w 49"/>
                      <a:gd name="T23" fmla="*/ 7 h 80"/>
                      <a:gd name="T24" fmla="*/ 25 w 49"/>
                      <a:gd name="T25" fmla="*/ 37 h 80"/>
                      <a:gd name="T26" fmla="*/ 13 w 49"/>
                      <a:gd name="T27" fmla="*/ 25 h 80"/>
                      <a:gd name="T28" fmla="*/ 25 w 49"/>
                      <a:gd name="T29" fmla="*/ 14 h 80"/>
                      <a:gd name="T30" fmla="*/ 36 w 49"/>
                      <a:gd name="T31" fmla="*/ 25 h 80"/>
                      <a:gd name="T32" fmla="*/ 25 w 49"/>
                      <a:gd name="T33" fmla="*/ 37 h 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49" h="80">
                        <a:moveTo>
                          <a:pt x="42" y="7"/>
                        </a:moveTo>
                        <a:cubicBezTo>
                          <a:pt x="37" y="3"/>
                          <a:pt x="31" y="0"/>
                          <a:pt x="25" y="0"/>
                        </a:cubicBezTo>
                        <a:cubicBezTo>
                          <a:pt x="18" y="0"/>
                          <a:pt x="12" y="3"/>
                          <a:pt x="8" y="7"/>
                        </a:cubicBezTo>
                        <a:cubicBezTo>
                          <a:pt x="3" y="12"/>
                          <a:pt x="0" y="18"/>
                          <a:pt x="0" y="24"/>
                        </a:cubicBezTo>
                        <a:cubicBezTo>
                          <a:pt x="0" y="30"/>
                          <a:pt x="2" y="35"/>
                          <a:pt x="4" y="39"/>
                        </a:cubicBezTo>
                        <a:cubicBezTo>
                          <a:pt x="8" y="45"/>
                          <a:pt x="12" y="49"/>
                          <a:pt x="16" y="55"/>
                        </a:cubicBezTo>
                        <a:cubicBezTo>
                          <a:pt x="20" y="61"/>
                          <a:pt x="23" y="68"/>
                          <a:pt x="23" y="80"/>
                        </a:cubicBezTo>
                        <a:cubicBezTo>
                          <a:pt x="27" y="80"/>
                          <a:pt x="27" y="80"/>
                          <a:pt x="27" y="80"/>
                        </a:cubicBezTo>
                        <a:cubicBezTo>
                          <a:pt x="27" y="64"/>
                          <a:pt x="32" y="56"/>
                          <a:pt x="37" y="49"/>
                        </a:cubicBezTo>
                        <a:cubicBezTo>
                          <a:pt x="40" y="46"/>
                          <a:pt x="43" y="43"/>
                          <a:pt x="45" y="39"/>
                        </a:cubicBezTo>
                        <a:cubicBezTo>
                          <a:pt x="48" y="35"/>
                          <a:pt x="49" y="30"/>
                          <a:pt x="49" y="24"/>
                        </a:cubicBezTo>
                        <a:cubicBezTo>
                          <a:pt x="49" y="18"/>
                          <a:pt x="46" y="12"/>
                          <a:pt x="42" y="7"/>
                        </a:cubicBezTo>
                        <a:close/>
                        <a:moveTo>
                          <a:pt x="25" y="37"/>
                        </a:moveTo>
                        <a:cubicBezTo>
                          <a:pt x="18" y="37"/>
                          <a:pt x="13" y="31"/>
                          <a:pt x="13" y="25"/>
                        </a:cubicBezTo>
                        <a:cubicBezTo>
                          <a:pt x="13" y="19"/>
                          <a:pt x="18" y="14"/>
                          <a:pt x="25" y="14"/>
                        </a:cubicBezTo>
                        <a:cubicBezTo>
                          <a:pt x="31" y="14"/>
                          <a:pt x="36" y="19"/>
                          <a:pt x="36" y="25"/>
                        </a:cubicBezTo>
                        <a:cubicBezTo>
                          <a:pt x="36" y="31"/>
                          <a:pt x="31" y="37"/>
                          <a:pt x="25" y="37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/>
                </p:spPr>
                <p:txBody>
                  <a:bodyPr vert="horz" wrap="square" lIns="93278" tIns="46639" rIns="93278" bIns="46639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32742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chemeClr val="tx2"/>
                      </a:solidFill>
                      <a:effectLst/>
                      <a:uLnTx/>
                      <a:uFillTx/>
                      <a:latin typeface="Segoe UI"/>
                    </a:endParaRPr>
                  </a:p>
                </p:txBody>
              </p:sp>
              <p:sp>
                <p:nvSpPr>
                  <p:cNvPr id="98" name="Freeform 132"/>
                  <p:cNvSpPr>
                    <a:spLocks noChangeAspect="1" noEditPoints="1"/>
                  </p:cNvSpPr>
                  <p:nvPr/>
                </p:nvSpPr>
                <p:spPr bwMode="black">
                  <a:xfrm>
                    <a:off x="3475067" y="2399994"/>
                    <a:ext cx="256179" cy="417476"/>
                  </a:xfrm>
                  <a:custGeom>
                    <a:avLst/>
                    <a:gdLst>
                      <a:gd name="T0" fmla="*/ 42 w 49"/>
                      <a:gd name="T1" fmla="*/ 7 h 80"/>
                      <a:gd name="T2" fmla="*/ 25 w 49"/>
                      <a:gd name="T3" fmla="*/ 0 h 80"/>
                      <a:gd name="T4" fmla="*/ 8 w 49"/>
                      <a:gd name="T5" fmla="*/ 7 h 80"/>
                      <a:gd name="T6" fmla="*/ 0 w 49"/>
                      <a:gd name="T7" fmla="*/ 24 h 80"/>
                      <a:gd name="T8" fmla="*/ 4 w 49"/>
                      <a:gd name="T9" fmla="*/ 39 h 80"/>
                      <a:gd name="T10" fmla="*/ 16 w 49"/>
                      <a:gd name="T11" fmla="*/ 55 h 80"/>
                      <a:gd name="T12" fmla="*/ 23 w 49"/>
                      <a:gd name="T13" fmla="*/ 80 h 80"/>
                      <a:gd name="T14" fmla="*/ 27 w 49"/>
                      <a:gd name="T15" fmla="*/ 80 h 80"/>
                      <a:gd name="T16" fmla="*/ 37 w 49"/>
                      <a:gd name="T17" fmla="*/ 49 h 80"/>
                      <a:gd name="T18" fmla="*/ 45 w 49"/>
                      <a:gd name="T19" fmla="*/ 39 h 80"/>
                      <a:gd name="T20" fmla="*/ 49 w 49"/>
                      <a:gd name="T21" fmla="*/ 24 h 80"/>
                      <a:gd name="T22" fmla="*/ 42 w 49"/>
                      <a:gd name="T23" fmla="*/ 7 h 80"/>
                      <a:gd name="T24" fmla="*/ 25 w 49"/>
                      <a:gd name="T25" fmla="*/ 37 h 80"/>
                      <a:gd name="T26" fmla="*/ 13 w 49"/>
                      <a:gd name="T27" fmla="*/ 25 h 80"/>
                      <a:gd name="T28" fmla="*/ 25 w 49"/>
                      <a:gd name="T29" fmla="*/ 14 h 80"/>
                      <a:gd name="T30" fmla="*/ 36 w 49"/>
                      <a:gd name="T31" fmla="*/ 25 h 80"/>
                      <a:gd name="T32" fmla="*/ 25 w 49"/>
                      <a:gd name="T33" fmla="*/ 37 h 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49" h="80">
                        <a:moveTo>
                          <a:pt x="42" y="7"/>
                        </a:moveTo>
                        <a:cubicBezTo>
                          <a:pt x="37" y="3"/>
                          <a:pt x="31" y="0"/>
                          <a:pt x="25" y="0"/>
                        </a:cubicBezTo>
                        <a:cubicBezTo>
                          <a:pt x="18" y="0"/>
                          <a:pt x="12" y="3"/>
                          <a:pt x="8" y="7"/>
                        </a:cubicBezTo>
                        <a:cubicBezTo>
                          <a:pt x="3" y="12"/>
                          <a:pt x="0" y="18"/>
                          <a:pt x="0" y="24"/>
                        </a:cubicBezTo>
                        <a:cubicBezTo>
                          <a:pt x="0" y="30"/>
                          <a:pt x="2" y="35"/>
                          <a:pt x="4" y="39"/>
                        </a:cubicBezTo>
                        <a:cubicBezTo>
                          <a:pt x="8" y="45"/>
                          <a:pt x="12" y="49"/>
                          <a:pt x="16" y="55"/>
                        </a:cubicBezTo>
                        <a:cubicBezTo>
                          <a:pt x="20" y="61"/>
                          <a:pt x="23" y="68"/>
                          <a:pt x="23" y="80"/>
                        </a:cubicBezTo>
                        <a:cubicBezTo>
                          <a:pt x="27" y="80"/>
                          <a:pt x="27" y="80"/>
                          <a:pt x="27" y="80"/>
                        </a:cubicBezTo>
                        <a:cubicBezTo>
                          <a:pt x="27" y="64"/>
                          <a:pt x="32" y="56"/>
                          <a:pt x="37" y="49"/>
                        </a:cubicBezTo>
                        <a:cubicBezTo>
                          <a:pt x="40" y="46"/>
                          <a:pt x="43" y="43"/>
                          <a:pt x="45" y="39"/>
                        </a:cubicBezTo>
                        <a:cubicBezTo>
                          <a:pt x="48" y="35"/>
                          <a:pt x="49" y="30"/>
                          <a:pt x="49" y="24"/>
                        </a:cubicBezTo>
                        <a:cubicBezTo>
                          <a:pt x="49" y="18"/>
                          <a:pt x="46" y="12"/>
                          <a:pt x="42" y="7"/>
                        </a:cubicBezTo>
                        <a:close/>
                        <a:moveTo>
                          <a:pt x="25" y="37"/>
                        </a:moveTo>
                        <a:cubicBezTo>
                          <a:pt x="18" y="37"/>
                          <a:pt x="13" y="31"/>
                          <a:pt x="13" y="25"/>
                        </a:cubicBezTo>
                        <a:cubicBezTo>
                          <a:pt x="13" y="19"/>
                          <a:pt x="18" y="14"/>
                          <a:pt x="25" y="14"/>
                        </a:cubicBezTo>
                        <a:cubicBezTo>
                          <a:pt x="31" y="14"/>
                          <a:pt x="36" y="19"/>
                          <a:pt x="36" y="25"/>
                        </a:cubicBezTo>
                        <a:cubicBezTo>
                          <a:pt x="36" y="31"/>
                          <a:pt x="31" y="37"/>
                          <a:pt x="25" y="37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/>
                </p:spPr>
                <p:txBody>
                  <a:bodyPr vert="horz" wrap="square" lIns="93278" tIns="46639" rIns="93278" bIns="46639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32742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chemeClr val="tx2"/>
                      </a:solidFill>
                      <a:effectLst/>
                      <a:uLnTx/>
                      <a:uFillTx/>
                      <a:latin typeface="Segoe UI"/>
                    </a:endParaRPr>
                  </a:p>
                </p:txBody>
              </p:sp>
              <p:sp>
                <p:nvSpPr>
                  <p:cNvPr id="99" name="Freeform 132"/>
                  <p:cNvSpPr>
                    <a:spLocks noChangeAspect="1" noEditPoints="1"/>
                  </p:cNvSpPr>
                  <p:nvPr/>
                </p:nvSpPr>
                <p:spPr bwMode="black">
                  <a:xfrm>
                    <a:off x="3383628" y="2948628"/>
                    <a:ext cx="256179" cy="417476"/>
                  </a:xfrm>
                  <a:custGeom>
                    <a:avLst/>
                    <a:gdLst>
                      <a:gd name="T0" fmla="*/ 42 w 49"/>
                      <a:gd name="T1" fmla="*/ 7 h 80"/>
                      <a:gd name="T2" fmla="*/ 25 w 49"/>
                      <a:gd name="T3" fmla="*/ 0 h 80"/>
                      <a:gd name="T4" fmla="*/ 8 w 49"/>
                      <a:gd name="T5" fmla="*/ 7 h 80"/>
                      <a:gd name="T6" fmla="*/ 0 w 49"/>
                      <a:gd name="T7" fmla="*/ 24 h 80"/>
                      <a:gd name="T8" fmla="*/ 4 w 49"/>
                      <a:gd name="T9" fmla="*/ 39 h 80"/>
                      <a:gd name="T10" fmla="*/ 16 w 49"/>
                      <a:gd name="T11" fmla="*/ 55 h 80"/>
                      <a:gd name="T12" fmla="*/ 23 w 49"/>
                      <a:gd name="T13" fmla="*/ 80 h 80"/>
                      <a:gd name="T14" fmla="*/ 27 w 49"/>
                      <a:gd name="T15" fmla="*/ 80 h 80"/>
                      <a:gd name="T16" fmla="*/ 37 w 49"/>
                      <a:gd name="T17" fmla="*/ 49 h 80"/>
                      <a:gd name="T18" fmla="*/ 45 w 49"/>
                      <a:gd name="T19" fmla="*/ 39 h 80"/>
                      <a:gd name="T20" fmla="*/ 49 w 49"/>
                      <a:gd name="T21" fmla="*/ 24 h 80"/>
                      <a:gd name="T22" fmla="*/ 42 w 49"/>
                      <a:gd name="T23" fmla="*/ 7 h 80"/>
                      <a:gd name="T24" fmla="*/ 25 w 49"/>
                      <a:gd name="T25" fmla="*/ 37 h 80"/>
                      <a:gd name="T26" fmla="*/ 13 w 49"/>
                      <a:gd name="T27" fmla="*/ 25 h 80"/>
                      <a:gd name="T28" fmla="*/ 25 w 49"/>
                      <a:gd name="T29" fmla="*/ 14 h 80"/>
                      <a:gd name="T30" fmla="*/ 36 w 49"/>
                      <a:gd name="T31" fmla="*/ 25 h 80"/>
                      <a:gd name="T32" fmla="*/ 25 w 49"/>
                      <a:gd name="T33" fmla="*/ 37 h 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49" h="80">
                        <a:moveTo>
                          <a:pt x="42" y="7"/>
                        </a:moveTo>
                        <a:cubicBezTo>
                          <a:pt x="37" y="3"/>
                          <a:pt x="31" y="0"/>
                          <a:pt x="25" y="0"/>
                        </a:cubicBezTo>
                        <a:cubicBezTo>
                          <a:pt x="18" y="0"/>
                          <a:pt x="12" y="3"/>
                          <a:pt x="8" y="7"/>
                        </a:cubicBezTo>
                        <a:cubicBezTo>
                          <a:pt x="3" y="12"/>
                          <a:pt x="0" y="18"/>
                          <a:pt x="0" y="24"/>
                        </a:cubicBezTo>
                        <a:cubicBezTo>
                          <a:pt x="0" y="30"/>
                          <a:pt x="2" y="35"/>
                          <a:pt x="4" y="39"/>
                        </a:cubicBezTo>
                        <a:cubicBezTo>
                          <a:pt x="8" y="45"/>
                          <a:pt x="12" y="49"/>
                          <a:pt x="16" y="55"/>
                        </a:cubicBezTo>
                        <a:cubicBezTo>
                          <a:pt x="20" y="61"/>
                          <a:pt x="23" y="68"/>
                          <a:pt x="23" y="80"/>
                        </a:cubicBezTo>
                        <a:cubicBezTo>
                          <a:pt x="27" y="80"/>
                          <a:pt x="27" y="80"/>
                          <a:pt x="27" y="80"/>
                        </a:cubicBezTo>
                        <a:cubicBezTo>
                          <a:pt x="27" y="64"/>
                          <a:pt x="32" y="56"/>
                          <a:pt x="37" y="49"/>
                        </a:cubicBezTo>
                        <a:cubicBezTo>
                          <a:pt x="40" y="46"/>
                          <a:pt x="43" y="43"/>
                          <a:pt x="45" y="39"/>
                        </a:cubicBezTo>
                        <a:cubicBezTo>
                          <a:pt x="48" y="35"/>
                          <a:pt x="49" y="30"/>
                          <a:pt x="49" y="24"/>
                        </a:cubicBezTo>
                        <a:cubicBezTo>
                          <a:pt x="49" y="18"/>
                          <a:pt x="46" y="12"/>
                          <a:pt x="42" y="7"/>
                        </a:cubicBezTo>
                        <a:close/>
                        <a:moveTo>
                          <a:pt x="25" y="37"/>
                        </a:moveTo>
                        <a:cubicBezTo>
                          <a:pt x="18" y="37"/>
                          <a:pt x="13" y="31"/>
                          <a:pt x="13" y="25"/>
                        </a:cubicBezTo>
                        <a:cubicBezTo>
                          <a:pt x="13" y="19"/>
                          <a:pt x="18" y="14"/>
                          <a:pt x="25" y="14"/>
                        </a:cubicBezTo>
                        <a:cubicBezTo>
                          <a:pt x="31" y="14"/>
                          <a:pt x="36" y="19"/>
                          <a:pt x="36" y="25"/>
                        </a:cubicBezTo>
                        <a:cubicBezTo>
                          <a:pt x="36" y="31"/>
                          <a:pt x="31" y="37"/>
                          <a:pt x="25" y="37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/>
                </p:spPr>
                <p:txBody>
                  <a:bodyPr vert="horz" wrap="square" lIns="93278" tIns="46639" rIns="93278" bIns="46639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32742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chemeClr val="tx2"/>
                      </a:solidFill>
                      <a:effectLst/>
                      <a:uLnTx/>
                      <a:uFillTx/>
                      <a:latin typeface="Segoe UI"/>
                    </a:endParaRPr>
                  </a:p>
                </p:txBody>
              </p:sp>
            </p:grpSp>
          </p:grpSp>
        </p:grpSp>
      </p:grpSp>
      <p:grpSp>
        <p:nvGrpSpPr>
          <p:cNvPr id="100" name="Group 99"/>
          <p:cNvGrpSpPr/>
          <p:nvPr/>
        </p:nvGrpSpPr>
        <p:grpSpPr>
          <a:xfrm>
            <a:off x="9906281" y="1255040"/>
            <a:ext cx="2586522" cy="5137823"/>
            <a:chOff x="9510041" y="1559840"/>
            <a:chExt cx="2586522" cy="5137823"/>
          </a:xfrm>
        </p:grpSpPr>
        <p:sp>
          <p:nvSpPr>
            <p:cNvPr id="101" name="Rectangle 7"/>
            <p:cNvSpPr/>
            <p:nvPr/>
          </p:nvSpPr>
          <p:spPr>
            <a:xfrm>
              <a:off x="9510041" y="4658408"/>
              <a:ext cx="2586522" cy="1292662"/>
            </a:xfrm>
            <a:prstGeom prst="rect">
              <a:avLst/>
            </a:prstGeom>
          </p:spPr>
          <p:txBody>
            <a:bodyPr wrap="square" lIns="0" tIns="146304" rIns="0" bIns="146304">
              <a:spAutoFit/>
            </a:bodyPr>
            <a:lstStyle/>
            <a:p>
              <a:pPr defTabSz="932742">
                <a:lnSpc>
                  <a:spcPct val="90000"/>
                </a:lnSpc>
              </a:pPr>
              <a:r>
                <a:rPr lang="en-US" dirty="0">
                  <a:solidFill>
                    <a:schemeClr val="tx2"/>
                  </a:solidFill>
                  <a:latin typeface="Segoe UI"/>
                </a:rPr>
                <a:t>of surveyed information workers launch and host web conferences from their mobile </a:t>
              </a:r>
              <a:r>
                <a:rPr lang="en-US" dirty="0" smtClean="0">
                  <a:solidFill>
                    <a:schemeClr val="tx2"/>
                  </a:solidFill>
                  <a:latin typeface="Segoe UI"/>
                </a:rPr>
                <a:t>devices</a:t>
              </a:r>
              <a:r>
                <a:rPr lang="en-US" baseline="30000" dirty="0" smtClean="0">
                  <a:solidFill>
                    <a:schemeClr val="tx2"/>
                  </a:solidFill>
                  <a:latin typeface="Segoe UI"/>
                </a:rPr>
                <a:t>2</a:t>
              </a:r>
              <a:endParaRPr lang="en-US" dirty="0">
                <a:solidFill>
                  <a:schemeClr val="tx2"/>
                </a:solidFill>
                <a:latin typeface="Segoe UI"/>
              </a:endParaRPr>
            </a:p>
          </p:txBody>
        </p:sp>
        <p:sp>
          <p:nvSpPr>
            <p:cNvPr id="102" name="TextBox 101"/>
            <p:cNvSpPr txBox="1"/>
            <p:nvPr/>
          </p:nvSpPr>
          <p:spPr>
            <a:xfrm>
              <a:off x="9510041" y="3850734"/>
              <a:ext cx="1921416" cy="753685"/>
            </a:xfrm>
            <a:prstGeom prst="rect">
              <a:avLst/>
            </a:prstGeom>
            <a:noFill/>
          </p:spPr>
          <p:txBody>
            <a:bodyPr wrap="none" lIns="0" tIns="91440" rIns="146304" bIns="91440" rtlCol="0">
              <a:noAutofit/>
            </a:bodyPr>
            <a:lstStyle/>
            <a:p>
              <a:pPr defTabSz="932742">
                <a:lnSpc>
                  <a:spcPct val="90000"/>
                </a:lnSpc>
                <a:spcAft>
                  <a:spcPts val="600"/>
                </a:spcAft>
              </a:pPr>
              <a:r>
                <a:rPr lang="en-US" sz="5400" dirty="0" smtClean="0">
                  <a:solidFill>
                    <a:schemeClr val="tx2"/>
                  </a:solidFill>
                  <a:latin typeface="Segoe UI"/>
                </a:rPr>
                <a:t>46</a:t>
              </a:r>
              <a:r>
                <a:rPr lang="en-US" sz="4800" baseline="18000" dirty="0" smtClean="0">
                  <a:solidFill>
                    <a:schemeClr val="tx2"/>
                  </a:solidFill>
                  <a:latin typeface="Segoe UI"/>
                </a:rPr>
                <a:t>%</a:t>
              </a:r>
              <a:endParaRPr lang="en-US" sz="2800" dirty="0">
                <a:solidFill>
                  <a:schemeClr val="tx2"/>
                </a:solidFill>
                <a:latin typeface="Segoe UI"/>
              </a:endParaRPr>
            </a:p>
          </p:txBody>
        </p:sp>
        <p:grpSp>
          <p:nvGrpSpPr>
            <p:cNvPr id="103" name="Group 102"/>
            <p:cNvGrpSpPr/>
            <p:nvPr/>
          </p:nvGrpSpPr>
          <p:grpSpPr>
            <a:xfrm>
              <a:off x="9510041" y="1559840"/>
              <a:ext cx="2103120" cy="2103120"/>
              <a:chOff x="8047356" y="1245576"/>
              <a:chExt cx="2659063" cy="2659064"/>
            </a:xfrm>
          </p:grpSpPr>
          <p:sp>
            <p:nvSpPr>
              <p:cNvPr id="105" name="Oval 5"/>
              <p:cNvSpPr>
                <a:spLocks noChangeArrowheads="1"/>
              </p:cNvSpPr>
              <p:nvPr/>
            </p:nvSpPr>
            <p:spPr bwMode="auto">
              <a:xfrm>
                <a:off x="8047356" y="1245576"/>
                <a:ext cx="2659063" cy="2659064"/>
              </a:xfrm>
              <a:prstGeom prst="ellipse">
                <a:avLst/>
              </a:prstGeom>
              <a:solidFill>
                <a:srgbClr val="00A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32742"/>
                <a:endParaRPr lang="en-US">
                  <a:solidFill>
                    <a:schemeClr val="tx2"/>
                  </a:solidFill>
                  <a:latin typeface="Segoe UI"/>
                </a:endParaRPr>
              </a:p>
            </p:txBody>
          </p:sp>
          <p:pic>
            <p:nvPicPr>
              <p:cNvPr id="106" name="Picture 105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8960637" y="2063233"/>
                <a:ext cx="832500" cy="1023750"/>
              </a:xfrm>
              <a:prstGeom prst="rect">
                <a:avLst/>
              </a:prstGeom>
            </p:spPr>
          </p:pic>
        </p:grpSp>
        <p:sp>
          <p:nvSpPr>
            <p:cNvPr id="104" name="Rectangle 103"/>
            <p:cNvSpPr/>
            <p:nvPr/>
          </p:nvSpPr>
          <p:spPr>
            <a:xfrm>
              <a:off x="9510041" y="6420664"/>
              <a:ext cx="2469234" cy="276999"/>
            </a:xfrm>
            <a:prstGeom prst="rect">
              <a:avLst/>
            </a:prstGeom>
          </p:spPr>
          <p:txBody>
            <a:bodyPr wrap="square" lIns="0" tIns="0" rIns="0" bIns="0" anchor="b">
              <a:spAutoFit/>
            </a:bodyPr>
            <a:lstStyle/>
            <a:p>
              <a:pPr defTabSz="932742">
                <a:lnSpc>
                  <a:spcPct val="90000"/>
                </a:lnSpc>
                <a:spcAft>
                  <a:spcPts val="300"/>
                </a:spcAft>
              </a:pPr>
              <a:r>
                <a:rPr lang="en-US" sz="1000" dirty="0">
                  <a:solidFill>
                    <a:schemeClr val="tx2"/>
                  </a:solidFill>
                  <a:latin typeface="Segoe UI"/>
                </a:rPr>
                <a:t>WAINHOUSE: Web conferencing usage summary, 2014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56741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5685618" y="2480786"/>
            <a:ext cx="932702" cy="541851"/>
          </a:xfrm>
          <a:prstGeom prst="rect">
            <a:avLst/>
          </a:prstGeom>
        </p:spPr>
        <p:txBody>
          <a:bodyPr vert="horz" wrap="square" lIns="143428" tIns="89642" rIns="143428" bIns="89642" rtlCol="0" anchor="ctr">
            <a:noAutofit/>
          </a:bodyPr>
          <a:lstStyle>
            <a:lvl1pPr algn="l" defTabSz="93290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6003" b="0" kern="1200" cap="none" spc="-102" baseline="0">
                <a:ln w="3175"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sz="1000" dirty="0" smtClean="0">
                <a:solidFill>
                  <a:srgbClr val="FD7425"/>
                </a:solidFill>
                <a:latin typeface="Segoe UI Semibold"/>
                <a:cs typeface="Segoe UI Semibold"/>
              </a:rPr>
              <a:t>Grow </a:t>
            </a:r>
          </a:p>
          <a:p>
            <a:pPr algn="ctr"/>
            <a:r>
              <a:rPr sz="1000" dirty="0" smtClean="0">
                <a:solidFill>
                  <a:srgbClr val="FD7425"/>
                </a:solidFill>
                <a:latin typeface="Segoe UI Semibold"/>
                <a:cs typeface="Segoe UI Semibold"/>
              </a:rPr>
              <a:t>efficiently</a:t>
            </a:r>
            <a:endParaRPr sz="1000" dirty="0">
              <a:solidFill>
                <a:srgbClr val="FD7425"/>
              </a:solidFill>
              <a:latin typeface="Segoe UI Semibold"/>
              <a:cs typeface="Segoe UI Semibold"/>
            </a:endParaRPr>
          </a:p>
        </p:txBody>
      </p:sp>
      <p:sp>
        <p:nvSpPr>
          <p:cNvPr id="3" name="Block Arc 2"/>
          <p:cNvSpPr/>
          <p:nvPr/>
        </p:nvSpPr>
        <p:spPr bwMode="auto">
          <a:xfrm rot="18895467">
            <a:off x="3510740" y="2480785"/>
            <a:ext cx="2646642" cy="2646641"/>
          </a:xfrm>
          <a:prstGeom prst="blockArc">
            <a:avLst>
              <a:gd name="adj1" fmla="val 13529147"/>
              <a:gd name="adj2" fmla="val 16172180"/>
              <a:gd name="adj3" fmla="val 26006"/>
            </a:avLst>
          </a:prstGeom>
          <a:solidFill>
            <a:srgbClr val="4B004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IN" sz="900" dirty="0">
              <a:solidFill>
                <a:srgbClr val="FD7425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Block Arc 3"/>
          <p:cNvSpPr/>
          <p:nvPr/>
        </p:nvSpPr>
        <p:spPr bwMode="auto">
          <a:xfrm rot="13500000">
            <a:off x="3510740" y="2480785"/>
            <a:ext cx="2646642" cy="2646641"/>
          </a:xfrm>
          <a:prstGeom prst="blockArc">
            <a:avLst>
              <a:gd name="adj1" fmla="val 13529147"/>
              <a:gd name="adj2" fmla="val 16172180"/>
              <a:gd name="adj3" fmla="val 26006"/>
            </a:avLst>
          </a:prstGeom>
          <a:solidFill>
            <a:srgbClr val="FEA83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IN" sz="11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Block Arc 4"/>
          <p:cNvSpPr/>
          <p:nvPr/>
        </p:nvSpPr>
        <p:spPr bwMode="auto">
          <a:xfrm rot="8095707">
            <a:off x="3510740" y="2480785"/>
            <a:ext cx="2646642" cy="2646641"/>
          </a:xfrm>
          <a:prstGeom prst="blockArc">
            <a:avLst>
              <a:gd name="adj1" fmla="val 13529147"/>
              <a:gd name="adj2" fmla="val 16172180"/>
              <a:gd name="adj3" fmla="val 26006"/>
            </a:avLst>
          </a:prstGeom>
          <a:solidFill>
            <a:srgbClr val="AB008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IN" sz="11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Block Arc 5"/>
          <p:cNvSpPr/>
          <p:nvPr/>
        </p:nvSpPr>
        <p:spPr bwMode="auto">
          <a:xfrm>
            <a:off x="3510741" y="2480784"/>
            <a:ext cx="2646641" cy="2646642"/>
          </a:xfrm>
          <a:prstGeom prst="blockArc">
            <a:avLst>
              <a:gd name="adj1" fmla="val 13529147"/>
              <a:gd name="adj2" fmla="val 16172180"/>
              <a:gd name="adj3" fmla="val 26006"/>
            </a:avLst>
          </a:prstGeom>
          <a:solidFill>
            <a:srgbClr val="4B004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IN" sz="11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Block Arc 6"/>
          <p:cNvSpPr/>
          <p:nvPr/>
        </p:nvSpPr>
        <p:spPr bwMode="auto">
          <a:xfrm rot="16200000">
            <a:off x="3510740" y="2480785"/>
            <a:ext cx="2646642" cy="2646641"/>
          </a:xfrm>
          <a:prstGeom prst="blockArc">
            <a:avLst>
              <a:gd name="adj1" fmla="val 13529147"/>
              <a:gd name="adj2" fmla="val 16172180"/>
              <a:gd name="adj3" fmla="val 26006"/>
            </a:avLst>
          </a:prstGeom>
          <a:solidFill>
            <a:srgbClr val="FEA83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IN" sz="11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Block Arc 7"/>
          <p:cNvSpPr/>
          <p:nvPr/>
        </p:nvSpPr>
        <p:spPr bwMode="auto">
          <a:xfrm rot="10800000">
            <a:off x="3510741" y="2480784"/>
            <a:ext cx="2646641" cy="2646642"/>
          </a:xfrm>
          <a:prstGeom prst="blockArc">
            <a:avLst>
              <a:gd name="adj1" fmla="val 13529147"/>
              <a:gd name="adj2" fmla="val 16172180"/>
              <a:gd name="adj3" fmla="val 26006"/>
            </a:avLst>
          </a:prstGeom>
          <a:solidFill>
            <a:srgbClr val="AB008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IN" sz="11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Flowchart: Connector 8"/>
          <p:cNvSpPr/>
          <p:nvPr/>
        </p:nvSpPr>
        <p:spPr bwMode="auto">
          <a:xfrm>
            <a:off x="4199916" y="3166996"/>
            <a:ext cx="1268129" cy="1274061"/>
          </a:xfrm>
          <a:prstGeom prst="flowChartConnector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695" tIns="45695" rIns="45695" bIns="456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561" fontAlgn="base">
              <a:spcBef>
                <a:spcPct val="0"/>
              </a:spcBef>
              <a:spcAft>
                <a:spcPct val="0"/>
              </a:spcAft>
            </a:pPr>
            <a:endParaRPr lang="en-US" sz="9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059739" y="2705466"/>
            <a:ext cx="764373" cy="42995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 defTabSz="913949"/>
            <a:r>
              <a:rPr lang="en-US" sz="800" dirty="0">
                <a:solidFill>
                  <a:prstClr val="white"/>
                </a:solidFill>
                <a:latin typeface="Segoe UI Semilight"/>
                <a:cs typeface="Segoe UI Semilight"/>
              </a:rPr>
              <a:t>Increase </a:t>
            </a:r>
            <a:br>
              <a:rPr lang="en-US" sz="800" dirty="0">
                <a:solidFill>
                  <a:prstClr val="white"/>
                </a:solidFill>
                <a:latin typeface="Segoe UI Semilight"/>
                <a:cs typeface="Segoe UI Semilight"/>
              </a:rPr>
            </a:br>
            <a:r>
              <a:rPr lang="en-US" sz="800" dirty="0">
                <a:solidFill>
                  <a:prstClr val="white"/>
                </a:solidFill>
                <a:latin typeface="Segoe UI Semilight"/>
                <a:cs typeface="Segoe UI Semilight"/>
              </a:rPr>
              <a:t>your</a:t>
            </a:r>
            <a:br>
              <a:rPr lang="en-US" sz="800" dirty="0">
                <a:solidFill>
                  <a:prstClr val="white"/>
                </a:solidFill>
                <a:latin typeface="Segoe UI Semilight"/>
                <a:cs typeface="Segoe UI Semilight"/>
              </a:rPr>
            </a:br>
            <a:r>
              <a:rPr lang="en-US" sz="800" dirty="0">
                <a:solidFill>
                  <a:prstClr val="white"/>
                </a:solidFill>
                <a:latin typeface="Segoe UI Semilight"/>
                <a:cs typeface="Segoe UI Semilight"/>
              </a:rPr>
              <a:t>sales 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4833131" y="2473132"/>
            <a:ext cx="0" cy="2659976"/>
          </a:xfrm>
          <a:prstGeom prst="line">
            <a:avLst/>
          </a:prstGeom>
          <a:ln w="38100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3898309" y="2868354"/>
            <a:ext cx="1871344" cy="1871345"/>
          </a:xfrm>
          <a:prstGeom prst="line">
            <a:avLst/>
          </a:prstGeom>
          <a:ln w="38100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3503089" y="3803119"/>
            <a:ext cx="2659975" cy="0"/>
          </a:xfrm>
          <a:prstGeom prst="line">
            <a:avLst/>
          </a:prstGeom>
          <a:ln w="38100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 flipV="1">
            <a:off x="3898309" y="2868355"/>
            <a:ext cx="1871344" cy="1871344"/>
          </a:xfrm>
          <a:prstGeom prst="line">
            <a:avLst/>
          </a:prstGeom>
          <a:ln w="38100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3519015" y="3969995"/>
            <a:ext cx="764373" cy="42995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 defTabSz="913949"/>
            <a:r>
              <a:rPr lang="en-US" sz="800" dirty="0">
                <a:solidFill>
                  <a:srgbClr val="AB0086"/>
                </a:solidFill>
                <a:latin typeface="Segoe UI Semilight"/>
                <a:cs typeface="Segoe UI Semilight"/>
              </a:rPr>
              <a:t>Be prepared </a:t>
            </a:r>
          </a:p>
          <a:p>
            <a:pPr algn="ctr" defTabSz="913949"/>
            <a:r>
              <a:rPr lang="en-US" sz="800" dirty="0">
                <a:solidFill>
                  <a:srgbClr val="AB0086"/>
                </a:solidFill>
                <a:latin typeface="Segoe UI Semilight"/>
                <a:cs typeface="Segoe UI Semilight"/>
              </a:rPr>
              <a:t>for the</a:t>
            </a:r>
          </a:p>
          <a:p>
            <a:pPr algn="ctr" defTabSz="913949"/>
            <a:r>
              <a:rPr lang="en-US" sz="800" dirty="0">
                <a:solidFill>
                  <a:srgbClr val="AB0086"/>
                </a:solidFill>
                <a:latin typeface="Segoe UI Semilight"/>
                <a:cs typeface="Segoe UI Semilight"/>
              </a:rPr>
              <a:t>unexpected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034371" y="4494280"/>
            <a:ext cx="764373" cy="42995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 defTabSz="913949"/>
            <a:r>
              <a:rPr lang="en-US" sz="800" dirty="0">
                <a:solidFill>
                  <a:srgbClr val="AB0086"/>
                </a:solidFill>
                <a:latin typeface="Segoe UI Semilight"/>
                <a:cs typeface="Segoe UI Semilight"/>
              </a:rPr>
              <a:t>Protect </a:t>
            </a:r>
            <a:br>
              <a:rPr lang="en-US" sz="800" dirty="0">
                <a:solidFill>
                  <a:srgbClr val="AB0086"/>
                </a:solidFill>
                <a:latin typeface="Segoe UI Semilight"/>
                <a:cs typeface="Segoe UI Semilight"/>
              </a:rPr>
            </a:br>
            <a:r>
              <a:rPr lang="en-US" sz="800" dirty="0">
                <a:solidFill>
                  <a:srgbClr val="AB0086"/>
                </a:solidFill>
                <a:latin typeface="Segoe UI Semilight"/>
                <a:cs typeface="Segoe UI Semilight"/>
              </a:rPr>
              <a:t>and control </a:t>
            </a:r>
            <a:br>
              <a:rPr lang="en-US" sz="800" dirty="0">
                <a:solidFill>
                  <a:srgbClr val="AB0086"/>
                </a:solidFill>
                <a:latin typeface="Segoe UI Semilight"/>
                <a:cs typeface="Segoe UI Semilight"/>
              </a:rPr>
            </a:br>
            <a:r>
              <a:rPr lang="en-US" sz="800" dirty="0">
                <a:solidFill>
                  <a:srgbClr val="AB0086"/>
                </a:solidFill>
                <a:latin typeface="Segoe UI Semilight"/>
                <a:cs typeface="Segoe UI Semilight"/>
              </a:rPr>
              <a:t>your data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854030" y="4494280"/>
            <a:ext cx="764373" cy="42995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 defTabSz="913949"/>
            <a:r>
              <a:rPr lang="en-US" sz="800" dirty="0">
                <a:solidFill>
                  <a:prstClr val="white"/>
                </a:solidFill>
                <a:latin typeface="Segoe UI Semilight"/>
                <a:cs typeface="Segoe UI Semilight"/>
              </a:rPr>
              <a:t>Work </a:t>
            </a:r>
            <a:br>
              <a:rPr lang="en-US" sz="800" dirty="0">
                <a:solidFill>
                  <a:prstClr val="white"/>
                </a:solidFill>
                <a:latin typeface="Segoe UI Semilight"/>
                <a:cs typeface="Segoe UI Semilight"/>
              </a:rPr>
            </a:br>
            <a:r>
              <a:rPr lang="en-US" sz="800" dirty="0">
                <a:solidFill>
                  <a:prstClr val="white"/>
                </a:solidFill>
                <a:latin typeface="Segoe UI Semilight"/>
                <a:cs typeface="Segoe UI Semilight"/>
              </a:rPr>
              <a:t>together </a:t>
            </a:r>
            <a:br>
              <a:rPr lang="en-US" sz="800" dirty="0">
                <a:solidFill>
                  <a:prstClr val="white"/>
                </a:solidFill>
                <a:latin typeface="Segoe UI Semilight"/>
                <a:cs typeface="Segoe UI Semilight"/>
              </a:rPr>
            </a:br>
            <a:r>
              <a:rPr lang="en-US" sz="800" dirty="0">
                <a:solidFill>
                  <a:prstClr val="white"/>
                </a:solidFill>
                <a:latin typeface="Segoe UI Semilight"/>
                <a:cs typeface="Segoe UI Semilight"/>
              </a:rPr>
              <a:t>easily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348521" y="3901047"/>
            <a:ext cx="741893" cy="50694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 defTabSz="913949"/>
            <a:r>
              <a:rPr lang="en-US" sz="800" dirty="0">
                <a:solidFill>
                  <a:prstClr val="white"/>
                </a:solidFill>
                <a:latin typeface="Segoe UI Semilight"/>
                <a:cs typeface="Segoe UI Semilight"/>
              </a:rPr>
              <a:t>Get your</a:t>
            </a:r>
            <a:br>
              <a:rPr lang="en-US" sz="800" dirty="0">
                <a:solidFill>
                  <a:prstClr val="white"/>
                </a:solidFill>
                <a:latin typeface="Segoe UI Semilight"/>
                <a:cs typeface="Segoe UI Semilight"/>
              </a:rPr>
            </a:br>
            <a:r>
              <a:rPr lang="en-US" sz="800" dirty="0">
                <a:solidFill>
                  <a:prstClr val="white"/>
                </a:solidFill>
                <a:latin typeface="Segoe UI Semilight"/>
                <a:cs typeface="Segoe UI Semilight"/>
              </a:rPr>
              <a:t>work done</a:t>
            </a:r>
          </a:p>
          <a:p>
            <a:pPr algn="ctr" defTabSz="913949"/>
            <a:r>
              <a:rPr lang="en-US" sz="800" dirty="0">
                <a:solidFill>
                  <a:prstClr val="white"/>
                </a:solidFill>
                <a:latin typeface="Segoe UI Semilight"/>
                <a:cs typeface="Segoe UI Semilight"/>
              </a:rPr>
              <a:t>anywher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3540159" y="3225930"/>
            <a:ext cx="764373" cy="42995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 defTabSz="913949"/>
            <a:r>
              <a:rPr lang="en-US" sz="800" dirty="0">
                <a:solidFill>
                  <a:prstClr val="white"/>
                </a:solidFill>
                <a:latin typeface="Segoe UI Semilight"/>
                <a:cs typeface="Segoe UI Semilight"/>
              </a:rPr>
              <a:t>Understand </a:t>
            </a:r>
            <a:br>
              <a:rPr lang="en-US" sz="800" dirty="0">
                <a:solidFill>
                  <a:prstClr val="white"/>
                </a:solidFill>
                <a:latin typeface="Segoe UI Semilight"/>
                <a:cs typeface="Segoe UI Semilight"/>
              </a:rPr>
            </a:br>
            <a:r>
              <a:rPr lang="en-US" sz="800" dirty="0">
                <a:solidFill>
                  <a:prstClr val="white"/>
                </a:solidFill>
                <a:latin typeface="Segoe UI Semilight"/>
                <a:cs typeface="Segoe UI Semilight"/>
              </a:rPr>
              <a:t>your </a:t>
            </a:r>
          </a:p>
          <a:p>
            <a:pPr algn="ctr" defTabSz="913949"/>
            <a:r>
              <a:rPr lang="en-US" sz="800" dirty="0">
                <a:solidFill>
                  <a:prstClr val="white"/>
                </a:solidFill>
                <a:latin typeface="Segoe UI Semilight"/>
                <a:cs typeface="Segoe UI Semilight"/>
              </a:rPr>
              <a:t>customer 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499232" y="3659727"/>
            <a:ext cx="2646641" cy="215444"/>
          </a:xfrm>
          <a:prstGeom prst="rect">
            <a:avLst/>
          </a:prstGeom>
          <a:noFill/>
        </p:spPr>
        <p:txBody>
          <a:bodyPr wrap="square" bIns="0" rtlCol="0">
            <a:spAutoFit/>
          </a:bodyPr>
          <a:lstStyle/>
          <a:p>
            <a:pPr algn="ctr" defTabSz="544196"/>
            <a:r>
              <a:rPr lang="en-US" sz="1100" dirty="0">
                <a:solidFill>
                  <a:srgbClr val="3F3F3F"/>
                </a:solidFill>
                <a:latin typeface="Segoe UI Semibold"/>
                <a:cs typeface="Segoe UI Semibold"/>
              </a:rPr>
              <a:t>ModernBiz</a:t>
            </a:r>
          </a:p>
        </p:txBody>
      </p:sp>
      <p:sp>
        <p:nvSpPr>
          <p:cNvPr id="21" name="Title 1"/>
          <p:cNvSpPr txBox="1">
            <a:spLocks/>
          </p:cNvSpPr>
          <p:nvPr/>
        </p:nvSpPr>
        <p:spPr>
          <a:xfrm>
            <a:off x="5687347" y="4591258"/>
            <a:ext cx="930972" cy="541851"/>
          </a:xfrm>
          <a:prstGeom prst="rect">
            <a:avLst/>
          </a:prstGeom>
        </p:spPr>
        <p:txBody>
          <a:bodyPr vert="horz" wrap="square" lIns="143428" tIns="89642" rIns="143428" bIns="89642" rtlCol="0" anchor="ctr">
            <a:noAutofit/>
          </a:bodyPr>
          <a:lstStyle>
            <a:lvl1pPr algn="l" defTabSz="93290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6003" b="0" kern="1200" cap="none" spc="-102" baseline="0">
                <a:ln w="3175"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sz="1000" dirty="0" smtClean="0">
                <a:solidFill>
                  <a:srgbClr val="AB0086"/>
                </a:solidFill>
                <a:latin typeface="Segoe UI Semibold"/>
                <a:cs typeface="Segoe UI Semibold"/>
              </a:rPr>
              <a:t>Business</a:t>
            </a:r>
          </a:p>
          <a:p>
            <a:pPr algn="ctr"/>
            <a:r>
              <a:rPr sz="1000" dirty="0" smtClean="0">
                <a:solidFill>
                  <a:srgbClr val="AB0086"/>
                </a:solidFill>
                <a:latin typeface="Segoe UI Semibold"/>
                <a:cs typeface="Segoe UI Semibold"/>
              </a:rPr>
              <a:t>anywhere</a:t>
            </a:r>
            <a:endParaRPr sz="1000" dirty="0">
              <a:solidFill>
                <a:srgbClr val="AB0086"/>
              </a:solidFill>
              <a:latin typeface="Segoe UI Semibold"/>
              <a:cs typeface="Segoe UI Semibold"/>
            </a:endParaRPr>
          </a:p>
        </p:txBody>
      </p:sp>
      <p:sp>
        <p:nvSpPr>
          <p:cNvPr id="22" name="Title 1"/>
          <p:cNvSpPr txBox="1">
            <a:spLocks/>
          </p:cNvSpPr>
          <p:nvPr/>
        </p:nvSpPr>
        <p:spPr>
          <a:xfrm>
            <a:off x="3049326" y="2480784"/>
            <a:ext cx="936521" cy="541851"/>
          </a:xfrm>
          <a:prstGeom prst="rect">
            <a:avLst/>
          </a:prstGeom>
        </p:spPr>
        <p:txBody>
          <a:bodyPr vert="horz" wrap="square" lIns="143428" tIns="89642" rIns="143428" bIns="89642" rtlCol="0" anchor="ctr">
            <a:noAutofit/>
          </a:bodyPr>
          <a:lstStyle>
            <a:lvl1pPr algn="l" defTabSz="93290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6003" b="0" kern="1200" cap="none" spc="-102" baseline="0">
                <a:ln w="3175"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sz="1000" dirty="0">
                <a:solidFill>
                  <a:srgbClr val="442359"/>
                </a:solidFill>
                <a:latin typeface="Segoe UI Semibold"/>
                <a:cs typeface="Segoe UI Semibold"/>
              </a:rPr>
              <a:t>Connect with </a:t>
            </a:r>
            <a:endParaRPr sz="1000" dirty="0" smtClean="0">
              <a:solidFill>
                <a:srgbClr val="442359"/>
              </a:solidFill>
              <a:latin typeface="Segoe UI Semibold"/>
              <a:cs typeface="Segoe UI Semibold"/>
            </a:endParaRPr>
          </a:p>
          <a:p>
            <a:pPr algn="ctr"/>
            <a:r>
              <a:rPr sz="1000" dirty="0" smtClean="0">
                <a:solidFill>
                  <a:srgbClr val="442359"/>
                </a:solidFill>
                <a:latin typeface="Segoe UI Semibold"/>
                <a:cs typeface="Segoe UI Semibold"/>
              </a:rPr>
              <a:t>customers</a:t>
            </a:r>
            <a:endParaRPr sz="1000" dirty="0">
              <a:solidFill>
                <a:srgbClr val="442359"/>
              </a:solidFill>
              <a:latin typeface="Segoe UI Semibold"/>
              <a:cs typeface="Segoe UI Semibold"/>
            </a:endParaRPr>
          </a:p>
        </p:txBody>
      </p:sp>
      <p:sp>
        <p:nvSpPr>
          <p:cNvPr id="23" name="Title 1"/>
          <p:cNvSpPr txBox="1">
            <a:spLocks/>
          </p:cNvSpPr>
          <p:nvPr/>
        </p:nvSpPr>
        <p:spPr>
          <a:xfrm>
            <a:off x="3049327" y="4582406"/>
            <a:ext cx="930840" cy="541851"/>
          </a:xfrm>
          <a:prstGeom prst="rect">
            <a:avLst/>
          </a:prstGeom>
        </p:spPr>
        <p:txBody>
          <a:bodyPr vert="horz" wrap="square" lIns="143428" tIns="89642" rIns="143428" bIns="89642" rtlCol="0" anchor="ctr">
            <a:noAutofit/>
          </a:bodyPr>
          <a:lstStyle>
            <a:lvl1pPr algn="l" defTabSz="93290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6003" b="0" kern="1200" cap="none" spc="-102" baseline="0">
                <a:ln w="3175"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sz="1000" dirty="0" smtClean="0">
                <a:solidFill>
                  <a:srgbClr val="FEA830"/>
                </a:solidFill>
                <a:latin typeface="Segoe UI Semibold"/>
                <a:cs typeface="Segoe UI Semibold"/>
              </a:rPr>
              <a:t>Safeguard</a:t>
            </a:r>
          </a:p>
          <a:p>
            <a:pPr algn="ctr"/>
            <a:r>
              <a:rPr sz="1000" dirty="0" smtClean="0">
                <a:solidFill>
                  <a:srgbClr val="FEA830"/>
                </a:solidFill>
                <a:latin typeface="Segoe UI Semibold"/>
                <a:cs typeface="Segoe UI Semibold"/>
              </a:rPr>
              <a:t>your business</a:t>
            </a:r>
            <a:endParaRPr sz="1000" dirty="0">
              <a:solidFill>
                <a:srgbClr val="FEA830"/>
              </a:solidFill>
              <a:latin typeface="Segoe UI Semibold"/>
              <a:cs typeface="Segoe UI Semibold"/>
            </a:endParaRPr>
          </a:p>
        </p:txBody>
      </p:sp>
      <p:sp>
        <p:nvSpPr>
          <p:cNvPr id="24" name="Block Arc 23"/>
          <p:cNvSpPr/>
          <p:nvPr/>
        </p:nvSpPr>
        <p:spPr bwMode="auto">
          <a:xfrm rot="2702956">
            <a:off x="3510740" y="2480785"/>
            <a:ext cx="2646642" cy="2646641"/>
          </a:xfrm>
          <a:prstGeom prst="blockArc">
            <a:avLst>
              <a:gd name="adj1" fmla="val 13529147"/>
              <a:gd name="adj2" fmla="val 16172180"/>
              <a:gd name="adj3" fmla="val 26006"/>
            </a:avLst>
          </a:prstGeom>
          <a:solidFill>
            <a:srgbClr val="FD742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IN" sz="11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819196" y="2705466"/>
            <a:ext cx="764373" cy="42995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 defTabSz="913949"/>
            <a:r>
              <a:rPr lang="en-US" sz="800" dirty="0">
                <a:solidFill>
                  <a:srgbClr val="4B0045"/>
                </a:solidFill>
                <a:latin typeface="Segoe UI Semilight"/>
                <a:cs typeface="Segoe UI Semilight"/>
              </a:rPr>
              <a:t>Adapt to </a:t>
            </a:r>
            <a:br>
              <a:rPr lang="en-US" sz="800" dirty="0">
                <a:solidFill>
                  <a:srgbClr val="4B0045"/>
                </a:solidFill>
                <a:latin typeface="Segoe UI Semilight"/>
                <a:cs typeface="Segoe UI Semilight"/>
              </a:rPr>
            </a:br>
            <a:r>
              <a:rPr lang="en-US" sz="800" dirty="0">
                <a:solidFill>
                  <a:srgbClr val="4B0045"/>
                </a:solidFill>
                <a:latin typeface="Segoe UI Semilight"/>
                <a:cs typeface="Segoe UI Semilight"/>
              </a:rPr>
              <a:t>change</a:t>
            </a:r>
          </a:p>
        </p:txBody>
      </p:sp>
      <p:sp>
        <p:nvSpPr>
          <p:cNvPr id="26" name="Block Arc 25"/>
          <p:cNvSpPr/>
          <p:nvPr/>
        </p:nvSpPr>
        <p:spPr bwMode="auto">
          <a:xfrm rot="5400000">
            <a:off x="3510740" y="2480785"/>
            <a:ext cx="2646642" cy="2646642"/>
          </a:xfrm>
          <a:prstGeom prst="blockArc">
            <a:avLst>
              <a:gd name="adj1" fmla="val 13529147"/>
              <a:gd name="adj2" fmla="val 16172180"/>
              <a:gd name="adj3" fmla="val 26006"/>
            </a:avLst>
          </a:prstGeom>
          <a:solidFill>
            <a:srgbClr val="FD742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IN" sz="11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349893" y="3224060"/>
            <a:ext cx="824680" cy="42995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 defTabSz="913949"/>
            <a:r>
              <a:rPr lang="en-US" sz="800" dirty="0">
                <a:solidFill>
                  <a:srgbClr val="4B0045"/>
                </a:solidFill>
                <a:latin typeface="Segoe UI Semilight"/>
                <a:cs typeface="Segoe UI Semilight"/>
              </a:rPr>
              <a:t>Get the </a:t>
            </a:r>
            <a:br>
              <a:rPr lang="en-US" sz="800" dirty="0">
                <a:solidFill>
                  <a:srgbClr val="4B0045"/>
                </a:solidFill>
                <a:latin typeface="Segoe UI Semilight"/>
                <a:cs typeface="Segoe UI Semilight"/>
              </a:rPr>
            </a:br>
            <a:r>
              <a:rPr lang="en-US" sz="800" dirty="0">
                <a:solidFill>
                  <a:srgbClr val="4B0045"/>
                </a:solidFill>
                <a:latin typeface="Segoe UI Semilight"/>
                <a:cs typeface="Segoe UI Semilight"/>
              </a:rPr>
              <a:t>most out </a:t>
            </a:r>
            <a:br>
              <a:rPr lang="en-US" sz="800" dirty="0">
                <a:solidFill>
                  <a:srgbClr val="4B0045"/>
                </a:solidFill>
                <a:latin typeface="Segoe UI Semilight"/>
                <a:cs typeface="Segoe UI Semilight"/>
              </a:rPr>
            </a:br>
            <a:r>
              <a:rPr lang="en-US" sz="800" dirty="0">
                <a:solidFill>
                  <a:srgbClr val="4B0045"/>
                </a:solidFill>
                <a:latin typeface="Segoe UI Semilight"/>
                <a:cs typeface="Segoe UI Semilight"/>
              </a:rPr>
              <a:t>of your</a:t>
            </a:r>
          </a:p>
          <a:p>
            <a:pPr algn="ctr" defTabSz="913949"/>
            <a:r>
              <a:rPr lang="en-US" sz="800" dirty="0">
                <a:solidFill>
                  <a:srgbClr val="4B0045"/>
                </a:solidFill>
                <a:latin typeface="Segoe UI Semilight"/>
                <a:cs typeface="Segoe UI Semilight"/>
              </a:rPr>
              <a:t>technology</a:t>
            </a:r>
          </a:p>
        </p:txBody>
      </p:sp>
    </p:spTree>
    <p:extLst>
      <p:ext uri="{BB962C8B-B14F-4D97-AF65-F5344CB8AC3E}">
        <p14:creationId xmlns:p14="http://schemas.microsoft.com/office/powerpoint/2010/main" val="3907941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27" b="14935"/>
          <a:stretch/>
        </p:blipFill>
        <p:spPr>
          <a:xfrm>
            <a:off x="2319438" y="925138"/>
            <a:ext cx="5077140" cy="2688087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6299861" y="1021133"/>
            <a:ext cx="3995928" cy="299923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60" r="5861"/>
          <a:stretch/>
        </p:blipFill>
        <p:spPr>
          <a:xfrm>
            <a:off x="6299861" y="1021133"/>
            <a:ext cx="3995928" cy="2999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853575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1725683" y="1074588"/>
            <a:ext cx="8742376" cy="674692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3970" dirty="0"/>
              <a:t>Icons</a:t>
            </a:r>
          </a:p>
        </p:txBody>
      </p:sp>
      <p:sp>
        <p:nvSpPr>
          <p:cNvPr id="6" name="Freeform 78"/>
          <p:cNvSpPr>
            <a:spLocks noEditPoints="1"/>
          </p:cNvSpPr>
          <p:nvPr/>
        </p:nvSpPr>
        <p:spPr bwMode="black">
          <a:xfrm>
            <a:off x="1962592" y="4001352"/>
            <a:ext cx="160462" cy="160462"/>
          </a:xfrm>
          <a:custGeom>
            <a:avLst/>
            <a:gdLst>
              <a:gd name="T0" fmla="*/ 69 w 69"/>
              <a:gd name="T1" fmla="*/ 0 h 69"/>
              <a:gd name="T2" fmla="*/ 69 w 69"/>
              <a:gd name="T3" fmla="*/ 69 h 69"/>
              <a:gd name="T4" fmla="*/ 23 w 69"/>
              <a:gd name="T5" fmla="*/ 34 h 69"/>
              <a:gd name="T6" fmla="*/ 69 w 69"/>
              <a:gd name="T7" fmla="*/ 0 h 69"/>
              <a:gd name="T8" fmla="*/ 0 w 69"/>
              <a:gd name="T9" fmla="*/ 66 h 69"/>
              <a:gd name="T10" fmla="*/ 15 w 69"/>
              <a:gd name="T11" fmla="*/ 66 h 69"/>
              <a:gd name="T12" fmla="*/ 15 w 69"/>
              <a:gd name="T13" fmla="*/ 3 h 69"/>
              <a:gd name="T14" fmla="*/ 0 w 69"/>
              <a:gd name="T15" fmla="*/ 3 h 69"/>
              <a:gd name="T16" fmla="*/ 0 w 69"/>
              <a:gd name="T17" fmla="*/ 66 h 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9" h="69">
                <a:moveTo>
                  <a:pt x="69" y="0"/>
                </a:moveTo>
                <a:lnTo>
                  <a:pt x="69" y="69"/>
                </a:lnTo>
                <a:lnTo>
                  <a:pt x="23" y="34"/>
                </a:lnTo>
                <a:lnTo>
                  <a:pt x="69" y="0"/>
                </a:lnTo>
                <a:close/>
                <a:moveTo>
                  <a:pt x="0" y="66"/>
                </a:moveTo>
                <a:lnTo>
                  <a:pt x="15" y="66"/>
                </a:lnTo>
                <a:lnTo>
                  <a:pt x="15" y="3"/>
                </a:lnTo>
                <a:lnTo>
                  <a:pt x="0" y="3"/>
                </a:lnTo>
                <a:lnTo>
                  <a:pt x="0" y="6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7" name="Freeform 79"/>
          <p:cNvSpPr>
            <a:spLocks/>
          </p:cNvSpPr>
          <p:nvPr/>
        </p:nvSpPr>
        <p:spPr bwMode="black">
          <a:xfrm>
            <a:off x="1890502" y="2619944"/>
            <a:ext cx="304646" cy="223252"/>
          </a:xfrm>
          <a:custGeom>
            <a:avLst/>
            <a:gdLst>
              <a:gd name="T0" fmla="*/ 45 w 131"/>
              <a:gd name="T1" fmla="*/ 60 h 96"/>
              <a:gd name="T2" fmla="*/ 83 w 131"/>
              <a:gd name="T3" fmla="*/ 96 h 96"/>
              <a:gd name="T4" fmla="*/ 51 w 131"/>
              <a:gd name="T5" fmla="*/ 96 h 96"/>
              <a:gd name="T6" fmla="*/ 0 w 131"/>
              <a:gd name="T7" fmla="*/ 47 h 96"/>
              <a:gd name="T8" fmla="*/ 51 w 131"/>
              <a:gd name="T9" fmla="*/ 0 h 96"/>
              <a:gd name="T10" fmla="*/ 83 w 131"/>
              <a:gd name="T11" fmla="*/ 0 h 96"/>
              <a:gd name="T12" fmla="*/ 45 w 131"/>
              <a:gd name="T13" fmla="*/ 35 h 96"/>
              <a:gd name="T14" fmla="*/ 131 w 131"/>
              <a:gd name="T15" fmla="*/ 35 h 96"/>
              <a:gd name="T16" fmla="*/ 131 w 131"/>
              <a:gd name="T17" fmla="*/ 60 h 96"/>
              <a:gd name="T18" fmla="*/ 45 w 131"/>
              <a:gd name="T19" fmla="*/ 60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31" h="96">
                <a:moveTo>
                  <a:pt x="45" y="60"/>
                </a:moveTo>
                <a:lnTo>
                  <a:pt x="83" y="96"/>
                </a:lnTo>
                <a:lnTo>
                  <a:pt x="51" y="96"/>
                </a:lnTo>
                <a:lnTo>
                  <a:pt x="0" y="47"/>
                </a:lnTo>
                <a:lnTo>
                  <a:pt x="51" y="0"/>
                </a:lnTo>
                <a:lnTo>
                  <a:pt x="83" y="0"/>
                </a:lnTo>
                <a:lnTo>
                  <a:pt x="45" y="35"/>
                </a:lnTo>
                <a:lnTo>
                  <a:pt x="131" y="35"/>
                </a:lnTo>
                <a:lnTo>
                  <a:pt x="131" y="60"/>
                </a:lnTo>
                <a:lnTo>
                  <a:pt x="45" y="6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8" name="Freeform 80"/>
          <p:cNvSpPr>
            <a:spLocks/>
          </p:cNvSpPr>
          <p:nvPr/>
        </p:nvSpPr>
        <p:spPr bwMode="black">
          <a:xfrm>
            <a:off x="1942826" y="5331598"/>
            <a:ext cx="199996" cy="199997"/>
          </a:xfrm>
          <a:custGeom>
            <a:avLst/>
            <a:gdLst>
              <a:gd name="T0" fmla="*/ 59 w 86"/>
              <a:gd name="T1" fmla="*/ 0 h 86"/>
              <a:gd name="T2" fmla="*/ 5 w 86"/>
              <a:gd name="T3" fmla="*/ 56 h 86"/>
              <a:gd name="T4" fmla="*/ 0 w 86"/>
              <a:gd name="T5" fmla="*/ 86 h 86"/>
              <a:gd name="T6" fmla="*/ 31 w 86"/>
              <a:gd name="T7" fmla="*/ 81 h 86"/>
              <a:gd name="T8" fmla="*/ 86 w 86"/>
              <a:gd name="T9" fmla="*/ 26 h 86"/>
              <a:gd name="T10" fmla="*/ 59 w 86"/>
              <a:gd name="T11" fmla="*/ 0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6" h="86">
                <a:moveTo>
                  <a:pt x="59" y="0"/>
                </a:moveTo>
                <a:lnTo>
                  <a:pt x="5" y="56"/>
                </a:lnTo>
                <a:lnTo>
                  <a:pt x="0" y="86"/>
                </a:lnTo>
                <a:lnTo>
                  <a:pt x="31" y="81"/>
                </a:lnTo>
                <a:lnTo>
                  <a:pt x="86" y="26"/>
                </a:lnTo>
                <a:lnTo>
                  <a:pt x="59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9" name="Freeform 81"/>
          <p:cNvSpPr>
            <a:spLocks noEditPoints="1"/>
          </p:cNvSpPr>
          <p:nvPr/>
        </p:nvSpPr>
        <p:spPr bwMode="black">
          <a:xfrm>
            <a:off x="1898643" y="3294951"/>
            <a:ext cx="288365" cy="223252"/>
          </a:xfrm>
          <a:custGeom>
            <a:avLst/>
            <a:gdLst>
              <a:gd name="T0" fmla="*/ 71 w 75"/>
              <a:gd name="T1" fmla="*/ 58 h 58"/>
              <a:gd name="T2" fmla="*/ 4 w 75"/>
              <a:gd name="T3" fmla="*/ 58 h 58"/>
              <a:gd name="T4" fmla="*/ 0 w 75"/>
              <a:gd name="T5" fmla="*/ 54 h 58"/>
              <a:gd name="T6" fmla="*/ 0 w 75"/>
              <a:gd name="T7" fmla="*/ 4 h 58"/>
              <a:gd name="T8" fmla="*/ 4 w 75"/>
              <a:gd name="T9" fmla="*/ 0 h 58"/>
              <a:gd name="T10" fmla="*/ 71 w 75"/>
              <a:gd name="T11" fmla="*/ 0 h 58"/>
              <a:gd name="T12" fmla="*/ 75 w 75"/>
              <a:gd name="T13" fmla="*/ 4 h 58"/>
              <a:gd name="T14" fmla="*/ 75 w 75"/>
              <a:gd name="T15" fmla="*/ 54 h 58"/>
              <a:gd name="T16" fmla="*/ 71 w 75"/>
              <a:gd name="T17" fmla="*/ 58 h 58"/>
              <a:gd name="T18" fmla="*/ 8 w 75"/>
              <a:gd name="T19" fmla="*/ 50 h 58"/>
              <a:gd name="T20" fmla="*/ 67 w 75"/>
              <a:gd name="T21" fmla="*/ 50 h 58"/>
              <a:gd name="T22" fmla="*/ 67 w 75"/>
              <a:gd name="T23" fmla="*/ 16 h 58"/>
              <a:gd name="T24" fmla="*/ 39 w 75"/>
              <a:gd name="T25" fmla="*/ 38 h 58"/>
              <a:gd name="T26" fmla="*/ 35 w 75"/>
              <a:gd name="T27" fmla="*/ 38 h 58"/>
              <a:gd name="T28" fmla="*/ 8 w 75"/>
              <a:gd name="T29" fmla="*/ 17 h 58"/>
              <a:gd name="T30" fmla="*/ 8 w 75"/>
              <a:gd name="T31" fmla="*/ 50 h 58"/>
              <a:gd name="T32" fmla="*/ 9 w 75"/>
              <a:gd name="T33" fmla="*/ 8 h 58"/>
              <a:gd name="T34" fmla="*/ 37 w 75"/>
              <a:gd name="T35" fmla="*/ 30 h 58"/>
              <a:gd name="T36" fmla="*/ 65 w 75"/>
              <a:gd name="T37" fmla="*/ 8 h 58"/>
              <a:gd name="T38" fmla="*/ 9 w 75"/>
              <a:gd name="T39" fmla="*/ 8 h 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75" h="58">
                <a:moveTo>
                  <a:pt x="71" y="58"/>
                </a:moveTo>
                <a:cubicBezTo>
                  <a:pt x="4" y="58"/>
                  <a:pt x="4" y="58"/>
                  <a:pt x="4" y="58"/>
                </a:cubicBezTo>
                <a:cubicBezTo>
                  <a:pt x="2" y="58"/>
                  <a:pt x="0" y="56"/>
                  <a:pt x="0" y="54"/>
                </a:cubicBezTo>
                <a:cubicBezTo>
                  <a:pt x="0" y="4"/>
                  <a:pt x="0" y="4"/>
                  <a:pt x="0" y="4"/>
                </a:cubicBezTo>
                <a:cubicBezTo>
                  <a:pt x="0" y="2"/>
                  <a:pt x="2" y="0"/>
                  <a:pt x="4" y="0"/>
                </a:cubicBezTo>
                <a:cubicBezTo>
                  <a:pt x="71" y="0"/>
                  <a:pt x="71" y="0"/>
                  <a:pt x="71" y="0"/>
                </a:cubicBezTo>
                <a:cubicBezTo>
                  <a:pt x="73" y="0"/>
                  <a:pt x="75" y="2"/>
                  <a:pt x="75" y="4"/>
                </a:cubicBezTo>
                <a:cubicBezTo>
                  <a:pt x="75" y="54"/>
                  <a:pt x="75" y="54"/>
                  <a:pt x="75" y="54"/>
                </a:cubicBezTo>
                <a:cubicBezTo>
                  <a:pt x="75" y="56"/>
                  <a:pt x="73" y="58"/>
                  <a:pt x="71" y="58"/>
                </a:cubicBezTo>
                <a:close/>
                <a:moveTo>
                  <a:pt x="8" y="50"/>
                </a:moveTo>
                <a:cubicBezTo>
                  <a:pt x="67" y="50"/>
                  <a:pt x="67" y="50"/>
                  <a:pt x="67" y="50"/>
                </a:cubicBezTo>
                <a:cubicBezTo>
                  <a:pt x="67" y="16"/>
                  <a:pt x="67" y="16"/>
                  <a:pt x="67" y="16"/>
                </a:cubicBezTo>
                <a:cubicBezTo>
                  <a:pt x="39" y="38"/>
                  <a:pt x="39" y="38"/>
                  <a:pt x="39" y="38"/>
                </a:cubicBezTo>
                <a:cubicBezTo>
                  <a:pt x="38" y="39"/>
                  <a:pt x="36" y="39"/>
                  <a:pt x="35" y="38"/>
                </a:cubicBezTo>
                <a:cubicBezTo>
                  <a:pt x="8" y="17"/>
                  <a:pt x="8" y="17"/>
                  <a:pt x="8" y="17"/>
                </a:cubicBezTo>
                <a:lnTo>
                  <a:pt x="8" y="50"/>
                </a:lnTo>
                <a:close/>
                <a:moveTo>
                  <a:pt x="9" y="8"/>
                </a:moveTo>
                <a:cubicBezTo>
                  <a:pt x="37" y="30"/>
                  <a:pt x="37" y="30"/>
                  <a:pt x="37" y="30"/>
                </a:cubicBezTo>
                <a:cubicBezTo>
                  <a:pt x="65" y="8"/>
                  <a:pt x="65" y="8"/>
                  <a:pt x="65" y="8"/>
                </a:cubicBezTo>
                <a:lnTo>
                  <a:pt x="9" y="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10" name="Freeform 82"/>
          <p:cNvSpPr>
            <a:spLocks noEditPoints="1"/>
          </p:cNvSpPr>
          <p:nvPr/>
        </p:nvSpPr>
        <p:spPr bwMode="black">
          <a:xfrm>
            <a:off x="8535967" y="2537389"/>
            <a:ext cx="462780" cy="388360"/>
          </a:xfrm>
          <a:custGeom>
            <a:avLst/>
            <a:gdLst>
              <a:gd name="T0" fmla="*/ 52 w 120"/>
              <a:gd name="T1" fmla="*/ 6 h 101"/>
              <a:gd name="T2" fmla="*/ 23 w 120"/>
              <a:gd name="T3" fmla="*/ 48 h 101"/>
              <a:gd name="T4" fmla="*/ 0 w 120"/>
              <a:gd name="T5" fmla="*/ 29 h 101"/>
              <a:gd name="T6" fmla="*/ 7 w 120"/>
              <a:gd name="T7" fmla="*/ 21 h 101"/>
              <a:gd name="T8" fmla="*/ 21 w 120"/>
              <a:gd name="T9" fmla="*/ 33 h 101"/>
              <a:gd name="T10" fmla="*/ 43 w 120"/>
              <a:gd name="T11" fmla="*/ 0 h 101"/>
              <a:gd name="T12" fmla="*/ 52 w 120"/>
              <a:gd name="T13" fmla="*/ 6 h 101"/>
              <a:gd name="T14" fmla="*/ 118 w 120"/>
              <a:gd name="T15" fmla="*/ 44 h 101"/>
              <a:gd name="T16" fmla="*/ 117 w 120"/>
              <a:gd name="T17" fmla="*/ 44 h 101"/>
              <a:gd name="T18" fmla="*/ 108 w 120"/>
              <a:gd name="T19" fmla="*/ 44 h 101"/>
              <a:gd name="T20" fmla="*/ 107 w 120"/>
              <a:gd name="T21" fmla="*/ 44 h 101"/>
              <a:gd name="T22" fmla="*/ 105 w 120"/>
              <a:gd name="T23" fmla="*/ 44 h 101"/>
              <a:gd name="T24" fmla="*/ 103 w 120"/>
              <a:gd name="T25" fmla="*/ 52 h 101"/>
              <a:gd name="T26" fmla="*/ 56 w 120"/>
              <a:gd name="T27" fmla="*/ 52 h 101"/>
              <a:gd name="T28" fmla="*/ 53 w 120"/>
              <a:gd name="T29" fmla="*/ 52 h 101"/>
              <a:gd name="T30" fmla="*/ 50 w 120"/>
              <a:gd name="T31" fmla="*/ 52 h 101"/>
              <a:gd name="T32" fmla="*/ 51 w 120"/>
              <a:gd name="T33" fmla="*/ 55 h 101"/>
              <a:gd name="T34" fmla="*/ 51 w 120"/>
              <a:gd name="T35" fmla="*/ 55 h 101"/>
              <a:gd name="T36" fmla="*/ 56 w 120"/>
              <a:gd name="T37" fmla="*/ 80 h 101"/>
              <a:gd name="T38" fmla="*/ 57 w 120"/>
              <a:gd name="T39" fmla="*/ 81 h 101"/>
              <a:gd name="T40" fmla="*/ 57 w 120"/>
              <a:gd name="T41" fmla="*/ 82 h 101"/>
              <a:gd name="T42" fmla="*/ 59 w 120"/>
              <a:gd name="T43" fmla="*/ 82 h 101"/>
              <a:gd name="T44" fmla="*/ 59 w 120"/>
              <a:gd name="T45" fmla="*/ 82 h 101"/>
              <a:gd name="T46" fmla="*/ 96 w 120"/>
              <a:gd name="T47" fmla="*/ 82 h 101"/>
              <a:gd name="T48" fmla="*/ 95 w 120"/>
              <a:gd name="T49" fmla="*/ 87 h 101"/>
              <a:gd name="T50" fmla="*/ 56 w 120"/>
              <a:gd name="T51" fmla="*/ 87 h 101"/>
              <a:gd name="T52" fmla="*/ 55 w 120"/>
              <a:gd name="T53" fmla="*/ 87 h 101"/>
              <a:gd name="T54" fmla="*/ 53 w 120"/>
              <a:gd name="T55" fmla="*/ 87 h 101"/>
              <a:gd name="T56" fmla="*/ 53 w 120"/>
              <a:gd name="T57" fmla="*/ 92 h 101"/>
              <a:gd name="T58" fmla="*/ 55 w 120"/>
              <a:gd name="T59" fmla="*/ 92 h 101"/>
              <a:gd name="T60" fmla="*/ 55 w 120"/>
              <a:gd name="T61" fmla="*/ 92 h 101"/>
              <a:gd name="T62" fmla="*/ 59 w 120"/>
              <a:gd name="T63" fmla="*/ 92 h 101"/>
              <a:gd name="T64" fmla="*/ 58 w 120"/>
              <a:gd name="T65" fmla="*/ 95 h 101"/>
              <a:gd name="T66" fmla="*/ 64 w 120"/>
              <a:gd name="T67" fmla="*/ 101 h 101"/>
              <a:gd name="T68" fmla="*/ 69 w 120"/>
              <a:gd name="T69" fmla="*/ 95 h 101"/>
              <a:gd name="T70" fmla="*/ 68 w 120"/>
              <a:gd name="T71" fmla="*/ 92 h 101"/>
              <a:gd name="T72" fmla="*/ 91 w 120"/>
              <a:gd name="T73" fmla="*/ 92 h 101"/>
              <a:gd name="T74" fmla="*/ 89 w 120"/>
              <a:gd name="T75" fmla="*/ 95 h 101"/>
              <a:gd name="T76" fmla="*/ 95 w 120"/>
              <a:gd name="T77" fmla="*/ 101 h 101"/>
              <a:gd name="T78" fmla="*/ 100 w 120"/>
              <a:gd name="T79" fmla="*/ 95 h 101"/>
              <a:gd name="T80" fmla="*/ 99 w 120"/>
              <a:gd name="T81" fmla="*/ 91 h 101"/>
              <a:gd name="T82" fmla="*/ 99 w 120"/>
              <a:gd name="T83" fmla="*/ 90 h 101"/>
              <a:gd name="T84" fmla="*/ 101 w 120"/>
              <a:gd name="T85" fmla="*/ 80 h 101"/>
              <a:gd name="T86" fmla="*/ 109 w 120"/>
              <a:gd name="T87" fmla="*/ 48 h 101"/>
              <a:gd name="T88" fmla="*/ 117 w 120"/>
              <a:gd name="T89" fmla="*/ 48 h 101"/>
              <a:gd name="T90" fmla="*/ 118 w 120"/>
              <a:gd name="T91" fmla="*/ 48 h 101"/>
              <a:gd name="T92" fmla="*/ 120 w 120"/>
              <a:gd name="T93" fmla="*/ 48 h 101"/>
              <a:gd name="T94" fmla="*/ 120 w 120"/>
              <a:gd name="T95" fmla="*/ 44 h 101"/>
              <a:gd name="T96" fmla="*/ 118 w 120"/>
              <a:gd name="T97" fmla="*/ 44 h 1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20" h="101">
                <a:moveTo>
                  <a:pt x="52" y="6"/>
                </a:moveTo>
                <a:cubicBezTo>
                  <a:pt x="23" y="48"/>
                  <a:pt x="23" y="48"/>
                  <a:pt x="23" y="48"/>
                </a:cubicBezTo>
                <a:cubicBezTo>
                  <a:pt x="0" y="29"/>
                  <a:pt x="0" y="29"/>
                  <a:pt x="0" y="29"/>
                </a:cubicBezTo>
                <a:cubicBezTo>
                  <a:pt x="7" y="21"/>
                  <a:pt x="7" y="21"/>
                  <a:pt x="7" y="21"/>
                </a:cubicBezTo>
                <a:cubicBezTo>
                  <a:pt x="21" y="33"/>
                  <a:pt x="21" y="33"/>
                  <a:pt x="21" y="33"/>
                </a:cubicBezTo>
                <a:cubicBezTo>
                  <a:pt x="43" y="0"/>
                  <a:pt x="43" y="0"/>
                  <a:pt x="43" y="0"/>
                </a:cubicBezTo>
                <a:lnTo>
                  <a:pt x="52" y="6"/>
                </a:lnTo>
                <a:close/>
                <a:moveTo>
                  <a:pt x="118" y="44"/>
                </a:moveTo>
                <a:cubicBezTo>
                  <a:pt x="117" y="44"/>
                  <a:pt x="117" y="44"/>
                  <a:pt x="117" y="44"/>
                </a:cubicBezTo>
                <a:cubicBezTo>
                  <a:pt x="108" y="44"/>
                  <a:pt x="108" y="44"/>
                  <a:pt x="108" y="44"/>
                </a:cubicBezTo>
                <a:cubicBezTo>
                  <a:pt x="107" y="44"/>
                  <a:pt x="107" y="44"/>
                  <a:pt x="107" y="44"/>
                </a:cubicBezTo>
                <a:cubicBezTo>
                  <a:pt x="105" y="44"/>
                  <a:pt x="105" y="44"/>
                  <a:pt x="105" y="44"/>
                </a:cubicBezTo>
                <a:cubicBezTo>
                  <a:pt x="103" y="52"/>
                  <a:pt x="103" y="52"/>
                  <a:pt x="103" y="52"/>
                </a:cubicBezTo>
                <a:cubicBezTo>
                  <a:pt x="56" y="52"/>
                  <a:pt x="56" y="52"/>
                  <a:pt x="56" y="52"/>
                </a:cubicBezTo>
                <a:cubicBezTo>
                  <a:pt x="53" y="52"/>
                  <a:pt x="53" y="52"/>
                  <a:pt x="53" y="52"/>
                </a:cubicBezTo>
                <a:cubicBezTo>
                  <a:pt x="50" y="52"/>
                  <a:pt x="50" y="52"/>
                  <a:pt x="50" y="52"/>
                </a:cubicBezTo>
                <a:cubicBezTo>
                  <a:pt x="51" y="55"/>
                  <a:pt x="51" y="55"/>
                  <a:pt x="51" y="55"/>
                </a:cubicBezTo>
                <a:cubicBezTo>
                  <a:pt x="51" y="55"/>
                  <a:pt x="51" y="55"/>
                  <a:pt x="51" y="55"/>
                </a:cubicBezTo>
                <a:cubicBezTo>
                  <a:pt x="56" y="80"/>
                  <a:pt x="56" y="80"/>
                  <a:pt x="56" y="80"/>
                </a:cubicBezTo>
                <a:cubicBezTo>
                  <a:pt x="56" y="81"/>
                  <a:pt x="57" y="81"/>
                  <a:pt x="57" y="81"/>
                </a:cubicBezTo>
                <a:cubicBezTo>
                  <a:pt x="57" y="82"/>
                  <a:pt x="57" y="82"/>
                  <a:pt x="57" y="82"/>
                </a:cubicBezTo>
                <a:cubicBezTo>
                  <a:pt x="59" y="82"/>
                  <a:pt x="59" y="82"/>
                  <a:pt x="59" y="82"/>
                </a:cubicBezTo>
                <a:cubicBezTo>
                  <a:pt x="59" y="82"/>
                  <a:pt x="59" y="82"/>
                  <a:pt x="59" y="82"/>
                </a:cubicBezTo>
                <a:cubicBezTo>
                  <a:pt x="96" y="82"/>
                  <a:pt x="96" y="82"/>
                  <a:pt x="96" y="82"/>
                </a:cubicBezTo>
                <a:cubicBezTo>
                  <a:pt x="95" y="87"/>
                  <a:pt x="95" y="87"/>
                  <a:pt x="95" y="87"/>
                </a:cubicBezTo>
                <a:cubicBezTo>
                  <a:pt x="56" y="87"/>
                  <a:pt x="56" y="87"/>
                  <a:pt x="56" y="87"/>
                </a:cubicBezTo>
                <a:cubicBezTo>
                  <a:pt x="55" y="87"/>
                  <a:pt x="55" y="87"/>
                  <a:pt x="55" y="87"/>
                </a:cubicBezTo>
                <a:cubicBezTo>
                  <a:pt x="53" y="87"/>
                  <a:pt x="53" y="87"/>
                  <a:pt x="53" y="87"/>
                </a:cubicBezTo>
                <a:cubicBezTo>
                  <a:pt x="53" y="92"/>
                  <a:pt x="53" y="92"/>
                  <a:pt x="53" y="92"/>
                </a:cubicBezTo>
                <a:cubicBezTo>
                  <a:pt x="55" y="92"/>
                  <a:pt x="55" y="92"/>
                  <a:pt x="55" y="92"/>
                </a:cubicBezTo>
                <a:cubicBezTo>
                  <a:pt x="55" y="92"/>
                  <a:pt x="55" y="92"/>
                  <a:pt x="55" y="92"/>
                </a:cubicBezTo>
                <a:cubicBezTo>
                  <a:pt x="59" y="92"/>
                  <a:pt x="59" y="92"/>
                  <a:pt x="59" y="92"/>
                </a:cubicBezTo>
                <a:cubicBezTo>
                  <a:pt x="59" y="93"/>
                  <a:pt x="58" y="94"/>
                  <a:pt x="58" y="95"/>
                </a:cubicBezTo>
                <a:cubicBezTo>
                  <a:pt x="58" y="98"/>
                  <a:pt x="61" y="101"/>
                  <a:pt x="64" y="101"/>
                </a:cubicBezTo>
                <a:cubicBezTo>
                  <a:pt x="67" y="101"/>
                  <a:pt x="69" y="98"/>
                  <a:pt x="69" y="95"/>
                </a:cubicBezTo>
                <a:cubicBezTo>
                  <a:pt x="69" y="94"/>
                  <a:pt x="69" y="93"/>
                  <a:pt x="68" y="92"/>
                </a:cubicBezTo>
                <a:cubicBezTo>
                  <a:pt x="91" y="92"/>
                  <a:pt x="91" y="92"/>
                  <a:pt x="91" y="92"/>
                </a:cubicBezTo>
                <a:cubicBezTo>
                  <a:pt x="90" y="93"/>
                  <a:pt x="89" y="94"/>
                  <a:pt x="89" y="95"/>
                </a:cubicBezTo>
                <a:cubicBezTo>
                  <a:pt x="89" y="98"/>
                  <a:pt x="92" y="101"/>
                  <a:pt x="95" y="101"/>
                </a:cubicBezTo>
                <a:cubicBezTo>
                  <a:pt x="98" y="101"/>
                  <a:pt x="100" y="98"/>
                  <a:pt x="100" y="95"/>
                </a:cubicBezTo>
                <a:cubicBezTo>
                  <a:pt x="100" y="94"/>
                  <a:pt x="100" y="92"/>
                  <a:pt x="99" y="91"/>
                </a:cubicBezTo>
                <a:cubicBezTo>
                  <a:pt x="99" y="91"/>
                  <a:pt x="99" y="90"/>
                  <a:pt x="99" y="90"/>
                </a:cubicBezTo>
                <a:cubicBezTo>
                  <a:pt x="101" y="80"/>
                  <a:pt x="101" y="80"/>
                  <a:pt x="101" y="80"/>
                </a:cubicBezTo>
                <a:cubicBezTo>
                  <a:pt x="109" y="48"/>
                  <a:pt x="109" y="48"/>
                  <a:pt x="109" y="48"/>
                </a:cubicBezTo>
                <a:cubicBezTo>
                  <a:pt x="117" y="48"/>
                  <a:pt x="117" y="48"/>
                  <a:pt x="117" y="48"/>
                </a:cubicBezTo>
                <a:cubicBezTo>
                  <a:pt x="118" y="48"/>
                  <a:pt x="118" y="48"/>
                  <a:pt x="118" y="48"/>
                </a:cubicBezTo>
                <a:cubicBezTo>
                  <a:pt x="120" y="48"/>
                  <a:pt x="120" y="48"/>
                  <a:pt x="120" y="48"/>
                </a:cubicBezTo>
                <a:cubicBezTo>
                  <a:pt x="120" y="44"/>
                  <a:pt x="120" y="44"/>
                  <a:pt x="120" y="44"/>
                </a:cubicBezTo>
                <a:lnTo>
                  <a:pt x="118" y="4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11" name="Freeform 83"/>
          <p:cNvSpPr>
            <a:spLocks noEditPoints="1"/>
          </p:cNvSpPr>
          <p:nvPr/>
        </p:nvSpPr>
        <p:spPr bwMode="black">
          <a:xfrm>
            <a:off x="1963756" y="4643804"/>
            <a:ext cx="158136" cy="225575"/>
          </a:xfrm>
          <a:custGeom>
            <a:avLst/>
            <a:gdLst>
              <a:gd name="T0" fmla="*/ 0 w 68"/>
              <a:gd name="T1" fmla="*/ 0 h 97"/>
              <a:gd name="T2" fmla="*/ 20 w 68"/>
              <a:gd name="T3" fmla="*/ 0 h 97"/>
              <a:gd name="T4" fmla="*/ 20 w 68"/>
              <a:gd name="T5" fmla="*/ 97 h 97"/>
              <a:gd name="T6" fmla="*/ 0 w 68"/>
              <a:gd name="T7" fmla="*/ 97 h 97"/>
              <a:gd name="T8" fmla="*/ 0 w 68"/>
              <a:gd name="T9" fmla="*/ 0 h 97"/>
              <a:gd name="T10" fmla="*/ 48 w 68"/>
              <a:gd name="T11" fmla="*/ 97 h 97"/>
              <a:gd name="T12" fmla="*/ 68 w 68"/>
              <a:gd name="T13" fmla="*/ 97 h 97"/>
              <a:gd name="T14" fmla="*/ 68 w 68"/>
              <a:gd name="T15" fmla="*/ 0 h 97"/>
              <a:gd name="T16" fmla="*/ 48 w 68"/>
              <a:gd name="T17" fmla="*/ 0 h 97"/>
              <a:gd name="T18" fmla="*/ 48 w 68"/>
              <a:gd name="T19" fmla="*/ 97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68" h="97">
                <a:moveTo>
                  <a:pt x="0" y="0"/>
                </a:moveTo>
                <a:lnTo>
                  <a:pt x="20" y="0"/>
                </a:lnTo>
                <a:lnTo>
                  <a:pt x="20" y="97"/>
                </a:lnTo>
                <a:lnTo>
                  <a:pt x="0" y="97"/>
                </a:lnTo>
                <a:lnTo>
                  <a:pt x="0" y="0"/>
                </a:lnTo>
                <a:close/>
                <a:moveTo>
                  <a:pt x="48" y="97"/>
                </a:moveTo>
                <a:lnTo>
                  <a:pt x="68" y="97"/>
                </a:lnTo>
                <a:lnTo>
                  <a:pt x="68" y="0"/>
                </a:lnTo>
                <a:lnTo>
                  <a:pt x="48" y="0"/>
                </a:lnTo>
                <a:lnTo>
                  <a:pt x="48" y="9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12" name="Rectangle 84"/>
          <p:cNvSpPr>
            <a:spLocks noChangeArrowheads="1"/>
          </p:cNvSpPr>
          <p:nvPr/>
        </p:nvSpPr>
        <p:spPr bwMode="black">
          <a:xfrm>
            <a:off x="5331837" y="4008332"/>
            <a:ext cx="146506" cy="146506"/>
          </a:xfrm>
          <a:prstGeom prst="rect">
            <a:avLst/>
          </a:prstGeom>
          <a:solidFill>
            <a:srgbClr val="FFFFFF"/>
          </a:solidFill>
          <a:ln>
            <a:noFill/>
          </a:ln>
          <a:extLst/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13" name="Freeform 85"/>
          <p:cNvSpPr>
            <a:spLocks noEditPoints="1"/>
          </p:cNvSpPr>
          <p:nvPr/>
        </p:nvSpPr>
        <p:spPr bwMode="black">
          <a:xfrm>
            <a:off x="3921816" y="4004845"/>
            <a:ext cx="276738" cy="153486"/>
          </a:xfrm>
          <a:custGeom>
            <a:avLst/>
            <a:gdLst>
              <a:gd name="T0" fmla="*/ 97 w 119"/>
              <a:gd name="T1" fmla="*/ 33 h 66"/>
              <a:gd name="T2" fmla="*/ 54 w 119"/>
              <a:gd name="T3" fmla="*/ 66 h 66"/>
              <a:gd name="T4" fmla="*/ 54 w 119"/>
              <a:gd name="T5" fmla="*/ 0 h 66"/>
              <a:gd name="T6" fmla="*/ 97 w 119"/>
              <a:gd name="T7" fmla="*/ 33 h 66"/>
              <a:gd name="T8" fmla="*/ 0 w 119"/>
              <a:gd name="T9" fmla="*/ 0 h 66"/>
              <a:gd name="T10" fmla="*/ 0 w 119"/>
              <a:gd name="T11" fmla="*/ 66 h 66"/>
              <a:gd name="T12" fmla="*/ 43 w 119"/>
              <a:gd name="T13" fmla="*/ 33 h 66"/>
              <a:gd name="T14" fmla="*/ 0 w 119"/>
              <a:gd name="T15" fmla="*/ 0 h 66"/>
              <a:gd name="T16" fmla="*/ 119 w 119"/>
              <a:gd name="T17" fmla="*/ 3 h 66"/>
              <a:gd name="T18" fmla="*/ 106 w 119"/>
              <a:gd name="T19" fmla="*/ 3 h 66"/>
              <a:gd name="T20" fmla="*/ 106 w 119"/>
              <a:gd name="T21" fmla="*/ 63 h 66"/>
              <a:gd name="T22" fmla="*/ 119 w 119"/>
              <a:gd name="T23" fmla="*/ 63 h 66"/>
              <a:gd name="T24" fmla="*/ 119 w 119"/>
              <a:gd name="T25" fmla="*/ 3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19" h="66">
                <a:moveTo>
                  <a:pt x="97" y="33"/>
                </a:moveTo>
                <a:lnTo>
                  <a:pt x="54" y="66"/>
                </a:lnTo>
                <a:lnTo>
                  <a:pt x="54" y="0"/>
                </a:lnTo>
                <a:lnTo>
                  <a:pt x="97" y="33"/>
                </a:lnTo>
                <a:close/>
                <a:moveTo>
                  <a:pt x="0" y="0"/>
                </a:moveTo>
                <a:lnTo>
                  <a:pt x="0" y="66"/>
                </a:lnTo>
                <a:lnTo>
                  <a:pt x="43" y="33"/>
                </a:lnTo>
                <a:lnTo>
                  <a:pt x="0" y="0"/>
                </a:lnTo>
                <a:close/>
                <a:moveTo>
                  <a:pt x="119" y="3"/>
                </a:moveTo>
                <a:lnTo>
                  <a:pt x="106" y="3"/>
                </a:lnTo>
                <a:lnTo>
                  <a:pt x="106" y="63"/>
                </a:lnTo>
                <a:lnTo>
                  <a:pt x="119" y="63"/>
                </a:lnTo>
                <a:lnTo>
                  <a:pt x="119" y="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14" name="Freeform 86"/>
          <p:cNvSpPr>
            <a:spLocks/>
          </p:cNvSpPr>
          <p:nvPr/>
        </p:nvSpPr>
        <p:spPr bwMode="black">
          <a:xfrm>
            <a:off x="3910190" y="5289740"/>
            <a:ext cx="299994" cy="283715"/>
          </a:xfrm>
          <a:custGeom>
            <a:avLst/>
            <a:gdLst>
              <a:gd name="T0" fmla="*/ 89 w 129"/>
              <a:gd name="T1" fmla="*/ 76 h 122"/>
              <a:gd name="T2" fmla="*/ 129 w 129"/>
              <a:gd name="T3" fmla="*/ 48 h 122"/>
              <a:gd name="T4" fmla="*/ 81 w 129"/>
              <a:gd name="T5" fmla="*/ 48 h 122"/>
              <a:gd name="T6" fmla="*/ 64 w 129"/>
              <a:gd name="T7" fmla="*/ 0 h 122"/>
              <a:gd name="T8" fmla="*/ 49 w 129"/>
              <a:gd name="T9" fmla="*/ 48 h 122"/>
              <a:gd name="T10" fmla="*/ 0 w 129"/>
              <a:gd name="T11" fmla="*/ 48 h 122"/>
              <a:gd name="T12" fmla="*/ 39 w 129"/>
              <a:gd name="T13" fmla="*/ 76 h 122"/>
              <a:gd name="T14" fmla="*/ 25 w 129"/>
              <a:gd name="T15" fmla="*/ 122 h 122"/>
              <a:gd name="T16" fmla="*/ 64 w 129"/>
              <a:gd name="T17" fmla="*/ 94 h 122"/>
              <a:gd name="T18" fmla="*/ 104 w 129"/>
              <a:gd name="T19" fmla="*/ 122 h 122"/>
              <a:gd name="T20" fmla="*/ 89 w 129"/>
              <a:gd name="T21" fmla="*/ 76 h 1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29" h="122">
                <a:moveTo>
                  <a:pt x="89" y="76"/>
                </a:moveTo>
                <a:lnTo>
                  <a:pt x="129" y="48"/>
                </a:lnTo>
                <a:lnTo>
                  <a:pt x="81" y="48"/>
                </a:lnTo>
                <a:lnTo>
                  <a:pt x="64" y="0"/>
                </a:lnTo>
                <a:lnTo>
                  <a:pt x="49" y="48"/>
                </a:lnTo>
                <a:lnTo>
                  <a:pt x="0" y="48"/>
                </a:lnTo>
                <a:lnTo>
                  <a:pt x="39" y="76"/>
                </a:lnTo>
                <a:lnTo>
                  <a:pt x="25" y="122"/>
                </a:lnTo>
                <a:lnTo>
                  <a:pt x="64" y="94"/>
                </a:lnTo>
                <a:lnTo>
                  <a:pt x="104" y="122"/>
                </a:lnTo>
                <a:lnTo>
                  <a:pt x="89" y="7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15" name="Freeform 87"/>
          <p:cNvSpPr>
            <a:spLocks noEditPoints="1"/>
          </p:cNvSpPr>
          <p:nvPr/>
        </p:nvSpPr>
        <p:spPr bwMode="black">
          <a:xfrm>
            <a:off x="4594269" y="4004845"/>
            <a:ext cx="276738" cy="153486"/>
          </a:xfrm>
          <a:custGeom>
            <a:avLst/>
            <a:gdLst>
              <a:gd name="T0" fmla="*/ 67 w 119"/>
              <a:gd name="T1" fmla="*/ 0 h 66"/>
              <a:gd name="T2" fmla="*/ 67 w 119"/>
              <a:gd name="T3" fmla="*/ 66 h 66"/>
              <a:gd name="T4" fmla="*/ 23 w 119"/>
              <a:gd name="T5" fmla="*/ 33 h 66"/>
              <a:gd name="T6" fmla="*/ 67 w 119"/>
              <a:gd name="T7" fmla="*/ 0 h 66"/>
              <a:gd name="T8" fmla="*/ 76 w 119"/>
              <a:gd name="T9" fmla="*/ 33 h 66"/>
              <a:gd name="T10" fmla="*/ 119 w 119"/>
              <a:gd name="T11" fmla="*/ 66 h 66"/>
              <a:gd name="T12" fmla="*/ 119 w 119"/>
              <a:gd name="T13" fmla="*/ 0 h 66"/>
              <a:gd name="T14" fmla="*/ 76 w 119"/>
              <a:gd name="T15" fmla="*/ 33 h 66"/>
              <a:gd name="T16" fmla="*/ 0 w 119"/>
              <a:gd name="T17" fmla="*/ 63 h 66"/>
              <a:gd name="T18" fmla="*/ 14 w 119"/>
              <a:gd name="T19" fmla="*/ 63 h 66"/>
              <a:gd name="T20" fmla="*/ 14 w 119"/>
              <a:gd name="T21" fmla="*/ 3 h 66"/>
              <a:gd name="T22" fmla="*/ 0 w 119"/>
              <a:gd name="T23" fmla="*/ 3 h 66"/>
              <a:gd name="T24" fmla="*/ 0 w 119"/>
              <a:gd name="T25" fmla="*/ 63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19" h="66">
                <a:moveTo>
                  <a:pt x="67" y="0"/>
                </a:moveTo>
                <a:lnTo>
                  <a:pt x="67" y="66"/>
                </a:lnTo>
                <a:lnTo>
                  <a:pt x="23" y="33"/>
                </a:lnTo>
                <a:lnTo>
                  <a:pt x="67" y="0"/>
                </a:lnTo>
                <a:close/>
                <a:moveTo>
                  <a:pt x="76" y="33"/>
                </a:moveTo>
                <a:lnTo>
                  <a:pt x="119" y="66"/>
                </a:lnTo>
                <a:lnTo>
                  <a:pt x="119" y="0"/>
                </a:lnTo>
                <a:lnTo>
                  <a:pt x="76" y="33"/>
                </a:lnTo>
                <a:close/>
                <a:moveTo>
                  <a:pt x="0" y="63"/>
                </a:moveTo>
                <a:lnTo>
                  <a:pt x="14" y="63"/>
                </a:lnTo>
                <a:lnTo>
                  <a:pt x="14" y="3"/>
                </a:lnTo>
                <a:lnTo>
                  <a:pt x="0" y="3"/>
                </a:lnTo>
                <a:lnTo>
                  <a:pt x="0" y="6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16" name="Freeform 90"/>
          <p:cNvSpPr>
            <a:spLocks noEditPoints="1"/>
          </p:cNvSpPr>
          <p:nvPr/>
        </p:nvSpPr>
        <p:spPr bwMode="black">
          <a:xfrm>
            <a:off x="6632557" y="4001354"/>
            <a:ext cx="234876" cy="160462"/>
          </a:xfrm>
          <a:custGeom>
            <a:avLst/>
            <a:gdLst>
              <a:gd name="T0" fmla="*/ 44 w 101"/>
              <a:gd name="T1" fmla="*/ 0 h 69"/>
              <a:gd name="T2" fmla="*/ 44 w 101"/>
              <a:gd name="T3" fmla="*/ 69 h 69"/>
              <a:gd name="T4" fmla="*/ 0 w 101"/>
              <a:gd name="T5" fmla="*/ 35 h 69"/>
              <a:gd name="T6" fmla="*/ 44 w 101"/>
              <a:gd name="T7" fmla="*/ 0 h 69"/>
              <a:gd name="T8" fmla="*/ 56 w 101"/>
              <a:gd name="T9" fmla="*/ 35 h 69"/>
              <a:gd name="T10" fmla="*/ 101 w 101"/>
              <a:gd name="T11" fmla="*/ 69 h 69"/>
              <a:gd name="T12" fmla="*/ 101 w 101"/>
              <a:gd name="T13" fmla="*/ 0 h 69"/>
              <a:gd name="T14" fmla="*/ 56 w 101"/>
              <a:gd name="T15" fmla="*/ 35 h 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01" h="69">
                <a:moveTo>
                  <a:pt x="44" y="0"/>
                </a:moveTo>
                <a:lnTo>
                  <a:pt x="44" y="69"/>
                </a:lnTo>
                <a:lnTo>
                  <a:pt x="0" y="35"/>
                </a:lnTo>
                <a:lnTo>
                  <a:pt x="44" y="0"/>
                </a:lnTo>
                <a:close/>
                <a:moveTo>
                  <a:pt x="56" y="35"/>
                </a:moveTo>
                <a:lnTo>
                  <a:pt x="101" y="69"/>
                </a:lnTo>
                <a:lnTo>
                  <a:pt x="101" y="0"/>
                </a:lnTo>
                <a:lnTo>
                  <a:pt x="56" y="3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17" name="Freeform 91"/>
          <p:cNvSpPr>
            <a:spLocks/>
          </p:cNvSpPr>
          <p:nvPr/>
        </p:nvSpPr>
        <p:spPr bwMode="black">
          <a:xfrm>
            <a:off x="6582564" y="5323459"/>
            <a:ext cx="334875" cy="216275"/>
          </a:xfrm>
          <a:custGeom>
            <a:avLst/>
            <a:gdLst>
              <a:gd name="T0" fmla="*/ 69 w 87"/>
              <a:gd name="T1" fmla="*/ 7 h 56"/>
              <a:gd name="T2" fmla="*/ 43 w 87"/>
              <a:gd name="T3" fmla="*/ 13 h 56"/>
              <a:gd name="T4" fmla="*/ 17 w 87"/>
              <a:gd name="T5" fmla="*/ 7 h 56"/>
              <a:gd name="T6" fmla="*/ 43 w 87"/>
              <a:gd name="T7" fmla="*/ 55 h 56"/>
              <a:gd name="T8" fmla="*/ 43 w 87"/>
              <a:gd name="T9" fmla="*/ 56 h 56"/>
              <a:gd name="T10" fmla="*/ 43 w 87"/>
              <a:gd name="T11" fmla="*/ 55 h 56"/>
              <a:gd name="T12" fmla="*/ 43 w 87"/>
              <a:gd name="T13" fmla="*/ 56 h 56"/>
              <a:gd name="T14" fmla="*/ 43 w 87"/>
              <a:gd name="T15" fmla="*/ 55 h 56"/>
              <a:gd name="T16" fmla="*/ 69 w 87"/>
              <a:gd name="T17" fmla="*/ 7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87" h="56">
                <a:moveTo>
                  <a:pt x="69" y="7"/>
                </a:moveTo>
                <a:cubicBezTo>
                  <a:pt x="63" y="0"/>
                  <a:pt x="51" y="3"/>
                  <a:pt x="43" y="13"/>
                </a:cubicBezTo>
                <a:cubicBezTo>
                  <a:pt x="34" y="2"/>
                  <a:pt x="23" y="0"/>
                  <a:pt x="17" y="7"/>
                </a:cubicBezTo>
                <a:cubicBezTo>
                  <a:pt x="0" y="25"/>
                  <a:pt x="36" y="52"/>
                  <a:pt x="43" y="55"/>
                </a:cubicBezTo>
                <a:cubicBezTo>
                  <a:pt x="43" y="56"/>
                  <a:pt x="43" y="56"/>
                  <a:pt x="43" y="56"/>
                </a:cubicBezTo>
                <a:cubicBezTo>
                  <a:pt x="43" y="55"/>
                  <a:pt x="43" y="55"/>
                  <a:pt x="43" y="55"/>
                </a:cubicBezTo>
                <a:cubicBezTo>
                  <a:pt x="43" y="55"/>
                  <a:pt x="43" y="55"/>
                  <a:pt x="43" y="56"/>
                </a:cubicBezTo>
                <a:cubicBezTo>
                  <a:pt x="43" y="55"/>
                  <a:pt x="43" y="55"/>
                  <a:pt x="43" y="55"/>
                </a:cubicBezTo>
                <a:cubicBezTo>
                  <a:pt x="50" y="52"/>
                  <a:pt x="87" y="25"/>
                  <a:pt x="69" y="7"/>
                </a:cubicBezTo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18" name="Freeform 92"/>
          <p:cNvSpPr>
            <a:spLocks noEditPoints="1"/>
          </p:cNvSpPr>
          <p:nvPr/>
        </p:nvSpPr>
        <p:spPr bwMode="black">
          <a:xfrm>
            <a:off x="6656974" y="4629850"/>
            <a:ext cx="186042" cy="253482"/>
          </a:xfrm>
          <a:custGeom>
            <a:avLst/>
            <a:gdLst>
              <a:gd name="T0" fmla="*/ 15 w 48"/>
              <a:gd name="T1" fmla="*/ 11 h 66"/>
              <a:gd name="T2" fmla="*/ 24 w 48"/>
              <a:gd name="T3" fmla="*/ 9 h 66"/>
              <a:gd name="T4" fmla="*/ 33 w 48"/>
              <a:gd name="T5" fmla="*/ 11 h 66"/>
              <a:gd name="T6" fmla="*/ 35 w 48"/>
              <a:gd name="T7" fmla="*/ 23 h 66"/>
              <a:gd name="T8" fmla="*/ 35 w 48"/>
              <a:gd name="T9" fmla="*/ 25 h 66"/>
              <a:gd name="T10" fmla="*/ 35 w 48"/>
              <a:gd name="T11" fmla="*/ 27 h 66"/>
              <a:gd name="T12" fmla="*/ 14 w 48"/>
              <a:gd name="T13" fmla="*/ 27 h 66"/>
              <a:gd name="T14" fmla="*/ 14 w 48"/>
              <a:gd name="T15" fmla="*/ 25 h 66"/>
              <a:gd name="T16" fmla="*/ 14 w 48"/>
              <a:gd name="T17" fmla="*/ 22 h 66"/>
              <a:gd name="T18" fmla="*/ 15 w 48"/>
              <a:gd name="T19" fmla="*/ 11 h 66"/>
              <a:gd name="T20" fmla="*/ 44 w 48"/>
              <a:gd name="T21" fmla="*/ 28 h 66"/>
              <a:gd name="T22" fmla="*/ 44 w 48"/>
              <a:gd name="T23" fmla="*/ 25 h 66"/>
              <a:gd name="T24" fmla="*/ 44 w 48"/>
              <a:gd name="T25" fmla="*/ 23 h 66"/>
              <a:gd name="T26" fmla="*/ 39 w 48"/>
              <a:gd name="T27" fmla="*/ 5 h 66"/>
              <a:gd name="T28" fmla="*/ 24 w 48"/>
              <a:gd name="T29" fmla="*/ 0 h 66"/>
              <a:gd name="T30" fmla="*/ 9 w 48"/>
              <a:gd name="T31" fmla="*/ 5 h 66"/>
              <a:gd name="T32" fmla="*/ 5 w 48"/>
              <a:gd name="T33" fmla="*/ 22 h 66"/>
              <a:gd name="T34" fmla="*/ 5 w 48"/>
              <a:gd name="T35" fmla="*/ 25 h 66"/>
              <a:gd name="T36" fmla="*/ 5 w 48"/>
              <a:gd name="T37" fmla="*/ 27 h 66"/>
              <a:gd name="T38" fmla="*/ 0 w 48"/>
              <a:gd name="T39" fmla="*/ 32 h 66"/>
              <a:gd name="T40" fmla="*/ 0 w 48"/>
              <a:gd name="T41" fmla="*/ 62 h 66"/>
              <a:gd name="T42" fmla="*/ 5 w 48"/>
              <a:gd name="T43" fmla="*/ 66 h 66"/>
              <a:gd name="T44" fmla="*/ 43 w 48"/>
              <a:gd name="T45" fmla="*/ 66 h 66"/>
              <a:gd name="T46" fmla="*/ 48 w 48"/>
              <a:gd name="T47" fmla="*/ 62 h 66"/>
              <a:gd name="T48" fmla="*/ 48 w 48"/>
              <a:gd name="T49" fmla="*/ 32 h 66"/>
              <a:gd name="T50" fmla="*/ 44 w 48"/>
              <a:gd name="T51" fmla="*/ 28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48" h="66">
                <a:moveTo>
                  <a:pt x="15" y="11"/>
                </a:moveTo>
                <a:cubicBezTo>
                  <a:pt x="17" y="10"/>
                  <a:pt x="20" y="9"/>
                  <a:pt x="24" y="9"/>
                </a:cubicBezTo>
                <a:cubicBezTo>
                  <a:pt x="29" y="9"/>
                  <a:pt x="32" y="10"/>
                  <a:pt x="33" y="11"/>
                </a:cubicBezTo>
                <a:cubicBezTo>
                  <a:pt x="35" y="13"/>
                  <a:pt x="35" y="18"/>
                  <a:pt x="35" y="23"/>
                </a:cubicBezTo>
                <a:cubicBezTo>
                  <a:pt x="35" y="25"/>
                  <a:pt x="35" y="25"/>
                  <a:pt x="35" y="25"/>
                </a:cubicBezTo>
                <a:cubicBezTo>
                  <a:pt x="35" y="26"/>
                  <a:pt x="35" y="27"/>
                  <a:pt x="35" y="27"/>
                </a:cubicBezTo>
                <a:cubicBezTo>
                  <a:pt x="14" y="27"/>
                  <a:pt x="14" y="27"/>
                  <a:pt x="14" y="27"/>
                </a:cubicBezTo>
                <a:cubicBezTo>
                  <a:pt x="14" y="27"/>
                  <a:pt x="14" y="26"/>
                  <a:pt x="14" y="25"/>
                </a:cubicBezTo>
                <a:cubicBezTo>
                  <a:pt x="14" y="22"/>
                  <a:pt x="14" y="22"/>
                  <a:pt x="14" y="22"/>
                </a:cubicBezTo>
                <a:cubicBezTo>
                  <a:pt x="14" y="17"/>
                  <a:pt x="14" y="13"/>
                  <a:pt x="15" y="11"/>
                </a:cubicBezTo>
                <a:moveTo>
                  <a:pt x="44" y="28"/>
                </a:moveTo>
                <a:cubicBezTo>
                  <a:pt x="44" y="27"/>
                  <a:pt x="44" y="26"/>
                  <a:pt x="44" y="25"/>
                </a:cubicBezTo>
                <a:cubicBezTo>
                  <a:pt x="44" y="23"/>
                  <a:pt x="44" y="23"/>
                  <a:pt x="44" y="23"/>
                </a:cubicBezTo>
                <a:cubicBezTo>
                  <a:pt x="44" y="16"/>
                  <a:pt x="44" y="10"/>
                  <a:pt x="39" y="5"/>
                </a:cubicBezTo>
                <a:cubicBezTo>
                  <a:pt x="36" y="2"/>
                  <a:pt x="31" y="0"/>
                  <a:pt x="24" y="0"/>
                </a:cubicBezTo>
                <a:cubicBezTo>
                  <a:pt x="17" y="0"/>
                  <a:pt x="12" y="2"/>
                  <a:pt x="9" y="5"/>
                </a:cubicBezTo>
                <a:cubicBezTo>
                  <a:pt x="5" y="9"/>
                  <a:pt x="5" y="16"/>
                  <a:pt x="5" y="22"/>
                </a:cubicBezTo>
                <a:cubicBezTo>
                  <a:pt x="5" y="25"/>
                  <a:pt x="5" y="25"/>
                  <a:pt x="5" y="25"/>
                </a:cubicBezTo>
                <a:cubicBezTo>
                  <a:pt x="5" y="26"/>
                  <a:pt x="5" y="27"/>
                  <a:pt x="5" y="27"/>
                </a:cubicBezTo>
                <a:cubicBezTo>
                  <a:pt x="2" y="28"/>
                  <a:pt x="0" y="30"/>
                  <a:pt x="0" y="32"/>
                </a:cubicBezTo>
                <a:cubicBezTo>
                  <a:pt x="0" y="62"/>
                  <a:pt x="0" y="62"/>
                  <a:pt x="0" y="62"/>
                </a:cubicBezTo>
                <a:cubicBezTo>
                  <a:pt x="0" y="64"/>
                  <a:pt x="2" y="66"/>
                  <a:pt x="5" y="66"/>
                </a:cubicBezTo>
                <a:cubicBezTo>
                  <a:pt x="43" y="66"/>
                  <a:pt x="43" y="66"/>
                  <a:pt x="43" y="66"/>
                </a:cubicBezTo>
                <a:cubicBezTo>
                  <a:pt x="46" y="66"/>
                  <a:pt x="48" y="64"/>
                  <a:pt x="48" y="62"/>
                </a:cubicBezTo>
                <a:cubicBezTo>
                  <a:pt x="48" y="32"/>
                  <a:pt x="48" y="32"/>
                  <a:pt x="48" y="32"/>
                </a:cubicBezTo>
                <a:cubicBezTo>
                  <a:pt x="48" y="30"/>
                  <a:pt x="46" y="28"/>
                  <a:pt x="44" y="28"/>
                </a:cubicBezTo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19" name="Freeform 93"/>
          <p:cNvSpPr>
            <a:spLocks/>
          </p:cNvSpPr>
          <p:nvPr/>
        </p:nvSpPr>
        <p:spPr bwMode="black">
          <a:xfrm>
            <a:off x="7954212" y="2593204"/>
            <a:ext cx="281389" cy="276735"/>
          </a:xfrm>
          <a:custGeom>
            <a:avLst/>
            <a:gdLst>
              <a:gd name="T0" fmla="*/ 71 w 121"/>
              <a:gd name="T1" fmla="*/ 119 h 119"/>
              <a:gd name="T2" fmla="*/ 50 w 121"/>
              <a:gd name="T3" fmla="*/ 119 h 119"/>
              <a:gd name="T4" fmla="*/ 50 w 121"/>
              <a:gd name="T5" fmla="*/ 71 h 119"/>
              <a:gd name="T6" fmla="*/ 0 w 121"/>
              <a:gd name="T7" fmla="*/ 71 h 119"/>
              <a:gd name="T8" fmla="*/ 0 w 121"/>
              <a:gd name="T9" fmla="*/ 49 h 119"/>
              <a:gd name="T10" fmla="*/ 50 w 121"/>
              <a:gd name="T11" fmla="*/ 49 h 119"/>
              <a:gd name="T12" fmla="*/ 50 w 121"/>
              <a:gd name="T13" fmla="*/ 0 h 119"/>
              <a:gd name="T14" fmla="*/ 71 w 121"/>
              <a:gd name="T15" fmla="*/ 0 h 119"/>
              <a:gd name="T16" fmla="*/ 71 w 121"/>
              <a:gd name="T17" fmla="*/ 49 h 119"/>
              <a:gd name="T18" fmla="*/ 121 w 121"/>
              <a:gd name="T19" fmla="*/ 49 h 119"/>
              <a:gd name="T20" fmla="*/ 121 w 121"/>
              <a:gd name="T21" fmla="*/ 71 h 119"/>
              <a:gd name="T22" fmla="*/ 71 w 121"/>
              <a:gd name="T23" fmla="*/ 71 h 119"/>
              <a:gd name="T24" fmla="*/ 71 w 121"/>
              <a:gd name="T25" fmla="*/ 119 h 1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21" h="119">
                <a:moveTo>
                  <a:pt x="71" y="119"/>
                </a:moveTo>
                <a:lnTo>
                  <a:pt x="50" y="119"/>
                </a:lnTo>
                <a:lnTo>
                  <a:pt x="50" y="71"/>
                </a:lnTo>
                <a:lnTo>
                  <a:pt x="0" y="71"/>
                </a:lnTo>
                <a:lnTo>
                  <a:pt x="0" y="49"/>
                </a:lnTo>
                <a:lnTo>
                  <a:pt x="50" y="49"/>
                </a:lnTo>
                <a:lnTo>
                  <a:pt x="50" y="0"/>
                </a:lnTo>
                <a:lnTo>
                  <a:pt x="71" y="0"/>
                </a:lnTo>
                <a:lnTo>
                  <a:pt x="71" y="49"/>
                </a:lnTo>
                <a:lnTo>
                  <a:pt x="121" y="49"/>
                </a:lnTo>
                <a:lnTo>
                  <a:pt x="121" y="71"/>
                </a:lnTo>
                <a:lnTo>
                  <a:pt x="71" y="71"/>
                </a:lnTo>
                <a:lnTo>
                  <a:pt x="71" y="11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20" name="Freeform 94"/>
          <p:cNvSpPr>
            <a:spLocks noEditPoints="1"/>
          </p:cNvSpPr>
          <p:nvPr/>
        </p:nvSpPr>
        <p:spPr bwMode="black">
          <a:xfrm>
            <a:off x="7993746" y="5294391"/>
            <a:ext cx="202321" cy="274412"/>
          </a:xfrm>
          <a:custGeom>
            <a:avLst/>
            <a:gdLst>
              <a:gd name="T0" fmla="*/ 50 w 53"/>
              <a:gd name="T1" fmla="*/ 15 h 71"/>
              <a:gd name="T2" fmla="*/ 50 w 53"/>
              <a:gd name="T3" fmla="*/ 15 h 71"/>
              <a:gd name="T4" fmla="*/ 3 w 53"/>
              <a:gd name="T5" fmla="*/ 15 h 71"/>
              <a:gd name="T6" fmla="*/ 0 w 53"/>
              <a:gd name="T7" fmla="*/ 11 h 71"/>
              <a:gd name="T8" fmla="*/ 3 w 53"/>
              <a:gd name="T9" fmla="*/ 8 h 71"/>
              <a:gd name="T10" fmla="*/ 3 w 53"/>
              <a:gd name="T11" fmla="*/ 8 h 71"/>
              <a:gd name="T12" fmla="*/ 50 w 53"/>
              <a:gd name="T13" fmla="*/ 8 h 71"/>
              <a:gd name="T14" fmla="*/ 53 w 53"/>
              <a:gd name="T15" fmla="*/ 11 h 71"/>
              <a:gd name="T16" fmla="*/ 50 w 53"/>
              <a:gd name="T17" fmla="*/ 15 h 71"/>
              <a:gd name="T18" fmla="*/ 34 w 53"/>
              <a:gd name="T19" fmla="*/ 3 h 71"/>
              <a:gd name="T20" fmla="*/ 32 w 53"/>
              <a:gd name="T21" fmla="*/ 0 h 71"/>
              <a:gd name="T22" fmla="*/ 21 w 53"/>
              <a:gd name="T23" fmla="*/ 0 h 71"/>
              <a:gd name="T24" fmla="*/ 21 w 53"/>
              <a:gd name="T25" fmla="*/ 0 h 71"/>
              <a:gd name="T26" fmla="*/ 19 w 53"/>
              <a:gd name="T27" fmla="*/ 3 h 71"/>
              <a:gd name="T28" fmla="*/ 21 w 53"/>
              <a:gd name="T29" fmla="*/ 5 h 71"/>
              <a:gd name="T30" fmla="*/ 32 w 53"/>
              <a:gd name="T31" fmla="*/ 5 h 71"/>
              <a:gd name="T32" fmla="*/ 32 w 53"/>
              <a:gd name="T33" fmla="*/ 5 h 71"/>
              <a:gd name="T34" fmla="*/ 34 w 53"/>
              <a:gd name="T35" fmla="*/ 3 h 71"/>
              <a:gd name="T36" fmla="*/ 49 w 53"/>
              <a:gd name="T37" fmla="*/ 24 h 71"/>
              <a:gd name="T38" fmla="*/ 47 w 53"/>
              <a:gd name="T39" fmla="*/ 65 h 71"/>
              <a:gd name="T40" fmla="*/ 42 w 53"/>
              <a:gd name="T41" fmla="*/ 71 h 71"/>
              <a:gd name="T42" fmla="*/ 12 w 53"/>
              <a:gd name="T43" fmla="*/ 71 h 71"/>
              <a:gd name="T44" fmla="*/ 6 w 53"/>
              <a:gd name="T45" fmla="*/ 65 h 71"/>
              <a:gd name="T46" fmla="*/ 4 w 53"/>
              <a:gd name="T47" fmla="*/ 24 h 71"/>
              <a:gd name="T48" fmla="*/ 9 w 53"/>
              <a:gd name="T49" fmla="*/ 19 h 71"/>
              <a:gd name="T50" fmla="*/ 44 w 53"/>
              <a:gd name="T51" fmla="*/ 19 h 71"/>
              <a:gd name="T52" fmla="*/ 49 w 53"/>
              <a:gd name="T53" fmla="*/ 24 h 71"/>
              <a:gd name="T54" fmla="*/ 17 w 53"/>
              <a:gd name="T55" fmla="*/ 62 h 71"/>
              <a:gd name="T56" fmla="*/ 16 w 53"/>
              <a:gd name="T57" fmla="*/ 27 h 71"/>
              <a:gd name="T58" fmla="*/ 13 w 53"/>
              <a:gd name="T59" fmla="*/ 25 h 71"/>
              <a:gd name="T60" fmla="*/ 11 w 53"/>
              <a:gd name="T61" fmla="*/ 27 h 71"/>
              <a:gd name="T62" fmla="*/ 12 w 53"/>
              <a:gd name="T63" fmla="*/ 63 h 71"/>
              <a:gd name="T64" fmla="*/ 14 w 53"/>
              <a:gd name="T65" fmla="*/ 65 h 71"/>
              <a:gd name="T66" fmla="*/ 14 w 53"/>
              <a:gd name="T67" fmla="*/ 65 h 71"/>
              <a:gd name="T68" fmla="*/ 17 w 53"/>
              <a:gd name="T69" fmla="*/ 62 h 71"/>
              <a:gd name="T70" fmla="*/ 29 w 53"/>
              <a:gd name="T71" fmla="*/ 27 h 71"/>
              <a:gd name="T72" fmla="*/ 27 w 53"/>
              <a:gd name="T73" fmla="*/ 25 h 71"/>
              <a:gd name="T74" fmla="*/ 27 w 53"/>
              <a:gd name="T75" fmla="*/ 25 h 71"/>
              <a:gd name="T76" fmla="*/ 24 w 53"/>
              <a:gd name="T77" fmla="*/ 27 h 71"/>
              <a:gd name="T78" fmla="*/ 24 w 53"/>
              <a:gd name="T79" fmla="*/ 62 h 71"/>
              <a:gd name="T80" fmla="*/ 26 w 53"/>
              <a:gd name="T81" fmla="*/ 65 h 71"/>
              <a:gd name="T82" fmla="*/ 26 w 53"/>
              <a:gd name="T83" fmla="*/ 65 h 71"/>
              <a:gd name="T84" fmla="*/ 29 w 53"/>
              <a:gd name="T85" fmla="*/ 62 h 71"/>
              <a:gd name="T86" fmla="*/ 29 w 53"/>
              <a:gd name="T87" fmla="*/ 27 h 71"/>
              <a:gd name="T88" fmla="*/ 43 w 53"/>
              <a:gd name="T89" fmla="*/ 27 h 71"/>
              <a:gd name="T90" fmla="*/ 40 w 53"/>
              <a:gd name="T91" fmla="*/ 25 h 71"/>
              <a:gd name="T92" fmla="*/ 38 w 53"/>
              <a:gd name="T93" fmla="*/ 27 h 71"/>
              <a:gd name="T94" fmla="*/ 36 w 53"/>
              <a:gd name="T95" fmla="*/ 62 h 71"/>
              <a:gd name="T96" fmla="*/ 39 w 53"/>
              <a:gd name="T97" fmla="*/ 65 h 71"/>
              <a:gd name="T98" fmla="*/ 39 w 53"/>
              <a:gd name="T99" fmla="*/ 65 h 71"/>
              <a:gd name="T100" fmla="*/ 41 w 53"/>
              <a:gd name="T101" fmla="*/ 63 h 71"/>
              <a:gd name="T102" fmla="*/ 43 w 53"/>
              <a:gd name="T103" fmla="*/ 27 h 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53" h="71">
                <a:moveTo>
                  <a:pt x="50" y="15"/>
                </a:moveTo>
                <a:cubicBezTo>
                  <a:pt x="50" y="15"/>
                  <a:pt x="50" y="15"/>
                  <a:pt x="50" y="15"/>
                </a:cubicBezTo>
                <a:cubicBezTo>
                  <a:pt x="3" y="15"/>
                  <a:pt x="3" y="15"/>
                  <a:pt x="3" y="15"/>
                </a:cubicBezTo>
                <a:cubicBezTo>
                  <a:pt x="1" y="15"/>
                  <a:pt x="0" y="13"/>
                  <a:pt x="0" y="11"/>
                </a:cubicBezTo>
                <a:cubicBezTo>
                  <a:pt x="0" y="9"/>
                  <a:pt x="1" y="8"/>
                  <a:pt x="3" y="8"/>
                </a:cubicBezTo>
                <a:cubicBezTo>
                  <a:pt x="3" y="8"/>
                  <a:pt x="3" y="8"/>
                  <a:pt x="3" y="8"/>
                </a:cubicBezTo>
                <a:cubicBezTo>
                  <a:pt x="50" y="8"/>
                  <a:pt x="50" y="8"/>
                  <a:pt x="50" y="8"/>
                </a:cubicBezTo>
                <a:cubicBezTo>
                  <a:pt x="52" y="8"/>
                  <a:pt x="53" y="9"/>
                  <a:pt x="53" y="11"/>
                </a:cubicBezTo>
                <a:cubicBezTo>
                  <a:pt x="53" y="14"/>
                  <a:pt x="52" y="15"/>
                  <a:pt x="50" y="15"/>
                </a:cubicBezTo>
                <a:close/>
                <a:moveTo>
                  <a:pt x="34" y="3"/>
                </a:moveTo>
                <a:cubicBezTo>
                  <a:pt x="34" y="1"/>
                  <a:pt x="33" y="0"/>
                  <a:pt x="32" y="0"/>
                </a:cubicBezTo>
                <a:cubicBezTo>
                  <a:pt x="21" y="0"/>
                  <a:pt x="21" y="0"/>
                  <a:pt x="21" y="0"/>
                </a:cubicBezTo>
                <a:cubicBezTo>
                  <a:pt x="21" y="0"/>
                  <a:pt x="21" y="0"/>
                  <a:pt x="21" y="0"/>
                </a:cubicBezTo>
                <a:cubicBezTo>
                  <a:pt x="20" y="0"/>
                  <a:pt x="19" y="1"/>
                  <a:pt x="19" y="3"/>
                </a:cubicBezTo>
                <a:cubicBezTo>
                  <a:pt x="19" y="4"/>
                  <a:pt x="20" y="5"/>
                  <a:pt x="21" y="5"/>
                </a:cubicBezTo>
                <a:cubicBezTo>
                  <a:pt x="32" y="5"/>
                  <a:pt x="32" y="5"/>
                  <a:pt x="32" y="5"/>
                </a:cubicBezTo>
                <a:cubicBezTo>
                  <a:pt x="32" y="5"/>
                  <a:pt x="32" y="5"/>
                  <a:pt x="32" y="5"/>
                </a:cubicBezTo>
                <a:cubicBezTo>
                  <a:pt x="33" y="5"/>
                  <a:pt x="34" y="4"/>
                  <a:pt x="34" y="3"/>
                </a:cubicBezTo>
                <a:close/>
                <a:moveTo>
                  <a:pt x="49" y="24"/>
                </a:moveTo>
                <a:cubicBezTo>
                  <a:pt x="47" y="65"/>
                  <a:pt x="47" y="65"/>
                  <a:pt x="47" y="65"/>
                </a:cubicBezTo>
                <a:cubicBezTo>
                  <a:pt x="47" y="68"/>
                  <a:pt x="45" y="71"/>
                  <a:pt x="42" y="71"/>
                </a:cubicBezTo>
                <a:cubicBezTo>
                  <a:pt x="12" y="71"/>
                  <a:pt x="12" y="71"/>
                  <a:pt x="12" y="71"/>
                </a:cubicBezTo>
                <a:cubicBezTo>
                  <a:pt x="9" y="71"/>
                  <a:pt x="6" y="68"/>
                  <a:pt x="6" y="65"/>
                </a:cubicBezTo>
                <a:cubicBezTo>
                  <a:pt x="4" y="24"/>
                  <a:pt x="4" y="24"/>
                  <a:pt x="4" y="24"/>
                </a:cubicBezTo>
                <a:cubicBezTo>
                  <a:pt x="4" y="21"/>
                  <a:pt x="6" y="19"/>
                  <a:pt x="9" y="19"/>
                </a:cubicBezTo>
                <a:cubicBezTo>
                  <a:pt x="44" y="19"/>
                  <a:pt x="44" y="19"/>
                  <a:pt x="44" y="19"/>
                </a:cubicBezTo>
                <a:cubicBezTo>
                  <a:pt x="47" y="19"/>
                  <a:pt x="50" y="21"/>
                  <a:pt x="49" y="24"/>
                </a:cubicBezTo>
                <a:close/>
                <a:moveTo>
                  <a:pt x="17" y="62"/>
                </a:moveTo>
                <a:cubicBezTo>
                  <a:pt x="16" y="27"/>
                  <a:pt x="16" y="27"/>
                  <a:pt x="16" y="27"/>
                </a:cubicBezTo>
                <a:cubicBezTo>
                  <a:pt x="16" y="26"/>
                  <a:pt x="14" y="25"/>
                  <a:pt x="13" y="25"/>
                </a:cubicBezTo>
                <a:cubicBezTo>
                  <a:pt x="12" y="25"/>
                  <a:pt x="10" y="26"/>
                  <a:pt x="11" y="27"/>
                </a:cubicBezTo>
                <a:cubicBezTo>
                  <a:pt x="12" y="63"/>
                  <a:pt x="12" y="63"/>
                  <a:pt x="12" y="63"/>
                </a:cubicBezTo>
                <a:cubicBezTo>
                  <a:pt x="12" y="64"/>
                  <a:pt x="13" y="65"/>
                  <a:pt x="14" y="65"/>
                </a:cubicBezTo>
                <a:cubicBezTo>
                  <a:pt x="14" y="65"/>
                  <a:pt x="14" y="65"/>
                  <a:pt x="14" y="65"/>
                </a:cubicBezTo>
                <a:cubicBezTo>
                  <a:pt x="16" y="65"/>
                  <a:pt x="17" y="64"/>
                  <a:pt x="17" y="62"/>
                </a:cubicBezTo>
                <a:close/>
                <a:moveTo>
                  <a:pt x="29" y="27"/>
                </a:moveTo>
                <a:cubicBezTo>
                  <a:pt x="29" y="26"/>
                  <a:pt x="28" y="25"/>
                  <a:pt x="27" y="25"/>
                </a:cubicBezTo>
                <a:cubicBezTo>
                  <a:pt x="27" y="25"/>
                  <a:pt x="27" y="25"/>
                  <a:pt x="27" y="25"/>
                </a:cubicBezTo>
                <a:cubicBezTo>
                  <a:pt x="25" y="25"/>
                  <a:pt x="24" y="26"/>
                  <a:pt x="24" y="27"/>
                </a:cubicBezTo>
                <a:cubicBezTo>
                  <a:pt x="24" y="62"/>
                  <a:pt x="24" y="62"/>
                  <a:pt x="24" y="62"/>
                </a:cubicBezTo>
                <a:cubicBezTo>
                  <a:pt x="24" y="64"/>
                  <a:pt x="25" y="65"/>
                  <a:pt x="26" y="65"/>
                </a:cubicBezTo>
                <a:cubicBezTo>
                  <a:pt x="26" y="65"/>
                  <a:pt x="26" y="65"/>
                  <a:pt x="26" y="65"/>
                </a:cubicBezTo>
                <a:cubicBezTo>
                  <a:pt x="28" y="65"/>
                  <a:pt x="29" y="64"/>
                  <a:pt x="29" y="62"/>
                </a:cubicBezTo>
                <a:lnTo>
                  <a:pt x="29" y="27"/>
                </a:lnTo>
                <a:close/>
                <a:moveTo>
                  <a:pt x="43" y="27"/>
                </a:moveTo>
                <a:cubicBezTo>
                  <a:pt x="43" y="26"/>
                  <a:pt x="42" y="25"/>
                  <a:pt x="40" y="25"/>
                </a:cubicBezTo>
                <a:cubicBezTo>
                  <a:pt x="39" y="25"/>
                  <a:pt x="38" y="26"/>
                  <a:pt x="38" y="27"/>
                </a:cubicBezTo>
                <a:cubicBezTo>
                  <a:pt x="36" y="62"/>
                  <a:pt x="36" y="62"/>
                  <a:pt x="36" y="62"/>
                </a:cubicBezTo>
                <a:cubicBezTo>
                  <a:pt x="36" y="64"/>
                  <a:pt x="37" y="65"/>
                  <a:pt x="39" y="65"/>
                </a:cubicBezTo>
                <a:cubicBezTo>
                  <a:pt x="39" y="65"/>
                  <a:pt x="39" y="65"/>
                  <a:pt x="39" y="65"/>
                </a:cubicBezTo>
                <a:cubicBezTo>
                  <a:pt x="40" y="65"/>
                  <a:pt x="41" y="64"/>
                  <a:pt x="41" y="63"/>
                </a:cubicBezTo>
                <a:lnTo>
                  <a:pt x="43" y="2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21" name="Freeform 95"/>
          <p:cNvSpPr>
            <a:spLocks/>
          </p:cNvSpPr>
          <p:nvPr/>
        </p:nvSpPr>
        <p:spPr bwMode="black">
          <a:xfrm>
            <a:off x="7965835" y="4627528"/>
            <a:ext cx="258132" cy="258131"/>
          </a:xfrm>
          <a:custGeom>
            <a:avLst/>
            <a:gdLst>
              <a:gd name="T0" fmla="*/ 59 w 67"/>
              <a:gd name="T1" fmla="*/ 0 h 67"/>
              <a:gd name="T2" fmla="*/ 9 w 67"/>
              <a:gd name="T3" fmla="*/ 0 h 67"/>
              <a:gd name="T4" fmla="*/ 0 w 67"/>
              <a:gd name="T5" fmla="*/ 9 h 67"/>
              <a:gd name="T6" fmla="*/ 0 w 67"/>
              <a:gd name="T7" fmla="*/ 41 h 67"/>
              <a:gd name="T8" fmla="*/ 9 w 67"/>
              <a:gd name="T9" fmla="*/ 50 h 67"/>
              <a:gd name="T10" fmla="*/ 21 w 67"/>
              <a:gd name="T11" fmla="*/ 50 h 67"/>
              <a:gd name="T12" fmla="*/ 47 w 67"/>
              <a:gd name="T13" fmla="*/ 67 h 67"/>
              <a:gd name="T14" fmla="*/ 41 w 67"/>
              <a:gd name="T15" fmla="*/ 50 h 67"/>
              <a:gd name="T16" fmla="*/ 59 w 67"/>
              <a:gd name="T17" fmla="*/ 50 h 67"/>
              <a:gd name="T18" fmla="*/ 67 w 67"/>
              <a:gd name="T19" fmla="*/ 41 h 67"/>
              <a:gd name="T20" fmla="*/ 67 w 67"/>
              <a:gd name="T21" fmla="*/ 9 h 67"/>
              <a:gd name="T22" fmla="*/ 59 w 67"/>
              <a:gd name="T23" fmla="*/ 0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7" h="67">
                <a:moveTo>
                  <a:pt x="59" y="0"/>
                </a:moveTo>
                <a:cubicBezTo>
                  <a:pt x="9" y="0"/>
                  <a:pt x="9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41"/>
                  <a:pt x="0" y="41"/>
                  <a:pt x="0" y="41"/>
                </a:cubicBezTo>
                <a:cubicBezTo>
                  <a:pt x="0" y="46"/>
                  <a:pt x="4" y="50"/>
                  <a:pt x="9" y="50"/>
                </a:cubicBezTo>
                <a:cubicBezTo>
                  <a:pt x="21" y="50"/>
                  <a:pt x="21" y="50"/>
                  <a:pt x="21" y="50"/>
                </a:cubicBezTo>
                <a:cubicBezTo>
                  <a:pt x="47" y="67"/>
                  <a:pt x="47" y="67"/>
                  <a:pt x="47" y="67"/>
                </a:cubicBezTo>
                <a:cubicBezTo>
                  <a:pt x="41" y="50"/>
                  <a:pt x="41" y="50"/>
                  <a:pt x="41" y="50"/>
                </a:cubicBezTo>
                <a:cubicBezTo>
                  <a:pt x="59" y="50"/>
                  <a:pt x="59" y="50"/>
                  <a:pt x="59" y="50"/>
                </a:cubicBezTo>
                <a:cubicBezTo>
                  <a:pt x="63" y="50"/>
                  <a:pt x="67" y="46"/>
                  <a:pt x="67" y="41"/>
                </a:cubicBezTo>
                <a:cubicBezTo>
                  <a:pt x="67" y="9"/>
                  <a:pt x="67" y="9"/>
                  <a:pt x="67" y="9"/>
                </a:cubicBezTo>
                <a:cubicBezTo>
                  <a:pt x="67" y="4"/>
                  <a:pt x="63" y="0"/>
                  <a:pt x="59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22" name="Rectangle 96"/>
          <p:cNvSpPr>
            <a:spLocks noChangeArrowheads="1"/>
          </p:cNvSpPr>
          <p:nvPr/>
        </p:nvSpPr>
        <p:spPr bwMode="black">
          <a:xfrm>
            <a:off x="7298008" y="2707638"/>
            <a:ext cx="248882" cy="47862"/>
          </a:xfrm>
          <a:prstGeom prst="rect">
            <a:avLst/>
          </a:prstGeom>
          <a:solidFill>
            <a:srgbClr val="FFFFFF"/>
          </a:solidFill>
          <a:ln>
            <a:noFill/>
          </a:ln>
          <a:extLst/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23" name="Freeform 97"/>
          <p:cNvSpPr>
            <a:spLocks noEditPoints="1"/>
          </p:cNvSpPr>
          <p:nvPr/>
        </p:nvSpPr>
        <p:spPr bwMode="black">
          <a:xfrm>
            <a:off x="5965916" y="2618785"/>
            <a:ext cx="223250" cy="225575"/>
          </a:xfrm>
          <a:custGeom>
            <a:avLst/>
            <a:gdLst>
              <a:gd name="T0" fmla="*/ 0 w 96"/>
              <a:gd name="T1" fmla="*/ 0 h 97"/>
              <a:gd name="T2" fmla="*/ 0 w 96"/>
              <a:gd name="T3" fmla="*/ 97 h 97"/>
              <a:gd name="T4" fmla="*/ 24 w 96"/>
              <a:gd name="T5" fmla="*/ 97 h 97"/>
              <a:gd name="T6" fmla="*/ 24 w 96"/>
              <a:gd name="T7" fmla="*/ 69 h 97"/>
              <a:gd name="T8" fmla="*/ 73 w 96"/>
              <a:gd name="T9" fmla="*/ 69 h 97"/>
              <a:gd name="T10" fmla="*/ 73 w 96"/>
              <a:gd name="T11" fmla="*/ 97 h 97"/>
              <a:gd name="T12" fmla="*/ 96 w 96"/>
              <a:gd name="T13" fmla="*/ 97 h 97"/>
              <a:gd name="T14" fmla="*/ 96 w 96"/>
              <a:gd name="T15" fmla="*/ 0 h 97"/>
              <a:gd name="T16" fmla="*/ 0 w 96"/>
              <a:gd name="T17" fmla="*/ 0 h 97"/>
              <a:gd name="T18" fmla="*/ 80 w 96"/>
              <a:gd name="T19" fmla="*/ 41 h 97"/>
              <a:gd name="T20" fmla="*/ 14 w 96"/>
              <a:gd name="T21" fmla="*/ 41 h 97"/>
              <a:gd name="T22" fmla="*/ 14 w 96"/>
              <a:gd name="T23" fmla="*/ 5 h 97"/>
              <a:gd name="T24" fmla="*/ 80 w 96"/>
              <a:gd name="T25" fmla="*/ 5 h 97"/>
              <a:gd name="T26" fmla="*/ 80 w 96"/>
              <a:gd name="T27" fmla="*/ 41 h 97"/>
              <a:gd name="T28" fmla="*/ 34 w 96"/>
              <a:gd name="T29" fmla="*/ 76 h 97"/>
              <a:gd name="T30" fmla="*/ 50 w 96"/>
              <a:gd name="T31" fmla="*/ 76 h 97"/>
              <a:gd name="T32" fmla="*/ 50 w 96"/>
              <a:gd name="T33" fmla="*/ 97 h 97"/>
              <a:gd name="T34" fmla="*/ 34 w 96"/>
              <a:gd name="T35" fmla="*/ 97 h 97"/>
              <a:gd name="T36" fmla="*/ 34 w 96"/>
              <a:gd name="T37" fmla="*/ 76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96" h="97">
                <a:moveTo>
                  <a:pt x="0" y="0"/>
                </a:moveTo>
                <a:lnTo>
                  <a:pt x="0" y="97"/>
                </a:lnTo>
                <a:lnTo>
                  <a:pt x="24" y="97"/>
                </a:lnTo>
                <a:lnTo>
                  <a:pt x="24" y="69"/>
                </a:lnTo>
                <a:lnTo>
                  <a:pt x="73" y="69"/>
                </a:lnTo>
                <a:lnTo>
                  <a:pt x="73" y="97"/>
                </a:lnTo>
                <a:lnTo>
                  <a:pt x="96" y="97"/>
                </a:lnTo>
                <a:lnTo>
                  <a:pt x="96" y="0"/>
                </a:lnTo>
                <a:lnTo>
                  <a:pt x="0" y="0"/>
                </a:lnTo>
                <a:close/>
                <a:moveTo>
                  <a:pt x="80" y="41"/>
                </a:moveTo>
                <a:lnTo>
                  <a:pt x="14" y="41"/>
                </a:lnTo>
                <a:lnTo>
                  <a:pt x="14" y="5"/>
                </a:lnTo>
                <a:lnTo>
                  <a:pt x="80" y="5"/>
                </a:lnTo>
                <a:lnTo>
                  <a:pt x="80" y="41"/>
                </a:lnTo>
                <a:close/>
                <a:moveTo>
                  <a:pt x="34" y="76"/>
                </a:moveTo>
                <a:lnTo>
                  <a:pt x="50" y="76"/>
                </a:lnTo>
                <a:lnTo>
                  <a:pt x="50" y="97"/>
                </a:lnTo>
                <a:lnTo>
                  <a:pt x="34" y="97"/>
                </a:lnTo>
                <a:lnTo>
                  <a:pt x="34" y="7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24" name="Freeform 98"/>
          <p:cNvSpPr>
            <a:spLocks/>
          </p:cNvSpPr>
          <p:nvPr/>
        </p:nvSpPr>
        <p:spPr bwMode="black">
          <a:xfrm>
            <a:off x="5907783" y="5328114"/>
            <a:ext cx="339526" cy="206973"/>
          </a:xfrm>
          <a:custGeom>
            <a:avLst/>
            <a:gdLst>
              <a:gd name="T0" fmla="*/ 70 w 88"/>
              <a:gd name="T1" fmla="*/ 6 h 54"/>
              <a:gd name="T2" fmla="*/ 48 w 88"/>
              <a:gd name="T3" fmla="*/ 8 h 54"/>
              <a:gd name="T4" fmla="*/ 57 w 88"/>
              <a:gd name="T5" fmla="*/ 24 h 54"/>
              <a:gd name="T6" fmla="*/ 44 w 88"/>
              <a:gd name="T7" fmla="*/ 35 h 54"/>
              <a:gd name="T8" fmla="*/ 48 w 88"/>
              <a:gd name="T9" fmla="*/ 48 h 54"/>
              <a:gd name="T10" fmla="*/ 34 w 88"/>
              <a:gd name="T11" fmla="*/ 35 h 54"/>
              <a:gd name="T12" fmla="*/ 47 w 88"/>
              <a:gd name="T13" fmla="*/ 24 h 54"/>
              <a:gd name="T14" fmla="*/ 37 w 88"/>
              <a:gd name="T15" fmla="*/ 5 h 54"/>
              <a:gd name="T16" fmla="*/ 17 w 88"/>
              <a:gd name="T17" fmla="*/ 6 h 54"/>
              <a:gd name="T18" fmla="*/ 44 w 88"/>
              <a:gd name="T19" fmla="*/ 54 h 54"/>
              <a:gd name="T20" fmla="*/ 44 w 88"/>
              <a:gd name="T21" fmla="*/ 54 h 54"/>
              <a:gd name="T22" fmla="*/ 44 w 88"/>
              <a:gd name="T23" fmla="*/ 54 h 54"/>
              <a:gd name="T24" fmla="*/ 44 w 88"/>
              <a:gd name="T25" fmla="*/ 54 h 54"/>
              <a:gd name="T26" fmla="*/ 44 w 88"/>
              <a:gd name="T27" fmla="*/ 54 h 54"/>
              <a:gd name="T28" fmla="*/ 70 w 88"/>
              <a:gd name="T29" fmla="*/ 6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88" h="54">
                <a:moveTo>
                  <a:pt x="70" y="6"/>
                </a:moveTo>
                <a:cubicBezTo>
                  <a:pt x="65" y="0"/>
                  <a:pt x="55" y="1"/>
                  <a:pt x="48" y="8"/>
                </a:cubicBezTo>
                <a:cubicBezTo>
                  <a:pt x="57" y="24"/>
                  <a:pt x="57" y="24"/>
                  <a:pt x="57" y="24"/>
                </a:cubicBezTo>
                <a:cubicBezTo>
                  <a:pt x="44" y="35"/>
                  <a:pt x="44" y="35"/>
                  <a:pt x="44" y="35"/>
                </a:cubicBezTo>
                <a:cubicBezTo>
                  <a:pt x="48" y="48"/>
                  <a:pt x="48" y="48"/>
                  <a:pt x="48" y="48"/>
                </a:cubicBezTo>
                <a:cubicBezTo>
                  <a:pt x="34" y="35"/>
                  <a:pt x="34" y="35"/>
                  <a:pt x="34" y="35"/>
                </a:cubicBezTo>
                <a:cubicBezTo>
                  <a:pt x="47" y="24"/>
                  <a:pt x="47" y="24"/>
                  <a:pt x="47" y="24"/>
                </a:cubicBezTo>
                <a:cubicBezTo>
                  <a:pt x="37" y="5"/>
                  <a:pt x="37" y="5"/>
                  <a:pt x="37" y="5"/>
                </a:cubicBezTo>
                <a:cubicBezTo>
                  <a:pt x="29" y="0"/>
                  <a:pt x="22" y="0"/>
                  <a:pt x="17" y="6"/>
                </a:cubicBezTo>
                <a:cubicBezTo>
                  <a:pt x="0" y="24"/>
                  <a:pt x="37" y="51"/>
                  <a:pt x="44" y="54"/>
                </a:cubicBezTo>
                <a:cubicBezTo>
                  <a:pt x="44" y="54"/>
                  <a:pt x="44" y="54"/>
                  <a:pt x="44" y="54"/>
                </a:cubicBezTo>
                <a:cubicBezTo>
                  <a:pt x="44" y="54"/>
                  <a:pt x="44" y="54"/>
                  <a:pt x="44" y="54"/>
                </a:cubicBezTo>
                <a:cubicBezTo>
                  <a:pt x="44" y="54"/>
                  <a:pt x="44" y="54"/>
                  <a:pt x="44" y="54"/>
                </a:cubicBezTo>
                <a:cubicBezTo>
                  <a:pt x="44" y="54"/>
                  <a:pt x="44" y="54"/>
                  <a:pt x="44" y="54"/>
                </a:cubicBezTo>
                <a:cubicBezTo>
                  <a:pt x="51" y="51"/>
                  <a:pt x="88" y="24"/>
                  <a:pt x="70" y="6"/>
                </a:cubicBezTo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25" name="Freeform 99"/>
          <p:cNvSpPr>
            <a:spLocks/>
          </p:cNvSpPr>
          <p:nvPr/>
        </p:nvSpPr>
        <p:spPr bwMode="black">
          <a:xfrm>
            <a:off x="3235410" y="2619946"/>
            <a:ext cx="304646" cy="223252"/>
          </a:xfrm>
          <a:custGeom>
            <a:avLst/>
            <a:gdLst>
              <a:gd name="T0" fmla="*/ 86 w 131"/>
              <a:gd name="T1" fmla="*/ 35 h 96"/>
              <a:gd name="T2" fmla="*/ 48 w 131"/>
              <a:gd name="T3" fmla="*/ 0 h 96"/>
              <a:gd name="T4" fmla="*/ 79 w 131"/>
              <a:gd name="T5" fmla="*/ 0 h 96"/>
              <a:gd name="T6" fmla="*/ 131 w 131"/>
              <a:gd name="T7" fmla="*/ 48 h 96"/>
              <a:gd name="T8" fmla="*/ 79 w 131"/>
              <a:gd name="T9" fmla="*/ 96 h 96"/>
              <a:gd name="T10" fmla="*/ 48 w 131"/>
              <a:gd name="T11" fmla="*/ 96 h 96"/>
              <a:gd name="T12" fmla="*/ 86 w 131"/>
              <a:gd name="T13" fmla="*/ 60 h 96"/>
              <a:gd name="T14" fmla="*/ 0 w 131"/>
              <a:gd name="T15" fmla="*/ 60 h 96"/>
              <a:gd name="T16" fmla="*/ 0 w 131"/>
              <a:gd name="T17" fmla="*/ 35 h 96"/>
              <a:gd name="T18" fmla="*/ 86 w 131"/>
              <a:gd name="T19" fmla="*/ 35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31" h="96">
                <a:moveTo>
                  <a:pt x="86" y="35"/>
                </a:moveTo>
                <a:lnTo>
                  <a:pt x="48" y="0"/>
                </a:lnTo>
                <a:lnTo>
                  <a:pt x="79" y="0"/>
                </a:lnTo>
                <a:lnTo>
                  <a:pt x="131" y="48"/>
                </a:lnTo>
                <a:lnTo>
                  <a:pt x="79" y="96"/>
                </a:lnTo>
                <a:lnTo>
                  <a:pt x="48" y="96"/>
                </a:lnTo>
                <a:lnTo>
                  <a:pt x="86" y="60"/>
                </a:lnTo>
                <a:lnTo>
                  <a:pt x="0" y="60"/>
                </a:lnTo>
                <a:lnTo>
                  <a:pt x="0" y="35"/>
                </a:lnTo>
                <a:lnTo>
                  <a:pt x="86" y="3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26" name="Freeform 100"/>
          <p:cNvSpPr>
            <a:spLocks noEditPoints="1"/>
          </p:cNvSpPr>
          <p:nvPr/>
        </p:nvSpPr>
        <p:spPr bwMode="black">
          <a:xfrm>
            <a:off x="3267971" y="4677526"/>
            <a:ext cx="239529" cy="158134"/>
          </a:xfrm>
          <a:custGeom>
            <a:avLst/>
            <a:gdLst>
              <a:gd name="T0" fmla="*/ 103 w 103"/>
              <a:gd name="T1" fmla="*/ 33 h 68"/>
              <a:gd name="T2" fmla="*/ 56 w 103"/>
              <a:gd name="T3" fmla="*/ 68 h 68"/>
              <a:gd name="T4" fmla="*/ 56 w 103"/>
              <a:gd name="T5" fmla="*/ 0 h 68"/>
              <a:gd name="T6" fmla="*/ 103 w 103"/>
              <a:gd name="T7" fmla="*/ 33 h 68"/>
              <a:gd name="T8" fmla="*/ 0 w 103"/>
              <a:gd name="T9" fmla="*/ 0 h 68"/>
              <a:gd name="T10" fmla="*/ 0 w 103"/>
              <a:gd name="T11" fmla="*/ 68 h 68"/>
              <a:gd name="T12" fmla="*/ 47 w 103"/>
              <a:gd name="T13" fmla="*/ 33 h 68"/>
              <a:gd name="T14" fmla="*/ 0 w 103"/>
              <a:gd name="T15" fmla="*/ 0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03" h="68">
                <a:moveTo>
                  <a:pt x="103" y="33"/>
                </a:moveTo>
                <a:lnTo>
                  <a:pt x="56" y="68"/>
                </a:lnTo>
                <a:lnTo>
                  <a:pt x="56" y="0"/>
                </a:lnTo>
                <a:lnTo>
                  <a:pt x="103" y="33"/>
                </a:lnTo>
                <a:close/>
                <a:moveTo>
                  <a:pt x="0" y="0"/>
                </a:moveTo>
                <a:lnTo>
                  <a:pt x="0" y="68"/>
                </a:lnTo>
                <a:lnTo>
                  <a:pt x="47" y="33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27" name="Freeform 101"/>
          <p:cNvSpPr>
            <a:spLocks/>
          </p:cNvSpPr>
          <p:nvPr/>
        </p:nvSpPr>
        <p:spPr bwMode="black">
          <a:xfrm>
            <a:off x="2638437" y="3966472"/>
            <a:ext cx="153485" cy="230224"/>
          </a:xfrm>
          <a:custGeom>
            <a:avLst/>
            <a:gdLst>
              <a:gd name="T0" fmla="*/ 0 w 66"/>
              <a:gd name="T1" fmla="*/ 49 h 99"/>
              <a:gd name="T2" fmla="*/ 66 w 66"/>
              <a:gd name="T3" fmla="*/ 0 h 99"/>
              <a:gd name="T4" fmla="*/ 66 w 66"/>
              <a:gd name="T5" fmla="*/ 99 h 99"/>
              <a:gd name="T6" fmla="*/ 0 w 66"/>
              <a:gd name="T7" fmla="*/ 49 h 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6" h="99">
                <a:moveTo>
                  <a:pt x="0" y="49"/>
                </a:moveTo>
                <a:lnTo>
                  <a:pt x="66" y="0"/>
                </a:lnTo>
                <a:lnTo>
                  <a:pt x="66" y="99"/>
                </a:lnTo>
                <a:lnTo>
                  <a:pt x="0" y="4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28" name="Freeform 102"/>
          <p:cNvSpPr>
            <a:spLocks/>
          </p:cNvSpPr>
          <p:nvPr/>
        </p:nvSpPr>
        <p:spPr bwMode="black">
          <a:xfrm>
            <a:off x="2603557" y="2579249"/>
            <a:ext cx="223249" cy="304641"/>
          </a:xfrm>
          <a:custGeom>
            <a:avLst/>
            <a:gdLst>
              <a:gd name="T0" fmla="*/ 37 w 96"/>
              <a:gd name="T1" fmla="*/ 45 h 131"/>
              <a:gd name="T2" fmla="*/ 0 w 96"/>
              <a:gd name="T3" fmla="*/ 83 h 131"/>
              <a:gd name="T4" fmla="*/ 0 w 96"/>
              <a:gd name="T5" fmla="*/ 52 h 131"/>
              <a:gd name="T6" fmla="*/ 48 w 96"/>
              <a:gd name="T7" fmla="*/ 0 h 131"/>
              <a:gd name="T8" fmla="*/ 96 w 96"/>
              <a:gd name="T9" fmla="*/ 52 h 131"/>
              <a:gd name="T10" fmla="*/ 96 w 96"/>
              <a:gd name="T11" fmla="*/ 83 h 131"/>
              <a:gd name="T12" fmla="*/ 60 w 96"/>
              <a:gd name="T13" fmla="*/ 45 h 131"/>
              <a:gd name="T14" fmla="*/ 60 w 96"/>
              <a:gd name="T15" fmla="*/ 131 h 131"/>
              <a:gd name="T16" fmla="*/ 37 w 96"/>
              <a:gd name="T17" fmla="*/ 131 h 131"/>
              <a:gd name="T18" fmla="*/ 37 w 96"/>
              <a:gd name="T19" fmla="*/ 45 h 1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6" h="131">
                <a:moveTo>
                  <a:pt x="37" y="45"/>
                </a:moveTo>
                <a:lnTo>
                  <a:pt x="0" y="83"/>
                </a:lnTo>
                <a:lnTo>
                  <a:pt x="0" y="52"/>
                </a:lnTo>
                <a:lnTo>
                  <a:pt x="48" y="0"/>
                </a:lnTo>
                <a:lnTo>
                  <a:pt x="96" y="52"/>
                </a:lnTo>
                <a:lnTo>
                  <a:pt x="96" y="83"/>
                </a:lnTo>
                <a:lnTo>
                  <a:pt x="60" y="45"/>
                </a:lnTo>
                <a:lnTo>
                  <a:pt x="60" y="131"/>
                </a:lnTo>
                <a:lnTo>
                  <a:pt x="37" y="131"/>
                </a:lnTo>
                <a:lnTo>
                  <a:pt x="37" y="4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29" name="Freeform 103"/>
          <p:cNvSpPr>
            <a:spLocks noEditPoints="1"/>
          </p:cNvSpPr>
          <p:nvPr/>
        </p:nvSpPr>
        <p:spPr bwMode="black">
          <a:xfrm>
            <a:off x="7239895" y="4574037"/>
            <a:ext cx="365107" cy="365107"/>
          </a:xfrm>
          <a:custGeom>
            <a:avLst/>
            <a:gdLst>
              <a:gd name="T0" fmla="*/ 47 w 95"/>
              <a:gd name="T1" fmla="*/ 0 h 95"/>
              <a:gd name="T2" fmla="*/ 0 w 95"/>
              <a:gd name="T3" fmla="*/ 47 h 95"/>
              <a:gd name="T4" fmla="*/ 47 w 95"/>
              <a:gd name="T5" fmla="*/ 95 h 95"/>
              <a:gd name="T6" fmla="*/ 95 w 95"/>
              <a:gd name="T7" fmla="*/ 47 h 95"/>
              <a:gd name="T8" fmla="*/ 47 w 95"/>
              <a:gd name="T9" fmla="*/ 0 h 95"/>
              <a:gd name="T10" fmla="*/ 24 w 95"/>
              <a:gd name="T11" fmla="*/ 24 h 95"/>
              <a:gd name="T12" fmla="*/ 22 w 95"/>
              <a:gd name="T13" fmla="*/ 20 h 95"/>
              <a:gd name="T14" fmla="*/ 26 w 95"/>
              <a:gd name="T15" fmla="*/ 13 h 95"/>
              <a:gd name="T16" fmla="*/ 34 w 95"/>
              <a:gd name="T17" fmla="*/ 14 h 95"/>
              <a:gd name="T18" fmla="*/ 35 w 95"/>
              <a:gd name="T19" fmla="*/ 18 h 95"/>
              <a:gd name="T20" fmla="*/ 29 w 95"/>
              <a:gd name="T21" fmla="*/ 20 h 95"/>
              <a:gd name="T22" fmla="*/ 24 w 95"/>
              <a:gd name="T23" fmla="*/ 24 h 95"/>
              <a:gd name="T24" fmla="*/ 30 w 95"/>
              <a:gd name="T25" fmla="*/ 43 h 95"/>
              <a:gd name="T26" fmla="*/ 26 w 95"/>
              <a:gd name="T27" fmla="*/ 34 h 95"/>
              <a:gd name="T28" fmla="*/ 30 w 95"/>
              <a:gd name="T29" fmla="*/ 25 h 95"/>
              <a:gd name="T30" fmla="*/ 34 w 95"/>
              <a:gd name="T31" fmla="*/ 34 h 95"/>
              <a:gd name="T32" fmla="*/ 30 w 95"/>
              <a:gd name="T33" fmla="*/ 43 h 95"/>
              <a:gd name="T34" fmla="*/ 47 w 95"/>
              <a:gd name="T35" fmla="*/ 87 h 95"/>
              <a:gd name="T36" fmla="*/ 33 w 95"/>
              <a:gd name="T37" fmla="*/ 75 h 95"/>
              <a:gd name="T38" fmla="*/ 47 w 95"/>
              <a:gd name="T39" fmla="*/ 62 h 95"/>
              <a:gd name="T40" fmla="*/ 61 w 95"/>
              <a:gd name="T41" fmla="*/ 75 h 95"/>
              <a:gd name="T42" fmla="*/ 47 w 95"/>
              <a:gd name="T43" fmla="*/ 87 h 95"/>
              <a:gd name="T44" fmla="*/ 65 w 95"/>
              <a:gd name="T45" fmla="*/ 43 h 95"/>
              <a:gd name="T46" fmla="*/ 61 w 95"/>
              <a:gd name="T47" fmla="*/ 34 h 95"/>
              <a:gd name="T48" fmla="*/ 65 w 95"/>
              <a:gd name="T49" fmla="*/ 25 h 95"/>
              <a:gd name="T50" fmla="*/ 69 w 95"/>
              <a:gd name="T51" fmla="*/ 34 h 95"/>
              <a:gd name="T52" fmla="*/ 65 w 95"/>
              <a:gd name="T53" fmla="*/ 43 h 95"/>
              <a:gd name="T54" fmla="*/ 71 w 95"/>
              <a:gd name="T55" fmla="*/ 24 h 95"/>
              <a:gd name="T56" fmla="*/ 66 w 95"/>
              <a:gd name="T57" fmla="*/ 20 h 95"/>
              <a:gd name="T58" fmla="*/ 59 w 95"/>
              <a:gd name="T59" fmla="*/ 18 h 95"/>
              <a:gd name="T60" fmla="*/ 61 w 95"/>
              <a:gd name="T61" fmla="*/ 14 h 95"/>
              <a:gd name="T62" fmla="*/ 69 w 95"/>
              <a:gd name="T63" fmla="*/ 13 h 95"/>
              <a:gd name="T64" fmla="*/ 73 w 95"/>
              <a:gd name="T65" fmla="*/ 20 h 95"/>
              <a:gd name="T66" fmla="*/ 71 w 95"/>
              <a:gd name="T67" fmla="*/ 24 h 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95" h="95">
                <a:moveTo>
                  <a:pt x="47" y="0"/>
                </a:moveTo>
                <a:cubicBezTo>
                  <a:pt x="21" y="0"/>
                  <a:pt x="0" y="21"/>
                  <a:pt x="0" y="47"/>
                </a:cubicBezTo>
                <a:cubicBezTo>
                  <a:pt x="0" y="74"/>
                  <a:pt x="21" y="95"/>
                  <a:pt x="47" y="95"/>
                </a:cubicBezTo>
                <a:cubicBezTo>
                  <a:pt x="74" y="95"/>
                  <a:pt x="95" y="74"/>
                  <a:pt x="95" y="47"/>
                </a:cubicBezTo>
                <a:cubicBezTo>
                  <a:pt x="95" y="21"/>
                  <a:pt x="74" y="0"/>
                  <a:pt x="47" y="0"/>
                </a:cubicBezTo>
                <a:close/>
                <a:moveTo>
                  <a:pt x="24" y="24"/>
                </a:moveTo>
                <a:cubicBezTo>
                  <a:pt x="23" y="24"/>
                  <a:pt x="22" y="23"/>
                  <a:pt x="22" y="20"/>
                </a:cubicBezTo>
                <a:cubicBezTo>
                  <a:pt x="22" y="18"/>
                  <a:pt x="23" y="15"/>
                  <a:pt x="26" y="13"/>
                </a:cubicBezTo>
                <a:cubicBezTo>
                  <a:pt x="29" y="12"/>
                  <a:pt x="32" y="13"/>
                  <a:pt x="34" y="14"/>
                </a:cubicBezTo>
                <a:cubicBezTo>
                  <a:pt x="36" y="15"/>
                  <a:pt x="36" y="17"/>
                  <a:pt x="35" y="18"/>
                </a:cubicBezTo>
                <a:cubicBezTo>
                  <a:pt x="34" y="19"/>
                  <a:pt x="31" y="18"/>
                  <a:pt x="29" y="20"/>
                </a:cubicBezTo>
                <a:cubicBezTo>
                  <a:pt x="27" y="21"/>
                  <a:pt x="26" y="23"/>
                  <a:pt x="24" y="24"/>
                </a:cubicBezTo>
                <a:close/>
                <a:moveTo>
                  <a:pt x="30" y="43"/>
                </a:moveTo>
                <a:cubicBezTo>
                  <a:pt x="28" y="43"/>
                  <a:pt x="26" y="39"/>
                  <a:pt x="26" y="34"/>
                </a:cubicBezTo>
                <a:cubicBezTo>
                  <a:pt x="26" y="29"/>
                  <a:pt x="28" y="25"/>
                  <a:pt x="30" y="25"/>
                </a:cubicBezTo>
                <a:cubicBezTo>
                  <a:pt x="32" y="25"/>
                  <a:pt x="34" y="29"/>
                  <a:pt x="34" y="34"/>
                </a:cubicBezTo>
                <a:cubicBezTo>
                  <a:pt x="34" y="39"/>
                  <a:pt x="32" y="43"/>
                  <a:pt x="30" y="43"/>
                </a:cubicBezTo>
                <a:close/>
                <a:moveTo>
                  <a:pt x="47" y="87"/>
                </a:moveTo>
                <a:cubicBezTo>
                  <a:pt x="38" y="87"/>
                  <a:pt x="33" y="82"/>
                  <a:pt x="33" y="75"/>
                </a:cubicBezTo>
                <a:cubicBezTo>
                  <a:pt x="33" y="68"/>
                  <a:pt x="38" y="62"/>
                  <a:pt x="47" y="62"/>
                </a:cubicBezTo>
                <a:cubicBezTo>
                  <a:pt x="57" y="62"/>
                  <a:pt x="61" y="68"/>
                  <a:pt x="61" y="75"/>
                </a:cubicBezTo>
                <a:cubicBezTo>
                  <a:pt x="61" y="82"/>
                  <a:pt x="57" y="87"/>
                  <a:pt x="47" y="87"/>
                </a:cubicBezTo>
                <a:close/>
                <a:moveTo>
                  <a:pt x="65" y="43"/>
                </a:moveTo>
                <a:cubicBezTo>
                  <a:pt x="63" y="43"/>
                  <a:pt x="61" y="39"/>
                  <a:pt x="61" y="34"/>
                </a:cubicBezTo>
                <a:cubicBezTo>
                  <a:pt x="61" y="29"/>
                  <a:pt x="63" y="25"/>
                  <a:pt x="65" y="25"/>
                </a:cubicBezTo>
                <a:cubicBezTo>
                  <a:pt x="67" y="25"/>
                  <a:pt x="69" y="29"/>
                  <a:pt x="69" y="34"/>
                </a:cubicBezTo>
                <a:cubicBezTo>
                  <a:pt x="69" y="39"/>
                  <a:pt x="67" y="43"/>
                  <a:pt x="65" y="43"/>
                </a:cubicBezTo>
                <a:close/>
                <a:moveTo>
                  <a:pt x="71" y="24"/>
                </a:moveTo>
                <a:cubicBezTo>
                  <a:pt x="68" y="23"/>
                  <a:pt x="68" y="21"/>
                  <a:pt x="66" y="20"/>
                </a:cubicBezTo>
                <a:cubicBezTo>
                  <a:pt x="63" y="18"/>
                  <a:pt x="61" y="19"/>
                  <a:pt x="59" y="18"/>
                </a:cubicBezTo>
                <a:cubicBezTo>
                  <a:pt x="59" y="17"/>
                  <a:pt x="59" y="15"/>
                  <a:pt x="61" y="14"/>
                </a:cubicBezTo>
                <a:cubicBezTo>
                  <a:pt x="63" y="13"/>
                  <a:pt x="66" y="12"/>
                  <a:pt x="69" y="13"/>
                </a:cubicBezTo>
                <a:cubicBezTo>
                  <a:pt x="72" y="15"/>
                  <a:pt x="73" y="18"/>
                  <a:pt x="73" y="20"/>
                </a:cubicBezTo>
                <a:cubicBezTo>
                  <a:pt x="73" y="23"/>
                  <a:pt x="72" y="24"/>
                  <a:pt x="71" y="2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30" name="Freeform 104"/>
          <p:cNvSpPr>
            <a:spLocks noEditPoints="1"/>
          </p:cNvSpPr>
          <p:nvPr/>
        </p:nvSpPr>
        <p:spPr bwMode="black">
          <a:xfrm>
            <a:off x="3942745" y="2614132"/>
            <a:ext cx="234876" cy="234876"/>
          </a:xfrm>
          <a:custGeom>
            <a:avLst/>
            <a:gdLst>
              <a:gd name="T0" fmla="*/ 37 w 61"/>
              <a:gd name="T1" fmla="*/ 43 h 61"/>
              <a:gd name="T2" fmla="*/ 18 w 61"/>
              <a:gd name="T3" fmla="*/ 37 h 61"/>
              <a:gd name="T4" fmla="*/ 24 w 61"/>
              <a:gd name="T5" fmla="*/ 18 h 61"/>
              <a:gd name="T6" fmla="*/ 43 w 61"/>
              <a:gd name="T7" fmla="*/ 24 h 61"/>
              <a:gd name="T8" fmla="*/ 37 w 61"/>
              <a:gd name="T9" fmla="*/ 43 h 61"/>
              <a:gd name="T10" fmla="*/ 61 w 61"/>
              <a:gd name="T11" fmla="*/ 28 h 61"/>
              <a:gd name="T12" fmla="*/ 58 w 61"/>
              <a:gd name="T13" fmla="*/ 18 h 61"/>
              <a:gd name="T14" fmla="*/ 50 w 61"/>
              <a:gd name="T15" fmla="*/ 19 h 61"/>
              <a:gd name="T16" fmla="*/ 47 w 61"/>
              <a:gd name="T17" fmla="*/ 15 h 61"/>
              <a:gd name="T18" fmla="*/ 50 w 61"/>
              <a:gd name="T19" fmla="*/ 7 h 61"/>
              <a:gd name="T20" fmla="*/ 41 w 61"/>
              <a:gd name="T21" fmla="*/ 2 h 61"/>
              <a:gd name="T22" fmla="*/ 36 w 61"/>
              <a:gd name="T23" fmla="*/ 9 h 61"/>
              <a:gd name="T24" fmla="*/ 30 w 61"/>
              <a:gd name="T25" fmla="*/ 8 h 61"/>
              <a:gd name="T26" fmla="*/ 27 w 61"/>
              <a:gd name="T27" fmla="*/ 0 h 61"/>
              <a:gd name="T28" fmla="*/ 17 w 61"/>
              <a:gd name="T29" fmla="*/ 3 h 61"/>
              <a:gd name="T30" fmla="*/ 18 w 61"/>
              <a:gd name="T31" fmla="*/ 11 h 61"/>
              <a:gd name="T32" fmla="*/ 15 w 61"/>
              <a:gd name="T33" fmla="*/ 14 h 61"/>
              <a:gd name="T34" fmla="*/ 7 w 61"/>
              <a:gd name="T35" fmla="*/ 11 h 61"/>
              <a:gd name="T36" fmla="*/ 2 w 61"/>
              <a:gd name="T37" fmla="*/ 20 h 61"/>
              <a:gd name="T38" fmla="*/ 8 w 61"/>
              <a:gd name="T39" fmla="*/ 25 h 61"/>
              <a:gd name="T40" fmla="*/ 7 w 61"/>
              <a:gd name="T41" fmla="*/ 30 h 61"/>
              <a:gd name="T42" fmla="*/ 0 w 61"/>
              <a:gd name="T43" fmla="*/ 33 h 61"/>
              <a:gd name="T44" fmla="*/ 2 w 61"/>
              <a:gd name="T45" fmla="*/ 43 h 61"/>
              <a:gd name="T46" fmla="*/ 11 w 61"/>
              <a:gd name="T47" fmla="*/ 42 h 61"/>
              <a:gd name="T48" fmla="*/ 14 w 61"/>
              <a:gd name="T49" fmla="*/ 47 h 61"/>
              <a:gd name="T50" fmla="*/ 11 w 61"/>
              <a:gd name="T51" fmla="*/ 54 h 61"/>
              <a:gd name="T52" fmla="*/ 20 w 61"/>
              <a:gd name="T53" fmla="*/ 59 h 61"/>
              <a:gd name="T54" fmla="*/ 25 w 61"/>
              <a:gd name="T55" fmla="*/ 53 h 61"/>
              <a:gd name="T56" fmla="*/ 30 w 61"/>
              <a:gd name="T57" fmla="*/ 53 h 61"/>
              <a:gd name="T58" fmla="*/ 33 w 61"/>
              <a:gd name="T59" fmla="*/ 61 h 61"/>
              <a:gd name="T60" fmla="*/ 43 w 61"/>
              <a:gd name="T61" fmla="*/ 58 h 61"/>
              <a:gd name="T62" fmla="*/ 42 w 61"/>
              <a:gd name="T63" fmla="*/ 50 h 61"/>
              <a:gd name="T64" fmla="*/ 46 w 61"/>
              <a:gd name="T65" fmla="*/ 47 h 61"/>
              <a:gd name="T66" fmla="*/ 54 w 61"/>
              <a:gd name="T67" fmla="*/ 50 h 61"/>
              <a:gd name="T68" fmla="*/ 59 w 61"/>
              <a:gd name="T69" fmla="*/ 41 h 61"/>
              <a:gd name="T70" fmla="*/ 52 w 61"/>
              <a:gd name="T71" fmla="*/ 36 h 61"/>
              <a:gd name="T72" fmla="*/ 53 w 61"/>
              <a:gd name="T73" fmla="*/ 31 h 61"/>
              <a:gd name="T74" fmla="*/ 61 w 61"/>
              <a:gd name="T75" fmla="*/ 28 h 61"/>
              <a:gd name="T76" fmla="*/ 28 w 61"/>
              <a:gd name="T77" fmla="*/ 26 h 61"/>
              <a:gd name="T78" fmla="*/ 26 w 61"/>
              <a:gd name="T79" fmla="*/ 33 h 61"/>
              <a:gd name="T80" fmla="*/ 33 w 61"/>
              <a:gd name="T81" fmla="*/ 35 h 61"/>
              <a:gd name="T82" fmla="*/ 35 w 61"/>
              <a:gd name="T83" fmla="*/ 28 h 61"/>
              <a:gd name="T84" fmla="*/ 28 w 61"/>
              <a:gd name="T85" fmla="*/ 26 h 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61" h="61">
                <a:moveTo>
                  <a:pt x="37" y="43"/>
                </a:moveTo>
                <a:cubicBezTo>
                  <a:pt x="30" y="47"/>
                  <a:pt x="21" y="44"/>
                  <a:pt x="18" y="37"/>
                </a:cubicBezTo>
                <a:cubicBezTo>
                  <a:pt x="14" y="30"/>
                  <a:pt x="17" y="21"/>
                  <a:pt x="24" y="18"/>
                </a:cubicBezTo>
                <a:cubicBezTo>
                  <a:pt x="31" y="14"/>
                  <a:pt x="39" y="17"/>
                  <a:pt x="43" y="24"/>
                </a:cubicBezTo>
                <a:cubicBezTo>
                  <a:pt x="47" y="31"/>
                  <a:pt x="44" y="40"/>
                  <a:pt x="37" y="43"/>
                </a:cubicBezTo>
                <a:moveTo>
                  <a:pt x="61" y="28"/>
                </a:moveTo>
                <a:cubicBezTo>
                  <a:pt x="58" y="18"/>
                  <a:pt x="58" y="18"/>
                  <a:pt x="58" y="18"/>
                </a:cubicBezTo>
                <a:cubicBezTo>
                  <a:pt x="50" y="19"/>
                  <a:pt x="50" y="19"/>
                  <a:pt x="50" y="19"/>
                </a:cubicBezTo>
                <a:cubicBezTo>
                  <a:pt x="49" y="17"/>
                  <a:pt x="48" y="16"/>
                  <a:pt x="47" y="15"/>
                </a:cubicBezTo>
                <a:cubicBezTo>
                  <a:pt x="50" y="7"/>
                  <a:pt x="50" y="7"/>
                  <a:pt x="50" y="7"/>
                </a:cubicBezTo>
                <a:cubicBezTo>
                  <a:pt x="41" y="2"/>
                  <a:pt x="41" y="2"/>
                  <a:pt x="41" y="2"/>
                </a:cubicBezTo>
                <a:cubicBezTo>
                  <a:pt x="36" y="9"/>
                  <a:pt x="36" y="9"/>
                  <a:pt x="36" y="9"/>
                </a:cubicBezTo>
                <a:cubicBezTo>
                  <a:pt x="34" y="8"/>
                  <a:pt x="32" y="8"/>
                  <a:pt x="30" y="8"/>
                </a:cubicBezTo>
                <a:cubicBezTo>
                  <a:pt x="27" y="0"/>
                  <a:pt x="27" y="0"/>
                  <a:pt x="27" y="0"/>
                </a:cubicBezTo>
                <a:cubicBezTo>
                  <a:pt x="17" y="3"/>
                  <a:pt x="17" y="3"/>
                  <a:pt x="17" y="3"/>
                </a:cubicBezTo>
                <a:cubicBezTo>
                  <a:pt x="18" y="11"/>
                  <a:pt x="18" y="11"/>
                  <a:pt x="18" y="11"/>
                </a:cubicBezTo>
                <a:cubicBezTo>
                  <a:pt x="17" y="12"/>
                  <a:pt x="16" y="13"/>
                  <a:pt x="15" y="14"/>
                </a:cubicBezTo>
                <a:cubicBezTo>
                  <a:pt x="7" y="11"/>
                  <a:pt x="7" y="11"/>
                  <a:pt x="7" y="11"/>
                </a:cubicBezTo>
                <a:cubicBezTo>
                  <a:pt x="2" y="20"/>
                  <a:pt x="2" y="20"/>
                  <a:pt x="2" y="20"/>
                </a:cubicBezTo>
                <a:cubicBezTo>
                  <a:pt x="8" y="25"/>
                  <a:pt x="8" y="25"/>
                  <a:pt x="8" y="25"/>
                </a:cubicBezTo>
                <a:cubicBezTo>
                  <a:pt x="8" y="27"/>
                  <a:pt x="7" y="28"/>
                  <a:pt x="7" y="30"/>
                </a:cubicBezTo>
                <a:cubicBezTo>
                  <a:pt x="0" y="33"/>
                  <a:pt x="0" y="33"/>
                  <a:pt x="0" y="33"/>
                </a:cubicBezTo>
                <a:cubicBezTo>
                  <a:pt x="2" y="43"/>
                  <a:pt x="2" y="43"/>
                  <a:pt x="2" y="43"/>
                </a:cubicBezTo>
                <a:cubicBezTo>
                  <a:pt x="11" y="42"/>
                  <a:pt x="11" y="42"/>
                  <a:pt x="11" y="42"/>
                </a:cubicBezTo>
                <a:cubicBezTo>
                  <a:pt x="12" y="44"/>
                  <a:pt x="13" y="45"/>
                  <a:pt x="14" y="47"/>
                </a:cubicBezTo>
                <a:cubicBezTo>
                  <a:pt x="11" y="54"/>
                  <a:pt x="11" y="54"/>
                  <a:pt x="11" y="54"/>
                </a:cubicBezTo>
                <a:cubicBezTo>
                  <a:pt x="20" y="59"/>
                  <a:pt x="20" y="59"/>
                  <a:pt x="20" y="59"/>
                </a:cubicBezTo>
                <a:cubicBezTo>
                  <a:pt x="25" y="53"/>
                  <a:pt x="25" y="53"/>
                  <a:pt x="25" y="53"/>
                </a:cubicBezTo>
                <a:cubicBezTo>
                  <a:pt x="26" y="53"/>
                  <a:pt x="28" y="53"/>
                  <a:pt x="30" y="53"/>
                </a:cubicBezTo>
                <a:cubicBezTo>
                  <a:pt x="33" y="61"/>
                  <a:pt x="33" y="61"/>
                  <a:pt x="33" y="61"/>
                </a:cubicBezTo>
                <a:cubicBezTo>
                  <a:pt x="43" y="58"/>
                  <a:pt x="43" y="58"/>
                  <a:pt x="43" y="58"/>
                </a:cubicBezTo>
                <a:cubicBezTo>
                  <a:pt x="42" y="50"/>
                  <a:pt x="42" y="50"/>
                  <a:pt x="42" y="50"/>
                </a:cubicBezTo>
                <a:cubicBezTo>
                  <a:pt x="44" y="49"/>
                  <a:pt x="45" y="48"/>
                  <a:pt x="46" y="47"/>
                </a:cubicBezTo>
                <a:cubicBezTo>
                  <a:pt x="54" y="50"/>
                  <a:pt x="54" y="50"/>
                  <a:pt x="54" y="50"/>
                </a:cubicBezTo>
                <a:cubicBezTo>
                  <a:pt x="59" y="41"/>
                  <a:pt x="59" y="41"/>
                  <a:pt x="59" y="41"/>
                </a:cubicBezTo>
                <a:cubicBezTo>
                  <a:pt x="52" y="36"/>
                  <a:pt x="52" y="36"/>
                  <a:pt x="52" y="36"/>
                </a:cubicBezTo>
                <a:cubicBezTo>
                  <a:pt x="53" y="34"/>
                  <a:pt x="53" y="33"/>
                  <a:pt x="53" y="31"/>
                </a:cubicBezTo>
                <a:lnTo>
                  <a:pt x="61" y="28"/>
                </a:lnTo>
                <a:close/>
                <a:moveTo>
                  <a:pt x="28" y="26"/>
                </a:moveTo>
                <a:cubicBezTo>
                  <a:pt x="25" y="27"/>
                  <a:pt x="24" y="30"/>
                  <a:pt x="26" y="33"/>
                </a:cubicBezTo>
                <a:cubicBezTo>
                  <a:pt x="27" y="35"/>
                  <a:pt x="30" y="36"/>
                  <a:pt x="33" y="35"/>
                </a:cubicBezTo>
                <a:cubicBezTo>
                  <a:pt x="35" y="34"/>
                  <a:pt x="36" y="31"/>
                  <a:pt x="35" y="28"/>
                </a:cubicBezTo>
                <a:cubicBezTo>
                  <a:pt x="34" y="26"/>
                  <a:pt x="31" y="25"/>
                  <a:pt x="28" y="2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31" name="Freeform 105"/>
          <p:cNvSpPr>
            <a:spLocks/>
          </p:cNvSpPr>
          <p:nvPr/>
        </p:nvSpPr>
        <p:spPr bwMode="black">
          <a:xfrm>
            <a:off x="4651244" y="2565299"/>
            <a:ext cx="162786" cy="332545"/>
          </a:xfrm>
          <a:custGeom>
            <a:avLst/>
            <a:gdLst>
              <a:gd name="T0" fmla="*/ 38 w 42"/>
              <a:gd name="T1" fmla="*/ 23 h 86"/>
              <a:gd name="T2" fmla="*/ 35 w 42"/>
              <a:gd name="T3" fmla="*/ 27 h 86"/>
              <a:gd name="T4" fmla="*/ 35 w 42"/>
              <a:gd name="T5" fmla="*/ 65 h 86"/>
              <a:gd name="T6" fmla="*/ 21 w 42"/>
              <a:gd name="T7" fmla="*/ 79 h 86"/>
              <a:gd name="T8" fmla="*/ 7 w 42"/>
              <a:gd name="T9" fmla="*/ 65 h 86"/>
              <a:gd name="T10" fmla="*/ 7 w 42"/>
              <a:gd name="T11" fmla="*/ 16 h 86"/>
              <a:gd name="T12" fmla="*/ 16 w 42"/>
              <a:gd name="T13" fmla="*/ 7 h 86"/>
              <a:gd name="T14" fmla="*/ 25 w 42"/>
              <a:gd name="T15" fmla="*/ 16 h 86"/>
              <a:gd name="T16" fmla="*/ 25 w 42"/>
              <a:gd name="T17" fmla="*/ 16 h 86"/>
              <a:gd name="T18" fmla="*/ 25 w 42"/>
              <a:gd name="T19" fmla="*/ 54 h 86"/>
              <a:gd name="T20" fmla="*/ 22 w 42"/>
              <a:gd name="T21" fmla="*/ 58 h 86"/>
              <a:gd name="T22" fmla="*/ 18 w 42"/>
              <a:gd name="T23" fmla="*/ 54 h 86"/>
              <a:gd name="T24" fmla="*/ 18 w 42"/>
              <a:gd name="T25" fmla="*/ 25 h 86"/>
              <a:gd name="T26" fmla="*/ 14 w 42"/>
              <a:gd name="T27" fmla="*/ 22 h 86"/>
              <a:gd name="T28" fmla="*/ 11 w 42"/>
              <a:gd name="T29" fmla="*/ 25 h 86"/>
              <a:gd name="T30" fmla="*/ 11 w 42"/>
              <a:gd name="T31" fmla="*/ 54 h 86"/>
              <a:gd name="T32" fmla="*/ 22 w 42"/>
              <a:gd name="T33" fmla="*/ 65 h 86"/>
              <a:gd name="T34" fmla="*/ 32 w 42"/>
              <a:gd name="T35" fmla="*/ 54 h 86"/>
              <a:gd name="T36" fmla="*/ 32 w 42"/>
              <a:gd name="T37" fmla="*/ 16 h 86"/>
              <a:gd name="T38" fmla="*/ 32 w 42"/>
              <a:gd name="T39" fmla="*/ 16 h 86"/>
              <a:gd name="T40" fmla="*/ 16 w 42"/>
              <a:gd name="T41" fmla="*/ 0 h 86"/>
              <a:gd name="T42" fmla="*/ 0 w 42"/>
              <a:gd name="T43" fmla="*/ 16 h 86"/>
              <a:gd name="T44" fmla="*/ 0 w 42"/>
              <a:gd name="T45" fmla="*/ 65 h 86"/>
              <a:gd name="T46" fmla="*/ 21 w 42"/>
              <a:gd name="T47" fmla="*/ 86 h 86"/>
              <a:gd name="T48" fmla="*/ 42 w 42"/>
              <a:gd name="T49" fmla="*/ 65 h 86"/>
              <a:gd name="T50" fmla="*/ 42 w 42"/>
              <a:gd name="T51" fmla="*/ 65 h 86"/>
              <a:gd name="T52" fmla="*/ 42 w 42"/>
              <a:gd name="T53" fmla="*/ 27 h 86"/>
              <a:gd name="T54" fmla="*/ 38 w 42"/>
              <a:gd name="T55" fmla="*/ 23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42" h="86">
                <a:moveTo>
                  <a:pt x="38" y="23"/>
                </a:moveTo>
                <a:cubicBezTo>
                  <a:pt x="36" y="23"/>
                  <a:pt x="35" y="25"/>
                  <a:pt x="35" y="27"/>
                </a:cubicBezTo>
                <a:cubicBezTo>
                  <a:pt x="35" y="65"/>
                  <a:pt x="35" y="65"/>
                  <a:pt x="35" y="65"/>
                </a:cubicBezTo>
                <a:cubicBezTo>
                  <a:pt x="35" y="73"/>
                  <a:pt x="29" y="79"/>
                  <a:pt x="21" y="79"/>
                </a:cubicBezTo>
                <a:cubicBezTo>
                  <a:pt x="13" y="79"/>
                  <a:pt x="7" y="73"/>
                  <a:pt x="7" y="65"/>
                </a:cubicBezTo>
                <a:cubicBezTo>
                  <a:pt x="7" y="16"/>
                  <a:pt x="7" y="16"/>
                  <a:pt x="7" y="16"/>
                </a:cubicBezTo>
                <a:cubicBezTo>
                  <a:pt x="7" y="11"/>
                  <a:pt x="11" y="7"/>
                  <a:pt x="16" y="7"/>
                </a:cubicBezTo>
                <a:cubicBezTo>
                  <a:pt x="21" y="7"/>
                  <a:pt x="25" y="11"/>
                  <a:pt x="25" y="16"/>
                </a:cubicBezTo>
                <a:cubicBezTo>
                  <a:pt x="25" y="16"/>
                  <a:pt x="25" y="16"/>
                  <a:pt x="25" y="16"/>
                </a:cubicBezTo>
                <a:cubicBezTo>
                  <a:pt x="25" y="54"/>
                  <a:pt x="25" y="54"/>
                  <a:pt x="25" y="54"/>
                </a:cubicBezTo>
                <a:cubicBezTo>
                  <a:pt x="25" y="56"/>
                  <a:pt x="23" y="58"/>
                  <a:pt x="22" y="58"/>
                </a:cubicBezTo>
                <a:cubicBezTo>
                  <a:pt x="20" y="58"/>
                  <a:pt x="18" y="56"/>
                  <a:pt x="18" y="54"/>
                </a:cubicBezTo>
                <a:cubicBezTo>
                  <a:pt x="18" y="25"/>
                  <a:pt x="18" y="25"/>
                  <a:pt x="18" y="25"/>
                </a:cubicBezTo>
                <a:cubicBezTo>
                  <a:pt x="18" y="23"/>
                  <a:pt x="16" y="22"/>
                  <a:pt x="14" y="22"/>
                </a:cubicBezTo>
                <a:cubicBezTo>
                  <a:pt x="12" y="22"/>
                  <a:pt x="11" y="23"/>
                  <a:pt x="11" y="25"/>
                </a:cubicBezTo>
                <a:cubicBezTo>
                  <a:pt x="11" y="54"/>
                  <a:pt x="11" y="54"/>
                  <a:pt x="11" y="54"/>
                </a:cubicBezTo>
                <a:cubicBezTo>
                  <a:pt x="11" y="60"/>
                  <a:pt x="16" y="65"/>
                  <a:pt x="22" y="65"/>
                </a:cubicBezTo>
                <a:cubicBezTo>
                  <a:pt x="27" y="65"/>
                  <a:pt x="32" y="60"/>
                  <a:pt x="32" y="54"/>
                </a:cubicBezTo>
                <a:cubicBezTo>
                  <a:pt x="32" y="16"/>
                  <a:pt x="32" y="16"/>
                  <a:pt x="32" y="16"/>
                </a:cubicBezTo>
                <a:cubicBezTo>
                  <a:pt x="32" y="16"/>
                  <a:pt x="32" y="16"/>
                  <a:pt x="32" y="16"/>
                </a:cubicBezTo>
                <a:cubicBezTo>
                  <a:pt x="32" y="7"/>
                  <a:pt x="25" y="0"/>
                  <a:pt x="16" y="0"/>
                </a:cubicBezTo>
                <a:cubicBezTo>
                  <a:pt x="7" y="0"/>
                  <a:pt x="0" y="7"/>
                  <a:pt x="0" y="16"/>
                </a:cubicBezTo>
                <a:cubicBezTo>
                  <a:pt x="0" y="65"/>
                  <a:pt x="0" y="65"/>
                  <a:pt x="0" y="65"/>
                </a:cubicBezTo>
                <a:cubicBezTo>
                  <a:pt x="0" y="77"/>
                  <a:pt x="10" y="86"/>
                  <a:pt x="21" y="86"/>
                </a:cubicBezTo>
                <a:cubicBezTo>
                  <a:pt x="33" y="86"/>
                  <a:pt x="42" y="77"/>
                  <a:pt x="42" y="65"/>
                </a:cubicBezTo>
                <a:cubicBezTo>
                  <a:pt x="42" y="65"/>
                  <a:pt x="42" y="65"/>
                  <a:pt x="42" y="65"/>
                </a:cubicBezTo>
                <a:cubicBezTo>
                  <a:pt x="42" y="27"/>
                  <a:pt x="42" y="27"/>
                  <a:pt x="42" y="27"/>
                </a:cubicBezTo>
                <a:cubicBezTo>
                  <a:pt x="42" y="25"/>
                  <a:pt x="40" y="23"/>
                  <a:pt x="38" y="23"/>
                </a:cubicBezTo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32" name="Freeform 106"/>
          <p:cNvSpPr>
            <a:spLocks noEditPoints="1"/>
          </p:cNvSpPr>
          <p:nvPr/>
        </p:nvSpPr>
        <p:spPr bwMode="black">
          <a:xfrm>
            <a:off x="5231837" y="2630413"/>
            <a:ext cx="346502" cy="202319"/>
          </a:xfrm>
          <a:custGeom>
            <a:avLst/>
            <a:gdLst>
              <a:gd name="T0" fmla="*/ 25 w 90"/>
              <a:gd name="T1" fmla="*/ 11 h 53"/>
              <a:gd name="T2" fmla="*/ 34 w 90"/>
              <a:gd name="T3" fmla="*/ 32 h 53"/>
              <a:gd name="T4" fmla="*/ 15 w 90"/>
              <a:gd name="T5" fmla="*/ 35 h 53"/>
              <a:gd name="T6" fmla="*/ 11 w 90"/>
              <a:gd name="T7" fmla="*/ 47 h 53"/>
              <a:gd name="T8" fmla="*/ 17 w 90"/>
              <a:gd name="T9" fmla="*/ 50 h 53"/>
              <a:gd name="T10" fmla="*/ 0 w 90"/>
              <a:gd name="T11" fmla="*/ 52 h 53"/>
              <a:gd name="T12" fmla="*/ 5 w 90"/>
              <a:gd name="T13" fmla="*/ 49 h 53"/>
              <a:gd name="T14" fmla="*/ 27 w 90"/>
              <a:gd name="T15" fmla="*/ 0 h 53"/>
              <a:gd name="T16" fmla="*/ 46 w 90"/>
              <a:gd name="T17" fmla="*/ 42 h 53"/>
              <a:gd name="T18" fmla="*/ 55 w 90"/>
              <a:gd name="T19" fmla="*/ 50 h 53"/>
              <a:gd name="T20" fmla="*/ 35 w 90"/>
              <a:gd name="T21" fmla="*/ 52 h 53"/>
              <a:gd name="T22" fmla="*/ 39 w 90"/>
              <a:gd name="T23" fmla="*/ 49 h 53"/>
              <a:gd name="T24" fmla="*/ 38 w 90"/>
              <a:gd name="T25" fmla="*/ 42 h 53"/>
              <a:gd name="T26" fmla="*/ 78 w 90"/>
              <a:gd name="T27" fmla="*/ 44 h 53"/>
              <a:gd name="T28" fmla="*/ 70 w 90"/>
              <a:gd name="T29" fmla="*/ 34 h 53"/>
              <a:gd name="T30" fmla="*/ 65 w 90"/>
              <a:gd name="T31" fmla="*/ 42 h 53"/>
              <a:gd name="T32" fmla="*/ 70 w 90"/>
              <a:gd name="T33" fmla="*/ 48 h 53"/>
              <a:gd name="T34" fmla="*/ 78 w 90"/>
              <a:gd name="T35" fmla="*/ 47 h 53"/>
              <a:gd name="T36" fmla="*/ 67 w 90"/>
              <a:gd name="T37" fmla="*/ 53 h 53"/>
              <a:gd name="T38" fmla="*/ 58 w 90"/>
              <a:gd name="T39" fmla="*/ 44 h 53"/>
              <a:gd name="T40" fmla="*/ 65 w 90"/>
              <a:gd name="T41" fmla="*/ 34 h 53"/>
              <a:gd name="T42" fmla="*/ 78 w 90"/>
              <a:gd name="T43" fmla="*/ 28 h 53"/>
              <a:gd name="T44" fmla="*/ 71 w 90"/>
              <a:gd name="T45" fmla="*/ 19 h 53"/>
              <a:gd name="T46" fmla="*/ 66 w 90"/>
              <a:gd name="T47" fmla="*/ 23 h 53"/>
              <a:gd name="T48" fmla="*/ 65 w 90"/>
              <a:gd name="T49" fmla="*/ 28 h 53"/>
              <a:gd name="T50" fmla="*/ 61 w 90"/>
              <a:gd name="T51" fmla="*/ 28 h 53"/>
              <a:gd name="T52" fmla="*/ 63 w 90"/>
              <a:gd name="T53" fmla="*/ 19 h 53"/>
              <a:gd name="T54" fmla="*/ 80 w 90"/>
              <a:gd name="T55" fmla="*/ 18 h 53"/>
              <a:gd name="T56" fmla="*/ 84 w 90"/>
              <a:gd name="T57" fmla="*/ 28 h 53"/>
              <a:gd name="T58" fmla="*/ 84 w 90"/>
              <a:gd name="T59" fmla="*/ 46 h 53"/>
              <a:gd name="T60" fmla="*/ 86 w 90"/>
              <a:gd name="T61" fmla="*/ 48 h 53"/>
              <a:gd name="T62" fmla="*/ 90 w 90"/>
              <a:gd name="T63" fmla="*/ 45 h 53"/>
              <a:gd name="T64" fmla="*/ 82 w 90"/>
              <a:gd name="T65" fmla="*/ 53 h 53"/>
              <a:gd name="T66" fmla="*/ 78 w 90"/>
              <a:gd name="T67" fmla="*/ 47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90" h="53">
                <a:moveTo>
                  <a:pt x="34" y="32"/>
                </a:moveTo>
                <a:cubicBezTo>
                  <a:pt x="25" y="11"/>
                  <a:pt x="25" y="11"/>
                  <a:pt x="25" y="11"/>
                </a:cubicBezTo>
                <a:cubicBezTo>
                  <a:pt x="17" y="32"/>
                  <a:pt x="17" y="32"/>
                  <a:pt x="17" y="32"/>
                </a:cubicBezTo>
                <a:lnTo>
                  <a:pt x="34" y="32"/>
                </a:lnTo>
                <a:close/>
                <a:moveTo>
                  <a:pt x="35" y="35"/>
                </a:moveTo>
                <a:cubicBezTo>
                  <a:pt x="15" y="35"/>
                  <a:pt x="15" y="35"/>
                  <a:pt x="15" y="35"/>
                </a:cubicBezTo>
                <a:cubicBezTo>
                  <a:pt x="12" y="43"/>
                  <a:pt x="12" y="43"/>
                  <a:pt x="12" y="43"/>
                </a:cubicBezTo>
                <a:cubicBezTo>
                  <a:pt x="11" y="45"/>
                  <a:pt x="11" y="46"/>
                  <a:pt x="11" y="47"/>
                </a:cubicBezTo>
                <a:cubicBezTo>
                  <a:pt x="11" y="48"/>
                  <a:pt x="11" y="49"/>
                  <a:pt x="12" y="49"/>
                </a:cubicBezTo>
                <a:cubicBezTo>
                  <a:pt x="12" y="50"/>
                  <a:pt x="14" y="50"/>
                  <a:pt x="17" y="50"/>
                </a:cubicBezTo>
                <a:cubicBezTo>
                  <a:pt x="17" y="52"/>
                  <a:pt x="17" y="52"/>
                  <a:pt x="17" y="52"/>
                </a:cubicBezTo>
                <a:cubicBezTo>
                  <a:pt x="0" y="52"/>
                  <a:pt x="0" y="52"/>
                  <a:pt x="0" y="52"/>
                </a:cubicBezTo>
                <a:cubicBezTo>
                  <a:pt x="0" y="50"/>
                  <a:pt x="0" y="50"/>
                  <a:pt x="0" y="50"/>
                </a:cubicBezTo>
                <a:cubicBezTo>
                  <a:pt x="3" y="50"/>
                  <a:pt x="4" y="50"/>
                  <a:pt x="5" y="49"/>
                </a:cubicBezTo>
                <a:cubicBezTo>
                  <a:pt x="6" y="48"/>
                  <a:pt x="7" y="45"/>
                  <a:pt x="9" y="42"/>
                </a:cubicBezTo>
                <a:cubicBezTo>
                  <a:pt x="27" y="0"/>
                  <a:pt x="27" y="0"/>
                  <a:pt x="27" y="0"/>
                </a:cubicBezTo>
                <a:cubicBezTo>
                  <a:pt x="28" y="0"/>
                  <a:pt x="28" y="0"/>
                  <a:pt x="28" y="0"/>
                </a:cubicBezTo>
                <a:cubicBezTo>
                  <a:pt x="46" y="42"/>
                  <a:pt x="46" y="42"/>
                  <a:pt x="46" y="42"/>
                </a:cubicBezTo>
                <a:cubicBezTo>
                  <a:pt x="47" y="46"/>
                  <a:pt x="49" y="48"/>
                  <a:pt x="50" y="49"/>
                </a:cubicBezTo>
                <a:cubicBezTo>
                  <a:pt x="51" y="50"/>
                  <a:pt x="53" y="50"/>
                  <a:pt x="55" y="50"/>
                </a:cubicBezTo>
                <a:cubicBezTo>
                  <a:pt x="55" y="52"/>
                  <a:pt x="55" y="52"/>
                  <a:pt x="55" y="52"/>
                </a:cubicBezTo>
                <a:cubicBezTo>
                  <a:pt x="35" y="52"/>
                  <a:pt x="35" y="52"/>
                  <a:pt x="35" y="52"/>
                </a:cubicBezTo>
                <a:cubicBezTo>
                  <a:pt x="35" y="50"/>
                  <a:pt x="35" y="50"/>
                  <a:pt x="35" y="50"/>
                </a:cubicBezTo>
                <a:cubicBezTo>
                  <a:pt x="37" y="50"/>
                  <a:pt x="38" y="50"/>
                  <a:pt x="39" y="49"/>
                </a:cubicBezTo>
                <a:cubicBezTo>
                  <a:pt x="39" y="49"/>
                  <a:pt x="40" y="48"/>
                  <a:pt x="40" y="47"/>
                </a:cubicBezTo>
                <a:cubicBezTo>
                  <a:pt x="40" y="46"/>
                  <a:pt x="39" y="44"/>
                  <a:pt x="38" y="42"/>
                </a:cubicBezTo>
                <a:lnTo>
                  <a:pt x="35" y="35"/>
                </a:lnTo>
                <a:close/>
                <a:moveTo>
                  <a:pt x="78" y="44"/>
                </a:moveTo>
                <a:cubicBezTo>
                  <a:pt x="78" y="31"/>
                  <a:pt x="78" y="31"/>
                  <a:pt x="78" y="31"/>
                </a:cubicBezTo>
                <a:cubicBezTo>
                  <a:pt x="74" y="33"/>
                  <a:pt x="71" y="34"/>
                  <a:pt x="70" y="34"/>
                </a:cubicBezTo>
                <a:cubicBezTo>
                  <a:pt x="68" y="36"/>
                  <a:pt x="67" y="37"/>
                  <a:pt x="66" y="38"/>
                </a:cubicBezTo>
                <a:cubicBezTo>
                  <a:pt x="65" y="39"/>
                  <a:pt x="65" y="40"/>
                  <a:pt x="65" y="42"/>
                </a:cubicBezTo>
                <a:cubicBezTo>
                  <a:pt x="65" y="44"/>
                  <a:pt x="65" y="45"/>
                  <a:pt x="66" y="46"/>
                </a:cubicBezTo>
                <a:cubicBezTo>
                  <a:pt x="67" y="48"/>
                  <a:pt x="69" y="48"/>
                  <a:pt x="70" y="48"/>
                </a:cubicBezTo>
                <a:cubicBezTo>
                  <a:pt x="72" y="48"/>
                  <a:pt x="75" y="47"/>
                  <a:pt x="78" y="44"/>
                </a:cubicBezTo>
                <a:moveTo>
                  <a:pt x="78" y="47"/>
                </a:moveTo>
                <a:cubicBezTo>
                  <a:pt x="74" y="50"/>
                  <a:pt x="72" y="51"/>
                  <a:pt x="71" y="52"/>
                </a:cubicBezTo>
                <a:cubicBezTo>
                  <a:pt x="70" y="52"/>
                  <a:pt x="68" y="53"/>
                  <a:pt x="67" y="53"/>
                </a:cubicBezTo>
                <a:cubicBezTo>
                  <a:pt x="64" y="53"/>
                  <a:pt x="62" y="52"/>
                  <a:pt x="61" y="50"/>
                </a:cubicBezTo>
                <a:cubicBezTo>
                  <a:pt x="59" y="49"/>
                  <a:pt x="58" y="46"/>
                  <a:pt x="58" y="44"/>
                </a:cubicBezTo>
                <a:cubicBezTo>
                  <a:pt x="58" y="42"/>
                  <a:pt x="59" y="41"/>
                  <a:pt x="60" y="39"/>
                </a:cubicBezTo>
                <a:cubicBezTo>
                  <a:pt x="61" y="38"/>
                  <a:pt x="62" y="36"/>
                  <a:pt x="65" y="34"/>
                </a:cubicBezTo>
                <a:cubicBezTo>
                  <a:pt x="67" y="33"/>
                  <a:pt x="72" y="31"/>
                  <a:pt x="78" y="29"/>
                </a:cubicBezTo>
                <a:cubicBezTo>
                  <a:pt x="78" y="28"/>
                  <a:pt x="78" y="28"/>
                  <a:pt x="78" y="28"/>
                </a:cubicBezTo>
                <a:cubicBezTo>
                  <a:pt x="78" y="24"/>
                  <a:pt x="77" y="22"/>
                  <a:pt x="76" y="21"/>
                </a:cubicBezTo>
                <a:cubicBezTo>
                  <a:pt x="75" y="19"/>
                  <a:pt x="73" y="19"/>
                  <a:pt x="71" y="19"/>
                </a:cubicBezTo>
                <a:cubicBezTo>
                  <a:pt x="70" y="19"/>
                  <a:pt x="68" y="19"/>
                  <a:pt x="67" y="20"/>
                </a:cubicBezTo>
                <a:cubicBezTo>
                  <a:pt x="66" y="21"/>
                  <a:pt x="66" y="22"/>
                  <a:pt x="66" y="23"/>
                </a:cubicBezTo>
                <a:cubicBezTo>
                  <a:pt x="66" y="25"/>
                  <a:pt x="66" y="25"/>
                  <a:pt x="66" y="25"/>
                </a:cubicBezTo>
                <a:cubicBezTo>
                  <a:pt x="66" y="26"/>
                  <a:pt x="66" y="27"/>
                  <a:pt x="65" y="28"/>
                </a:cubicBezTo>
                <a:cubicBezTo>
                  <a:pt x="65" y="28"/>
                  <a:pt x="64" y="29"/>
                  <a:pt x="63" y="29"/>
                </a:cubicBezTo>
                <a:cubicBezTo>
                  <a:pt x="62" y="29"/>
                  <a:pt x="61" y="28"/>
                  <a:pt x="61" y="28"/>
                </a:cubicBezTo>
                <a:cubicBezTo>
                  <a:pt x="60" y="27"/>
                  <a:pt x="60" y="26"/>
                  <a:pt x="60" y="25"/>
                </a:cubicBezTo>
                <a:cubicBezTo>
                  <a:pt x="60" y="23"/>
                  <a:pt x="61" y="21"/>
                  <a:pt x="63" y="19"/>
                </a:cubicBezTo>
                <a:cubicBezTo>
                  <a:pt x="65" y="17"/>
                  <a:pt x="68" y="16"/>
                  <a:pt x="72" y="16"/>
                </a:cubicBezTo>
                <a:cubicBezTo>
                  <a:pt x="75" y="16"/>
                  <a:pt x="78" y="17"/>
                  <a:pt x="80" y="18"/>
                </a:cubicBezTo>
                <a:cubicBezTo>
                  <a:pt x="81" y="19"/>
                  <a:pt x="82" y="20"/>
                  <a:pt x="83" y="21"/>
                </a:cubicBezTo>
                <a:cubicBezTo>
                  <a:pt x="84" y="23"/>
                  <a:pt x="84" y="25"/>
                  <a:pt x="84" y="28"/>
                </a:cubicBezTo>
                <a:cubicBezTo>
                  <a:pt x="84" y="40"/>
                  <a:pt x="84" y="40"/>
                  <a:pt x="84" y="40"/>
                </a:cubicBezTo>
                <a:cubicBezTo>
                  <a:pt x="84" y="43"/>
                  <a:pt x="84" y="45"/>
                  <a:pt x="84" y="46"/>
                </a:cubicBezTo>
                <a:cubicBezTo>
                  <a:pt x="84" y="47"/>
                  <a:pt x="84" y="47"/>
                  <a:pt x="85" y="47"/>
                </a:cubicBezTo>
                <a:cubicBezTo>
                  <a:pt x="85" y="48"/>
                  <a:pt x="85" y="48"/>
                  <a:pt x="86" y="48"/>
                </a:cubicBezTo>
                <a:cubicBezTo>
                  <a:pt x="86" y="48"/>
                  <a:pt x="86" y="48"/>
                  <a:pt x="87" y="48"/>
                </a:cubicBezTo>
                <a:cubicBezTo>
                  <a:pt x="87" y="47"/>
                  <a:pt x="88" y="46"/>
                  <a:pt x="90" y="45"/>
                </a:cubicBezTo>
                <a:cubicBezTo>
                  <a:pt x="90" y="47"/>
                  <a:pt x="90" y="47"/>
                  <a:pt x="90" y="47"/>
                </a:cubicBezTo>
                <a:cubicBezTo>
                  <a:pt x="87" y="51"/>
                  <a:pt x="84" y="53"/>
                  <a:pt x="82" y="53"/>
                </a:cubicBezTo>
                <a:cubicBezTo>
                  <a:pt x="80" y="53"/>
                  <a:pt x="80" y="52"/>
                  <a:pt x="79" y="51"/>
                </a:cubicBezTo>
                <a:cubicBezTo>
                  <a:pt x="78" y="50"/>
                  <a:pt x="78" y="49"/>
                  <a:pt x="78" y="47"/>
                </a:cubicBezTo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33" name="Freeform 107"/>
          <p:cNvSpPr>
            <a:spLocks noEditPoints="1"/>
          </p:cNvSpPr>
          <p:nvPr/>
        </p:nvSpPr>
        <p:spPr bwMode="black">
          <a:xfrm>
            <a:off x="6561629" y="2600179"/>
            <a:ext cx="376734" cy="262784"/>
          </a:xfrm>
          <a:custGeom>
            <a:avLst/>
            <a:gdLst>
              <a:gd name="T0" fmla="*/ 86 w 98"/>
              <a:gd name="T1" fmla="*/ 21 h 68"/>
              <a:gd name="T2" fmla="*/ 83 w 98"/>
              <a:gd name="T3" fmla="*/ 18 h 68"/>
              <a:gd name="T4" fmla="*/ 86 w 98"/>
              <a:gd name="T5" fmla="*/ 15 h 68"/>
              <a:gd name="T6" fmla="*/ 89 w 98"/>
              <a:gd name="T7" fmla="*/ 18 h 68"/>
              <a:gd name="T8" fmla="*/ 86 w 98"/>
              <a:gd name="T9" fmla="*/ 21 h 68"/>
              <a:gd name="T10" fmla="*/ 78 w 98"/>
              <a:gd name="T11" fmla="*/ 14 h 68"/>
              <a:gd name="T12" fmla="*/ 75 w 98"/>
              <a:gd name="T13" fmla="*/ 11 h 68"/>
              <a:gd name="T14" fmla="*/ 78 w 98"/>
              <a:gd name="T15" fmla="*/ 8 h 68"/>
              <a:gd name="T16" fmla="*/ 81 w 98"/>
              <a:gd name="T17" fmla="*/ 11 h 68"/>
              <a:gd name="T18" fmla="*/ 78 w 98"/>
              <a:gd name="T19" fmla="*/ 14 h 68"/>
              <a:gd name="T20" fmla="*/ 78 w 98"/>
              <a:gd name="T21" fmla="*/ 29 h 68"/>
              <a:gd name="T22" fmla="*/ 75 w 98"/>
              <a:gd name="T23" fmla="*/ 26 h 68"/>
              <a:gd name="T24" fmla="*/ 78 w 98"/>
              <a:gd name="T25" fmla="*/ 23 h 68"/>
              <a:gd name="T26" fmla="*/ 81 w 98"/>
              <a:gd name="T27" fmla="*/ 26 h 68"/>
              <a:gd name="T28" fmla="*/ 78 w 98"/>
              <a:gd name="T29" fmla="*/ 29 h 68"/>
              <a:gd name="T30" fmla="*/ 70 w 98"/>
              <a:gd name="T31" fmla="*/ 21 h 68"/>
              <a:gd name="T32" fmla="*/ 67 w 98"/>
              <a:gd name="T33" fmla="*/ 18 h 68"/>
              <a:gd name="T34" fmla="*/ 70 w 98"/>
              <a:gd name="T35" fmla="*/ 15 h 68"/>
              <a:gd name="T36" fmla="*/ 73 w 98"/>
              <a:gd name="T37" fmla="*/ 18 h 68"/>
              <a:gd name="T38" fmla="*/ 70 w 98"/>
              <a:gd name="T39" fmla="*/ 21 h 68"/>
              <a:gd name="T40" fmla="*/ 63 w 98"/>
              <a:gd name="T41" fmla="*/ 42 h 68"/>
              <a:gd name="T42" fmla="*/ 56 w 98"/>
              <a:gd name="T43" fmla="*/ 36 h 68"/>
              <a:gd name="T44" fmla="*/ 63 w 98"/>
              <a:gd name="T45" fmla="*/ 29 h 68"/>
              <a:gd name="T46" fmla="*/ 69 w 98"/>
              <a:gd name="T47" fmla="*/ 36 h 68"/>
              <a:gd name="T48" fmla="*/ 63 w 98"/>
              <a:gd name="T49" fmla="*/ 42 h 68"/>
              <a:gd name="T50" fmla="*/ 49 w 98"/>
              <a:gd name="T51" fmla="*/ 25 h 68"/>
              <a:gd name="T52" fmla="*/ 43 w 98"/>
              <a:gd name="T53" fmla="*/ 19 h 68"/>
              <a:gd name="T54" fmla="*/ 49 w 98"/>
              <a:gd name="T55" fmla="*/ 13 h 68"/>
              <a:gd name="T56" fmla="*/ 55 w 98"/>
              <a:gd name="T57" fmla="*/ 19 h 68"/>
              <a:gd name="T58" fmla="*/ 49 w 98"/>
              <a:gd name="T59" fmla="*/ 25 h 68"/>
              <a:gd name="T60" fmla="*/ 34 w 98"/>
              <a:gd name="T61" fmla="*/ 44 h 68"/>
              <a:gd name="T62" fmla="*/ 25 w 98"/>
              <a:gd name="T63" fmla="*/ 36 h 68"/>
              <a:gd name="T64" fmla="*/ 34 w 98"/>
              <a:gd name="T65" fmla="*/ 27 h 68"/>
              <a:gd name="T66" fmla="*/ 43 w 98"/>
              <a:gd name="T67" fmla="*/ 36 h 68"/>
              <a:gd name="T68" fmla="*/ 34 w 98"/>
              <a:gd name="T69" fmla="*/ 44 h 68"/>
              <a:gd name="T70" fmla="*/ 20 w 98"/>
              <a:gd name="T71" fmla="*/ 25 h 68"/>
              <a:gd name="T72" fmla="*/ 13 w 98"/>
              <a:gd name="T73" fmla="*/ 18 h 68"/>
              <a:gd name="T74" fmla="*/ 20 w 98"/>
              <a:gd name="T75" fmla="*/ 11 h 68"/>
              <a:gd name="T76" fmla="*/ 26 w 98"/>
              <a:gd name="T77" fmla="*/ 18 h 68"/>
              <a:gd name="T78" fmla="*/ 20 w 98"/>
              <a:gd name="T79" fmla="*/ 25 h 68"/>
              <a:gd name="T80" fmla="*/ 89 w 98"/>
              <a:gd name="T81" fmla="*/ 14 h 68"/>
              <a:gd name="T82" fmla="*/ 83 w 98"/>
              <a:gd name="T83" fmla="*/ 5 h 68"/>
              <a:gd name="T84" fmla="*/ 83 w 98"/>
              <a:gd name="T85" fmla="*/ 3 h 68"/>
              <a:gd name="T86" fmla="*/ 70 w 98"/>
              <a:gd name="T87" fmla="*/ 1 h 68"/>
              <a:gd name="T88" fmla="*/ 70 w 98"/>
              <a:gd name="T89" fmla="*/ 2 h 68"/>
              <a:gd name="T90" fmla="*/ 49 w 98"/>
              <a:gd name="T91" fmla="*/ 9 h 68"/>
              <a:gd name="T92" fmla="*/ 28 w 98"/>
              <a:gd name="T93" fmla="*/ 2 h 68"/>
              <a:gd name="T94" fmla="*/ 28 w 98"/>
              <a:gd name="T95" fmla="*/ 1 h 68"/>
              <a:gd name="T96" fmla="*/ 15 w 98"/>
              <a:gd name="T97" fmla="*/ 3 h 68"/>
              <a:gd name="T98" fmla="*/ 15 w 98"/>
              <a:gd name="T99" fmla="*/ 5 h 68"/>
              <a:gd name="T100" fmla="*/ 9 w 98"/>
              <a:gd name="T101" fmla="*/ 14 h 68"/>
              <a:gd name="T102" fmla="*/ 2 w 98"/>
              <a:gd name="T103" fmla="*/ 54 h 68"/>
              <a:gd name="T104" fmla="*/ 10 w 98"/>
              <a:gd name="T105" fmla="*/ 67 h 68"/>
              <a:gd name="T106" fmla="*/ 28 w 98"/>
              <a:gd name="T107" fmla="*/ 53 h 68"/>
              <a:gd name="T108" fmla="*/ 70 w 98"/>
              <a:gd name="T109" fmla="*/ 53 h 68"/>
              <a:gd name="T110" fmla="*/ 88 w 98"/>
              <a:gd name="T111" fmla="*/ 67 h 68"/>
              <a:gd name="T112" fmla="*/ 96 w 98"/>
              <a:gd name="T113" fmla="*/ 54 h 68"/>
              <a:gd name="T114" fmla="*/ 89 w 98"/>
              <a:gd name="T115" fmla="*/ 14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98" h="68">
                <a:moveTo>
                  <a:pt x="86" y="21"/>
                </a:moveTo>
                <a:cubicBezTo>
                  <a:pt x="84" y="21"/>
                  <a:pt x="83" y="20"/>
                  <a:pt x="83" y="18"/>
                </a:cubicBezTo>
                <a:cubicBezTo>
                  <a:pt x="83" y="17"/>
                  <a:pt x="84" y="15"/>
                  <a:pt x="86" y="15"/>
                </a:cubicBezTo>
                <a:cubicBezTo>
                  <a:pt x="87" y="15"/>
                  <a:pt x="89" y="17"/>
                  <a:pt x="89" y="18"/>
                </a:cubicBezTo>
                <a:cubicBezTo>
                  <a:pt x="89" y="20"/>
                  <a:pt x="87" y="21"/>
                  <a:pt x="86" y="21"/>
                </a:cubicBezTo>
                <a:moveTo>
                  <a:pt x="78" y="14"/>
                </a:moveTo>
                <a:cubicBezTo>
                  <a:pt x="76" y="14"/>
                  <a:pt x="75" y="12"/>
                  <a:pt x="75" y="11"/>
                </a:cubicBezTo>
                <a:cubicBezTo>
                  <a:pt x="75" y="9"/>
                  <a:pt x="76" y="8"/>
                  <a:pt x="78" y="8"/>
                </a:cubicBezTo>
                <a:cubicBezTo>
                  <a:pt x="80" y="8"/>
                  <a:pt x="81" y="9"/>
                  <a:pt x="81" y="11"/>
                </a:cubicBezTo>
                <a:cubicBezTo>
                  <a:pt x="81" y="12"/>
                  <a:pt x="80" y="14"/>
                  <a:pt x="78" y="14"/>
                </a:cubicBezTo>
                <a:moveTo>
                  <a:pt x="78" y="29"/>
                </a:moveTo>
                <a:cubicBezTo>
                  <a:pt x="76" y="29"/>
                  <a:pt x="75" y="27"/>
                  <a:pt x="75" y="26"/>
                </a:cubicBezTo>
                <a:cubicBezTo>
                  <a:pt x="75" y="24"/>
                  <a:pt x="76" y="23"/>
                  <a:pt x="78" y="23"/>
                </a:cubicBezTo>
                <a:cubicBezTo>
                  <a:pt x="80" y="23"/>
                  <a:pt x="81" y="24"/>
                  <a:pt x="81" y="26"/>
                </a:cubicBezTo>
                <a:cubicBezTo>
                  <a:pt x="81" y="27"/>
                  <a:pt x="80" y="29"/>
                  <a:pt x="78" y="29"/>
                </a:cubicBezTo>
                <a:moveTo>
                  <a:pt x="70" y="21"/>
                </a:moveTo>
                <a:cubicBezTo>
                  <a:pt x="68" y="21"/>
                  <a:pt x="67" y="20"/>
                  <a:pt x="67" y="18"/>
                </a:cubicBezTo>
                <a:cubicBezTo>
                  <a:pt x="67" y="17"/>
                  <a:pt x="68" y="15"/>
                  <a:pt x="70" y="15"/>
                </a:cubicBezTo>
                <a:cubicBezTo>
                  <a:pt x="72" y="15"/>
                  <a:pt x="73" y="17"/>
                  <a:pt x="73" y="18"/>
                </a:cubicBezTo>
                <a:cubicBezTo>
                  <a:pt x="73" y="20"/>
                  <a:pt x="72" y="21"/>
                  <a:pt x="70" y="21"/>
                </a:cubicBezTo>
                <a:moveTo>
                  <a:pt x="63" y="42"/>
                </a:moveTo>
                <a:cubicBezTo>
                  <a:pt x="59" y="42"/>
                  <a:pt x="56" y="39"/>
                  <a:pt x="56" y="36"/>
                </a:cubicBezTo>
                <a:cubicBezTo>
                  <a:pt x="56" y="32"/>
                  <a:pt x="59" y="29"/>
                  <a:pt x="63" y="29"/>
                </a:cubicBezTo>
                <a:cubicBezTo>
                  <a:pt x="66" y="29"/>
                  <a:pt x="69" y="32"/>
                  <a:pt x="69" y="36"/>
                </a:cubicBezTo>
                <a:cubicBezTo>
                  <a:pt x="69" y="39"/>
                  <a:pt x="66" y="42"/>
                  <a:pt x="63" y="42"/>
                </a:cubicBezTo>
                <a:moveTo>
                  <a:pt x="49" y="25"/>
                </a:moveTo>
                <a:cubicBezTo>
                  <a:pt x="46" y="25"/>
                  <a:pt x="43" y="22"/>
                  <a:pt x="43" y="19"/>
                </a:cubicBezTo>
                <a:cubicBezTo>
                  <a:pt x="43" y="15"/>
                  <a:pt x="46" y="13"/>
                  <a:pt x="49" y="13"/>
                </a:cubicBezTo>
                <a:cubicBezTo>
                  <a:pt x="52" y="13"/>
                  <a:pt x="55" y="15"/>
                  <a:pt x="55" y="19"/>
                </a:cubicBezTo>
                <a:cubicBezTo>
                  <a:pt x="55" y="22"/>
                  <a:pt x="52" y="25"/>
                  <a:pt x="49" y="25"/>
                </a:cubicBezTo>
                <a:moveTo>
                  <a:pt x="34" y="44"/>
                </a:moveTo>
                <a:cubicBezTo>
                  <a:pt x="29" y="44"/>
                  <a:pt x="25" y="40"/>
                  <a:pt x="25" y="36"/>
                </a:cubicBezTo>
                <a:cubicBezTo>
                  <a:pt x="25" y="31"/>
                  <a:pt x="29" y="27"/>
                  <a:pt x="34" y="27"/>
                </a:cubicBezTo>
                <a:cubicBezTo>
                  <a:pt x="39" y="27"/>
                  <a:pt x="43" y="31"/>
                  <a:pt x="43" y="36"/>
                </a:cubicBezTo>
                <a:cubicBezTo>
                  <a:pt x="43" y="40"/>
                  <a:pt x="39" y="44"/>
                  <a:pt x="34" y="44"/>
                </a:cubicBezTo>
                <a:moveTo>
                  <a:pt x="20" y="25"/>
                </a:moveTo>
                <a:cubicBezTo>
                  <a:pt x="16" y="25"/>
                  <a:pt x="13" y="22"/>
                  <a:pt x="13" y="18"/>
                </a:cubicBezTo>
                <a:cubicBezTo>
                  <a:pt x="13" y="14"/>
                  <a:pt x="16" y="11"/>
                  <a:pt x="20" y="11"/>
                </a:cubicBezTo>
                <a:cubicBezTo>
                  <a:pt x="23" y="11"/>
                  <a:pt x="26" y="14"/>
                  <a:pt x="26" y="18"/>
                </a:cubicBezTo>
                <a:cubicBezTo>
                  <a:pt x="26" y="22"/>
                  <a:pt x="23" y="25"/>
                  <a:pt x="20" y="25"/>
                </a:cubicBezTo>
                <a:moveTo>
                  <a:pt x="89" y="14"/>
                </a:moveTo>
                <a:cubicBezTo>
                  <a:pt x="88" y="11"/>
                  <a:pt x="86" y="7"/>
                  <a:pt x="83" y="5"/>
                </a:cubicBezTo>
                <a:cubicBezTo>
                  <a:pt x="83" y="3"/>
                  <a:pt x="83" y="3"/>
                  <a:pt x="83" y="3"/>
                </a:cubicBezTo>
                <a:cubicBezTo>
                  <a:pt x="79" y="0"/>
                  <a:pt x="70" y="1"/>
                  <a:pt x="70" y="1"/>
                </a:cubicBezTo>
                <a:cubicBezTo>
                  <a:pt x="70" y="2"/>
                  <a:pt x="70" y="2"/>
                  <a:pt x="70" y="2"/>
                </a:cubicBezTo>
                <a:cubicBezTo>
                  <a:pt x="63" y="3"/>
                  <a:pt x="64" y="9"/>
                  <a:pt x="49" y="9"/>
                </a:cubicBezTo>
                <a:cubicBezTo>
                  <a:pt x="34" y="9"/>
                  <a:pt x="35" y="3"/>
                  <a:pt x="28" y="2"/>
                </a:cubicBezTo>
                <a:cubicBezTo>
                  <a:pt x="28" y="1"/>
                  <a:pt x="28" y="1"/>
                  <a:pt x="28" y="1"/>
                </a:cubicBezTo>
                <a:cubicBezTo>
                  <a:pt x="28" y="1"/>
                  <a:pt x="19" y="0"/>
                  <a:pt x="15" y="3"/>
                </a:cubicBezTo>
                <a:cubicBezTo>
                  <a:pt x="15" y="5"/>
                  <a:pt x="15" y="5"/>
                  <a:pt x="15" y="5"/>
                </a:cubicBezTo>
                <a:cubicBezTo>
                  <a:pt x="12" y="7"/>
                  <a:pt x="10" y="11"/>
                  <a:pt x="9" y="14"/>
                </a:cubicBezTo>
                <a:cubicBezTo>
                  <a:pt x="5" y="21"/>
                  <a:pt x="0" y="40"/>
                  <a:pt x="2" y="54"/>
                </a:cubicBezTo>
                <a:cubicBezTo>
                  <a:pt x="3" y="65"/>
                  <a:pt x="5" y="67"/>
                  <a:pt x="10" y="67"/>
                </a:cubicBezTo>
                <a:cubicBezTo>
                  <a:pt x="15" y="68"/>
                  <a:pt x="22" y="58"/>
                  <a:pt x="28" y="53"/>
                </a:cubicBezTo>
                <a:cubicBezTo>
                  <a:pt x="36" y="48"/>
                  <a:pt x="62" y="48"/>
                  <a:pt x="70" y="53"/>
                </a:cubicBezTo>
                <a:cubicBezTo>
                  <a:pt x="76" y="58"/>
                  <a:pt x="83" y="68"/>
                  <a:pt x="88" y="67"/>
                </a:cubicBezTo>
                <a:cubicBezTo>
                  <a:pt x="93" y="67"/>
                  <a:pt x="95" y="65"/>
                  <a:pt x="96" y="54"/>
                </a:cubicBezTo>
                <a:cubicBezTo>
                  <a:pt x="98" y="40"/>
                  <a:pt x="93" y="21"/>
                  <a:pt x="89" y="14"/>
                </a:cubicBezTo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34" name="Freeform 108"/>
          <p:cNvSpPr>
            <a:spLocks noEditPoints="1"/>
          </p:cNvSpPr>
          <p:nvPr/>
        </p:nvSpPr>
        <p:spPr bwMode="black">
          <a:xfrm>
            <a:off x="7961187" y="3256580"/>
            <a:ext cx="267436" cy="299990"/>
          </a:xfrm>
          <a:custGeom>
            <a:avLst/>
            <a:gdLst>
              <a:gd name="T0" fmla="*/ 29 w 70"/>
              <a:gd name="T1" fmla="*/ 9 h 78"/>
              <a:gd name="T2" fmla="*/ 9 w 70"/>
              <a:gd name="T3" fmla="*/ 6 h 78"/>
              <a:gd name="T4" fmla="*/ 5 w 70"/>
              <a:gd name="T5" fmla="*/ 26 h 78"/>
              <a:gd name="T6" fmla="*/ 29 w 70"/>
              <a:gd name="T7" fmla="*/ 9 h 78"/>
              <a:gd name="T8" fmla="*/ 50 w 70"/>
              <a:gd name="T9" fmla="*/ 49 h 78"/>
              <a:gd name="T10" fmla="*/ 54 w 70"/>
              <a:gd name="T11" fmla="*/ 46 h 78"/>
              <a:gd name="T12" fmla="*/ 50 w 70"/>
              <a:gd name="T13" fmla="*/ 42 h 78"/>
              <a:gd name="T14" fmla="*/ 40 w 70"/>
              <a:gd name="T15" fmla="*/ 42 h 78"/>
              <a:gd name="T16" fmla="*/ 40 w 70"/>
              <a:gd name="T17" fmla="*/ 29 h 78"/>
              <a:gd name="T18" fmla="*/ 36 w 70"/>
              <a:gd name="T19" fmla="*/ 25 h 78"/>
              <a:gd name="T20" fmla="*/ 33 w 70"/>
              <a:gd name="T21" fmla="*/ 29 h 78"/>
              <a:gd name="T22" fmla="*/ 33 w 70"/>
              <a:gd name="T23" fmla="*/ 46 h 78"/>
              <a:gd name="T24" fmla="*/ 36 w 70"/>
              <a:gd name="T25" fmla="*/ 49 h 78"/>
              <a:gd name="T26" fmla="*/ 50 w 70"/>
              <a:gd name="T27" fmla="*/ 49 h 78"/>
              <a:gd name="T28" fmla="*/ 36 w 70"/>
              <a:gd name="T29" fmla="*/ 20 h 78"/>
              <a:gd name="T30" fmla="*/ 62 w 70"/>
              <a:gd name="T31" fmla="*/ 46 h 78"/>
              <a:gd name="T32" fmla="*/ 36 w 70"/>
              <a:gd name="T33" fmla="*/ 71 h 78"/>
              <a:gd name="T34" fmla="*/ 11 w 70"/>
              <a:gd name="T35" fmla="*/ 46 h 78"/>
              <a:gd name="T36" fmla="*/ 36 w 70"/>
              <a:gd name="T37" fmla="*/ 20 h 78"/>
              <a:gd name="T38" fmla="*/ 36 w 70"/>
              <a:gd name="T39" fmla="*/ 78 h 78"/>
              <a:gd name="T40" fmla="*/ 69 w 70"/>
              <a:gd name="T41" fmla="*/ 46 h 78"/>
              <a:gd name="T42" fmla="*/ 36 w 70"/>
              <a:gd name="T43" fmla="*/ 13 h 78"/>
              <a:gd name="T44" fmla="*/ 4 w 70"/>
              <a:gd name="T45" fmla="*/ 46 h 78"/>
              <a:gd name="T46" fmla="*/ 36 w 70"/>
              <a:gd name="T47" fmla="*/ 78 h 78"/>
              <a:gd name="T48" fmla="*/ 42 w 70"/>
              <a:gd name="T49" fmla="*/ 9 h 78"/>
              <a:gd name="T50" fmla="*/ 62 w 70"/>
              <a:gd name="T51" fmla="*/ 6 h 78"/>
              <a:gd name="T52" fmla="*/ 67 w 70"/>
              <a:gd name="T53" fmla="*/ 24 h 78"/>
              <a:gd name="T54" fmla="*/ 42 w 70"/>
              <a:gd name="T55" fmla="*/ 9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70" h="78">
                <a:moveTo>
                  <a:pt x="29" y="9"/>
                </a:moveTo>
                <a:cubicBezTo>
                  <a:pt x="24" y="3"/>
                  <a:pt x="17" y="0"/>
                  <a:pt x="9" y="6"/>
                </a:cubicBezTo>
                <a:cubicBezTo>
                  <a:pt x="0" y="11"/>
                  <a:pt x="0" y="19"/>
                  <a:pt x="5" y="26"/>
                </a:cubicBezTo>
                <a:cubicBezTo>
                  <a:pt x="10" y="17"/>
                  <a:pt x="19" y="11"/>
                  <a:pt x="29" y="9"/>
                </a:cubicBezTo>
                <a:moveTo>
                  <a:pt x="50" y="49"/>
                </a:moveTo>
                <a:cubicBezTo>
                  <a:pt x="52" y="49"/>
                  <a:pt x="54" y="48"/>
                  <a:pt x="54" y="46"/>
                </a:cubicBezTo>
                <a:cubicBezTo>
                  <a:pt x="54" y="44"/>
                  <a:pt x="52" y="42"/>
                  <a:pt x="50" y="42"/>
                </a:cubicBezTo>
                <a:cubicBezTo>
                  <a:pt x="40" y="42"/>
                  <a:pt x="40" y="42"/>
                  <a:pt x="40" y="42"/>
                </a:cubicBezTo>
                <a:cubicBezTo>
                  <a:pt x="40" y="29"/>
                  <a:pt x="40" y="29"/>
                  <a:pt x="40" y="29"/>
                </a:cubicBezTo>
                <a:cubicBezTo>
                  <a:pt x="40" y="27"/>
                  <a:pt x="38" y="25"/>
                  <a:pt x="36" y="25"/>
                </a:cubicBezTo>
                <a:cubicBezTo>
                  <a:pt x="34" y="25"/>
                  <a:pt x="33" y="27"/>
                  <a:pt x="33" y="29"/>
                </a:cubicBezTo>
                <a:cubicBezTo>
                  <a:pt x="33" y="46"/>
                  <a:pt x="33" y="46"/>
                  <a:pt x="33" y="46"/>
                </a:cubicBezTo>
                <a:cubicBezTo>
                  <a:pt x="33" y="48"/>
                  <a:pt x="34" y="49"/>
                  <a:pt x="36" y="49"/>
                </a:cubicBezTo>
                <a:lnTo>
                  <a:pt x="50" y="49"/>
                </a:lnTo>
                <a:close/>
                <a:moveTo>
                  <a:pt x="36" y="20"/>
                </a:moveTo>
                <a:cubicBezTo>
                  <a:pt x="50" y="20"/>
                  <a:pt x="62" y="32"/>
                  <a:pt x="62" y="46"/>
                </a:cubicBezTo>
                <a:cubicBezTo>
                  <a:pt x="62" y="60"/>
                  <a:pt x="50" y="71"/>
                  <a:pt x="36" y="71"/>
                </a:cubicBezTo>
                <a:cubicBezTo>
                  <a:pt x="22" y="71"/>
                  <a:pt x="11" y="60"/>
                  <a:pt x="11" y="46"/>
                </a:cubicBezTo>
                <a:cubicBezTo>
                  <a:pt x="11" y="32"/>
                  <a:pt x="22" y="20"/>
                  <a:pt x="36" y="20"/>
                </a:cubicBezTo>
                <a:moveTo>
                  <a:pt x="36" y="78"/>
                </a:moveTo>
                <a:cubicBezTo>
                  <a:pt x="54" y="78"/>
                  <a:pt x="69" y="64"/>
                  <a:pt x="69" y="46"/>
                </a:cubicBezTo>
                <a:cubicBezTo>
                  <a:pt x="69" y="28"/>
                  <a:pt x="54" y="13"/>
                  <a:pt x="36" y="13"/>
                </a:cubicBezTo>
                <a:cubicBezTo>
                  <a:pt x="18" y="13"/>
                  <a:pt x="4" y="28"/>
                  <a:pt x="4" y="46"/>
                </a:cubicBezTo>
                <a:cubicBezTo>
                  <a:pt x="4" y="64"/>
                  <a:pt x="18" y="78"/>
                  <a:pt x="36" y="78"/>
                </a:cubicBezTo>
                <a:moveTo>
                  <a:pt x="42" y="9"/>
                </a:moveTo>
                <a:cubicBezTo>
                  <a:pt x="47" y="3"/>
                  <a:pt x="54" y="0"/>
                  <a:pt x="62" y="6"/>
                </a:cubicBezTo>
                <a:cubicBezTo>
                  <a:pt x="70" y="11"/>
                  <a:pt x="70" y="18"/>
                  <a:pt x="67" y="24"/>
                </a:cubicBezTo>
                <a:cubicBezTo>
                  <a:pt x="61" y="16"/>
                  <a:pt x="52" y="10"/>
                  <a:pt x="42" y="9"/>
                </a:cubicBezTo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35" name="Freeform 109"/>
          <p:cNvSpPr>
            <a:spLocks noEditPoints="1"/>
          </p:cNvSpPr>
          <p:nvPr/>
        </p:nvSpPr>
        <p:spPr bwMode="black">
          <a:xfrm>
            <a:off x="7267802" y="3281003"/>
            <a:ext cx="309295" cy="251155"/>
          </a:xfrm>
          <a:custGeom>
            <a:avLst/>
            <a:gdLst>
              <a:gd name="T0" fmla="*/ 49 w 80"/>
              <a:gd name="T1" fmla="*/ 51 h 65"/>
              <a:gd name="T2" fmla="*/ 43 w 80"/>
              <a:gd name="T3" fmla="*/ 50 h 65"/>
              <a:gd name="T4" fmla="*/ 42 w 80"/>
              <a:gd name="T5" fmla="*/ 50 h 65"/>
              <a:gd name="T6" fmla="*/ 42 w 80"/>
              <a:gd name="T7" fmla="*/ 44 h 65"/>
              <a:gd name="T8" fmla="*/ 43 w 80"/>
              <a:gd name="T9" fmla="*/ 44 h 65"/>
              <a:gd name="T10" fmla="*/ 51 w 80"/>
              <a:gd name="T11" fmla="*/ 45 h 65"/>
              <a:gd name="T12" fmla="*/ 52 w 80"/>
              <a:gd name="T13" fmla="*/ 42 h 65"/>
              <a:gd name="T14" fmla="*/ 44 w 80"/>
              <a:gd name="T15" fmla="*/ 40 h 65"/>
              <a:gd name="T16" fmla="*/ 43 w 80"/>
              <a:gd name="T17" fmla="*/ 40 h 65"/>
              <a:gd name="T18" fmla="*/ 43 w 80"/>
              <a:gd name="T19" fmla="*/ 25 h 65"/>
              <a:gd name="T20" fmla="*/ 58 w 80"/>
              <a:gd name="T21" fmla="*/ 25 h 65"/>
              <a:gd name="T22" fmla="*/ 58 w 80"/>
              <a:gd name="T23" fmla="*/ 30 h 65"/>
              <a:gd name="T24" fmla="*/ 49 w 80"/>
              <a:gd name="T25" fmla="*/ 30 h 65"/>
              <a:gd name="T26" fmla="*/ 49 w 80"/>
              <a:gd name="T27" fmla="*/ 34 h 65"/>
              <a:gd name="T28" fmla="*/ 57 w 80"/>
              <a:gd name="T29" fmla="*/ 36 h 65"/>
              <a:gd name="T30" fmla="*/ 59 w 80"/>
              <a:gd name="T31" fmla="*/ 42 h 65"/>
              <a:gd name="T32" fmla="*/ 56 w 80"/>
              <a:gd name="T33" fmla="*/ 48 h 65"/>
              <a:gd name="T34" fmla="*/ 49 w 80"/>
              <a:gd name="T35" fmla="*/ 51 h 65"/>
              <a:gd name="T36" fmla="*/ 38 w 80"/>
              <a:gd name="T37" fmla="*/ 45 h 65"/>
              <a:gd name="T38" fmla="*/ 29 w 80"/>
              <a:gd name="T39" fmla="*/ 45 h 65"/>
              <a:gd name="T40" fmla="*/ 33 w 80"/>
              <a:gd name="T41" fmla="*/ 41 h 65"/>
              <a:gd name="T42" fmla="*/ 39 w 80"/>
              <a:gd name="T43" fmla="*/ 32 h 65"/>
              <a:gd name="T44" fmla="*/ 36 w 80"/>
              <a:gd name="T45" fmla="*/ 26 h 65"/>
              <a:gd name="T46" fmla="*/ 30 w 80"/>
              <a:gd name="T47" fmla="*/ 24 h 65"/>
              <a:gd name="T48" fmla="*/ 22 w 80"/>
              <a:gd name="T49" fmla="*/ 26 h 65"/>
              <a:gd name="T50" fmla="*/ 22 w 80"/>
              <a:gd name="T51" fmla="*/ 27 h 65"/>
              <a:gd name="T52" fmla="*/ 22 w 80"/>
              <a:gd name="T53" fmla="*/ 33 h 65"/>
              <a:gd name="T54" fmla="*/ 23 w 80"/>
              <a:gd name="T55" fmla="*/ 32 h 65"/>
              <a:gd name="T56" fmla="*/ 29 w 80"/>
              <a:gd name="T57" fmla="*/ 30 h 65"/>
              <a:gd name="T58" fmla="*/ 32 w 80"/>
              <a:gd name="T59" fmla="*/ 33 h 65"/>
              <a:gd name="T60" fmla="*/ 31 w 80"/>
              <a:gd name="T61" fmla="*/ 35 h 65"/>
              <a:gd name="T62" fmla="*/ 28 w 80"/>
              <a:gd name="T63" fmla="*/ 39 h 65"/>
              <a:gd name="T64" fmla="*/ 21 w 80"/>
              <a:gd name="T65" fmla="*/ 46 h 65"/>
              <a:gd name="T66" fmla="*/ 21 w 80"/>
              <a:gd name="T67" fmla="*/ 50 h 65"/>
              <a:gd name="T68" fmla="*/ 38 w 80"/>
              <a:gd name="T69" fmla="*/ 50 h 65"/>
              <a:gd name="T70" fmla="*/ 38 w 80"/>
              <a:gd name="T71" fmla="*/ 45 h 65"/>
              <a:gd name="T72" fmla="*/ 71 w 80"/>
              <a:gd name="T73" fmla="*/ 19 h 65"/>
              <a:gd name="T74" fmla="*/ 9 w 80"/>
              <a:gd name="T75" fmla="*/ 19 h 65"/>
              <a:gd name="T76" fmla="*/ 9 w 80"/>
              <a:gd name="T77" fmla="*/ 56 h 65"/>
              <a:gd name="T78" fmla="*/ 9 w 80"/>
              <a:gd name="T79" fmla="*/ 57 h 65"/>
              <a:gd name="T80" fmla="*/ 70 w 80"/>
              <a:gd name="T81" fmla="*/ 57 h 65"/>
              <a:gd name="T82" fmla="*/ 71 w 80"/>
              <a:gd name="T83" fmla="*/ 56 h 65"/>
              <a:gd name="T84" fmla="*/ 71 w 80"/>
              <a:gd name="T85" fmla="*/ 19 h 65"/>
              <a:gd name="T86" fmla="*/ 76 w 80"/>
              <a:gd name="T87" fmla="*/ 0 h 65"/>
              <a:gd name="T88" fmla="*/ 80 w 80"/>
              <a:gd name="T89" fmla="*/ 4 h 65"/>
              <a:gd name="T90" fmla="*/ 80 w 80"/>
              <a:gd name="T91" fmla="*/ 62 h 65"/>
              <a:gd name="T92" fmla="*/ 76 w 80"/>
              <a:gd name="T93" fmla="*/ 65 h 65"/>
              <a:gd name="T94" fmla="*/ 4 w 80"/>
              <a:gd name="T95" fmla="*/ 65 h 65"/>
              <a:gd name="T96" fmla="*/ 0 w 80"/>
              <a:gd name="T97" fmla="*/ 62 h 65"/>
              <a:gd name="T98" fmla="*/ 0 w 80"/>
              <a:gd name="T99" fmla="*/ 4 h 65"/>
              <a:gd name="T100" fmla="*/ 4 w 80"/>
              <a:gd name="T101" fmla="*/ 0 h 65"/>
              <a:gd name="T102" fmla="*/ 76 w 80"/>
              <a:gd name="T103" fmla="*/ 0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0" h="65">
                <a:moveTo>
                  <a:pt x="49" y="51"/>
                </a:moveTo>
                <a:cubicBezTo>
                  <a:pt x="46" y="51"/>
                  <a:pt x="44" y="51"/>
                  <a:pt x="43" y="50"/>
                </a:cubicBezTo>
                <a:cubicBezTo>
                  <a:pt x="42" y="50"/>
                  <a:pt x="42" y="50"/>
                  <a:pt x="42" y="50"/>
                </a:cubicBezTo>
                <a:cubicBezTo>
                  <a:pt x="42" y="44"/>
                  <a:pt x="42" y="44"/>
                  <a:pt x="42" y="44"/>
                </a:cubicBezTo>
                <a:cubicBezTo>
                  <a:pt x="43" y="44"/>
                  <a:pt x="43" y="44"/>
                  <a:pt x="43" y="44"/>
                </a:cubicBezTo>
                <a:cubicBezTo>
                  <a:pt x="46" y="46"/>
                  <a:pt x="50" y="46"/>
                  <a:pt x="51" y="45"/>
                </a:cubicBezTo>
                <a:cubicBezTo>
                  <a:pt x="52" y="44"/>
                  <a:pt x="52" y="43"/>
                  <a:pt x="52" y="42"/>
                </a:cubicBezTo>
                <a:cubicBezTo>
                  <a:pt x="52" y="41"/>
                  <a:pt x="51" y="39"/>
                  <a:pt x="44" y="40"/>
                </a:cubicBezTo>
                <a:cubicBezTo>
                  <a:pt x="43" y="40"/>
                  <a:pt x="43" y="40"/>
                  <a:pt x="43" y="40"/>
                </a:cubicBezTo>
                <a:cubicBezTo>
                  <a:pt x="43" y="25"/>
                  <a:pt x="43" y="25"/>
                  <a:pt x="43" y="25"/>
                </a:cubicBezTo>
                <a:cubicBezTo>
                  <a:pt x="58" y="25"/>
                  <a:pt x="58" y="25"/>
                  <a:pt x="58" y="25"/>
                </a:cubicBezTo>
                <a:cubicBezTo>
                  <a:pt x="58" y="30"/>
                  <a:pt x="58" y="30"/>
                  <a:pt x="58" y="30"/>
                </a:cubicBezTo>
                <a:cubicBezTo>
                  <a:pt x="49" y="30"/>
                  <a:pt x="49" y="30"/>
                  <a:pt x="49" y="30"/>
                </a:cubicBezTo>
                <a:cubicBezTo>
                  <a:pt x="49" y="34"/>
                  <a:pt x="49" y="34"/>
                  <a:pt x="49" y="34"/>
                </a:cubicBezTo>
                <a:cubicBezTo>
                  <a:pt x="52" y="34"/>
                  <a:pt x="55" y="34"/>
                  <a:pt x="57" y="36"/>
                </a:cubicBezTo>
                <a:cubicBezTo>
                  <a:pt x="58" y="38"/>
                  <a:pt x="59" y="40"/>
                  <a:pt x="59" y="42"/>
                </a:cubicBezTo>
                <a:cubicBezTo>
                  <a:pt x="59" y="44"/>
                  <a:pt x="58" y="47"/>
                  <a:pt x="56" y="48"/>
                </a:cubicBezTo>
                <a:cubicBezTo>
                  <a:pt x="55" y="50"/>
                  <a:pt x="52" y="51"/>
                  <a:pt x="49" y="51"/>
                </a:cubicBezTo>
                <a:moveTo>
                  <a:pt x="38" y="45"/>
                </a:moveTo>
                <a:cubicBezTo>
                  <a:pt x="29" y="45"/>
                  <a:pt x="29" y="45"/>
                  <a:pt x="29" y="45"/>
                </a:cubicBezTo>
                <a:cubicBezTo>
                  <a:pt x="33" y="41"/>
                  <a:pt x="33" y="41"/>
                  <a:pt x="33" y="41"/>
                </a:cubicBezTo>
                <a:cubicBezTo>
                  <a:pt x="37" y="38"/>
                  <a:pt x="39" y="35"/>
                  <a:pt x="39" y="32"/>
                </a:cubicBezTo>
                <a:cubicBezTo>
                  <a:pt x="39" y="30"/>
                  <a:pt x="38" y="28"/>
                  <a:pt x="36" y="26"/>
                </a:cubicBezTo>
                <a:cubicBezTo>
                  <a:pt x="35" y="25"/>
                  <a:pt x="33" y="24"/>
                  <a:pt x="30" y="24"/>
                </a:cubicBezTo>
                <a:cubicBezTo>
                  <a:pt x="27" y="24"/>
                  <a:pt x="25" y="25"/>
                  <a:pt x="22" y="26"/>
                </a:cubicBezTo>
                <a:cubicBezTo>
                  <a:pt x="22" y="27"/>
                  <a:pt x="22" y="27"/>
                  <a:pt x="22" y="27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2"/>
                  <a:pt x="23" y="32"/>
                  <a:pt x="23" y="32"/>
                </a:cubicBezTo>
                <a:cubicBezTo>
                  <a:pt x="25" y="30"/>
                  <a:pt x="27" y="30"/>
                  <a:pt x="29" y="30"/>
                </a:cubicBezTo>
                <a:cubicBezTo>
                  <a:pt x="31" y="30"/>
                  <a:pt x="32" y="31"/>
                  <a:pt x="32" y="33"/>
                </a:cubicBezTo>
                <a:cubicBezTo>
                  <a:pt x="32" y="33"/>
                  <a:pt x="32" y="34"/>
                  <a:pt x="31" y="35"/>
                </a:cubicBezTo>
                <a:cubicBezTo>
                  <a:pt x="31" y="36"/>
                  <a:pt x="30" y="37"/>
                  <a:pt x="28" y="39"/>
                </a:cubicBezTo>
                <a:cubicBezTo>
                  <a:pt x="21" y="46"/>
                  <a:pt x="21" y="46"/>
                  <a:pt x="21" y="46"/>
                </a:cubicBezTo>
                <a:cubicBezTo>
                  <a:pt x="21" y="50"/>
                  <a:pt x="21" y="50"/>
                  <a:pt x="21" y="50"/>
                </a:cubicBezTo>
                <a:cubicBezTo>
                  <a:pt x="38" y="50"/>
                  <a:pt x="38" y="50"/>
                  <a:pt x="38" y="50"/>
                </a:cubicBezTo>
                <a:lnTo>
                  <a:pt x="38" y="45"/>
                </a:lnTo>
                <a:close/>
                <a:moveTo>
                  <a:pt x="71" y="19"/>
                </a:moveTo>
                <a:cubicBezTo>
                  <a:pt x="9" y="19"/>
                  <a:pt x="9" y="19"/>
                  <a:pt x="9" y="19"/>
                </a:cubicBezTo>
                <a:cubicBezTo>
                  <a:pt x="9" y="56"/>
                  <a:pt x="9" y="56"/>
                  <a:pt x="9" y="56"/>
                </a:cubicBezTo>
                <a:cubicBezTo>
                  <a:pt x="9" y="57"/>
                  <a:pt x="9" y="57"/>
                  <a:pt x="9" y="57"/>
                </a:cubicBezTo>
                <a:cubicBezTo>
                  <a:pt x="70" y="57"/>
                  <a:pt x="70" y="57"/>
                  <a:pt x="70" y="57"/>
                </a:cubicBezTo>
                <a:cubicBezTo>
                  <a:pt x="71" y="57"/>
                  <a:pt x="71" y="57"/>
                  <a:pt x="71" y="56"/>
                </a:cubicBezTo>
                <a:lnTo>
                  <a:pt x="71" y="19"/>
                </a:lnTo>
                <a:close/>
                <a:moveTo>
                  <a:pt x="76" y="0"/>
                </a:moveTo>
                <a:cubicBezTo>
                  <a:pt x="78" y="0"/>
                  <a:pt x="80" y="1"/>
                  <a:pt x="80" y="4"/>
                </a:cubicBezTo>
                <a:cubicBezTo>
                  <a:pt x="80" y="62"/>
                  <a:pt x="80" y="62"/>
                  <a:pt x="80" y="62"/>
                </a:cubicBezTo>
                <a:cubicBezTo>
                  <a:pt x="80" y="64"/>
                  <a:pt x="78" y="65"/>
                  <a:pt x="76" y="65"/>
                </a:cubicBezTo>
                <a:cubicBezTo>
                  <a:pt x="4" y="65"/>
                  <a:pt x="4" y="65"/>
                  <a:pt x="4" y="65"/>
                </a:cubicBezTo>
                <a:cubicBezTo>
                  <a:pt x="2" y="65"/>
                  <a:pt x="0" y="64"/>
                  <a:pt x="0" y="62"/>
                </a:cubicBezTo>
                <a:cubicBezTo>
                  <a:pt x="0" y="4"/>
                  <a:pt x="0" y="4"/>
                  <a:pt x="0" y="4"/>
                </a:cubicBezTo>
                <a:cubicBezTo>
                  <a:pt x="0" y="1"/>
                  <a:pt x="2" y="0"/>
                  <a:pt x="4" y="0"/>
                </a:cubicBezTo>
                <a:cubicBezTo>
                  <a:pt x="76" y="0"/>
                  <a:pt x="76" y="0"/>
                  <a:pt x="76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36" name="Freeform 110"/>
          <p:cNvSpPr>
            <a:spLocks noEditPoints="1"/>
          </p:cNvSpPr>
          <p:nvPr/>
        </p:nvSpPr>
        <p:spPr bwMode="black">
          <a:xfrm>
            <a:off x="6616281" y="3271699"/>
            <a:ext cx="267436" cy="269760"/>
          </a:xfrm>
          <a:custGeom>
            <a:avLst/>
            <a:gdLst>
              <a:gd name="T0" fmla="*/ 9 w 70"/>
              <a:gd name="T1" fmla="*/ 68 h 70"/>
              <a:gd name="T2" fmla="*/ 10 w 70"/>
              <a:gd name="T3" fmla="*/ 66 h 70"/>
              <a:gd name="T4" fmla="*/ 4 w 70"/>
              <a:gd name="T5" fmla="*/ 60 h 70"/>
              <a:gd name="T6" fmla="*/ 2 w 70"/>
              <a:gd name="T7" fmla="*/ 61 h 70"/>
              <a:gd name="T8" fmla="*/ 0 w 70"/>
              <a:gd name="T9" fmla="*/ 68 h 70"/>
              <a:gd name="T10" fmla="*/ 2 w 70"/>
              <a:gd name="T11" fmla="*/ 70 h 70"/>
              <a:gd name="T12" fmla="*/ 9 w 70"/>
              <a:gd name="T13" fmla="*/ 68 h 70"/>
              <a:gd name="T14" fmla="*/ 64 w 70"/>
              <a:gd name="T15" fmla="*/ 6 h 70"/>
              <a:gd name="T16" fmla="*/ 52 w 70"/>
              <a:gd name="T17" fmla="*/ 4 h 70"/>
              <a:gd name="T18" fmla="*/ 49 w 70"/>
              <a:gd name="T19" fmla="*/ 7 h 70"/>
              <a:gd name="T20" fmla="*/ 49 w 70"/>
              <a:gd name="T21" fmla="*/ 11 h 70"/>
              <a:gd name="T22" fmla="*/ 60 w 70"/>
              <a:gd name="T23" fmla="*/ 21 h 70"/>
              <a:gd name="T24" fmla="*/ 63 w 70"/>
              <a:gd name="T25" fmla="*/ 21 h 70"/>
              <a:gd name="T26" fmla="*/ 66 w 70"/>
              <a:gd name="T27" fmla="*/ 18 h 70"/>
              <a:gd name="T28" fmla="*/ 64 w 70"/>
              <a:gd name="T29" fmla="*/ 6 h 70"/>
              <a:gd name="T30" fmla="*/ 22 w 70"/>
              <a:gd name="T31" fmla="*/ 62 h 70"/>
              <a:gd name="T32" fmla="*/ 19 w 70"/>
              <a:gd name="T33" fmla="*/ 62 h 70"/>
              <a:gd name="T34" fmla="*/ 8 w 70"/>
              <a:gd name="T35" fmla="*/ 51 h 70"/>
              <a:gd name="T36" fmla="*/ 8 w 70"/>
              <a:gd name="T37" fmla="*/ 48 h 70"/>
              <a:gd name="T38" fmla="*/ 42 w 70"/>
              <a:gd name="T39" fmla="*/ 14 h 70"/>
              <a:gd name="T40" fmla="*/ 45 w 70"/>
              <a:gd name="T41" fmla="*/ 14 h 70"/>
              <a:gd name="T42" fmla="*/ 56 w 70"/>
              <a:gd name="T43" fmla="*/ 25 h 70"/>
              <a:gd name="T44" fmla="*/ 56 w 70"/>
              <a:gd name="T45" fmla="*/ 28 h 70"/>
              <a:gd name="T46" fmla="*/ 22 w 70"/>
              <a:gd name="T47" fmla="*/ 62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70" h="70">
                <a:moveTo>
                  <a:pt x="9" y="68"/>
                </a:moveTo>
                <a:cubicBezTo>
                  <a:pt x="10" y="67"/>
                  <a:pt x="11" y="67"/>
                  <a:pt x="10" y="66"/>
                </a:cubicBezTo>
                <a:cubicBezTo>
                  <a:pt x="4" y="60"/>
                  <a:pt x="4" y="60"/>
                  <a:pt x="4" y="60"/>
                </a:cubicBezTo>
                <a:cubicBezTo>
                  <a:pt x="4" y="59"/>
                  <a:pt x="3" y="60"/>
                  <a:pt x="2" y="61"/>
                </a:cubicBezTo>
                <a:cubicBezTo>
                  <a:pt x="0" y="68"/>
                  <a:pt x="0" y="68"/>
                  <a:pt x="0" y="68"/>
                </a:cubicBezTo>
                <a:cubicBezTo>
                  <a:pt x="0" y="69"/>
                  <a:pt x="1" y="70"/>
                  <a:pt x="2" y="70"/>
                </a:cubicBezTo>
                <a:lnTo>
                  <a:pt x="9" y="68"/>
                </a:lnTo>
                <a:close/>
                <a:moveTo>
                  <a:pt x="64" y="6"/>
                </a:moveTo>
                <a:cubicBezTo>
                  <a:pt x="58" y="0"/>
                  <a:pt x="52" y="4"/>
                  <a:pt x="52" y="4"/>
                </a:cubicBezTo>
                <a:cubicBezTo>
                  <a:pt x="51" y="5"/>
                  <a:pt x="50" y="6"/>
                  <a:pt x="49" y="7"/>
                </a:cubicBezTo>
                <a:cubicBezTo>
                  <a:pt x="48" y="8"/>
                  <a:pt x="48" y="10"/>
                  <a:pt x="49" y="11"/>
                </a:cubicBezTo>
                <a:cubicBezTo>
                  <a:pt x="60" y="21"/>
                  <a:pt x="60" y="21"/>
                  <a:pt x="60" y="21"/>
                </a:cubicBezTo>
                <a:cubicBezTo>
                  <a:pt x="60" y="22"/>
                  <a:pt x="62" y="22"/>
                  <a:pt x="63" y="21"/>
                </a:cubicBezTo>
                <a:cubicBezTo>
                  <a:pt x="64" y="20"/>
                  <a:pt x="65" y="19"/>
                  <a:pt x="66" y="18"/>
                </a:cubicBezTo>
                <a:cubicBezTo>
                  <a:pt x="66" y="18"/>
                  <a:pt x="70" y="12"/>
                  <a:pt x="64" y="6"/>
                </a:cubicBezTo>
                <a:moveTo>
                  <a:pt x="22" y="62"/>
                </a:moveTo>
                <a:cubicBezTo>
                  <a:pt x="21" y="63"/>
                  <a:pt x="20" y="63"/>
                  <a:pt x="19" y="62"/>
                </a:cubicBezTo>
                <a:cubicBezTo>
                  <a:pt x="8" y="51"/>
                  <a:pt x="8" y="51"/>
                  <a:pt x="8" y="51"/>
                </a:cubicBezTo>
                <a:cubicBezTo>
                  <a:pt x="7" y="51"/>
                  <a:pt x="7" y="49"/>
                  <a:pt x="8" y="48"/>
                </a:cubicBezTo>
                <a:cubicBezTo>
                  <a:pt x="42" y="14"/>
                  <a:pt x="42" y="14"/>
                  <a:pt x="42" y="14"/>
                </a:cubicBezTo>
                <a:cubicBezTo>
                  <a:pt x="43" y="13"/>
                  <a:pt x="44" y="13"/>
                  <a:pt x="45" y="14"/>
                </a:cubicBezTo>
                <a:cubicBezTo>
                  <a:pt x="56" y="25"/>
                  <a:pt x="56" y="25"/>
                  <a:pt x="56" y="25"/>
                </a:cubicBezTo>
                <a:cubicBezTo>
                  <a:pt x="57" y="26"/>
                  <a:pt x="57" y="27"/>
                  <a:pt x="56" y="28"/>
                </a:cubicBezTo>
                <a:lnTo>
                  <a:pt x="22" y="6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37" name="Freeform 111"/>
          <p:cNvSpPr>
            <a:spLocks noEditPoints="1"/>
          </p:cNvSpPr>
          <p:nvPr/>
        </p:nvSpPr>
        <p:spPr bwMode="black">
          <a:xfrm>
            <a:off x="5977547" y="3268210"/>
            <a:ext cx="199996" cy="276735"/>
          </a:xfrm>
          <a:custGeom>
            <a:avLst/>
            <a:gdLst>
              <a:gd name="T0" fmla="*/ 42 w 52"/>
              <a:gd name="T1" fmla="*/ 37 h 72"/>
              <a:gd name="T2" fmla="*/ 35 w 52"/>
              <a:gd name="T3" fmla="*/ 32 h 72"/>
              <a:gd name="T4" fmla="*/ 40 w 52"/>
              <a:gd name="T5" fmla="*/ 27 h 72"/>
              <a:gd name="T6" fmla="*/ 47 w 52"/>
              <a:gd name="T7" fmla="*/ 32 h 72"/>
              <a:gd name="T8" fmla="*/ 42 w 52"/>
              <a:gd name="T9" fmla="*/ 52 h 72"/>
              <a:gd name="T10" fmla="*/ 35 w 52"/>
              <a:gd name="T11" fmla="*/ 47 h 72"/>
              <a:gd name="T12" fmla="*/ 40 w 52"/>
              <a:gd name="T13" fmla="*/ 42 h 72"/>
              <a:gd name="T14" fmla="*/ 47 w 52"/>
              <a:gd name="T15" fmla="*/ 46 h 72"/>
              <a:gd name="T16" fmla="*/ 47 w 52"/>
              <a:gd name="T17" fmla="*/ 61 h 72"/>
              <a:gd name="T18" fmla="*/ 40 w 52"/>
              <a:gd name="T19" fmla="*/ 66 h 72"/>
              <a:gd name="T20" fmla="*/ 35 w 52"/>
              <a:gd name="T21" fmla="*/ 61 h 72"/>
              <a:gd name="T22" fmla="*/ 42 w 52"/>
              <a:gd name="T23" fmla="*/ 56 h 72"/>
              <a:gd name="T24" fmla="*/ 32 w 52"/>
              <a:gd name="T25" fmla="*/ 32 h 72"/>
              <a:gd name="T26" fmla="*/ 25 w 52"/>
              <a:gd name="T27" fmla="*/ 37 h 72"/>
              <a:gd name="T28" fmla="*/ 20 w 52"/>
              <a:gd name="T29" fmla="*/ 32 h 72"/>
              <a:gd name="T30" fmla="*/ 27 w 52"/>
              <a:gd name="T31" fmla="*/ 27 h 72"/>
              <a:gd name="T32" fmla="*/ 32 w 52"/>
              <a:gd name="T33" fmla="*/ 47 h 72"/>
              <a:gd name="T34" fmla="*/ 25 w 52"/>
              <a:gd name="T35" fmla="*/ 52 h 72"/>
              <a:gd name="T36" fmla="*/ 20 w 52"/>
              <a:gd name="T37" fmla="*/ 46 h 72"/>
              <a:gd name="T38" fmla="*/ 27 w 52"/>
              <a:gd name="T39" fmla="*/ 42 h 72"/>
              <a:gd name="T40" fmla="*/ 32 w 52"/>
              <a:gd name="T41" fmla="*/ 47 h 72"/>
              <a:gd name="T42" fmla="*/ 27 w 52"/>
              <a:gd name="T43" fmla="*/ 66 h 72"/>
              <a:gd name="T44" fmla="*/ 20 w 52"/>
              <a:gd name="T45" fmla="*/ 61 h 72"/>
              <a:gd name="T46" fmla="*/ 25 w 52"/>
              <a:gd name="T47" fmla="*/ 56 h 72"/>
              <a:gd name="T48" fmla="*/ 32 w 52"/>
              <a:gd name="T49" fmla="*/ 61 h 72"/>
              <a:gd name="T50" fmla="*/ 12 w 52"/>
              <a:gd name="T51" fmla="*/ 37 h 72"/>
              <a:gd name="T52" fmla="*/ 5 w 52"/>
              <a:gd name="T53" fmla="*/ 32 h 72"/>
              <a:gd name="T54" fmla="*/ 10 w 52"/>
              <a:gd name="T55" fmla="*/ 27 h 72"/>
              <a:gd name="T56" fmla="*/ 17 w 52"/>
              <a:gd name="T57" fmla="*/ 32 h 72"/>
              <a:gd name="T58" fmla="*/ 12 w 52"/>
              <a:gd name="T59" fmla="*/ 52 h 72"/>
              <a:gd name="T60" fmla="*/ 5 w 52"/>
              <a:gd name="T61" fmla="*/ 47 h 72"/>
              <a:gd name="T62" fmla="*/ 10 w 52"/>
              <a:gd name="T63" fmla="*/ 42 h 72"/>
              <a:gd name="T64" fmla="*/ 17 w 52"/>
              <a:gd name="T65" fmla="*/ 46 h 72"/>
              <a:gd name="T66" fmla="*/ 17 w 52"/>
              <a:gd name="T67" fmla="*/ 61 h 72"/>
              <a:gd name="T68" fmla="*/ 10 w 52"/>
              <a:gd name="T69" fmla="*/ 66 h 72"/>
              <a:gd name="T70" fmla="*/ 5 w 52"/>
              <a:gd name="T71" fmla="*/ 61 h 72"/>
              <a:gd name="T72" fmla="*/ 12 w 52"/>
              <a:gd name="T73" fmla="*/ 56 h 72"/>
              <a:gd name="T74" fmla="*/ 6 w 52"/>
              <a:gd name="T75" fmla="*/ 11 h 72"/>
              <a:gd name="T76" fmla="*/ 42 w 52"/>
              <a:gd name="T77" fmla="*/ 7 h 72"/>
              <a:gd name="T78" fmla="*/ 46 w 52"/>
              <a:gd name="T79" fmla="*/ 16 h 72"/>
              <a:gd name="T80" fmla="*/ 10 w 52"/>
              <a:gd name="T81" fmla="*/ 20 h 72"/>
              <a:gd name="T82" fmla="*/ 6 w 52"/>
              <a:gd name="T83" fmla="*/ 11 h 72"/>
              <a:gd name="T84" fmla="*/ 0 w 52"/>
              <a:gd name="T85" fmla="*/ 5 h 72"/>
              <a:gd name="T86" fmla="*/ 5 w 52"/>
              <a:gd name="T87" fmla="*/ 72 h 72"/>
              <a:gd name="T88" fmla="*/ 52 w 52"/>
              <a:gd name="T89" fmla="*/ 67 h 72"/>
              <a:gd name="T90" fmla="*/ 47 w 52"/>
              <a:gd name="T91" fmla="*/ 0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52" h="72">
                <a:moveTo>
                  <a:pt x="47" y="32"/>
                </a:moveTo>
                <a:cubicBezTo>
                  <a:pt x="47" y="35"/>
                  <a:pt x="45" y="37"/>
                  <a:pt x="42" y="37"/>
                </a:cubicBezTo>
                <a:cubicBezTo>
                  <a:pt x="40" y="37"/>
                  <a:pt x="40" y="37"/>
                  <a:pt x="40" y="37"/>
                </a:cubicBezTo>
                <a:cubicBezTo>
                  <a:pt x="38" y="37"/>
                  <a:pt x="35" y="35"/>
                  <a:pt x="35" y="32"/>
                </a:cubicBezTo>
                <a:cubicBezTo>
                  <a:pt x="35" y="32"/>
                  <a:pt x="35" y="32"/>
                  <a:pt x="35" y="32"/>
                </a:cubicBezTo>
                <a:cubicBezTo>
                  <a:pt x="35" y="29"/>
                  <a:pt x="38" y="27"/>
                  <a:pt x="40" y="27"/>
                </a:cubicBezTo>
                <a:cubicBezTo>
                  <a:pt x="42" y="27"/>
                  <a:pt x="42" y="27"/>
                  <a:pt x="42" y="27"/>
                </a:cubicBezTo>
                <a:cubicBezTo>
                  <a:pt x="45" y="27"/>
                  <a:pt x="47" y="29"/>
                  <a:pt x="47" y="32"/>
                </a:cubicBezTo>
                <a:close/>
                <a:moveTo>
                  <a:pt x="47" y="47"/>
                </a:moveTo>
                <a:cubicBezTo>
                  <a:pt x="47" y="49"/>
                  <a:pt x="45" y="52"/>
                  <a:pt x="42" y="52"/>
                </a:cubicBezTo>
                <a:cubicBezTo>
                  <a:pt x="40" y="52"/>
                  <a:pt x="40" y="52"/>
                  <a:pt x="40" y="52"/>
                </a:cubicBezTo>
                <a:cubicBezTo>
                  <a:pt x="38" y="52"/>
                  <a:pt x="35" y="49"/>
                  <a:pt x="35" y="47"/>
                </a:cubicBezTo>
                <a:cubicBezTo>
                  <a:pt x="35" y="46"/>
                  <a:pt x="35" y="46"/>
                  <a:pt x="35" y="46"/>
                </a:cubicBezTo>
                <a:cubicBezTo>
                  <a:pt x="35" y="44"/>
                  <a:pt x="38" y="42"/>
                  <a:pt x="40" y="42"/>
                </a:cubicBezTo>
                <a:cubicBezTo>
                  <a:pt x="42" y="42"/>
                  <a:pt x="42" y="42"/>
                  <a:pt x="42" y="42"/>
                </a:cubicBezTo>
                <a:cubicBezTo>
                  <a:pt x="45" y="42"/>
                  <a:pt x="47" y="44"/>
                  <a:pt x="47" y="46"/>
                </a:cubicBezTo>
                <a:lnTo>
                  <a:pt x="47" y="47"/>
                </a:lnTo>
                <a:close/>
                <a:moveTo>
                  <a:pt x="47" y="61"/>
                </a:moveTo>
                <a:cubicBezTo>
                  <a:pt x="47" y="64"/>
                  <a:pt x="45" y="66"/>
                  <a:pt x="42" y="66"/>
                </a:cubicBezTo>
                <a:cubicBezTo>
                  <a:pt x="40" y="66"/>
                  <a:pt x="40" y="66"/>
                  <a:pt x="40" y="66"/>
                </a:cubicBezTo>
                <a:cubicBezTo>
                  <a:pt x="38" y="66"/>
                  <a:pt x="35" y="64"/>
                  <a:pt x="35" y="61"/>
                </a:cubicBezTo>
                <a:cubicBezTo>
                  <a:pt x="35" y="61"/>
                  <a:pt x="35" y="61"/>
                  <a:pt x="35" y="61"/>
                </a:cubicBezTo>
                <a:cubicBezTo>
                  <a:pt x="35" y="58"/>
                  <a:pt x="38" y="56"/>
                  <a:pt x="40" y="56"/>
                </a:cubicBezTo>
                <a:cubicBezTo>
                  <a:pt x="42" y="56"/>
                  <a:pt x="42" y="56"/>
                  <a:pt x="42" y="56"/>
                </a:cubicBezTo>
                <a:cubicBezTo>
                  <a:pt x="45" y="56"/>
                  <a:pt x="47" y="58"/>
                  <a:pt x="47" y="61"/>
                </a:cubicBezTo>
                <a:close/>
                <a:moveTo>
                  <a:pt x="32" y="32"/>
                </a:moveTo>
                <a:cubicBezTo>
                  <a:pt x="32" y="35"/>
                  <a:pt x="30" y="37"/>
                  <a:pt x="27" y="37"/>
                </a:cubicBezTo>
                <a:cubicBezTo>
                  <a:pt x="25" y="37"/>
                  <a:pt x="25" y="37"/>
                  <a:pt x="25" y="37"/>
                </a:cubicBezTo>
                <a:cubicBezTo>
                  <a:pt x="23" y="37"/>
                  <a:pt x="20" y="35"/>
                  <a:pt x="20" y="32"/>
                </a:cubicBezTo>
                <a:cubicBezTo>
                  <a:pt x="20" y="32"/>
                  <a:pt x="20" y="32"/>
                  <a:pt x="20" y="32"/>
                </a:cubicBezTo>
                <a:cubicBezTo>
                  <a:pt x="20" y="29"/>
                  <a:pt x="23" y="27"/>
                  <a:pt x="25" y="27"/>
                </a:cubicBezTo>
                <a:cubicBezTo>
                  <a:pt x="27" y="27"/>
                  <a:pt x="27" y="27"/>
                  <a:pt x="27" y="27"/>
                </a:cubicBezTo>
                <a:cubicBezTo>
                  <a:pt x="30" y="27"/>
                  <a:pt x="32" y="29"/>
                  <a:pt x="32" y="32"/>
                </a:cubicBezTo>
                <a:close/>
                <a:moveTo>
                  <a:pt x="32" y="47"/>
                </a:moveTo>
                <a:cubicBezTo>
                  <a:pt x="32" y="49"/>
                  <a:pt x="30" y="52"/>
                  <a:pt x="27" y="52"/>
                </a:cubicBezTo>
                <a:cubicBezTo>
                  <a:pt x="25" y="52"/>
                  <a:pt x="25" y="52"/>
                  <a:pt x="25" y="52"/>
                </a:cubicBezTo>
                <a:cubicBezTo>
                  <a:pt x="23" y="52"/>
                  <a:pt x="20" y="49"/>
                  <a:pt x="20" y="47"/>
                </a:cubicBezTo>
                <a:cubicBezTo>
                  <a:pt x="20" y="46"/>
                  <a:pt x="20" y="46"/>
                  <a:pt x="20" y="46"/>
                </a:cubicBezTo>
                <a:cubicBezTo>
                  <a:pt x="20" y="44"/>
                  <a:pt x="23" y="42"/>
                  <a:pt x="25" y="42"/>
                </a:cubicBezTo>
                <a:cubicBezTo>
                  <a:pt x="27" y="42"/>
                  <a:pt x="27" y="42"/>
                  <a:pt x="27" y="42"/>
                </a:cubicBezTo>
                <a:cubicBezTo>
                  <a:pt x="30" y="42"/>
                  <a:pt x="32" y="44"/>
                  <a:pt x="32" y="46"/>
                </a:cubicBezTo>
                <a:lnTo>
                  <a:pt x="32" y="47"/>
                </a:lnTo>
                <a:close/>
                <a:moveTo>
                  <a:pt x="32" y="61"/>
                </a:moveTo>
                <a:cubicBezTo>
                  <a:pt x="32" y="64"/>
                  <a:pt x="30" y="66"/>
                  <a:pt x="27" y="66"/>
                </a:cubicBezTo>
                <a:cubicBezTo>
                  <a:pt x="25" y="66"/>
                  <a:pt x="25" y="66"/>
                  <a:pt x="25" y="66"/>
                </a:cubicBezTo>
                <a:cubicBezTo>
                  <a:pt x="23" y="66"/>
                  <a:pt x="20" y="64"/>
                  <a:pt x="20" y="61"/>
                </a:cubicBezTo>
                <a:cubicBezTo>
                  <a:pt x="20" y="61"/>
                  <a:pt x="20" y="61"/>
                  <a:pt x="20" y="61"/>
                </a:cubicBezTo>
                <a:cubicBezTo>
                  <a:pt x="20" y="58"/>
                  <a:pt x="23" y="56"/>
                  <a:pt x="25" y="56"/>
                </a:cubicBezTo>
                <a:cubicBezTo>
                  <a:pt x="27" y="56"/>
                  <a:pt x="27" y="56"/>
                  <a:pt x="27" y="56"/>
                </a:cubicBezTo>
                <a:cubicBezTo>
                  <a:pt x="30" y="56"/>
                  <a:pt x="32" y="58"/>
                  <a:pt x="32" y="61"/>
                </a:cubicBezTo>
                <a:close/>
                <a:moveTo>
                  <a:pt x="17" y="32"/>
                </a:moveTo>
                <a:cubicBezTo>
                  <a:pt x="17" y="35"/>
                  <a:pt x="15" y="37"/>
                  <a:pt x="12" y="37"/>
                </a:cubicBezTo>
                <a:cubicBezTo>
                  <a:pt x="10" y="37"/>
                  <a:pt x="10" y="37"/>
                  <a:pt x="10" y="37"/>
                </a:cubicBezTo>
                <a:cubicBezTo>
                  <a:pt x="7" y="37"/>
                  <a:pt x="5" y="35"/>
                  <a:pt x="5" y="32"/>
                </a:cubicBezTo>
                <a:cubicBezTo>
                  <a:pt x="5" y="32"/>
                  <a:pt x="5" y="32"/>
                  <a:pt x="5" y="32"/>
                </a:cubicBezTo>
                <a:cubicBezTo>
                  <a:pt x="5" y="29"/>
                  <a:pt x="7" y="27"/>
                  <a:pt x="10" y="27"/>
                </a:cubicBezTo>
                <a:cubicBezTo>
                  <a:pt x="12" y="27"/>
                  <a:pt x="12" y="27"/>
                  <a:pt x="12" y="27"/>
                </a:cubicBezTo>
                <a:cubicBezTo>
                  <a:pt x="15" y="27"/>
                  <a:pt x="17" y="29"/>
                  <a:pt x="17" y="32"/>
                </a:cubicBezTo>
                <a:close/>
                <a:moveTo>
                  <a:pt x="17" y="47"/>
                </a:moveTo>
                <a:cubicBezTo>
                  <a:pt x="17" y="49"/>
                  <a:pt x="15" y="52"/>
                  <a:pt x="12" y="52"/>
                </a:cubicBezTo>
                <a:cubicBezTo>
                  <a:pt x="10" y="52"/>
                  <a:pt x="10" y="52"/>
                  <a:pt x="10" y="52"/>
                </a:cubicBezTo>
                <a:cubicBezTo>
                  <a:pt x="7" y="52"/>
                  <a:pt x="5" y="49"/>
                  <a:pt x="5" y="47"/>
                </a:cubicBezTo>
                <a:cubicBezTo>
                  <a:pt x="5" y="46"/>
                  <a:pt x="5" y="46"/>
                  <a:pt x="5" y="46"/>
                </a:cubicBezTo>
                <a:cubicBezTo>
                  <a:pt x="5" y="44"/>
                  <a:pt x="7" y="42"/>
                  <a:pt x="10" y="42"/>
                </a:cubicBezTo>
                <a:cubicBezTo>
                  <a:pt x="12" y="42"/>
                  <a:pt x="12" y="42"/>
                  <a:pt x="12" y="42"/>
                </a:cubicBezTo>
                <a:cubicBezTo>
                  <a:pt x="15" y="42"/>
                  <a:pt x="17" y="44"/>
                  <a:pt x="17" y="46"/>
                </a:cubicBezTo>
                <a:lnTo>
                  <a:pt x="17" y="47"/>
                </a:lnTo>
                <a:close/>
                <a:moveTo>
                  <a:pt x="17" y="61"/>
                </a:moveTo>
                <a:cubicBezTo>
                  <a:pt x="17" y="64"/>
                  <a:pt x="15" y="66"/>
                  <a:pt x="12" y="66"/>
                </a:cubicBezTo>
                <a:cubicBezTo>
                  <a:pt x="10" y="66"/>
                  <a:pt x="10" y="66"/>
                  <a:pt x="10" y="66"/>
                </a:cubicBezTo>
                <a:cubicBezTo>
                  <a:pt x="7" y="66"/>
                  <a:pt x="5" y="64"/>
                  <a:pt x="5" y="61"/>
                </a:cubicBezTo>
                <a:cubicBezTo>
                  <a:pt x="5" y="61"/>
                  <a:pt x="5" y="61"/>
                  <a:pt x="5" y="61"/>
                </a:cubicBezTo>
                <a:cubicBezTo>
                  <a:pt x="5" y="58"/>
                  <a:pt x="7" y="56"/>
                  <a:pt x="10" y="56"/>
                </a:cubicBezTo>
                <a:cubicBezTo>
                  <a:pt x="12" y="56"/>
                  <a:pt x="12" y="56"/>
                  <a:pt x="12" y="56"/>
                </a:cubicBezTo>
                <a:cubicBezTo>
                  <a:pt x="15" y="56"/>
                  <a:pt x="17" y="58"/>
                  <a:pt x="17" y="61"/>
                </a:cubicBezTo>
                <a:close/>
                <a:moveTo>
                  <a:pt x="6" y="11"/>
                </a:moveTo>
                <a:cubicBezTo>
                  <a:pt x="6" y="9"/>
                  <a:pt x="8" y="7"/>
                  <a:pt x="10" y="7"/>
                </a:cubicBezTo>
                <a:cubicBezTo>
                  <a:pt x="42" y="7"/>
                  <a:pt x="42" y="7"/>
                  <a:pt x="42" y="7"/>
                </a:cubicBezTo>
                <a:cubicBezTo>
                  <a:pt x="44" y="7"/>
                  <a:pt x="46" y="9"/>
                  <a:pt x="46" y="11"/>
                </a:cubicBezTo>
                <a:cubicBezTo>
                  <a:pt x="46" y="16"/>
                  <a:pt x="46" y="16"/>
                  <a:pt x="46" y="16"/>
                </a:cubicBezTo>
                <a:cubicBezTo>
                  <a:pt x="46" y="18"/>
                  <a:pt x="44" y="20"/>
                  <a:pt x="42" y="20"/>
                </a:cubicBezTo>
                <a:cubicBezTo>
                  <a:pt x="10" y="20"/>
                  <a:pt x="10" y="20"/>
                  <a:pt x="10" y="20"/>
                </a:cubicBezTo>
                <a:cubicBezTo>
                  <a:pt x="8" y="20"/>
                  <a:pt x="6" y="18"/>
                  <a:pt x="6" y="16"/>
                </a:cubicBezTo>
                <a:lnTo>
                  <a:pt x="6" y="11"/>
                </a:lnTo>
                <a:close/>
                <a:moveTo>
                  <a:pt x="5" y="0"/>
                </a:moveTo>
                <a:cubicBezTo>
                  <a:pt x="2" y="0"/>
                  <a:pt x="0" y="2"/>
                  <a:pt x="0" y="5"/>
                </a:cubicBezTo>
                <a:cubicBezTo>
                  <a:pt x="0" y="67"/>
                  <a:pt x="0" y="67"/>
                  <a:pt x="0" y="67"/>
                </a:cubicBezTo>
                <a:cubicBezTo>
                  <a:pt x="0" y="70"/>
                  <a:pt x="2" y="72"/>
                  <a:pt x="5" y="72"/>
                </a:cubicBezTo>
                <a:cubicBezTo>
                  <a:pt x="47" y="72"/>
                  <a:pt x="47" y="72"/>
                  <a:pt x="47" y="72"/>
                </a:cubicBezTo>
                <a:cubicBezTo>
                  <a:pt x="50" y="72"/>
                  <a:pt x="52" y="70"/>
                  <a:pt x="52" y="67"/>
                </a:cubicBezTo>
                <a:cubicBezTo>
                  <a:pt x="52" y="5"/>
                  <a:pt x="52" y="5"/>
                  <a:pt x="52" y="5"/>
                </a:cubicBezTo>
                <a:cubicBezTo>
                  <a:pt x="52" y="2"/>
                  <a:pt x="50" y="0"/>
                  <a:pt x="47" y="0"/>
                </a:cubicBezTo>
                <a:lnTo>
                  <a:pt x="5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38" name="Freeform 112"/>
          <p:cNvSpPr>
            <a:spLocks noEditPoints="1"/>
          </p:cNvSpPr>
          <p:nvPr/>
        </p:nvSpPr>
        <p:spPr bwMode="black">
          <a:xfrm>
            <a:off x="5378346" y="3256583"/>
            <a:ext cx="53487" cy="299984"/>
          </a:xfrm>
          <a:custGeom>
            <a:avLst/>
            <a:gdLst>
              <a:gd name="T0" fmla="*/ 1 w 14"/>
              <a:gd name="T1" fmla="*/ 24 h 78"/>
              <a:gd name="T2" fmla="*/ 13 w 14"/>
              <a:gd name="T3" fmla="*/ 24 h 78"/>
              <a:gd name="T4" fmla="*/ 13 w 14"/>
              <a:gd name="T5" fmla="*/ 78 h 78"/>
              <a:gd name="T6" fmla="*/ 1 w 14"/>
              <a:gd name="T7" fmla="*/ 78 h 78"/>
              <a:gd name="T8" fmla="*/ 1 w 14"/>
              <a:gd name="T9" fmla="*/ 24 h 78"/>
              <a:gd name="T10" fmla="*/ 14 w 14"/>
              <a:gd name="T11" fmla="*/ 6 h 78"/>
              <a:gd name="T12" fmla="*/ 12 w 14"/>
              <a:gd name="T13" fmla="*/ 2 h 78"/>
              <a:gd name="T14" fmla="*/ 7 w 14"/>
              <a:gd name="T15" fmla="*/ 0 h 78"/>
              <a:gd name="T16" fmla="*/ 2 w 14"/>
              <a:gd name="T17" fmla="*/ 2 h 78"/>
              <a:gd name="T18" fmla="*/ 0 w 14"/>
              <a:gd name="T19" fmla="*/ 6 h 78"/>
              <a:gd name="T20" fmla="*/ 2 w 14"/>
              <a:gd name="T21" fmla="*/ 11 h 78"/>
              <a:gd name="T22" fmla="*/ 7 w 14"/>
              <a:gd name="T23" fmla="*/ 13 h 78"/>
              <a:gd name="T24" fmla="*/ 12 w 14"/>
              <a:gd name="T25" fmla="*/ 11 h 78"/>
              <a:gd name="T26" fmla="*/ 14 w 14"/>
              <a:gd name="T27" fmla="*/ 6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4" h="78">
                <a:moveTo>
                  <a:pt x="1" y="24"/>
                </a:moveTo>
                <a:cubicBezTo>
                  <a:pt x="13" y="24"/>
                  <a:pt x="13" y="24"/>
                  <a:pt x="13" y="24"/>
                </a:cubicBezTo>
                <a:cubicBezTo>
                  <a:pt x="13" y="78"/>
                  <a:pt x="13" y="78"/>
                  <a:pt x="13" y="78"/>
                </a:cubicBezTo>
                <a:cubicBezTo>
                  <a:pt x="1" y="78"/>
                  <a:pt x="1" y="78"/>
                  <a:pt x="1" y="78"/>
                </a:cubicBezTo>
                <a:lnTo>
                  <a:pt x="1" y="24"/>
                </a:lnTo>
                <a:close/>
                <a:moveTo>
                  <a:pt x="14" y="6"/>
                </a:moveTo>
                <a:cubicBezTo>
                  <a:pt x="14" y="5"/>
                  <a:pt x="14" y="3"/>
                  <a:pt x="12" y="2"/>
                </a:cubicBezTo>
                <a:cubicBezTo>
                  <a:pt x="11" y="1"/>
                  <a:pt x="9" y="0"/>
                  <a:pt x="7" y="0"/>
                </a:cubicBezTo>
                <a:cubicBezTo>
                  <a:pt x="5" y="0"/>
                  <a:pt x="3" y="1"/>
                  <a:pt x="2" y="2"/>
                </a:cubicBezTo>
                <a:cubicBezTo>
                  <a:pt x="0" y="3"/>
                  <a:pt x="0" y="5"/>
                  <a:pt x="0" y="6"/>
                </a:cubicBezTo>
                <a:cubicBezTo>
                  <a:pt x="0" y="8"/>
                  <a:pt x="0" y="10"/>
                  <a:pt x="2" y="11"/>
                </a:cubicBezTo>
                <a:cubicBezTo>
                  <a:pt x="3" y="12"/>
                  <a:pt x="5" y="13"/>
                  <a:pt x="7" y="13"/>
                </a:cubicBezTo>
                <a:cubicBezTo>
                  <a:pt x="9" y="13"/>
                  <a:pt x="11" y="12"/>
                  <a:pt x="12" y="11"/>
                </a:cubicBezTo>
                <a:cubicBezTo>
                  <a:pt x="14" y="10"/>
                  <a:pt x="14" y="8"/>
                  <a:pt x="14" y="6"/>
                </a:cubicBezTo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39" name="Freeform 113"/>
          <p:cNvSpPr>
            <a:spLocks noEditPoints="1"/>
          </p:cNvSpPr>
          <p:nvPr/>
        </p:nvSpPr>
        <p:spPr bwMode="black">
          <a:xfrm>
            <a:off x="4605896" y="3279836"/>
            <a:ext cx="253482" cy="253482"/>
          </a:xfrm>
          <a:custGeom>
            <a:avLst/>
            <a:gdLst>
              <a:gd name="T0" fmla="*/ 47 w 66"/>
              <a:gd name="T1" fmla="*/ 37 h 66"/>
              <a:gd name="T2" fmla="*/ 51 w 66"/>
              <a:gd name="T3" fmla="*/ 33 h 66"/>
              <a:gd name="T4" fmla="*/ 47 w 66"/>
              <a:gd name="T5" fmla="*/ 29 h 66"/>
              <a:gd name="T6" fmla="*/ 37 w 66"/>
              <a:gd name="T7" fmla="*/ 29 h 66"/>
              <a:gd name="T8" fmla="*/ 37 w 66"/>
              <a:gd name="T9" fmla="*/ 16 h 66"/>
              <a:gd name="T10" fmla="*/ 33 w 66"/>
              <a:gd name="T11" fmla="*/ 13 h 66"/>
              <a:gd name="T12" fmla="*/ 29 w 66"/>
              <a:gd name="T13" fmla="*/ 16 h 66"/>
              <a:gd name="T14" fmla="*/ 29 w 66"/>
              <a:gd name="T15" fmla="*/ 33 h 66"/>
              <a:gd name="T16" fmla="*/ 33 w 66"/>
              <a:gd name="T17" fmla="*/ 37 h 66"/>
              <a:gd name="T18" fmla="*/ 47 w 66"/>
              <a:gd name="T19" fmla="*/ 37 h 66"/>
              <a:gd name="T20" fmla="*/ 33 w 66"/>
              <a:gd name="T21" fmla="*/ 8 h 66"/>
              <a:gd name="T22" fmla="*/ 58 w 66"/>
              <a:gd name="T23" fmla="*/ 33 h 66"/>
              <a:gd name="T24" fmla="*/ 33 w 66"/>
              <a:gd name="T25" fmla="*/ 58 h 66"/>
              <a:gd name="T26" fmla="*/ 8 w 66"/>
              <a:gd name="T27" fmla="*/ 33 h 66"/>
              <a:gd name="T28" fmla="*/ 33 w 66"/>
              <a:gd name="T29" fmla="*/ 8 h 66"/>
              <a:gd name="T30" fmla="*/ 33 w 66"/>
              <a:gd name="T31" fmla="*/ 66 h 66"/>
              <a:gd name="T32" fmla="*/ 66 w 66"/>
              <a:gd name="T33" fmla="*/ 33 h 66"/>
              <a:gd name="T34" fmla="*/ 33 w 66"/>
              <a:gd name="T35" fmla="*/ 0 h 66"/>
              <a:gd name="T36" fmla="*/ 0 w 66"/>
              <a:gd name="T37" fmla="*/ 33 h 66"/>
              <a:gd name="T38" fmla="*/ 33 w 66"/>
              <a:gd name="T39" fmla="*/ 66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66" h="66">
                <a:moveTo>
                  <a:pt x="47" y="37"/>
                </a:moveTo>
                <a:cubicBezTo>
                  <a:pt x="49" y="37"/>
                  <a:pt x="51" y="35"/>
                  <a:pt x="51" y="33"/>
                </a:cubicBezTo>
                <a:cubicBezTo>
                  <a:pt x="51" y="31"/>
                  <a:pt x="49" y="29"/>
                  <a:pt x="47" y="29"/>
                </a:cubicBezTo>
                <a:cubicBezTo>
                  <a:pt x="37" y="29"/>
                  <a:pt x="37" y="29"/>
                  <a:pt x="37" y="29"/>
                </a:cubicBezTo>
                <a:cubicBezTo>
                  <a:pt x="37" y="16"/>
                  <a:pt x="37" y="16"/>
                  <a:pt x="37" y="16"/>
                </a:cubicBezTo>
                <a:cubicBezTo>
                  <a:pt x="37" y="14"/>
                  <a:pt x="35" y="13"/>
                  <a:pt x="33" y="13"/>
                </a:cubicBezTo>
                <a:cubicBezTo>
                  <a:pt x="31" y="13"/>
                  <a:pt x="29" y="14"/>
                  <a:pt x="29" y="16"/>
                </a:cubicBezTo>
                <a:cubicBezTo>
                  <a:pt x="29" y="33"/>
                  <a:pt x="29" y="33"/>
                  <a:pt x="29" y="33"/>
                </a:cubicBezTo>
                <a:cubicBezTo>
                  <a:pt x="29" y="35"/>
                  <a:pt x="31" y="37"/>
                  <a:pt x="33" y="37"/>
                </a:cubicBezTo>
                <a:lnTo>
                  <a:pt x="47" y="37"/>
                </a:lnTo>
                <a:close/>
                <a:moveTo>
                  <a:pt x="33" y="8"/>
                </a:moveTo>
                <a:cubicBezTo>
                  <a:pt x="47" y="8"/>
                  <a:pt x="58" y="19"/>
                  <a:pt x="58" y="33"/>
                </a:cubicBezTo>
                <a:cubicBezTo>
                  <a:pt x="58" y="47"/>
                  <a:pt x="47" y="58"/>
                  <a:pt x="33" y="58"/>
                </a:cubicBezTo>
                <a:cubicBezTo>
                  <a:pt x="19" y="58"/>
                  <a:pt x="8" y="47"/>
                  <a:pt x="8" y="33"/>
                </a:cubicBezTo>
                <a:cubicBezTo>
                  <a:pt x="8" y="19"/>
                  <a:pt x="19" y="8"/>
                  <a:pt x="33" y="8"/>
                </a:cubicBezTo>
                <a:moveTo>
                  <a:pt x="33" y="66"/>
                </a:moveTo>
                <a:cubicBezTo>
                  <a:pt x="51" y="66"/>
                  <a:pt x="66" y="51"/>
                  <a:pt x="66" y="33"/>
                </a:cubicBezTo>
                <a:cubicBezTo>
                  <a:pt x="66" y="15"/>
                  <a:pt x="51" y="0"/>
                  <a:pt x="33" y="0"/>
                </a:cubicBezTo>
                <a:cubicBezTo>
                  <a:pt x="15" y="0"/>
                  <a:pt x="0" y="15"/>
                  <a:pt x="0" y="33"/>
                </a:cubicBezTo>
                <a:cubicBezTo>
                  <a:pt x="0" y="51"/>
                  <a:pt x="15" y="66"/>
                  <a:pt x="33" y="66"/>
                </a:cubicBezTo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40" name="Freeform 114"/>
          <p:cNvSpPr>
            <a:spLocks noEditPoints="1"/>
          </p:cNvSpPr>
          <p:nvPr/>
        </p:nvSpPr>
        <p:spPr bwMode="black">
          <a:xfrm>
            <a:off x="3916004" y="3292624"/>
            <a:ext cx="288365" cy="227903"/>
          </a:xfrm>
          <a:custGeom>
            <a:avLst/>
            <a:gdLst>
              <a:gd name="T0" fmla="*/ 22 w 75"/>
              <a:gd name="T1" fmla="*/ 22 h 59"/>
              <a:gd name="T2" fmla="*/ 33 w 75"/>
              <a:gd name="T3" fmla="*/ 11 h 59"/>
              <a:gd name="T4" fmla="*/ 22 w 75"/>
              <a:gd name="T5" fmla="*/ 0 h 59"/>
              <a:gd name="T6" fmla="*/ 11 w 75"/>
              <a:gd name="T7" fmla="*/ 11 h 59"/>
              <a:gd name="T8" fmla="*/ 22 w 75"/>
              <a:gd name="T9" fmla="*/ 22 h 59"/>
              <a:gd name="T10" fmla="*/ 45 w 75"/>
              <a:gd name="T11" fmla="*/ 22 h 59"/>
              <a:gd name="T12" fmla="*/ 56 w 75"/>
              <a:gd name="T13" fmla="*/ 11 h 59"/>
              <a:gd name="T14" fmla="*/ 45 w 75"/>
              <a:gd name="T15" fmla="*/ 0 h 59"/>
              <a:gd name="T16" fmla="*/ 34 w 75"/>
              <a:gd name="T17" fmla="*/ 11 h 59"/>
              <a:gd name="T18" fmla="*/ 45 w 75"/>
              <a:gd name="T19" fmla="*/ 22 h 59"/>
              <a:gd name="T20" fmla="*/ 3 w 75"/>
              <a:gd name="T21" fmla="*/ 25 h 59"/>
              <a:gd name="T22" fmla="*/ 0 w 75"/>
              <a:gd name="T23" fmla="*/ 27 h 59"/>
              <a:gd name="T24" fmla="*/ 0 w 75"/>
              <a:gd name="T25" fmla="*/ 38 h 59"/>
              <a:gd name="T26" fmla="*/ 3 w 75"/>
              <a:gd name="T27" fmla="*/ 41 h 59"/>
              <a:gd name="T28" fmla="*/ 5 w 75"/>
              <a:gd name="T29" fmla="*/ 38 h 59"/>
              <a:gd name="T30" fmla="*/ 5 w 75"/>
              <a:gd name="T31" fmla="*/ 27 h 59"/>
              <a:gd name="T32" fmla="*/ 3 w 75"/>
              <a:gd name="T33" fmla="*/ 25 h 59"/>
              <a:gd name="T34" fmla="*/ 75 w 75"/>
              <a:gd name="T35" fmla="*/ 23 h 59"/>
              <a:gd name="T36" fmla="*/ 75 w 75"/>
              <a:gd name="T37" fmla="*/ 56 h 59"/>
              <a:gd name="T38" fmla="*/ 73 w 75"/>
              <a:gd name="T39" fmla="*/ 57 h 59"/>
              <a:gd name="T40" fmla="*/ 65 w 75"/>
              <a:gd name="T41" fmla="*/ 51 h 59"/>
              <a:gd name="T42" fmla="*/ 64 w 75"/>
              <a:gd name="T43" fmla="*/ 49 h 59"/>
              <a:gd name="T44" fmla="*/ 60 w 75"/>
              <a:gd name="T45" fmla="*/ 49 h 59"/>
              <a:gd name="T46" fmla="*/ 60 w 75"/>
              <a:gd name="T47" fmla="*/ 56 h 59"/>
              <a:gd name="T48" fmla="*/ 57 w 75"/>
              <a:gd name="T49" fmla="*/ 59 h 59"/>
              <a:gd name="T50" fmla="*/ 11 w 75"/>
              <a:gd name="T51" fmla="*/ 59 h 59"/>
              <a:gd name="T52" fmla="*/ 8 w 75"/>
              <a:gd name="T53" fmla="*/ 55 h 59"/>
              <a:gd name="T54" fmla="*/ 8 w 75"/>
              <a:gd name="T55" fmla="*/ 27 h 59"/>
              <a:gd name="T56" fmla="*/ 11 w 75"/>
              <a:gd name="T57" fmla="*/ 23 h 59"/>
              <a:gd name="T58" fmla="*/ 57 w 75"/>
              <a:gd name="T59" fmla="*/ 23 h 59"/>
              <a:gd name="T60" fmla="*/ 60 w 75"/>
              <a:gd name="T61" fmla="*/ 27 h 59"/>
              <a:gd name="T62" fmla="*/ 60 w 75"/>
              <a:gd name="T63" fmla="*/ 30 h 59"/>
              <a:gd name="T64" fmla="*/ 64 w 75"/>
              <a:gd name="T65" fmla="*/ 30 h 59"/>
              <a:gd name="T66" fmla="*/ 65 w 75"/>
              <a:gd name="T67" fmla="*/ 29 h 59"/>
              <a:gd name="T68" fmla="*/ 73 w 75"/>
              <a:gd name="T69" fmla="*/ 22 h 59"/>
              <a:gd name="T70" fmla="*/ 75 w 75"/>
              <a:gd name="T71" fmla="*/ 23 h 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75" h="59">
                <a:moveTo>
                  <a:pt x="22" y="22"/>
                </a:moveTo>
                <a:cubicBezTo>
                  <a:pt x="28" y="22"/>
                  <a:pt x="33" y="17"/>
                  <a:pt x="33" y="11"/>
                </a:cubicBezTo>
                <a:cubicBezTo>
                  <a:pt x="33" y="5"/>
                  <a:pt x="28" y="0"/>
                  <a:pt x="22" y="0"/>
                </a:cubicBezTo>
                <a:cubicBezTo>
                  <a:pt x="16" y="0"/>
                  <a:pt x="11" y="5"/>
                  <a:pt x="11" y="11"/>
                </a:cubicBezTo>
                <a:cubicBezTo>
                  <a:pt x="11" y="17"/>
                  <a:pt x="16" y="22"/>
                  <a:pt x="22" y="22"/>
                </a:cubicBezTo>
                <a:moveTo>
                  <a:pt x="45" y="22"/>
                </a:moveTo>
                <a:cubicBezTo>
                  <a:pt x="51" y="22"/>
                  <a:pt x="56" y="17"/>
                  <a:pt x="56" y="11"/>
                </a:cubicBezTo>
                <a:cubicBezTo>
                  <a:pt x="56" y="5"/>
                  <a:pt x="51" y="0"/>
                  <a:pt x="45" y="0"/>
                </a:cubicBezTo>
                <a:cubicBezTo>
                  <a:pt x="39" y="0"/>
                  <a:pt x="34" y="5"/>
                  <a:pt x="34" y="11"/>
                </a:cubicBezTo>
                <a:cubicBezTo>
                  <a:pt x="34" y="17"/>
                  <a:pt x="39" y="22"/>
                  <a:pt x="45" y="22"/>
                </a:cubicBezTo>
                <a:moveTo>
                  <a:pt x="3" y="25"/>
                </a:moveTo>
                <a:cubicBezTo>
                  <a:pt x="1" y="25"/>
                  <a:pt x="0" y="26"/>
                  <a:pt x="0" y="27"/>
                </a:cubicBezTo>
                <a:cubicBezTo>
                  <a:pt x="0" y="38"/>
                  <a:pt x="0" y="38"/>
                  <a:pt x="0" y="38"/>
                </a:cubicBezTo>
                <a:cubicBezTo>
                  <a:pt x="0" y="39"/>
                  <a:pt x="1" y="41"/>
                  <a:pt x="3" y="41"/>
                </a:cubicBezTo>
                <a:cubicBezTo>
                  <a:pt x="4" y="41"/>
                  <a:pt x="5" y="39"/>
                  <a:pt x="5" y="38"/>
                </a:cubicBezTo>
                <a:cubicBezTo>
                  <a:pt x="5" y="27"/>
                  <a:pt x="5" y="27"/>
                  <a:pt x="5" y="27"/>
                </a:cubicBezTo>
                <a:cubicBezTo>
                  <a:pt x="5" y="26"/>
                  <a:pt x="4" y="25"/>
                  <a:pt x="3" y="25"/>
                </a:cubicBezTo>
                <a:moveTo>
                  <a:pt x="75" y="23"/>
                </a:moveTo>
                <a:cubicBezTo>
                  <a:pt x="75" y="56"/>
                  <a:pt x="75" y="56"/>
                  <a:pt x="75" y="56"/>
                </a:cubicBezTo>
                <a:cubicBezTo>
                  <a:pt x="75" y="58"/>
                  <a:pt x="74" y="58"/>
                  <a:pt x="73" y="57"/>
                </a:cubicBezTo>
                <a:cubicBezTo>
                  <a:pt x="65" y="51"/>
                  <a:pt x="65" y="51"/>
                  <a:pt x="65" y="51"/>
                </a:cubicBezTo>
                <a:cubicBezTo>
                  <a:pt x="64" y="50"/>
                  <a:pt x="64" y="50"/>
                  <a:pt x="64" y="49"/>
                </a:cubicBezTo>
                <a:cubicBezTo>
                  <a:pt x="60" y="49"/>
                  <a:pt x="60" y="49"/>
                  <a:pt x="60" y="49"/>
                </a:cubicBezTo>
                <a:cubicBezTo>
                  <a:pt x="60" y="56"/>
                  <a:pt x="60" y="56"/>
                  <a:pt x="60" y="56"/>
                </a:cubicBezTo>
                <a:cubicBezTo>
                  <a:pt x="60" y="58"/>
                  <a:pt x="59" y="59"/>
                  <a:pt x="57" y="59"/>
                </a:cubicBezTo>
                <a:cubicBezTo>
                  <a:pt x="11" y="59"/>
                  <a:pt x="11" y="59"/>
                  <a:pt x="11" y="59"/>
                </a:cubicBezTo>
                <a:cubicBezTo>
                  <a:pt x="9" y="59"/>
                  <a:pt x="8" y="57"/>
                  <a:pt x="8" y="55"/>
                </a:cubicBezTo>
                <a:cubicBezTo>
                  <a:pt x="8" y="27"/>
                  <a:pt x="8" y="27"/>
                  <a:pt x="8" y="27"/>
                </a:cubicBezTo>
                <a:cubicBezTo>
                  <a:pt x="8" y="25"/>
                  <a:pt x="9" y="23"/>
                  <a:pt x="11" y="23"/>
                </a:cubicBezTo>
                <a:cubicBezTo>
                  <a:pt x="57" y="23"/>
                  <a:pt x="57" y="23"/>
                  <a:pt x="57" y="23"/>
                </a:cubicBezTo>
                <a:cubicBezTo>
                  <a:pt x="59" y="23"/>
                  <a:pt x="60" y="25"/>
                  <a:pt x="60" y="27"/>
                </a:cubicBezTo>
                <a:cubicBezTo>
                  <a:pt x="60" y="30"/>
                  <a:pt x="60" y="30"/>
                  <a:pt x="60" y="30"/>
                </a:cubicBezTo>
                <a:cubicBezTo>
                  <a:pt x="64" y="30"/>
                  <a:pt x="64" y="30"/>
                  <a:pt x="64" y="30"/>
                </a:cubicBezTo>
                <a:cubicBezTo>
                  <a:pt x="64" y="30"/>
                  <a:pt x="64" y="29"/>
                  <a:pt x="65" y="29"/>
                </a:cubicBezTo>
                <a:cubicBezTo>
                  <a:pt x="73" y="22"/>
                  <a:pt x="73" y="22"/>
                  <a:pt x="73" y="22"/>
                </a:cubicBezTo>
                <a:cubicBezTo>
                  <a:pt x="74" y="21"/>
                  <a:pt x="75" y="21"/>
                  <a:pt x="75" y="23"/>
                </a:cubicBezTo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41" name="Freeform 115"/>
          <p:cNvSpPr>
            <a:spLocks noEditPoints="1"/>
          </p:cNvSpPr>
          <p:nvPr/>
        </p:nvSpPr>
        <p:spPr bwMode="black">
          <a:xfrm>
            <a:off x="3257507" y="3278671"/>
            <a:ext cx="260458" cy="255808"/>
          </a:xfrm>
          <a:custGeom>
            <a:avLst/>
            <a:gdLst>
              <a:gd name="T0" fmla="*/ 63 w 68"/>
              <a:gd name="T1" fmla="*/ 12 h 66"/>
              <a:gd name="T2" fmla="*/ 48 w 68"/>
              <a:gd name="T3" fmla="*/ 1 h 66"/>
              <a:gd name="T4" fmla="*/ 42 w 68"/>
              <a:gd name="T5" fmla="*/ 0 h 66"/>
              <a:gd name="T6" fmla="*/ 18 w 68"/>
              <a:gd name="T7" fmla="*/ 19 h 66"/>
              <a:gd name="T8" fmla="*/ 21 w 68"/>
              <a:gd name="T9" fmla="*/ 37 h 66"/>
              <a:gd name="T10" fmla="*/ 2 w 68"/>
              <a:gd name="T11" fmla="*/ 56 h 66"/>
              <a:gd name="T12" fmla="*/ 2 w 68"/>
              <a:gd name="T13" fmla="*/ 65 h 66"/>
              <a:gd name="T14" fmla="*/ 7 w 68"/>
              <a:gd name="T15" fmla="*/ 66 h 66"/>
              <a:gd name="T16" fmla="*/ 11 w 68"/>
              <a:gd name="T17" fmla="*/ 65 h 66"/>
              <a:gd name="T18" fmla="*/ 30 w 68"/>
              <a:gd name="T19" fmla="*/ 46 h 66"/>
              <a:gd name="T20" fmla="*/ 36 w 68"/>
              <a:gd name="T21" fmla="*/ 49 h 66"/>
              <a:gd name="T22" fmla="*/ 42 w 68"/>
              <a:gd name="T23" fmla="*/ 50 h 66"/>
              <a:gd name="T24" fmla="*/ 66 w 68"/>
              <a:gd name="T25" fmla="*/ 31 h 66"/>
              <a:gd name="T26" fmla="*/ 63 w 68"/>
              <a:gd name="T27" fmla="*/ 12 h 66"/>
              <a:gd name="T28" fmla="*/ 59 w 68"/>
              <a:gd name="T29" fmla="*/ 29 h 66"/>
              <a:gd name="T30" fmla="*/ 42 w 68"/>
              <a:gd name="T31" fmla="*/ 42 h 66"/>
              <a:gd name="T32" fmla="*/ 38 w 68"/>
              <a:gd name="T33" fmla="*/ 42 h 66"/>
              <a:gd name="T34" fmla="*/ 26 w 68"/>
              <a:gd name="T35" fmla="*/ 21 h 66"/>
              <a:gd name="T36" fmla="*/ 42 w 68"/>
              <a:gd name="T37" fmla="*/ 8 h 66"/>
              <a:gd name="T38" fmla="*/ 46 w 68"/>
              <a:gd name="T39" fmla="*/ 8 h 66"/>
              <a:gd name="T40" fmla="*/ 57 w 68"/>
              <a:gd name="T41" fmla="*/ 16 h 66"/>
              <a:gd name="T42" fmla="*/ 59 w 68"/>
              <a:gd name="T43" fmla="*/ 29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68" h="66">
                <a:moveTo>
                  <a:pt x="63" y="12"/>
                </a:moveTo>
                <a:cubicBezTo>
                  <a:pt x="60" y="6"/>
                  <a:pt x="55" y="2"/>
                  <a:pt x="48" y="1"/>
                </a:cubicBezTo>
                <a:cubicBezTo>
                  <a:pt x="46" y="0"/>
                  <a:pt x="44" y="0"/>
                  <a:pt x="42" y="0"/>
                </a:cubicBezTo>
                <a:cubicBezTo>
                  <a:pt x="31" y="0"/>
                  <a:pt x="21" y="8"/>
                  <a:pt x="18" y="19"/>
                </a:cubicBezTo>
                <a:cubicBezTo>
                  <a:pt x="17" y="25"/>
                  <a:pt x="18" y="32"/>
                  <a:pt x="21" y="37"/>
                </a:cubicBezTo>
                <a:cubicBezTo>
                  <a:pt x="2" y="56"/>
                  <a:pt x="2" y="56"/>
                  <a:pt x="2" y="56"/>
                </a:cubicBezTo>
                <a:cubicBezTo>
                  <a:pt x="0" y="58"/>
                  <a:pt x="0" y="62"/>
                  <a:pt x="2" y="65"/>
                </a:cubicBezTo>
                <a:cubicBezTo>
                  <a:pt x="4" y="66"/>
                  <a:pt x="5" y="66"/>
                  <a:pt x="7" y="66"/>
                </a:cubicBezTo>
                <a:cubicBezTo>
                  <a:pt x="8" y="66"/>
                  <a:pt x="10" y="66"/>
                  <a:pt x="11" y="65"/>
                </a:cubicBezTo>
                <a:cubicBezTo>
                  <a:pt x="30" y="46"/>
                  <a:pt x="30" y="46"/>
                  <a:pt x="30" y="46"/>
                </a:cubicBezTo>
                <a:cubicBezTo>
                  <a:pt x="32" y="47"/>
                  <a:pt x="34" y="48"/>
                  <a:pt x="36" y="49"/>
                </a:cubicBezTo>
                <a:cubicBezTo>
                  <a:pt x="38" y="49"/>
                  <a:pt x="40" y="50"/>
                  <a:pt x="42" y="50"/>
                </a:cubicBezTo>
                <a:cubicBezTo>
                  <a:pt x="54" y="50"/>
                  <a:pt x="64" y="42"/>
                  <a:pt x="66" y="31"/>
                </a:cubicBezTo>
                <a:cubicBezTo>
                  <a:pt x="68" y="24"/>
                  <a:pt x="67" y="18"/>
                  <a:pt x="63" y="12"/>
                </a:cubicBezTo>
                <a:close/>
                <a:moveTo>
                  <a:pt x="59" y="29"/>
                </a:moveTo>
                <a:cubicBezTo>
                  <a:pt x="57" y="37"/>
                  <a:pt x="50" y="42"/>
                  <a:pt x="42" y="42"/>
                </a:cubicBezTo>
                <a:cubicBezTo>
                  <a:pt x="41" y="42"/>
                  <a:pt x="40" y="42"/>
                  <a:pt x="38" y="42"/>
                </a:cubicBezTo>
                <a:cubicBezTo>
                  <a:pt x="29" y="39"/>
                  <a:pt x="23" y="30"/>
                  <a:pt x="26" y="21"/>
                </a:cubicBezTo>
                <a:cubicBezTo>
                  <a:pt x="28" y="13"/>
                  <a:pt x="34" y="8"/>
                  <a:pt x="42" y="8"/>
                </a:cubicBezTo>
                <a:cubicBezTo>
                  <a:pt x="44" y="8"/>
                  <a:pt x="45" y="8"/>
                  <a:pt x="46" y="8"/>
                </a:cubicBezTo>
                <a:cubicBezTo>
                  <a:pt x="51" y="9"/>
                  <a:pt x="55" y="12"/>
                  <a:pt x="57" y="16"/>
                </a:cubicBezTo>
                <a:cubicBezTo>
                  <a:pt x="59" y="20"/>
                  <a:pt x="60" y="25"/>
                  <a:pt x="59" y="2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42" name="Freeform 116"/>
          <p:cNvSpPr>
            <a:spLocks noEditPoints="1"/>
          </p:cNvSpPr>
          <p:nvPr/>
        </p:nvSpPr>
        <p:spPr bwMode="black">
          <a:xfrm>
            <a:off x="2576811" y="3296115"/>
            <a:ext cx="276738" cy="220923"/>
          </a:xfrm>
          <a:custGeom>
            <a:avLst/>
            <a:gdLst>
              <a:gd name="T0" fmla="*/ 50 w 72"/>
              <a:gd name="T1" fmla="*/ 35 h 57"/>
              <a:gd name="T2" fmla="*/ 36 w 72"/>
              <a:gd name="T3" fmla="*/ 21 h 57"/>
              <a:gd name="T4" fmla="*/ 22 w 72"/>
              <a:gd name="T5" fmla="*/ 35 h 57"/>
              <a:gd name="T6" fmla="*/ 36 w 72"/>
              <a:gd name="T7" fmla="*/ 49 h 57"/>
              <a:gd name="T8" fmla="*/ 50 w 72"/>
              <a:gd name="T9" fmla="*/ 35 h 57"/>
              <a:gd name="T10" fmla="*/ 15 w 72"/>
              <a:gd name="T11" fmla="*/ 20 h 57"/>
              <a:gd name="T12" fmla="*/ 12 w 72"/>
              <a:gd name="T13" fmla="*/ 17 h 57"/>
              <a:gd name="T14" fmla="*/ 8 w 72"/>
              <a:gd name="T15" fmla="*/ 20 h 57"/>
              <a:gd name="T16" fmla="*/ 12 w 72"/>
              <a:gd name="T17" fmla="*/ 23 h 57"/>
              <a:gd name="T18" fmla="*/ 15 w 72"/>
              <a:gd name="T19" fmla="*/ 20 h 57"/>
              <a:gd name="T20" fmla="*/ 72 w 72"/>
              <a:gd name="T21" fmla="*/ 18 h 57"/>
              <a:gd name="T22" fmla="*/ 72 w 72"/>
              <a:gd name="T23" fmla="*/ 49 h 57"/>
              <a:gd name="T24" fmla="*/ 63 w 72"/>
              <a:gd name="T25" fmla="*/ 57 h 57"/>
              <a:gd name="T26" fmla="*/ 8 w 72"/>
              <a:gd name="T27" fmla="*/ 57 h 57"/>
              <a:gd name="T28" fmla="*/ 0 w 72"/>
              <a:gd name="T29" fmla="*/ 49 h 57"/>
              <a:gd name="T30" fmla="*/ 0 w 72"/>
              <a:gd name="T31" fmla="*/ 18 h 57"/>
              <a:gd name="T32" fmla="*/ 8 w 72"/>
              <a:gd name="T33" fmla="*/ 9 h 57"/>
              <a:gd name="T34" fmla="*/ 21 w 72"/>
              <a:gd name="T35" fmla="*/ 9 h 57"/>
              <a:gd name="T36" fmla="*/ 23 w 72"/>
              <a:gd name="T37" fmla="*/ 5 h 57"/>
              <a:gd name="T38" fmla="*/ 30 w 72"/>
              <a:gd name="T39" fmla="*/ 0 h 57"/>
              <a:gd name="T40" fmla="*/ 42 w 72"/>
              <a:gd name="T41" fmla="*/ 0 h 57"/>
              <a:gd name="T42" fmla="*/ 49 w 72"/>
              <a:gd name="T43" fmla="*/ 5 h 57"/>
              <a:gd name="T44" fmla="*/ 50 w 72"/>
              <a:gd name="T45" fmla="*/ 9 h 57"/>
              <a:gd name="T46" fmla="*/ 63 w 72"/>
              <a:gd name="T47" fmla="*/ 9 h 57"/>
              <a:gd name="T48" fmla="*/ 72 w 72"/>
              <a:gd name="T49" fmla="*/ 18 h 57"/>
              <a:gd name="T50" fmla="*/ 45 w 72"/>
              <a:gd name="T51" fmla="*/ 35 h 57"/>
              <a:gd name="T52" fmla="*/ 36 w 72"/>
              <a:gd name="T53" fmla="*/ 44 h 57"/>
              <a:gd name="T54" fmla="*/ 27 w 72"/>
              <a:gd name="T55" fmla="*/ 35 h 57"/>
              <a:gd name="T56" fmla="*/ 36 w 72"/>
              <a:gd name="T57" fmla="*/ 26 h 57"/>
              <a:gd name="T58" fmla="*/ 45 w 72"/>
              <a:gd name="T59" fmla="*/ 35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72" h="57">
                <a:moveTo>
                  <a:pt x="50" y="35"/>
                </a:moveTo>
                <a:cubicBezTo>
                  <a:pt x="50" y="27"/>
                  <a:pt x="43" y="21"/>
                  <a:pt x="36" y="21"/>
                </a:cubicBezTo>
                <a:cubicBezTo>
                  <a:pt x="28" y="21"/>
                  <a:pt x="22" y="27"/>
                  <a:pt x="22" y="35"/>
                </a:cubicBezTo>
                <a:cubicBezTo>
                  <a:pt x="22" y="43"/>
                  <a:pt x="28" y="49"/>
                  <a:pt x="36" y="49"/>
                </a:cubicBezTo>
                <a:cubicBezTo>
                  <a:pt x="43" y="49"/>
                  <a:pt x="50" y="43"/>
                  <a:pt x="50" y="35"/>
                </a:cubicBezTo>
                <a:moveTo>
                  <a:pt x="15" y="20"/>
                </a:moveTo>
                <a:cubicBezTo>
                  <a:pt x="15" y="18"/>
                  <a:pt x="13" y="17"/>
                  <a:pt x="12" y="17"/>
                </a:cubicBezTo>
                <a:cubicBezTo>
                  <a:pt x="10" y="17"/>
                  <a:pt x="8" y="18"/>
                  <a:pt x="8" y="20"/>
                </a:cubicBezTo>
                <a:cubicBezTo>
                  <a:pt x="8" y="22"/>
                  <a:pt x="10" y="23"/>
                  <a:pt x="12" y="23"/>
                </a:cubicBezTo>
                <a:cubicBezTo>
                  <a:pt x="13" y="23"/>
                  <a:pt x="15" y="22"/>
                  <a:pt x="15" y="20"/>
                </a:cubicBezTo>
                <a:moveTo>
                  <a:pt x="72" y="18"/>
                </a:moveTo>
                <a:cubicBezTo>
                  <a:pt x="72" y="49"/>
                  <a:pt x="72" y="49"/>
                  <a:pt x="72" y="49"/>
                </a:cubicBezTo>
                <a:cubicBezTo>
                  <a:pt x="72" y="53"/>
                  <a:pt x="68" y="57"/>
                  <a:pt x="63" y="57"/>
                </a:cubicBezTo>
                <a:cubicBezTo>
                  <a:pt x="8" y="57"/>
                  <a:pt x="8" y="57"/>
                  <a:pt x="8" y="57"/>
                </a:cubicBezTo>
                <a:cubicBezTo>
                  <a:pt x="4" y="57"/>
                  <a:pt x="0" y="53"/>
                  <a:pt x="0" y="49"/>
                </a:cubicBezTo>
                <a:cubicBezTo>
                  <a:pt x="0" y="18"/>
                  <a:pt x="0" y="18"/>
                  <a:pt x="0" y="18"/>
                </a:cubicBezTo>
                <a:cubicBezTo>
                  <a:pt x="0" y="13"/>
                  <a:pt x="4" y="9"/>
                  <a:pt x="8" y="9"/>
                </a:cubicBezTo>
                <a:cubicBezTo>
                  <a:pt x="21" y="9"/>
                  <a:pt x="21" y="9"/>
                  <a:pt x="21" y="9"/>
                </a:cubicBezTo>
                <a:cubicBezTo>
                  <a:pt x="23" y="5"/>
                  <a:pt x="23" y="5"/>
                  <a:pt x="23" y="5"/>
                </a:cubicBezTo>
                <a:cubicBezTo>
                  <a:pt x="24" y="2"/>
                  <a:pt x="27" y="0"/>
                  <a:pt x="30" y="0"/>
                </a:cubicBezTo>
                <a:cubicBezTo>
                  <a:pt x="42" y="0"/>
                  <a:pt x="42" y="0"/>
                  <a:pt x="42" y="0"/>
                </a:cubicBezTo>
                <a:cubicBezTo>
                  <a:pt x="45" y="0"/>
                  <a:pt x="48" y="2"/>
                  <a:pt x="49" y="5"/>
                </a:cubicBezTo>
                <a:cubicBezTo>
                  <a:pt x="50" y="9"/>
                  <a:pt x="50" y="9"/>
                  <a:pt x="50" y="9"/>
                </a:cubicBezTo>
                <a:cubicBezTo>
                  <a:pt x="63" y="9"/>
                  <a:pt x="63" y="9"/>
                  <a:pt x="63" y="9"/>
                </a:cubicBezTo>
                <a:cubicBezTo>
                  <a:pt x="68" y="9"/>
                  <a:pt x="72" y="13"/>
                  <a:pt x="72" y="18"/>
                </a:cubicBezTo>
                <a:moveTo>
                  <a:pt x="45" y="35"/>
                </a:moveTo>
                <a:cubicBezTo>
                  <a:pt x="45" y="40"/>
                  <a:pt x="41" y="44"/>
                  <a:pt x="36" y="44"/>
                </a:cubicBezTo>
                <a:cubicBezTo>
                  <a:pt x="31" y="44"/>
                  <a:pt x="27" y="40"/>
                  <a:pt x="27" y="35"/>
                </a:cubicBezTo>
                <a:cubicBezTo>
                  <a:pt x="27" y="30"/>
                  <a:pt x="31" y="26"/>
                  <a:pt x="36" y="26"/>
                </a:cubicBezTo>
                <a:cubicBezTo>
                  <a:pt x="41" y="26"/>
                  <a:pt x="45" y="30"/>
                  <a:pt x="45" y="35"/>
                </a:cubicBezTo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43" name="Freeform 117"/>
          <p:cNvSpPr>
            <a:spLocks noEditPoints="1"/>
          </p:cNvSpPr>
          <p:nvPr/>
        </p:nvSpPr>
        <p:spPr bwMode="black">
          <a:xfrm>
            <a:off x="3256339" y="3926941"/>
            <a:ext cx="262783" cy="309294"/>
          </a:xfrm>
          <a:custGeom>
            <a:avLst/>
            <a:gdLst>
              <a:gd name="T0" fmla="*/ 55 w 68"/>
              <a:gd name="T1" fmla="*/ 49 h 80"/>
              <a:gd name="T2" fmla="*/ 66 w 68"/>
              <a:gd name="T3" fmla="*/ 21 h 80"/>
              <a:gd name="T4" fmla="*/ 36 w 68"/>
              <a:gd name="T5" fmla="*/ 1 h 80"/>
              <a:gd name="T6" fmla="*/ 1 w 68"/>
              <a:gd name="T7" fmla="*/ 22 h 80"/>
              <a:gd name="T8" fmla="*/ 12 w 68"/>
              <a:gd name="T9" fmla="*/ 31 h 80"/>
              <a:gd name="T10" fmla="*/ 1 w 68"/>
              <a:gd name="T11" fmla="*/ 59 h 80"/>
              <a:gd name="T12" fmla="*/ 32 w 68"/>
              <a:gd name="T13" fmla="*/ 79 h 80"/>
              <a:gd name="T14" fmla="*/ 67 w 68"/>
              <a:gd name="T15" fmla="*/ 58 h 80"/>
              <a:gd name="T16" fmla="*/ 9 w 68"/>
              <a:gd name="T17" fmla="*/ 25 h 80"/>
              <a:gd name="T18" fmla="*/ 26 w 68"/>
              <a:gd name="T19" fmla="*/ 9 h 80"/>
              <a:gd name="T20" fmla="*/ 19 w 68"/>
              <a:gd name="T21" fmla="*/ 26 h 80"/>
              <a:gd name="T22" fmla="*/ 9 w 68"/>
              <a:gd name="T23" fmla="*/ 25 h 80"/>
              <a:gd name="T24" fmla="*/ 17 w 68"/>
              <a:gd name="T25" fmla="*/ 37 h 80"/>
              <a:gd name="T26" fmla="*/ 27 w 68"/>
              <a:gd name="T27" fmla="*/ 39 h 80"/>
              <a:gd name="T28" fmla="*/ 10 w 68"/>
              <a:gd name="T29" fmla="*/ 54 h 80"/>
              <a:gd name="T30" fmla="*/ 29 w 68"/>
              <a:gd name="T31" fmla="*/ 73 h 80"/>
              <a:gd name="T32" fmla="*/ 9 w 68"/>
              <a:gd name="T33" fmla="*/ 59 h 80"/>
              <a:gd name="T34" fmla="*/ 32 w 68"/>
              <a:gd name="T35" fmla="*/ 47 h 80"/>
              <a:gd name="T36" fmla="*/ 29 w 68"/>
              <a:gd name="T37" fmla="*/ 73 h 80"/>
              <a:gd name="T38" fmla="*/ 29 w 68"/>
              <a:gd name="T39" fmla="*/ 35 h 80"/>
              <a:gd name="T40" fmla="*/ 22 w 68"/>
              <a:gd name="T41" fmla="*/ 28 h 80"/>
              <a:gd name="T42" fmla="*/ 32 w 68"/>
              <a:gd name="T43" fmla="*/ 12 h 80"/>
              <a:gd name="T44" fmla="*/ 59 w 68"/>
              <a:gd name="T45" fmla="*/ 26 h 80"/>
              <a:gd name="T46" fmla="*/ 46 w 68"/>
              <a:gd name="T47" fmla="*/ 44 h 80"/>
              <a:gd name="T48" fmla="*/ 40 w 68"/>
              <a:gd name="T49" fmla="*/ 38 h 80"/>
              <a:gd name="T50" fmla="*/ 59 w 68"/>
              <a:gd name="T51" fmla="*/ 26 h 80"/>
              <a:gd name="T52" fmla="*/ 58 w 68"/>
              <a:gd name="T53" fmla="*/ 17 h 80"/>
              <a:gd name="T54" fmla="*/ 38 w 68"/>
              <a:gd name="T55" fmla="*/ 34 h 80"/>
              <a:gd name="T56" fmla="*/ 36 w 68"/>
              <a:gd name="T57" fmla="*/ 9 h 80"/>
              <a:gd name="T58" fmla="*/ 37 w 68"/>
              <a:gd name="T59" fmla="*/ 68 h 80"/>
              <a:gd name="T60" fmla="*/ 36 w 68"/>
              <a:gd name="T61" fmla="*/ 46 h 80"/>
              <a:gd name="T62" fmla="*/ 44 w 68"/>
              <a:gd name="T63" fmla="*/ 47 h 80"/>
              <a:gd name="T64" fmla="*/ 37 w 68"/>
              <a:gd name="T65" fmla="*/ 68 h 80"/>
              <a:gd name="T66" fmla="*/ 42 w 68"/>
              <a:gd name="T67" fmla="*/ 71 h 80"/>
              <a:gd name="T68" fmla="*/ 49 w 68"/>
              <a:gd name="T69" fmla="*/ 54 h 80"/>
              <a:gd name="T70" fmla="*/ 59 w 68"/>
              <a:gd name="T71" fmla="*/ 55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68" h="80">
                <a:moveTo>
                  <a:pt x="66" y="55"/>
                </a:moveTo>
                <a:cubicBezTo>
                  <a:pt x="55" y="49"/>
                  <a:pt x="55" y="49"/>
                  <a:pt x="55" y="49"/>
                </a:cubicBezTo>
                <a:cubicBezTo>
                  <a:pt x="54" y="48"/>
                  <a:pt x="53" y="46"/>
                  <a:pt x="54" y="44"/>
                </a:cubicBezTo>
                <a:cubicBezTo>
                  <a:pt x="66" y="21"/>
                  <a:pt x="66" y="21"/>
                  <a:pt x="66" y="21"/>
                </a:cubicBezTo>
                <a:cubicBezTo>
                  <a:pt x="67" y="19"/>
                  <a:pt x="66" y="17"/>
                  <a:pt x="65" y="16"/>
                </a:cubicBezTo>
                <a:cubicBezTo>
                  <a:pt x="36" y="1"/>
                  <a:pt x="36" y="1"/>
                  <a:pt x="36" y="1"/>
                </a:cubicBezTo>
                <a:cubicBezTo>
                  <a:pt x="34" y="0"/>
                  <a:pt x="32" y="1"/>
                  <a:pt x="30" y="2"/>
                </a:cubicBezTo>
                <a:cubicBezTo>
                  <a:pt x="1" y="22"/>
                  <a:pt x="1" y="22"/>
                  <a:pt x="1" y="22"/>
                </a:cubicBezTo>
                <a:cubicBezTo>
                  <a:pt x="0" y="23"/>
                  <a:pt x="0" y="24"/>
                  <a:pt x="2" y="25"/>
                </a:cubicBezTo>
                <a:cubicBezTo>
                  <a:pt x="12" y="31"/>
                  <a:pt x="12" y="31"/>
                  <a:pt x="12" y="31"/>
                </a:cubicBezTo>
                <a:cubicBezTo>
                  <a:pt x="14" y="32"/>
                  <a:pt x="15" y="34"/>
                  <a:pt x="14" y="35"/>
                </a:cubicBezTo>
                <a:cubicBezTo>
                  <a:pt x="1" y="59"/>
                  <a:pt x="1" y="59"/>
                  <a:pt x="1" y="59"/>
                </a:cubicBezTo>
                <a:cubicBezTo>
                  <a:pt x="1" y="61"/>
                  <a:pt x="1" y="63"/>
                  <a:pt x="3" y="63"/>
                </a:cubicBezTo>
                <a:cubicBezTo>
                  <a:pt x="32" y="79"/>
                  <a:pt x="32" y="79"/>
                  <a:pt x="32" y="79"/>
                </a:cubicBezTo>
                <a:cubicBezTo>
                  <a:pt x="34" y="80"/>
                  <a:pt x="36" y="79"/>
                  <a:pt x="38" y="78"/>
                </a:cubicBezTo>
                <a:cubicBezTo>
                  <a:pt x="67" y="58"/>
                  <a:pt x="67" y="58"/>
                  <a:pt x="67" y="58"/>
                </a:cubicBezTo>
                <a:cubicBezTo>
                  <a:pt x="68" y="57"/>
                  <a:pt x="68" y="55"/>
                  <a:pt x="66" y="55"/>
                </a:cubicBezTo>
                <a:close/>
                <a:moveTo>
                  <a:pt x="9" y="25"/>
                </a:moveTo>
                <a:cubicBezTo>
                  <a:pt x="7" y="24"/>
                  <a:pt x="7" y="22"/>
                  <a:pt x="9" y="21"/>
                </a:cubicBezTo>
                <a:cubicBezTo>
                  <a:pt x="26" y="9"/>
                  <a:pt x="26" y="9"/>
                  <a:pt x="26" y="9"/>
                </a:cubicBezTo>
                <a:cubicBezTo>
                  <a:pt x="27" y="8"/>
                  <a:pt x="28" y="9"/>
                  <a:pt x="27" y="10"/>
                </a:cubicBezTo>
                <a:cubicBezTo>
                  <a:pt x="19" y="26"/>
                  <a:pt x="19" y="26"/>
                  <a:pt x="19" y="26"/>
                </a:cubicBezTo>
                <a:cubicBezTo>
                  <a:pt x="18" y="28"/>
                  <a:pt x="16" y="28"/>
                  <a:pt x="14" y="27"/>
                </a:cubicBezTo>
                <a:lnTo>
                  <a:pt x="9" y="25"/>
                </a:lnTo>
                <a:close/>
                <a:moveTo>
                  <a:pt x="9" y="53"/>
                </a:moveTo>
                <a:cubicBezTo>
                  <a:pt x="17" y="37"/>
                  <a:pt x="17" y="37"/>
                  <a:pt x="17" y="37"/>
                </a:cubicBezTo>
                <a:cubicBezTo>
                  <a:pt x="18" y="35"/>
                  <a:pt x="20" y="35"/>
                  <a:pt x="22" y="36"/>
                </a:cubicBezTo>
                <a:cubicBezTo>
                  <a:pt x="27" y="39"/>
                  <a:pt x="27" y="39"/>
                  <a:pt x="27" y="39"/>
                </a:cubicBezTo>
                <a:cubicBezTo>
                  <a:pt x="29" y="39"/>
                  <a:pt x="29" y="41"/>
                  <a:pt x="27" y="42"/>
                </a:cubicBezTo>
                <a:cubicBezTo>
                  <a:pt x="10" y="54"/>
                  <a:pt x="10" y="54"/>
                  <a:pt x="10" y="54"/>
                </a:cubicBezTo>
                <a:cubicBezTo>
                  <a:pt x="8" y="55"/>
                  <a:pt x="8" y="55"/>
                  <a:pt x="9" y="53"/>
                </a:cubicBezTo>
                <a:close/>
                <a:moveTo>
                  <a:pt x="29" y="73"/>
                </a:moveTo>
                <a:cubicBezTo>
                  <a:pt x="10" y="63"/>
                  <a:pt x="10" y="63"/>
                  <a:pt x="10" y="63"/>
                </a:cubicBezTo>
                <a:cubicBezTo>
                  <a:pt x="8" y="62"/>
                  <a:pt x="8" y="60"/>
                  <a:pt x="9" y="59"/>
                </a:cubicBezTo>
                <a:cubicBezTo>
                  <a:pt x="29" y="46"/>
                  <a:pt x="29" y="46"/>
                  <a:pt x="29" y="46"/>
                </a:cubicBezTo>
                <a:cubicBezTo>
                  <a:pt x="31" y="45"/>
                  <a:pt x="32" y="45"/>
                  <a:pt x="32" y="47"/>
                </a:cubicBezTo>
                <a:cubicBezTo>
                  <a:pt x="32" y="71"/>
                  <a:pt x="32" y="71"/>
                  <a:pt x="32" y="71"/>
                </a:cubicBezTo>
                <a:cubicBezTo>
                  <a:pt x="32" y="73"/>
                  <a:pt x="30" y="74"/>
                  <a:pt x="29" y="73"/>
                </a:cubicBezTo>
                <a:close/>
                <a:moveTo>
                  <a:pt x="32" y="33"/>
                </a:moveTo>
                <a:cubicBezTo>
                  <a:pt x="32" y="35"/>
                  <a:pt x="31" y="36"/>
                  <a:pt x="29" y="35"/>
                </a:cubicBezTo>
                <a:cubicBezTo>
                  <a:pt x="23" y="32"/>
                  <a:pt x="23" y="32"/>
                  <a:pt x="23" y="32"/>
                </a:cubicBezTo>
                <a:cubicBezTo>
                  <a:pt x="22" y="31"/>
                  <a:pt x="21" y="29"/>
                  <a:pt x="22" y="28"/>
                </a:cubicBezTo>
                <a:cubicBezTo>
                  <a:pt x="30" y="12"/>
                  <a:pt x="30" y="12"/>
                  <a:pt x="30" y="12"/>
                </a:cubicBezTo>
                <a:cubicBezTo>
                  <a:pt x="31" y="10"/>
                  <a:pt x="32" y="10"/>
                  <a:pt x="32" y="12"/>
                </a:cubicBezTo>
                <a:lnTo>
                  <a:pt x="32" y="33"/>
                </a:lnTo>
                <a:close/>
                <a:moveTo>
                  <a:pt x="59" y="26"/>
                </a:moveTo>
                <a:cubicBezTo>
                  <a:pt x="50" y="43"/>
                  <a:pt x="50" y="43"/>
                  <a:pt x="50" y="43"/>
                </a:cubicBezTo>
                <a:cubicBezTo>
                  <a:pt x="50" y="44"/>
                  <a:pt x="48" y="45"/>
                  <a:pt x="46" y="44"/>
                </a:cubicBezTo>
                <a:cubicBezTo>
                  <a:pt x="40" y="41"/>
                  <a:pt x="40" y="41"/>
                  <a:pt x="40" y="41"/>
                </a:cubicBezTo>
                <a:cubicBezTo>
                  <a:pt x="39" y="40"/>
                  <a:pt x="39" y="39"/>
                  <a:pt x="40" y="38"/>
                </a:cubicBezTo>
                <a:cubicBezTo>
                  <a:pt x="58" y="25"/>
                  <a:pt x="58" y="25"/>
                  <a:pt x="58" y="25"/>
                </a:cubicBezTo>
                <a:cubicBezTo>
                  <a:pt x="59" y="24"/>
                  <a:pt x="60" y="25"/>
                  <a:pt x="59" y="26"/>
                </a:cubicBezTo>
                <a:close/>
                <a:moveTo>
                  <a:pt x="39" y="7"/>
                </a:moveTo>
                <a:cubicBezTo>
                  <a:pt x="58" y="17"/>
                  <a:pt x="58" y="17"/>
                  <a:pt x="58" y="17"/>
                </a:cubicBezTo>
                <a:cubicBezTo>
                  <a:pt x="59" y="18"/>
                  <a:pt x="59" y="20"/>
                  <a:pt x="58" y="21"/>
                </a:cubicBezTo>
                <a:cubicBezTo>
                  <a:pt x="38" y="34"/>
                  <a:pt x="38" y="34"/>
                  <a:pt x="38" y="34"/>
                </a:cubicBezTo>
                <a:cubicBezTo>
                  <a:pt x="37" y="35"/>
                  <a:pt x="36" y="35"/>
                  <a:pt x="36" y="33"/>
                </a:cubicBezTo>
                <a:cubicBezTo>
                  <a:pt x="36" y="9"/>
                  <a:pt x="36" y="9"/>
                  <a:pt x="36" y="9"/>
                </a:cubicBezTo>
                <a:cubicBezTo>
                  <a:pt x="36" y="7"/>
                  <a:pt x="37" y="6"/>
                  <a:pt x="39" y="7"/>
                </a:cubicBezTo>
                <a:close/>
                <a:moveTo>
                  <a:pt x="37" y="68"/>
                </a:moveTo>
                <a:cubicBezTo>
                  <a:pt x="36" y="70"/>
                  <a:pt x="36" y="70"/>
                  <a:pt x="36" y="68"/>
                </a:cubicBezTo>
                <a:cubicBezTo>
                  <a:pt x="36" y="46"/>
                  <a:pt x="36" y="46"/>
                  <a:pt x="36" y="46"/>
                </a:cubicBezTo>
                <a:cubicBezTo>
                  <a:pt x="36" y="44"/>
                  <a:pt x="37" y="44"/>
                  <a:pt x="39" y="44"/>
                </a:cubicBezTo>
                <a:cubicBezTo>
                  <a:pt x="44" y="47"/>
                  <a:pt x="44" y="47"/>
                  <a:pt x="44" y="47"/>
                </a:cubicBezTo>
                <a:cubicBezTo>
                  <a:pt x="46" y="48"/>
                  <a:pt x="46" y="50"/>
                  <a:pt x="46" y="52"/>
                </a:cubicBezTo>
                <a:lnTo>
                  <a:pt x="37" y="68"/>
                </a:lnTo>
                <a:close/>
                <a:moveTo>
                  <a:pt x="59" y="58"/>
                </a:moveTo>
                <a:cubicBezTo>
                  <a:pt x="42" y="71"/>
                  <a:pt x="42" y="71"/>
                  <a:pt x="42" y="71"/>
                </a:cubicBezTo>
                <a:cubicBezTo>
                  <a:pt x="40" y="72"/>
                  <a:pt x="40" y="71"/>
                  <a:pt x="40" y="70"/>
                </a:cubicBezTo>
                <a:cubicBezTo>
                  <a:pt x="49" y="54"/>
                  <a:pt x="49" y="54"/>
                  <a:pt x="49" y="54"/>
                </a:cubicBezTo>
                <a:cubicBezTo>
                  <a:pt x="50" y="52"/>
                  <a:pt x="52" y="51"/>
                  <a:pt x="53" y="52"/>
                </a:cubicBezTo>
                <a:cubicBezTo>
                  <a:pt x="59" y="55"/>
                  <a:pt x="59" y="55"/>
                  <a:pt x="59" y="55"/>
                </a:cubicBezTo>
                <a:cubicBezTo>
                  <a:pt x="61" y="56"/>
                  <a:pt x="61" y="57"/>
                  <a:pt x="59" y="5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44" name="Freeform 118"/>
          <p:cNvSpPr>
            <a:spLocks noEditPoints="1"/>
          </p:cNvSpPr>
          <p:nvPr/>
        </p:nvSpPr>
        <p:spPr bwMode="black">
          <a:xfrm>
            <a:off x="5922896" y="3974611"/>
            <a:ext cx="309295" cy="213949"/>
          </a:xfrm>
          <a:custGeom>
            <a:avLst/>
            <a:gdLst>
              <a:gd name="T0" fmla="*/ 40 w 80"/>
              <a:gd name="T1" fmla="*/ 0 h 56"/>
              <a:gd name="T2" fmla="*/ 0 w 80"/>
              <a:gd name="T3" fmla="*/ 28 h 56"/>
              <a:gd name="T4" fmla="*/ 40 w 80"/>
              <a:gd name="T5" fmla="*/ 56 h 56"/>
              <a:gd name="T6" fmla="*/ 80 w 80"/>
              <a:gd name="T7" fmla="*/ 28 h 56"/>
              <a:gd name="T8" fmla="*/ 40 w 80"/>
              <a:gd name="T9" fmla="*/ 0 h 56"/>
              <a:gd name="T10" fmla="*/ 40 w 80"/>
              <a:gd name="T11" fmla="*/ 48 h 56"/>
              <a:gd name="T12" fmla="*/ 20 w 80"/>
              <a:gd name="T13" fmla="*/ 28 h 56"/>
              <a:gd name="T14" fmla="*/ 40 w 80"/>
              <a:gd name="T15" fmla="*/ 8 h 56"/>
              <a:gd name="T16" fmla="*/ 60 w 80"/>
              <a:gd name="T17" fmla="*/ 28 h 56"/>
              <a:gd name="T18" fmla="*/ 40 w 80"/>
              <a:gd name="T19" fmla="*/ 48 h 56"/>
              <a:gd name="T20" fmla="*/ 52 w 80"/>
              <a:gd name="T21" fmla="*/ 28 h 56"/>
              <a:gd name="T22" fmla="*/ 40 w 80"/>
              <a:gd name="T23" fmla="*/ 40 h 56"/>
              <a:gd name="T24" fmla="*/ 28 w 80"/>
              <a:gd name="T25" fmla="*/ 28 h 56"/>
              <a:gd name="T26" fmla="*/ 40 w 80"/>
              <a:gd name="T27" fmla="*/ 16 h 56"/>
              <a:gd name="T28" fmla="*/ 52 w 80"/>
              <a:gd name="T29" fmla="*/ 28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80" h="56">
                <a:moveTo>
                  <a:pt x="40" y="0"/>
                </a:moveTo>
                <a:cubicBezTo>
                  <a:pt x="15" y="0"/>
                  <a:pt x="0" y="28"/>
                  <a:pt x="0" y="28"/>
                </a:cubicBezTo>
                <a:cubicBezTo>
                  <a:pt x="0" y="28"/>
                  <a:pt x="15" y="56"/>
                  <a:pt x="40" y="56"/>
                </a:cubicBezTo>
                <a:cubicBezTo>
                  <a:pt x="65" y="56"/>
                  <a:pt x="80" y="28"/>
                  <a:pt x="80" y="28"/>
                </a:cubicBezTo>
                <a:cubicBezTo>
                  <a:pt x="80" y="28"/>
                  <a:pt x="65" y="0"/>
                  <a:pt x="40" y="0"/>
                </a:cubicBezTo>
                <a:close/>
                <a:moveTo>
                  <a:pt x="40" y="48"/>
                </a:moveTo>
                <a:cubicBezTo>
                  <a:pt x="29" y="48"/>
                  <a:pt x="20" y="39"/>
                  <a:pt x="20" y="28"/>
                </a:cubicBezTo>
                <a:cubicBezTo>
                  <a:pt x="20" y="17"/>
                  <a:pt x="29" y="8"/>
                  <a:pt x="40" y="8"/>
                </a:cubicBezTo>
                <a:cubicBezTo>
                  <a:pt x="51" y="8"/>
                  <a:pt x="60" y="17"/>
                  <a:pt x="60" y="28"/>
                </a:cubicBezTo>
                <a:cubicBezTo>
                  <a:pt x="60" y="39"/>
                  <a:pt x="51" y="48"/>
                  <a:pt x="40" y="48"/>
                </a:cubicBezTo>
                <a:close/>
                <a:moveTo>
                  <a:pt x="52" y="28"/>
                </a:moveTo>
                <a:cubicBezTo>
                  <a:pt x="52" y="35"/>
                  <a:pt x="46" y="40"/>
                  <a:pt x="40" y="40"/>
                </a:cubicBezTo>
                <a:cubicBezTo>
                  <a:pt x="33" y="40"/>
                  <a:pt x="28" y="35"/>
                  <a:pt x="28" y="28"/>
                </a:cubicBezTo>
                <a:cubicBezTo>
                  <a:pt x="28" y="22"/>
                  <a:pt x="33" y="16"/>
                  <a:pt x="40" y="16"/>
                </a:cubicBezTo>
                <a:cubicBezTo>
                  <a:pt x="46" y="16"/>
                  <a:pt x="52" y="22"/>
                  <a:pt x="52" y="28"/>
                </a:cubicBezTo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45" name="Freeform 119"/>
          <p:cNvSpPr>
            <a:spLocks/>
          </p:cNvSpPr>
          <p:nvPr/>
        </p:nvSpPr>
        <p:spPr bwMode="black">
          <a:xfrm>
            <a:off x="7299201" y="3935074"/>
            <a:ext cx="246508" cy="293015"/>
          </a:xfrm>
          <a:custGeom>
            <a:avLst/>
            <a:gdLst>
              <a:gd name="T0" fmla="*/ 35 w 64"/>
              <a:gd name="T1" fmla="*/ 44 h 76"/>
              <a:gd name="T2" fmla="*/ 40 w 64"/>
              <a:gd name="T3" fmla="*/ 0 h 76"/>
              <a:gd name="T4" fmla="*/ 22 w 64"/>
              <a:gd name="T5" fmla="*/ 6 h 76"/>
              <a:gd name="T6" fmla="*/ 10 w 64"/>
              <a:gd name="T7" fmla="*/ 54 h 76"/>
              <a:gd name="T8" fmla="*/ 59 w 64"/>
              <a:gd name="T9" fmla="*/ 65 h 76"/>
              <a:gd name="T10" fmla="*/ 64 w 64"/>
              <a:gd name="T11" fmla="*/ 61 h 76"/>
              <a:gd name="T12" fmla="*/ 35 w 64"/>
              <a:gd name="T13" fmla="*/ 44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4" h="76">
                <a:moveTo>
                  <a:pt x="35" y="44"/>
                </a:moveTo>
                <a:cubicBezTo>
                  <a:pt x="26" y="30"/>
                  <a:pt x="29" y="12"/>
                  <a:pt x="40" y="0"/>
                </a:cubicBezTo>
                <a:cubicBezTo>
                  <a:pt x="34" y="0"/>
                  <a:pt x="27" y="2"/>
                  <a:pt x="22" y="6"/>
                </a:cubicBezTo>
                <a:cubicBezTo>
                  <a:pt x="5" y="16"/>
                  <a:pt x="0" y="37"/>
                  <a:pt x="10" y="54"/>
                </a:cubicBezTo>
                <a:cubicBezTo>
                  <a:pt x="21" y="71"/>
                  <a:pt x="42" y="76"/>
                  <a:pt x="59" y="65"/>
                </a:cubicBezTo>
                <a:cubicBezTo>
                  <a:pt x="61" y="64"/>
                  <a:pt x="63" y="63"/>
                  <a:pt x="64" y="61"/>
                </a:cubicBezTo>
                <a:cubicBezTo>
                  <a:pt x="53" y="61"/>
                  <a:pt x="42" y="55"/>
                  <a:pt x="35" y="44"/>
                </a:cubicBezTo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46" name="Freeform 120"/>
          <p:cNvSpPr>
            <a:spLocks noEditPoints="1"/>
          </p:cNvSpPr>
          <p:nvPr/>
        </p:nvSpPr>
        <p:spPr bwMode="black">
          <a:xfrm>
            <a:off x="7921650" y="3910663"/>
            <a:ext cx="346502" cy="341850"/>
          </a:xfrm>
          <a:custGeom>
            <a:avLst/>
            <a:gdLst>
              <a:gd name="T0" fmla="*/ 40 w 90"/>
              <a:gd name="T1" fmla="*/ 16 h 89"/>
              <a:gd name="T2" fmla="*/ 40 w 90"/>
              <a:gd name="T3" fmla="*/ 5 h 89"/>
              <a:gd name="T4" fmla="*/ 45 w 90"/>
              <a:gd name="T5" fmla="*/ 0 h 89"/>
              <a:gd name="T6" fmla="*/ 50 w 90"/>
              <a:gd name="T7" fmla="*/ 5 h 89"/>
              <a:gd name="T8" fmla="*/ 50 w 90"/>
              <a:gd name="T9" fmla="*/ 16 h 89"/>
              <a:gd name="T10" fmla="*/ 45 w 90"/>
              <a:gd name="T11" fmla="*/ 16 h 89"/>
              <a:gd name="T12" fmla="*/ 40 w 90"/>
              <a:gd name="T13" fmla="*/ 16 h 89"/>
              <a:gd name="T14" fmla="*/ 16 w 90"/>
              <a:gd name="T15" fmla="*/ 45 h 89"/>
              <a:gd name="T16" fmla="*/ 16 w 90"/>
              <a:gd name="T17" fmla="*/ 40 h 89"/>
              <a:gd name="T18" fmla="*/ 5 w 90"/>
              <a:gd name="T19" fmla="*/ 40 h 89"/>
              <a:gd name="T20" fmla="*/ 0 w 90"/>
              <a:gd name="T21" fmla="*/ 45 h 89"/>
              <a:gd name="T22" fmla="*/ 5 w 90"/>
              <a:gd name="T23" fmla="*/ 49 h 89"/>
              <a:gd name="T24" fmla="*/ 16 w 90"/>
              <a:gd name="T25" fmla="*/ 49 h 89"/>
              <a:gd name="T26" fmla="*/ 16 w 90"/>
              <a:gd name="T27" fmla="*/ 45 h 89"/>
              <a:gd name="T28" fmla="*/ 21 w 90"/>
              <a:gd name="T29" fmla="*/ 28 h 89"/>
              <a:gd name="T30" fmla="*/ 28 w 90"/>
              <a:gd name="T31" fmla="*/ 21 h 89"/>
              <a:gd name="T32" fmla="*/ 20 w 90"/>
              <a:gd name="T33" fmla="*/ 13 h 89"/>
              <a:gd name="T34" fmla="*/ 13 w 90"/>
              <a:gd name="T35" fmla="*/ 13 h 89"/>
              <a:gd name="T36" fmla="*/ 13 w 90"/>
              <a:gd name="T37" fmla="*/ 20 h 89"/>
              <a:gd name="T38" fmla="*/ 21 w 90"/>
              <a:gd name="T39" fmla="*/ 28 h 89"/>
              <a:gd name="T40" fmla="*/ 68 w 90"/>
              <a:gd name="T41" fmla="*/ 28 h 89"/>
              <a:gd name="T42" fmla="*/ 76 w 90"/>
              <a:gd name="T43" fmla="*/ 20 h 89"/>
              <a:gd name="T44" fmla="*/ 76 w 90"/>
              <a:gd name="T45" fmla="*/ 13 h 89"/>
              <a:gd name="T46" fmla="*/ 70 w 90"/>
              <a:gd name="T47" fmla="*/ 13 h 89"/>
              <a:gd name="T48" fmla="*/ 61 w 90"/>
              <a:gd name="T49" fmla="*/ 21 h 89"/>
              <a:gd name="T50" fmla="*/ 68 w 90"/>
              <a:gd name="T51" fmla="*/ 28 h 89"/>
              <a:gd name="T52" fmla="*/ 85 w 90"/>
              <a:gd name="T53" fmla="*/ 40 h 89"/>
              <a:gd name="T54" fmla="*/ 73 w 90"/>
              <a:gd name="T55" fmla="*/ 40 h 89"/>
              <a:gd name="T56" fmla="*/ 74 w 90"/>
              <a:gd name="T57" fmla="*/ 45 h 89"/>
              <a:gd name="T58" fmla="*/ 73 w 90"/>
              <a:gd name="T59" fmla="*/ 49 h 89"/>
              <a:gd name="T60" fmla="*/ 85 w 90"/>
              <a:gd name="T61" fmla="*/ 49 h 89"/>
              <a:gd name="T62" fmla="*/ 90 w 90"/>
              <a:gd name="T63" fmla="*/ 45 h 89"/>
              <a:gd name="T64" fmla="*/ 85 w 90"/>
              <a:gd name="T65" fmla="*/ 40 h 89"/>
              <a:gd name="T66" fmla="*/ 68 w 90"/>
              <a:gd name="T67" fmla="*/ 61 h 89"/>
              <a:gd name="T68" fmla="*/ 61 w 90"/>
              <a:gd name="T69" fmla="*/ 68 h 89"/>
              <a:gd name="T70" fmla="*/ 70 w 90"/>
              <a:gd name="T71" fmla="*/ 76 h 89"/>
              <a:gd name="T72" fmla="*/ 73 w 90"/>
              <a:gd name="T73" fmla="*/ 78 h 89"/>
              <a:gd name="T74" fmla="*/ 76 w 90"/>
              <a:gd name="T75" fmla="*/ 76 h 89"/>
              <a:gd name="T76" fmla="*/ 76 w 90"/>
              <a:gd name="T77" fmla="*/ 69 h 89"/>
              <a:gd name="T78" fmla="*/ 68 w 90"/>
              <a:gd name="T79" fmla="*/ 61 h 89"/>
              <a:gd name="T80" fmla="*/ 45 w 90"/>
              <a:gd name="T81" fmla="*/ 73 h 89"/>
              <a:gd name="T82" fmla="*/ 40 w 90"/>
              <a:gd name="T83" fmla="*/ 73 h 89"/>
              <a:gd name="T84" fmla="*/ 40 w 90"/>
              <a:gd name="T85" fmla="*/ 85 h 89"/>
              <a:gd name="T86" fmla="*/ 45 w 90"/>
              <a:gd name="T87" fmla="*/ 89 h 89"/>
              <a:gd name="T88" fmla="*/ 50 w 90"/>
              <a:gd name="T89" fmla="*/ 85 h 89"/>
              <a:gd name="T90" fmla="*/ 50 w 90"/>
              <a:gd name="T91" fmla="*/ 73 h 89"/>
              <a:gd name="T92" fmla="*/ 45 w 90"/>
              <a:gd name="T93" fmla="*/ 73 h 89"/>
              <a:gd name="T94" fmla="*/ 21 w 90"/>
              <a:gd name="T95" fmla="*/ 61 h 89"/>
              <a:gd name="T96" fmla="*/ 13 w 90"/>
              <a:gd name="T97" fmla="*/ 69 h 89"/>
              <a:gd name="T98" fmla="*/ 13 w 90"/>
              <a:gd name="T99" fmla="*/ 76 h 89"/>
              <a:gd name="T100" fmla="*/ 16 w 90"/>
              <a:gd name="T101" fmla="*/ 78 h 89"/>
              <a:gd name="T102" fmla="*/ 20 w 90"/>
              <a:gd name="T103" fmla="*/ 76 h 89"/>
              <a:gd name="T104" fmla="*/ 28 w 90"/>
              <a:gd name="T105" fmla="*/ 68 h 89"/>
              <a:gd name="T106" fmla="*/ 21 w 90"/>
              <a:gd name="T107" fmla="*/ 61 h 89"/>
              <a:gd name="T108" fmla="*/ 45 w 90"/>
              <a:gd name="T109" fmla="*/ 23 h 89"/>
              <a:gd name="T110" fmla="*/ 23 w 90"/>
              <a:gd name="T111" fmla="*/ 45 h 89"/>
              <a:gd name="T112" fmla="*/ 45 w 90"/>
              <a:gd name="T113" fmla="*/ 66 h 89"/>
              <a:gd name="T114" fmla="*/ 66 w 90"/>
              <a:gd name="T115" fmla="*/ 45 h 89"/>
              <a:gd name="T116" fmla="*/ 45 w 90"/>
              <a:gd name="T117" fmla="*/ 23 h 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90" h="89">
                <a:moveTo>
                  <a:pt x="40" y="16"/>
                </a:moveTo>
                <a:cubicBezTo>
                  <a:pt x="40" y="5"/>
                  <a:pt x="40" y="5"/>
                  <a:pt x="40" y="5"/>
                </a:cubicBezTo>
                <a:cubicBezTo>
                  <a:pt x="40" y="2"/>
                  <a:pt x="42" y="0"/>
                  <a:pt x="45" y="0"/>
                </a:cubicBezTo>
                <a:cubicBezTo>
                  <a:pt x="47" y="0"/>
                  <a:pt x="50" y="2"/>
                  <a:pt x="50" y="5"/>
                </a:cubicBezTo>
                <a:cubicBezTo>
                  <a:pt x="50" y="16"/>
                  <a:pt x="50" y="16"/>
                  <a:pt x="50" y="16"/>
                </a:cubicBezTo>
                <a:cubicBezTo>
                  <a:pt x="48" y="16"/>
                  <a:pt x="46" y="16"/>
                  <a:pt x="45" y="16"/>
                </a:cubicBezTo>
                <a:cubicBezTo>
                  <a:pt x="43" y="16"/>
                  <a:pt x="42" y="16"/>
                  <a:pt x="40" y="16"/>
                </a:cubicBezTo>
                <a:close/>
                <a:moveTo>
                  <a:pt x="16" y="45"/>
                </a:moveTo>
                <a:cubicBezTo>
                  <a:pt x="16" y="43"/>
                  <a:pt x="16" y="41"/>
                  <a:pt x="16" y="40"/>
                </a:cubicBezTo>
                <a:cubicBezTo>
                  <a:pt x="5" y="40"/>
                  <a:pt x="5" y="40"/>
                  <a:pt x="5" y="40"/>
                </a:cubicBezTo>
                <a:cubicBezTo>
                  <a:pt x="2" y="40"/>
                  <a:pt x="0" y="42"/>
                  <a:pt x="0" y="45"/>
                </a:cubicBezTo>
                <a:cubicBezTo>
                  <a:pt x="0" y="47"/>
                  <a:pt x="2" y="49"/>
                  <a:pt x="5" y="49"/>
                </a:cubicBezTo>
                <a:cubicBezTo>
                  <a:pt x="16" y="49"/>
                  <a:pt x="16" y="49"/>
                  <a:pt x="16" y="49"/>
                </a:cubicBezTo>
                <a:cubicBezTo>
                  <a:pt x="16" y="48"/>
                  <a:pt x="16" y="46"/>
                  <a:pt x="16" y="45"/>
                </a:cubicBezTo>
                <a:close/>
                <a:moveTo>
                  <a:pt x="21" y="28"/>
                </a:moveTo>
                <a:cubicBezTo>
                  <a:pt x="23" y="25"/>
                  <a:pt x="25" y="23"/>
                  <a:pt x="28" y="21"/>
                </a:cubicBezTo>
                <a:cubicBezTo>
                  <a:pt x="20" y="13"/>
                  <a:pt x="20" y="13"/>
                  <a:pt x="20" y="13"/>
                </a:cubicBezTo>
                <a:cubicBezTo>
                  <a:pt x="18" y="11"/>
                  <a:pt x="15" y="11"/>
                  <a:pt x="13" y="13"/>
                </a:cubicBezTo>
                <a:cubicBezTo>
                  <a:pt x="11" y="15"/>
                  <a:pt x="11" y="18"/>
                  <a:pt x="13" y="20"/>
                </a:cubicBezTo>
                <a:lnTo>
                  <a:pt x="21" y="28"/>
                </a:lnTo>
                <a:close/>
                <a:moveTo>
                  <a:pt x="68" y="28"/>
                </a:moveTo>
                <a:cubicBezTo>
                  <a:pt x="76" y="20"/>
                  <a:pt x="76" y="20"/>
                  <a:pt x="76" y="20"/>
                </a:cubicBezTo>
                <a:cubicBezTo>
                  <a:pt x="78" y="18"/>
                  <a:pt x="78" y="15"/>
                  <a:pt x="76" y="13"/>
                </a:cubicBezTo>
                <a:cubicBezTo>
                  <a:pt x="75" y="11"/>
                  <a:pt x="72" y="11"/>
                  <a:pt x="70" y="13"/>
                </a:cubicBezTo>
                <a:cubicBezTo>
                  <a:pt x="61" y="21"/>
                  <a:pt x="61" y="21"/>
                  <a:pt x="61" y="21"/>
                </a:cubicBezTo>
                <a:cubicBezTo>
                  <a:pt x="64" y="23"/>
                  <a:pt x="66" y="25"/>
                  <a:pt x="68" y="28"/>
                </a:cubicBezTo>
                <a:close/>
                <a:moveTo>
                  <a:pt x="85" y="40"/>
                </a:moveTo>
                <a:cubicBezTo>
                  <a:pt x="73" y="40"/>
                  <a:pt x="73" y="40"/>
                  <a:pt x="73" y="40"/>
                </a:cubicBezTo>
                <a:cubicBezTo>
                  <a:pt x="73" y="41"/>
                  <a:pt x="74" y="43"/>
                  <a:pt x="74" y="45"/>
                </a:cubicBezTo>
                <a:cubicBezTo>
                  <a:pt x="74" y="46"/>
                  <a:pt x="73" y="48"/>
                  <a:pt x="73" y="49"/>
                </a:cubicBezTo>
                <a:cubicBezTo>
                  <a:pt x="85" y="49"/>
                  <a:pt x="85" y="49"/>
                  <a:pt x="85" y="49"/>
                </a:cubicBezTo>
                <a:cubicBezTo>
                  <a:pt x="87" y="49"/>
                  <a:pt x="90" y="47"/>
                  <a:pt x="90" y="45"/>
                </a:cubicBezTo>
                <a:cubicBezTo>
                  <a:pt x="90" y="42"/>
                  <a:pt x="87" y="40"/>
                  <a:pt x="85" y="40"/>
                </a:cubicBezTo>
                <a:close/>
                <a:moveTo>
                  <a:pt x="68" y="61"/>
                </a:moveTo>
                <a:cubicBezTo>
                  <a:pt x="66" y="64"/>
                  <a:pt x="64" y="66"/>
                  <a:pt x="61" y="68"/>
                </a:cubicBezTo>
                <a:cubicBezTo>
                  <a:pt x="70" y="76"/>
                  <a:pt x="70" y="76"/>
                  <a:pt x="70" y="76"/>
                </a:cubicBezTo>
                <a:cubicBezTo>
                  <a:pt x="71" y="77"/>
                  <a:pt x="72" y="78"/>
                  <a:pt x="73" y="78"/>
                </a:cubicBezTo>
                <a:cubicBezTo>
                  <a:pt x="74" y="78"/>
                  <a:pt x="75" y="77"/>
                  <a:pt x="76" y="76"/>
                </a:cubicBezTo>
                <a:cubicBezTo>
                  <a:pt x="78" y="74"/>
                  <a:pt x="78" y="71"/>
                  <a:pt x="76" y="69"/>
                </a:cubicBezTo>
                <a:lnTo>
                  <a:pt x="68" y="61"/>
                </a:lnTo>
                <a:close/>
                <a:moveTo>
                  <a:pt x="45" y="73"/>
                </a:moveTo>
                <a:cubicBezTo>
                  <a:pt x="43" y="73"/>
                  <a:pt x="42" y="73"/>
                  <a:pt x="40" y="73"/>
                </a:cubicBezTo>
                <a:cubicBezTo>
                  <a:pt x="40" y="85"/>
                  <a:pt x="40" y="85"/>
                  <a:pt x="40" y="85"/>
                </a:cubicBezTo>
                <a:cubicBezTo>
                  <a:pt x="40" y="87"/>
                  <a:pt x="42" y="89"/>
                  <a:pt x="45" y="89"/>
                </a:cubicBezTo>
                <a:cubicBezTo>
                  <a:pt x="47" y="89"/>
                  <a:pt x="50" y="87"/>
                  <a:pt x="50" y="85"/>
                </a:cubicBezTo>
                <a:cubicBezTo>
                  <a:pt x="50" y="73"/>
                  <a:pt x="50" y="73"/>
                  <a:pt x="50" y="73"/>
                </a:cubicBezTo>
                <a:cubicBezTo>
                  <a:pt x="48" y="73"/>
                  <a:pt x="46" y="73"/>
                  <a:pt x="45" y="73"/>
                </a:cubicBezTo>
                <a:close/>
                <a:moveTo>
                  <a:pt x="21" y="61"/>
                </a:moveTo>
                <a:cubicBezTo>
                  <a:pt x="13" y="69"/>
                  <a:pt x="13" y="69"/>
                  <a:pt x="13" y="69"/>
                </a:cubicBezTo>
                <a:cubicBezTo>
                  <a:pt x="11" y="71"/>
                  <a:pt x="11" y="74"/>
                  <a:pt x="13" y="76"/>
                </a:cubicBezTo>
                <a:cubicBezTo>
                  <a:pt x="14" y="77"/>
                  <a:pt x="15" y="78"/>
                  <a:pt x="16" y="78"/>
                </a:cubicBezTo>
                <a:cubicBezTo>
                  <a:pt x="18" y="78"/>
                  <a:pt x="19" y="77"/>
                  <a:pt x="20" y="76"/>
                </a:cubicBezTo>
                <a:cubicBezTo>
                  <a:pt x="28" y="68"/>
                  <a:pt x="28" y="68"/>
                  <a:pt x="28" y="68"/>
                </a:cubicBezTo>
                <a:cubicBezTo>
                  <a:pt x="25" y="66"/>
                  <a:pt x="23" y="64"/>
                  <a:pt x="21" y="61"/>
                </a:cubicBezTo>
                <a:close/>
                <a:moveTo>
                  <a:pt x="45" y="23"/>
                </a:moveTo>
                <a:cubicBezTo>
                  <a:pt x="33" y="23"/>
                  <a:pt x="23" y="33"/>
                  <a:pt x="23" y="45"/>
                </a:cubicBezTo>
                <a:cubicBezTo>
                  <a:pt x="23" y="57"/>
                  <a:pt x="33" y="66"/>
                  <a:pt x="45" y="66"/>
                </a:cubicBezTo>
                <a:cubicBezTo>
                  <a:pt x="57" y="66"/>
                  <a:pt x="66" y="57"/>
                  <a:pt x="66" y="45"/>
                </a:cubicBezTo>
                <a:cubicBezTo>
                  <a:pt x="66" y="33"/>
                  <a:pt x="57" y="23"/>
                  <a:pt x="45" y="2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47" name="Freeform 121"/>
          <p:cNvSpPr>
            <a:spLocks/>
          </p:cNvSpPr>
          <p:nvPr/>
        </p:nvSpPr>
        <p:spPr bwMode="black">
          <a:xfrm>
            <a:off x="5286489" y="4597293"/>
            <a:ext cx="237203" cy="318596"/>
          </a:xfrm>
          <a:custGeom>
            <a:avLst/>
            <a:gdLst>
              <a:gd name="T0" fmla="*/ 30 w 62"/>
              <a:gd name="T1" fmla="*/ 81 h 83"/>
              <a:gd name="T2" fmla="*/ 9 w 62"/>
              <a:gd name="T3" fmla="*/ 56 h 83"/>
              <a:gd name="T4" fmla="*/ 35 w 62"/>
              <a:gd name="T5" fmla="*/ 31 h 83"/>
              <a:gd name="T6" fmla="*/ 35 w 62"/>
              <a:gd name="T7" fmla="*/ 47 h 83"/>
              <a:gd name="T8" fmla="*/ 62 w 62"/>
              <a:gd name="T9" fmla="*/ 23 h 83"/>
              <a:gd name="T10" fmla="*/ 35 w 62"/>
              <a:gd name="T11" fmla="*/ 0 h 83"/>
              <a:gd name="T12" fmla="*/ 35 w 62"/>
              <a:gd name="T13" fmla="*/ 15 h 83"/>
              <a:gd name="T14" fmla="*/ 34 w 62"/>
              <a:gd name="T15" fmla="*/ 15 h 83"/>
              <a:gd name="T16" fmla="*/ 0 w 62"/>
              <a:gd name="T17" fmla="*/ 50 h 83"/>
              <a:gd name="T18" fmla="*/ 30 w 62"/>
              <a:gd name="T19" fmla="*/ 83 h 83"/>
              <a:gd name="T20" fmla="*/ 30 w 62"/>
              <a:gd name="T21" fmla="*/ 81 h 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62" h="83">
                <a:moveTo>
                  <a:pt x="30" y="81"/>
                </a:moveTo>
                <a:cubicBezTo>
                  <a:pt x="18" y="78"/>
                  <a:pt x="9" y="68"/>
                  <a:pt x="9" y="56"/>
                </a:cubicBezTo>
                <a:cubicBezTo>
                  <a:pt x="9" y="42"/>
                  <a:pt x="20" y="32"/>
                  <a:pt x="35" y="31"/>
                </a:cubicBezTo>
                <a:cubicBezTo>
                  <a:pt x="35" y="47"/>
                  <a:pt x="35" y="47"/>
                  <a:pt x="35" y="47"/>
                </a:cubicBezTo>
                <a:cubicBezTo>
                  <a:pt x="62" y="23"/>
                  <a:pt x="62" y="23"/>
                  <a:pt x="62" y="23"/>
                </a:cubicBezTo>
                <a:cubicBezTo>
                  <a:pt x="35" y="0"/>
                  <a:pt x="35" y="0"/>
                  <a:pt x="35" y="0"/>
                </a:cubicBezTo>
                <a:cubicBezTo>
                  <a:pt x="35" y="15"/>
                  <a:pt x="35" y="15"/>
                  <a:pt x="35" y="15"/>
                </a:cubicBezTo>
                <a:cubicBezTo>
                  <a:pt x="35" y="15"/>
                  <a:pt x="35" y="15"/>
                  <a:pt x="34" y="15"/>
                </a:cubicBezTo>
                <a:cubicBezTo>
                  <a:pt x="16" y="15"/>
                  <a:pt x="0" y="31"/>
                  <a:pt x="0" y="50"/>
                </a:cubicBezTo>
                <a:cubicBezTo>
                  <a:pt x="0" y="67"/>
                  <a:pt x="13" y="81"/>
                  <a:pt x="30" y="83"/>
                </a:cubicBezTo>
                <a:lnTo>
                  <a:pt x="30" y="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48" name="Freeform 122"/>
          <p:cNvSpPr>
            <a:spLocks/>
          </p:cNvSpPr>
          <p:nvPr/>
        </p:nvSpPr>
        <p:spPr bwMode="black">
          <a:xfrm>
            <a:off x="4597760" y="4620550"/>
            <a:ext cx="269761" cy="272086"/>
          </a:xfrm>
          <a:custGeom>
            <a:avLst/>
            <a:gdLst>
              <a:gd name="T0" fmla="*/ 61 w 70"/>
              <a:gd name="T1" fmla="*/ 11 h 71"/>
              <a:gd name="T2" fmla="*/ 60 w 70"/>
              <a:gd name="T3" fmla="*/ 11 h 71"/>
              <a:gd name="T4" fmla="*/ 53 w 70"/>
              <a:gd name="T5" fmla="*/ 18 h 71"/>
              <a:gd name="T6" fmla="*/ 53 w 70"/>
              <a:gd name="T7" fmla="*/ 19 h 71"/>
              <a:gd name="T8" fmla="*/ 53 w 70"/>
              <a:gd name="T9" fmla="*/ 19 h 71"/>
              <a:gd name="T10" fmla="*/ 60 w 70"/>
              <a:gd name="T11" fmla="*/ 35 h 71"/>
              <a:gd name="T12" fmla="*/ 35 w 70"/>
              <a:gd name="T13" fmla="*/ 60 h 71"/>
              <a:gd name="T14" fmla="*/ 10 w 70"/>
              <a:gd name="T15" fmla="*/ 36 h 71"/>
              <a:gd name="T16" fmla="*/ 16 w 70"/>
              <a:gd name="T17" fmla="*/ 21 h 71"/>
              <a:gd name="T18" fmla="*/ 18 w 70"/>
              <a:gd name="T19" fmla="*/ 18 h 71"/>
              <a:gd name="T20" fmla="*/ 25 w 70"/>
              <a:gd name="T21" fmla="*/ 26 h 71"/>
              <a:gd name="T22" fmla="*/ 30 w 70"/>
              <a:gd name="T23" fmla="*/ 0 h 71"/>
              <a:gd name="T24" fmla="*/ 4 w 70"/>
              <a:gd name="T25" fmla="*/ 2 h 71"/>
              <a:gd name="T26" fmla="*/ 11 w 70"/>
              <a:gd name="T27" fmla="*/ 10 h 71"/>
              <a:gd name="T28" fmla="*/ 9 w 70"/>
              <a:gd name="T29" fmla="*/ 12 h 71"/>
              <a:gd name="T30" fmla="*/ 0 w 70"/>
              <a:gd name="T31" fmla="*/ 36 h 71"/>
              <a:gd name="T32" fmla="*/ 35 w 70"/>
              <a:gd name="T33" fmla="*/ 71 h 71"/>
              <a:gd name="T34" fmla="*/ 35 w 70"/>
              <a:gd name="T35" fmla="*/ 71 h 71"/>
              <a:gd name="T36" fmla="*/ 70 w 70"/>
              <a:gd name="T37" fmla="*/ 35 h 71"/>
              <a:gd name="T38" fmla="*/ 61 w 70"/>
              <a:gd name="T39" fmla="*/ 11 h 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70" h="71">
                <a:moveTo>
                  <a:pt x="61" y="11"/>
                </a:moveTo>
                <a:cubicBezTo>
                  <a:pt x="60" y="11"/>
                  <a:pt x="60" y="11"/>
                  <a:pt x="60" y="11"/>
                </a:cubicBezTo>
                <a:cubicBezTo>
                  <a:pt x="53" y="18"/>
                  <a:pt x="53" y="18"/>
                  <a:pt x="53" y="18"/>
                </a:cubicBezTo>
                <a:cubicBezTo>
                  <a:pt x="53" y="19"/>
                  <a:pt x="53" y="19"/>
                  <a:pt x="53" y="19"/>
                </a:cubicBezTo>
                <a:cubicBezTo>
                  <a:pt x="53" y="19"/>
                  <a:pt x="53" y="19"/>
                  <a:pt x="53" y="19"/>
                </a:cubicBezTo>
                <a:cubicBezTo>
                  <a:pt x="57" y="23"/>
                  <a:pt x="60" y="29"/>
                  <a:pt x="60" y="35"/>
                </a:cubicBezTo>
                <a:cubicBezTo>
                  <a:pt x="60" y="49"/>
                  <a:pt x="49" y="60"/>
                  <a:pt x="35" y="60"/>
                </a:cubicBezTo>
                <a:cubicBezTo>
                  <a:pt x="22" y="60"/>
                  <a:pt x="11" y="49"/>
                  <a:pt x="10" y="36"/>
                </a:cubicBezTo>
                <a:cubicBezTo>
                  <a:pt x="10" y="30"/>
                  <a:pt x="12" y="25"/>
                  <a:pt x="16" y="21"/>
                </a:cubicBezTo>
                <a:cubicBezTo>
                  <a:pt x="18" y="18"/>
                  <a:pt x="18" y="18"/>
                  <a:pt x="18" y="18"/>
                </a:cubicBezTo>
                <a:cubicBezTo>
                  <a:pt x="25" y="26"/>
                  <a:pt x="25" y="26"/>
                  <a:pt x="25" y="26"/>
                </a:cubicBezTo>
                <a:cubicBezTo>
                  <a:pt x="30" y="0"/>
                  <a:pt x="30" y="0"/>
                  <a:pt x="30" y="0"/>
                </a:cubicBezTo>
                <a:cubicBezTo>
                  <a:pt x="4" y="2"/>
                  <a:pt x="4" y="2"/>
                  <a:pt x="4" y="2"/>
                </a:cubicBezTo>
                <a:cubicBezTo>
                  <a:pt x="11" y="10"/>
                  <a:pt x="11" y="10"/>
                  <a:pt x="11" y="10"/>
                </a:cubicBezTo>
                <a:cubicBezTo>
                  <a:pt x="9" y="12"/>
                  <a:pt x="9" y="12"/>
                  <a:pt x="9" y="12"/>
                </a:cubicBezTo>
                <a:cubicBezTo>
                  <a:pt x="3" y="19"/>
                  <a:pt x="0" y="27"/>
                  <a:pt x="0" y="36"/>
                </a:cubicBezTo>
                <a:cubicBezTo>
                  <a:pt x="0" y="55"/>
                  <a:pt x="16" y="71"/>
                  <a:pt x="35" y="71"/>
                </a:cubicBezTo>
                <a:cubicBezTo>
                  <a:pt x="35" y="71"/>
                  <a:pt x="35" y="71"/>
                  <a:pt x="35" y="71"/>
                </a:cubicBezTo>
                <a:cubicBezTo>
                  <a:pt x="55" y="71"/>
                  <a:pt x="70" y="55"/>
                  <a:pt x="70" y="35"/>
                </a:cubicBezTo>
                <a:cubicBezTo>
                  <a:pt x="70" y="26"/>
                  <a:pt x="67" y="18"/>
                  <a:pt x="61" y="11"/>
                </a:cubicBezTo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49" name="Freeform 123"/>
          <p:cNvSpPr>
            <a:spLocks noEditPoints="1"/>
          </p:cNvSpPr>
          <p:nvPr/>
        </p:nvSpPr>
        <p:spPr bwMode="black">
          <a:xfrm>
            <a:off x="3939262" y="4631017"/>
            <a:ext cx="241852" cy="251155"/>
          </a:xfrm>
          <a:custGeom>
            <a:avLst/>
            <a:gdLst>
              <a:gd name="T0" fmla="*/ 57 w 63"/>
              <a:gd name="T1" fmla="*/ 54 h 65"/>
              <a:gd name="T2" fmla="*/ 57 w 63"/>
              <a:gd name="T3" fmla="*/ 55 h 65"/>
              <a:gd name="T4" fmla="*/ 35 w 63"/>
              <a:gd name="T5" fmla="*/ 65 h 65"/>
              <a:gd name="T6" fmla="*/ 33 w 63"/>
              <a:gd name="T7" fmla="*/ 65 h 65"/>
              <a:gd name="T8" fmla="*/ 12 w 63"/>
              <a:gd name="T9" fmla="*/ 57 h 65"/>
              <a:gd name="T10" fmla="*/ 10 w 63"/>
              <a:gd name="T11" fmla="*/ 55 h 65"/>
              <a:gd name="T12" fmla="*/ 2 w 63"/>
              <a:gd name="T13" fmla="*/ 62 h 65"/>
              <a:gd name="T14" fmla="*/ 0 w 63"/>
              <a:gd name="T15" fmla="*/ 37 h 65"/>
              <a:gd name="T16" fmla="*/ 25 w 63"/>
              <a:gd name="T17" fmla="*/ 42 h 65"/>
              <a:gd name="T18" fmla="*/ 17 w 63"/>
              <a:gd name="T19" fmla="*/ 48 h 65"/>
              <a:gd name="T20" fmla="*/ 20 w 63"/>
              <a:gd name="T21" fmla="*/ 50 h 65"/>
              <a:gd name="T22" fmla="*/ 33 w 63"/>
              <a:gd name="T23" fmla="*/ 55 h 65"/>
              <a:gd name="T24" fmla="*/ 34 w 63"/>
              <a:gd name="T25" fmla="*/ 55 h 65"/>
              <a:gd name="T26" fmla="*/ 49 w 63"/>
              <a:gd name="T27" fmla="*/ 48 h 65"/>
              <a:gd name="T28" fmla="*/ 50 w 63"/>
              <a:gd name="T29" fmla="*/ 48 h 65"/>
              <a:gd name="T30" fmla="*/ 57 w 63"/>
              <a:gd name="T31" fmla="*/ 54 h 65"/>
              <a:gd name="T32" fmla="*/ 63 w 63"/>
              <a:gd name="T33" fmla="*/ 29 h 65"/>
              <a:gd name="T34" fmla="*/ 61 w 63"/>
              <a:gd name="T35" fmla="*/ 4 h 65"/>
              <a:gd name="T36" fmla="*/ 53 w 63"/>
              <a:gd name="T37" fmla="*/ 11 h 65"/>
              <a:gd name="T38" fmla="*/ 53 w 63"/>
              <a:gd name="T39" fmla="*/ 11 h 65"/>
              <a:gd name="T40" fmla="*/ 53 w 63"/>
              <a:gd name="T41" fmla="*/ 10 h 65"/>
              <a:gd name="T42" fmla="*/ 51 w 63"/>
              <a:gd name="T43" fmla="*/ 8 h 65"/>
              <a:gd name="T44" fmla="*/ 29 w 63"/>
              <a:gd name="T45" fmla="*/ 0 h 65"/>
              <a:gd name="T46" fmla="*/ 28 w 63"/>
              <a:gd name="T47" fmla="*/ 0 h 65"/>
              <a:gd name="T48" fmla="*/ 6 w 63"/>
              <a:gd name="T49" fmla="*/ 10 h 65"/>
              <a:gd name="T50" fmla="*/ 5 w 63"/>
              <a:gd name="T51" fmla="*/ 10 h 65"/>
              <a:gd name="T52" fmla="*/ 13 w 63"/>
              <a:gd name="T53" fmla="*/ 17 h 65"/>
              <a:gd name="T54" fmla="*/ 13 w 63"/>
              <a:gd name="T55" fmla="*/ 17 h 65"/>
              <a:gd name="T56" fmla="*/ 28 w 63"/>
              <a:gd name="T57" fmla="*/ 10 h 65"/>
              <a:gd name="T58" fmla="*/ 29 w 63"/>
              <a:gd name="T59" fmla="*/ 10 h 65"/>
              <a:gd name="T60" fmla="*/ 43 w 63"/>
              <a:gd name="T61" fmla="*/ 14 h 65"/>
              <a:gd name="T62" fmla="*/ 46 w 63"/>
              <a:gd name="T63" fmla="*/ 17 h 65"/>
              <a:gd name="T64" fmla="*/ 38 w 63"/>
              <a:gd name="T65" fmla="*/ 24 h 65"/>
              <a:gd name="T66" fmla="*/ 63 w 63"/>
              <a:gd name="T67" fmla="*/ 29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63" h="65">
                <a:moveTo>
                  <a:pt x="57" y="54"/>
                </a:moveTo>
                <a:cubicBezTo>
                  <a:pt x="57" y="55"/>
                  <a:pt x="57" y="55"/>
                  <a:pt x="57" y="55"/>
                </a:cubicBezTo>
                <a:cubicBezTo>
                  <a:pt x="51" y="61"/>
                  <a:pt x="43" y="64"/>
                  <a:pt x="35" y="65"/>
                </a:cubicBezTo>
                <a:cubicBezTo>
                  <a:pt x="34" y="65"/>
                  <a:pt x="34" y="65"/>
                  <a:pt x="33" y="65"/>
                </a:cubicBezTo>
                <a:cubicBezTo>
                  <a:pt x="26" y="65"/>
                  <a:pt x="18" y="62"/>
                  <a:pt x="12" y="57"/>
                </a:cubicBezTo>
                <a:cubicBezTo>
                  <a:pt x="10" y="55"/>
                  <a:pt x="10" y="55"/>
                  <a:pt x="10" y="55"/>
                </a:cubicBezTo>
                <a:cubicBezTo>
                  <a:pt x="2" y="62"/>
                  <a:pt x="2" y="62"/>
                  <a:pt x="2" y="62"/>
                </a:cubicBezTo>
                <a:cubicBezTo>
                  <a:pt x="0" y="37"/>
                  <a:pt x="0" y="37"/>
                  <a:pt x="0" y="37"/>
                </a:cubicBezTo>
                <a:cubicBezTo>
                  <a:pt x="25" y="42"/>
                  <a:pt x="25" y="42"/>
                  <a:pt x="25" y="42"/>
                </a:cubicBezTo>
                <a:cubicBezTo>
                  <a:pt x="17" y="48"/>
                  <a:pt x="17" y="48"/>
                  <a:pt x="17" y="48"/>
                </a:cubicBezTo>
                <a:cubicBezTo>
                  <a:pt x="20" y="50"/>
                  <a:pt x="20" y="50"/>
                  <a:pt x="20" y="50"/>
                </a:cubicBezTo>
                <a:cubicBezTo>
                  <a:pt x="24" y="53"/>
                  <a:pt x="29" y="55"/>
                  <a:pt x="33" y="55"/>
                </a:cubicBezTo>
                <a:cubicBezTo>
                  <a:pt x="34" y="55"/>
                  <a:pt x="34" y="55"/>
                  <a:pt x="34" y="55"/>
                </a:cubicBezTo>
                <a:cubicBezTo>
                  <a:pt x="40" y="54"/>
                  <a:pt x="45" y="52"/>
                  <a:pt x="49" y="48"/>
                </a:cubicBezTo>
                <a:cubicBezTo>
                  <a:pt x="50" y="48"/>
                  <a:pt x="50" y="48"/>
                  <a:pt x="50" y="48"/>
                </a:cubicBezTo>
                <a:lnTo>
                  <a:pt x="57" y="54"/>
                </a:lnTo>
                <a:close/>
                <a:moveTo>
                  <a:pt x="63" y="29"/>
                </a:moveTo>
                <a:cubicBezTo>
                  <a:pt x="61" y="4"/>
                  <a:pt x="61" y="4"/>
                  <a:pt x="61" y="4"/>
                </a:cubicBezTo>
                <a:cubicBezTo>
                  <a:pt x="53" y="11"/>
                  <a:pt x="53" y="11"/>
                  <a:pt x="53" y="11"/>
                </a:cubicBezTo>
                <a:cubicBezTo>
                  <a:pt x="53" y="11"/>
                  <a:pt x="53" y="11"/>
                  <a:pt x="53" y="11"/>
                </a:cubicBezTo>
                <a:cubicBezTo>
                  <a:pt x="53" y="10"/>
                  <a:pt x="53" y="10"/>
                  <a:pt x="53" y="10"/>
                </a:cubicBezTo>
                <a:cubicBezTo>
                  <a:pt x="51" y="8"/>
                  <a:pt x="51" y="8"/>
                  <a:pt x="51" y="8"/>
                </a:cubicBezTo>
                <a:cubicBezTo>
                  <a:pt x="45" y="3"/>
                  <a:pt x="37" y="0"/>
                  <a:pt x="29" y="0"/>
                </a:cubicBezTo>
                <a:cubicBezTo>
                  <a:pt x="29" y="0"/>
                  <a:pt x="28" y="0"/>
                  <a:pt x="28" y="0"/>
                </a:cubicBezTo>
                <a:cubicBezTo>
                  <a:pt x="20" y="0"/>
                  <a:pt x="12" y="4"/>
                  <a:pt x="6" y="10"/>
                </a:cubicBezTo>
                <a:cubicBezTo>
                  <a:pt x="5" y="10"/>
                  <a:pt x="5" y="10"/>
                  <a:pt x="5" y="10"/>
                </a:cubicBezTo>
                <a:cubicBezTo>
                  <a:pt x="13" y="17"/>
                  <a:pt x="13" y="17"/>
                  <a:pt x="13" y="17"/>
                </a:cubicBezTo>
                <a:cubicBezTo>
                  <a:pt x="13" y="17"/>
                  <a:pt x="13" y="17"/>
                  <a:pt x="13" y="17"/>
                </a:cubicBezTo>
                <a:cubicBezTo>
                  <a:pt x="17" y="13"/>
                  <a:pt x="23" y="10"/>
                  <a:pt x="28" y="10"/>
                </a:cubicBezTo>
                <a:cubicBezTo>
                  <a:pt x="29" y="10"/>
                  <a:pt x="29" y="10"/>
                  <a:pt x="29" y="10"/>
                </a:cubicBezTo>
                <a:cubicBezTo>
                  <a:pt x="34" y="10"/>
                  <a:pt x="39" y="12"/>
                  <a:pt x="43" y="14"/>
                </a:cubicBezTo>
                <a:cubicBezTo>
                  <a:pt x="46" y="17"/>
                  <a:pt x="46" y="17"/>
                  <a:pt x="46" y="17"/>
                </a:cubicBezTo>
                <a:cubicBezTo>
                  <a:pt x="38" y="24"/>
                  <a:pt x="38" y="24"/>
                  <a:pt x="38" y="24"/>
                </a:cubicBezTo>
                <a:lnTo>
                  <a:pt x="63" y="2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50" name="Freeform 124"/>
          <p:cNvSpPr>
            <a:spLocks noEditPoints="1"/>
          </p:cNvSpPr>
          <p:nvPr/>
        </p:nvSpPr>
        <p:spPr bwMode="black">
          <a:xfrm>
            <a:off x="2681465" y="4624037"/>
            <a:ext cx="67439" cy="265107"/>
          </a:xfrm>
          <a:custGeom>
            <a:avLst/>
            <a:gdLst>
              <a:gd name="T0" fmla="*/ 16 w 17"/>
              <a:gd name="T1" fmla="*/ 0 h 69"/>
              <a:gd name="T2" fmla="*/ 14 w 17"/>
              <a:gd name="T3" fmla="*/ 47 h 69"/>
              <a:gd name="T4" fmla="*/ 2 w 17"/>
              <a:gd name="T5" fmla="*/ 47 h 69"/>
              <a:gd name="T6" fmla="*/ 0 w 17"/>
              <a:gd name="T7" fmla="*/ 0 h 69"/>
              <a:gd name="T8" fmla="*/ 16 w 17"/>
              <a:gd name="T9" fmla="*/ 0 h 69"/>
              <a:gd name="T10" fmla="*/ 17 w 17"/>
              <a:gd name="T11" fmla="*/ 61 h 69"/>
              <a:gd name="T12" fmla="*/ 15 w 17"/>
              <a:gd name="T13" fmla="*/ 67 h 69"/>
              <a:gd name="T14" fmla="*/ 8 w 17"/>
              <a:gd name="T15" fmla="*/ 69 h 69"/>
              <a:gd name="T16" fmla="*/ 2 w 17"/>
              <a:gd name="T17" fmla="*/ 67 h 69"/>
              <a:gd name="T18" fmla="*/ 0 w 17"/>
              <a:gd name="T19" fmla="*/ 61 h 69"/>
              <a:gd name="T20" fmla="*/ 2 w 17"/>
              <a:gd name="T21" fmla="*/ 56 h 69"/>
              <a:gd name="T22" fmla="*/ 8 w 17"/>
              <a:gd name="T23" fmla="*/ 54 h 69"/>
              <a:gd name="T24" fmla="*/ 14 w 17"/>
              <a:gd name="T25" fmla="*/ 56 h 69"/>
              <a:gd name="T26" fmla="*/ 17 w 17"/>
              <a:gd name="T27" fmla="*/ 61 h 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7" h="69">
                <a:moveTo>
                  <a:pt x="16" y="0"/>
                </a:moveTo>
                <a:cubicBezTo>
                  <a:pt x="14" y="47"/>
                  <a:pt x="14" y="47"/>
                  <a:pt x="14" y="47"/>
                </a:cubicBezTo>
                <a:cubicBezTo>
                  <a:pt x="2" y="47"/>
                  <a:pt x="2" y="47"/>
                  <a:pt x="2" y="47"/>
                </a:cubicBezTo>
                <a:cubicBezTo>
                  <a:pt x="0" y="0"/>
                  <a:pt x="0" y="0"/>
                  <a:pt x="0" y="0"/>
                </a:cubicBezTo>
                <a:lnTo>
                  <a:pt x="16" y="0"/>
                </a:lnTo>
                <a:close/>
                <a:moveTo>
                  <a:pt x="17" y="61"/>
                </a:moveTo>
                <a:cubicBezTo>
                  <a:pt x="17" y="64"/>
                  <a:pt x="16" y="66"/>
                  <a:pt x="15" y="67"/>
                </a:cubicBezTo>
                <a:cubicBezTo>
                  <a:pt x="13" y="69"/>
                  <a:pt x="11" y="69"/>
                  <a:pt x="8" y="69"/>
                </a:cubicBezTo>
                <a:cubicBezTo>
                  <a:pt x="6" y="69"/>
                  <a:pt x="4" y="69"/>
                  <a:pt x="2" y="67"/>
                </a:cubicBezTo>
                <a:cubicBezTo>
                  <a:pt x="0" y="65"/>
                  <a:pt x="0" y="64"/>
                  <a:pt x="0" y="61"/>
                </a:cubicBezTo>
                <a:cubicBezTo>
                  <a:pt x="0" y="59"/>
                  <a:pt x="0" y="57"/>
                  <a:pt x="2" y="56"/>
                </a:cubicBezTo>
                <a:cubicBezTo>
                  <a:pt x="4" y="54"/>
                  <a:pt x="6" y="54"/>
                  <a:pt x="8" y="54"/>
                </a:cubicBezTo>
                <a:cubicBezTo>
                  <a:pt x="11" y="54"/>
                  <a:pt x="13" y="54"/>
                  <a:pt x="14" y="56"/>
                </a:cubicBezTo>
                <a:cubicBezTo>
                  <a:pt x="16" y="57"/>
                  <a:pt x="17" y="59"/>
                  <a:pt x="17" y="61"/>
                </a:cubicBezTo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51" name="Freeform 125"/>
          <p:cNvSpPr>
            <a:spLocks noEditPoints="1"/>
          </p:cNvSpPr>
          <p:nvPr/>
        </p:nvSpPr>
        <p:spPr bwMode="black">
          <a:xfrm>
            <a:off x="2616345" y="5282765"/>
            <a:ext cx="197670" cy="297667"/>
          </a:xfrm>
          <a:custGeom>
            <a:avLst/>
            <a:gdLst>
              <a:gd name="T0" fmla="*/ 2 w 51"/>
              <a:gd name="T1" fmla="*/ 16 h 77"/>
              <a:gd name="T2" fmla="*/ 7 w 51"/>
              <a:gd name="T3" fmla="*/ 8 h 77"/>
              <a:gd name="T4" fmla="*/ 15 w 51"/>
              <a:gd name="T5" fmla="*/ 2 h 77"/>
              <a:gd name="T6" fmla="*/ 25 w 51"/>
              <a:gd name="T7" fmla="*/ 0 h 77"/>
              <a:gd name="T8" fmla="*/ 37 w 51"/>
              <a:gd name="T9" fmla="*/ 2 h 77"/>
              <a:gd name="T10" fmla="*/ 45 w 51"/>
              <a:gd name="T11" fmla="*/ 7 h 77"/>
              <a:gd name="T12" fmla="*/ 50 w 51"/>
              <a:gd name="T13" fmla="*/ 14 h 77"/>
              <a:gd name="T14" fmla="*/ 51 w 51"/>
              <a:gd name="T15" fmla="*/ 20 h 77"/>
              <a:gd name="T16" fmla="*/ 50 w 51"/>
              <a:gd name="T17" fmla="*/ 29 h 77"/>
              <a:gd name="T18" fmla="*/ 46 w 51"/>
              <a:gd name="T19" fmla="*/ 34 h 77"/>
              <a:gd name="T20" fmla="*/ 42 w 51"/>
              <a:gd name="T21" fmla="*/ 38 h 77"/>
              <a:gd name="T22" fmla="*/ 38 w 51"/>
              <a:gd name="T23" fmla="*/ 41 h 77"/>
              <a:gd name="T24" fmla="*/ 34 w 51"/>
              <a:gd name="T25" fmla="*/ 45 h 77"/>
              <a:gd name="T26" fmla="*/ 32 w 51"/>
              <a:gd name="T27" fmla="*/ 50 h 77"/>
              <a:gd name="T28" fmla="*/ 32 w 51"/>
              <a:gd name="T29" fmla="*/ 54 h 77"/>
              <a:gd name="T30" fmla="*/ 18 w 51"/>
              <a:gd name="T31" fmla="*/ 54 h 77"/>
              <a:gd name="T32" fmla="*/ 18 w 51"/>
              <a:gd name="T33" fmla="*/ 49 h 77"/>
              <a:gd name="T34" fmla="*/ 20 w 51"/>
              <a:gd name="T35" fmla="*/ 42 h 77"/>
              <a:gd name="T36" fmla="*/ 23 w 51"/>
              <a:gd name="T37" fmla="*/ 37 h 77"/>
              <a:gd name="T38" fmla="*/ 27 w 51"/>
              <a:gd name="T39" fmla="*/ 33 h 77"/>
              <a:gd name="T40" fmla="*/ 31 w 51"/>
              <a:gd name="T41" fmla="*/ 30 h 77"/>
              <a:gd name="T42" fmla="*/ 34 w 51"/>
              <a:gd name="T43" fmla="*/ 27 h 77"/>
              <a:gd name="T44" fmla="*/ 35 w 51"/>
              <a:gd name="T45" fmla="*/ 22 h 77"/>
              <a:gd name="T46" fmla="*/ 32 w 51"/>
              <a:gd name="T47" fmla="*/ 15 h 77"/>
              <a:gd name="T48" fmla="*/ 26 w 51"/>
              <a:gd name="T49" fmla="*/ 13 h 77"/>
              <a:gd name="T50" fmla="*/ 21 w 51"/>
              <a:gd name="T51" fmla="*/ 14 h 77"/>
              <a:gd name="T52" fmla="*/ 18 w 51"/>
              <a:gd name="T53" fmla="*/ 17 h 77"/>
              <a:gd name="T54" fmla="*/ 16 w 51"/>
              <a:gd name="T55" fmla="*/ 21 h 77"/>
              <a:gd name="T56" fmla="*/ 15 w 51"/>
              <a:gd name="T57" fmla="*/ 26 h 77"/>
              <a:gd name="T58" fmla="*/ 0 w 51"/>
              <a:gd name="T59" fmla="*/ 26 h 77"/>
              <a:gd name="T60" fmla="*/ 2 w 51"/>
              <a:gd name="T61" fmla="*/ 16 h 77"/>
              <a:gd name="T62" fmla="*/ 33 w 51"/>
              <a:gd name="T63" fmla="*/ 68 h 77"/>
              <a:gd name="T64" fmla="*/ 25 w 51"/>
              <a:gd name="T65" fmla="*/ 60 h 77"/>
              <a:gd name="T66" fmla="*/ 17 w 51"/>
              <a:gd name="T67" fmla="*/ 68 h 77"/>
              <a:gd name="T68" fmla="*/ 25 w 51"/>
              <a:gd name="T69" fmla="*/ 77 h 77"/>
              <a:gd name="T70" fmla="*/ 33 w 51"/>
              <a:gd name="T71" fmla="*/ 68 h 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1" h="77">
                <a:moveTo>
                  <a:pt x="2" y="16"/>
                </a:moveTo>
                <a:cubicBezTo>
                  <a:pt x="3" y="13"/>
                  <a:pt x="5" y="10"/>
                  <a:pt x="7" y="8"/>
                </a:cubicBezTo>
                <a:cubicBezTo>
                  <a:pt x="9" y="5"/>
                  <a:pt x="12" y="4"/>
                  <a:pt x="15" y="2"/>
                </a:cubicBezTo>
                <a:cubicBezTo>
                  <a:pt x="18" y="1"/>
                  <a:pt x="21" y="0"/>
                  <a:pt x="25" y="0"/>
                </a:cubicBezTo>
                <a:cubicBezTo>
                  <a:pt x="30" y="0"/>
                  <a:pt x="34" y="1"/>
                  <a:pt x="37" y="2"/>
                </a:cubicBezTo>
                <a:cubicBezTo>
                  <a:pt x="41" y="4"/>
                  <a:pt x="43" y="5"/>
                  <a:pt x="45" y="7"/>
                </a:cubicBezTo>
                <a:cubicBezTo>
                  <a:pt x="47" y="9"/>
                  <a:pt x="49" y="12"/>
                  <a:pt x="50" y="14"/>
                </a:cubicBezTo>
                <a:cubicBezTo>
                  <a:pt x="50" y="16"/>
                  <a:pt x="51" y="18"/>
                  <a:pt x="51" y="20"/>
                </a:cubicBezTo>
                <a:cubicBezTo>
                  <a:pt x="51" y="24"/>
                  <a:pt x="50" y="26"/>
                  <a:pt x="50" y="29"/>
                </a:cubicBezTo>
                <a:cubicBezTo>
                  <a:pt x="49" y="31"/>
                  <a:pt x="48" y="33"/>
                  <a:pt x="46" y="34"/>
                </a:cubicBezTo>
                <a:cubicBezTo>
                  <a:pt x="45" y="36"/>
                  <a:pt x="44" y="37"/>
                  <a:pt x="42" y="38"/>
                </a:cubicBezTo>
                <a:cubicBezTo>
                  <a:pt x="41" y="39"/>
                  <a:pt x="39" y="40"/>
                  <a:pt x="38" y="41"/>
                </a:cubicBezTo>
                <a:cubicBezTo>
                  <a:pt x="36" y="42"/>
                  <a:pt x="35" y="44"/>
                  <a:pt x="34" y="45"/>
                </a:cubicBezTo>
                <a:cubicBezTo>
                  <a:pt x="33" y="46"/>
                  <a:pt x="32" y="48"/>
                  <a:pt x="32" y="50"/>
                </a:cubicBezTo>
                <a:cubicBezTo>
                  <a:pt x="32" y="54"/>
                  <a:pt x="32" y="54"/>
                  <a:pt x="32" y="54"/>
                </a:cubicBezTo>
                <a:cubicBezTo>
                  <a:pt x="18" y="54"/>
                  <a:pt x="18" y="54"/>
                  <a:pt x="18" y="54"/>
                </a:cubicBezTo>
                <a:cubicBezTo>
                  <a:pt x="18" y="49"/>
                  <a:pt x="18" y="49"/>
                  <a:pt x="18" y="49"/>
                </a:cubicBezTo>
                <a:cubicBezTo>
                  <a:pt x="18" y="46"/>
                  <a:pt x="19" y="44"/>
                  <a:pt x="20" y="42"/>
                </a:cubicBezTo>
                <a:cubicBezTo>
                  <a:pt x="21" y="40"/>
                  <a:pt x="22" y="38"/>
                  <a:pt x="23" y="37"/>
                </a:cubicBezTo>
                <a:cubicBezTo>
                  <a:pt x="24" y="35"/>
                  <a:pt x="25" y="34"/>
                  <a:pt x="27" y="33"/>
                </a:cubicBezTo>
                <a:cubicBezTo>
                  <a:pt x="28" y="32"/>
                  <a:pt x="30" y="31"/>
                  <a:pt x="31" y="30"/>
                </a:cubicBezTo>
                <a:cubicBezTo>
                  <a:pt x="32" y="29"/>
                  <a:pt x="33" y="28"/>
                  <a:pt x="34" y="27"/>
                </a:cubicBezTo>
                <a:cubicBezTo>
                  <a:pt x="34" y="25"/>
                  <a:pt x="35" y="24"/>
                  <a:pt x="35" y="22"/>
                </a:cubicBezTo>
                <a:cubicBezTo>
                  <a:pt x="35" y="19"/>
                  <a:pt x="34" y="16"/>
                  <a:pt x="32" y="15"/>
                </a:cubicBezTo>
                <a:cubicBezTo>
                  <a:pt x="31" y="13"/>
                  <a:pt x="29" y="13"/>
                  <a:pt x="26" y="13"/>
                </a:cubicBezTo>
                <a:cubicBezTo>
                  <a:pt x="24" y="13"/>
                  <a:pt x="22" y="13"/>
                  <a:pt x="21" y="14"/>
                </a:cubicBezTo>
                <a:cubicBezTo>
                  <a:pt x="20" y="14"/>
                  <a:pt x="18" y="15"/>
                  <a:pt x="18" y="17"/>
                </a:cubicBezTo>
                <a:cubicBezTo>
                  <a:pt x="17" y="18"/>
                  <a:pt x="16" y="19"/>
                  <a:pt x="16" y="21"/>
                </a:cubicBezTo>
                <a:cubicBezTo>
                  <a:pt x="15" y="22"/>
                  <a:pt x="15" y="24"/>
                  <a:pt x="15" y="26"/>
                </a:cubicBezTo>
                <a:cubicBezTo>
                  <a:pt x="0" y="26"/>
                  <a:pt x="0" y="26"/>
                  <a:pt x="0" y="26"/>
                </a:cubicBezTo>
                <a:cubicBezTo>
                  <a:pt x="0" y="22"/>
                  <a:pt x="0" y="19"/>
                  <a:pt x="2" y="16"/>
                </a:cubicBezTo>
                <a:moveTo>
                  <a:pt x="33" y="68"/>
                </a:moveTo>
                <a:cubicBezTo>
                  <a:pt x="33" y="64"/>
                  <a:pt x="29" y="60"/>
                  <a:pt x="25" y="60"/>
                </a:cubicBezTo>
                <a:cubicBezTo>
                  <a:pt x="20" y="60"/>
                  <a:pt x="17" y="64"/>
                  <a:pt x="17" y="68"/>
                </a:cubicBezTo>
                <a:cubicBezTo>
                  <a:pt x="17" y="73"/>
                  <a:pt x="20" y="77"/>
                  <a:pt x="25" y="77"/>
                </a:cubicBezTo>
                <a:cubicBezTo>
                  <a:pt x="29" y="77"/>
                  <a:pt x="33" y="73"/>
                  <a:pt x="33" y="68"/>
                </a:cubicBezTo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52" name="Freeform 126"/>
          <p:cNvSpPr>
            <a:spLocks noEditPoints="1"/>
          </p:cNvSpPr>
          <p:nvPr/>
        </p:nvSpPr>
        <p:spPr bwMode="black">
          <a:xfrm>
            <a:off x="3314477" y="5259509"/>
            <a:ext cx="146509" cy="344174"/>
          </a:xfrm>
          <a:custGeom>
            <a:avLst/>
            <a:gdLst>
              <a:gd name="T0" fmla="*/ 38 w 38"/>
              <a:gd name="T1" fmla="*/ 89 h 89"/>
              <a:gd name="T2" fmla="*/ 34 w 38"/>
              <a:gd name="T3" fmla="*/ 86 h 89"/>
              <a:gd name="T4" fmla="*/ 30 w 38"/>
              <a:gd name="T5" fmla="*/ 89 h 89"/>
              <a:gd name="T6" fmla="*/ 26 w 38"/>
              <a:gd name="T7" fmla="*/ 86 h 89"/>
              <a:gd name="T8" fmla="*/ 23 w 38"/>
              <a:gd name="T9" fmla="*/ 89 h 89"/>
              <a:gd name="T10" fmla="*/ 19 w 38"/>
              <a:gd name="T11" fmla="*/ 86 h 89"/>
              <a:gd name="T12" fmla="*/ 15 w 38"/>
              <a:gd name="T13" fmla="*/ 89 h 89"/>
              <a:gd name="T14" fmla="*/ 11 w 38"/>
              <a:gd name="T15" fmla="*/ 86 h 89"/>
              <a:gd name="T16" fmla="*/ 7 w 38"/>
              <a:gd name="T17" fmla="*/ 89 h 89"/>
              <a:gd name="T18" fmla="*/ 4 w 38"/>
              <a:gd name="T19" fmla="*/ 86 h 89"/>
              <a:gd name="T20" fmla="*/ 0 w 38"/>
              <a:gd name="T21" fmla="*/ 89 h 89"/>
              <a:gd name="T22" fmla="*/ 0 w 38"/>
              <a:gd name="T23" fmla="*/ 64 h 89"/>
              <a:gd name="T24" fmla="*/ 38 w 38"/>
              <a:gd name="T25" fmla="*/ 64 h 89"/>
              <a:gd name="T26" fmla="*/ 38 w 38"/>
              <a:gd name="T27" fmla="*/ 89 h 89"/>
              <a:gd name="T28" fmla="*/ 38 w 38"/>
              <a:gd name="T29" fmla="*/ 55 h 89"/>
              <a:gd name="T30" fmla="*/ 38 w 38"/>
              <a:gd name="T31" fmla="*/ 59 h 89"/>
              <a:gd name="T32" fmla="*/ 0 w 38"/>
              <a:gd name="T33" fmla="*/ 59 h 89"/>
              <a:gd name="T34" fmla="*/ 0 w 38"/>
              <a:gd name="T35" fmla="*/ 55 h 89"/>
              <a:gd name="T36" fmla="*/ 6 w 38"/>
              <a:gd name="T37" fmla="*/ 47 h 89"/>
              <a:gd name="T38" fmla="*/ 15 w 38"/>
              <a:gd name="T39" fmla="*/ 35 h 89"/>
              <a:gd name="T40" fmla="*/ 12 w 38"/>
              <a:gd name="T41" fmla="*/ 12 h 89"/>
              <a:gd name="T42" fmla="*/ 19 w 38"/>
              <a:gd name="T43" fmla="*/ 0 h 89"/>
              <a:gd name="T44" fmla="*/ 26 w 38"/>
              <a:gd name="T45" fmla="*/ 12 h 89"/>
              <a:gd name="T46" fmla="*/ 23 w 38"/>
              <a:gd name="T47" fmla="*/ 35 h 89"/>
              <a:gd name="T48" fmla="*/ 32 w 38"/>
              <a:gd name="T49" fmla="*/ 47 h 89"/>
              <a:gd name="T50" fmla="*/ 38 w 38"/>
              <a:gd name="T51" fmla="*/ 55 h 89"/>
              <a:gd name="T52" fmla="*/ 21 w 38"/>
              <a:gd name="T53" fmla="*/ 6 h 89"/>
              <a:gd name="T54" fmla="*/ 19 w 38"/>
              <a:gd name="T55" fmla="*/ 4 h 89"/>
              <a:gd name="T56" fmla="*/ 16 w 38"/>
              <a:gd name="T57" fmla="*/ 6 h 89"/>
              <a:gd name="T58" fmla="*/ 19 w 38"/>
              <a:gd name="T59" fmla="*/ 9 h 89"/>
              <a:gd name="T60" fmla="*/ 21 w 38"/>
              <a:gd name="T61" fmla="*/ 6 h 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8" h="89">
                <a:moveTo>
                  <a:pt x="38" y="89"/>
                </a:moveTo>
                <a:cubicBezTo>
                  <a:pt x="34" y="86"/>
                  <a:pt x="34" y="86"/>
                  <a:pt x="34" y="86"/>
                </a:cubicBezTo>
                <a:cubicBezTo>
                  <a:pt x="30" y="89"/>
                  <a:pt x="30" y="89"/>
                  <a:pt x="30" y="89"/>
                </a:cubicBezTo>
                <a:cubicBezTo>
                  <a:pt x="26" y="86"/>
                  <a:pt x="26" y="86"/>
                  <a:pt x="26" y="86"/>
                </a:cubicBezTo>
                <a:cubicBezTo>
                  <a:pt x="23" y="89"/>
                  <a:pt x="23" y="89"/>
                  <a:pt x="23" y="89"/>
                </a:cubicBezTo>
                <a:cubicBezTo>
                  <a:pt x="19" y="86"/>
                  <a:pt x="19" y="86"/>
                  <a:pt x="19" y="86"/>
                </a:cubicBezTo>
                <a:cubicBezTo>
                  <a:pt x="15" y="89"/>
                  <a:pt x="15" y="89"/>
                  <a:pt x="15" y="89"/>
                </a:cubicBezTo>
                <a:cubicBezTo>
                  <a:pt x="11" y="86"/>
                  <a:pt x="11" y="86"/>
                  <a:pt x="11" y="86"/>
                </a:cubicBezTo>
                <a:cubicBezTo>
                  <a:pt x="7" y="89"/>
                  <a:pt x="7" y="89"/>
                  <a:pt x="7" y="89"/>
                </a:cubicBezTo>
                <a:cubicBezTo>
                  <a:pt x="4" y="86"/>
                  <a:pt x="4" y="86"/>
                  <a:pt x="4" y="86"/>
                </a:cubicBezTo>
                <a:cubicBezTo>
                  <a:pt x="0" y="89"/>
                  <a:pt x="0" y="89"/>
                  <a:pt x="0" y="89"/>
                </a:cubicBezTo>
                <a:cubicBezTo>
                  <a:pt x="0" y="64"/>
                  <a:pt x="0" y="64"/>
                  <a:pt x="0" y="64"/>
                </a:cubicBezTo>
                <a:cubicBezTo>
                  <a:pt x="38" y="64"/>
                  <a:pt x="38" y="64"/>
                  <a:pt x="38" y="64"/>
                </a:cubicBezTo>
                <a:lnTo>
                  <a:pt x="38" y="89"/>
                </a:lnTo>
                <a:close/>
                <a:moveTo>
                  <a:pt x="38" y="55"/>
                </a:moveTo>
                <a:cubicBezTo>
                  <a:pt x="38" y="59"/>
                  <a:pt x="38" y="59"/>
                  <a:pt x="38" y="59"/>
                </a:cubicBezTo>
                <a:cubicBezTo>
                  <a:pt x="0" y="59"/>
                  <a:pt x="0" y="59"/>
                  <a:pt x="0" y="59"/>
                </a:cubicBezTo>
                <a:cubicBezTo>
                  <a:pt x="0" y="55"/>
                  <a:pt x="0" y="55"/>
                  <a:pt x="0" y="55"/>
                </a:cubicBezTo>
                <a:cubicBezTo>
                  <a:pt x="0" y="50"/>
                  <a:pt x="2" y="48"/>
                  <a:pt x="6" y="47"/>
                </a:cubicBezTo>
                <a:cubicBezTo>
                  <a:pt x="9" y="46"/>
                  <a:pt x="15" y="44"/>
                  <a:pt x="15" y="35"/>
                </a:cubicBezTo>
                <a:cubicBezTo>
                  <a:pt x="15" y="26"/>
                  <a:pt x="12" y="23"/>
                  <a:pt x="12" y="12"/>
                </a:cubicBezTo>
                <a:cubicBezTo>
                  <a:pt x="12" y="2"/>
                  <a:pt x="17" y="0"/>
                  <a:pt x="19" y="0"/>
                </a:cubicBezTo>
                <a:cubicBezTo>
                  <a:pt x="20" y="0"/>
                  <a:pt x="26" y="2"/>
                  <a:pt x="26" y="12"/>
                </a:cubicBezTo>
                <a:cubicBezTo>
                  <a:pt x="26" y="23"/>
                  <a:pt x="23" y="26"/>
                  <a:pt x="23" y="35"/>
                </a:cubicBezTo>
                <a:cubicBezTo>
                  <a:pt x="23" y="44"/>
                  <a:pt x="29" y="46"/>
                  <a:pt x="32" y="47"/>
                </a:cubicBezTo>
                <a:cubicBezTo>
                  <a:pt x="36" y="48"/>
                  <a:pt x="38" y="50"/>
                  <a:pt x="38" y="55"/>
                </a:cubicBezTo>
                <a:close/>
                <a:moveTo>
                  <a:pt x="21" y="6"/>
                </a:moveTo>
                <a:cubicBezTo>
                  <a:pt x="21" y="5"/>
                  <a:pt x="20" y="4"/>
                  <a:pt x="19" y="4"/>
                </a:cubicBezTo>
                <a:cubicBezTo>
                  <a:pt x="17" y="4"/>
                  <a:pt x="16" y="5"/>
                  <a:pt x="16" y="6"/>
                </a:cubicBezTo>
                <a:cubicBezTo>
                  <a:pt x="16" y="7"/>
                  <a:pt x="17" y="9"/>
                  <a:pt x="19" y="9"/>
                </a:cubicBezTo>
                <a:cubicBezTo>
                  <a:pt x="20" y="9"/>
                  <a:pt x="21" y="7"/>
                  <a:pt x="21" y="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53" name="Freeform 127"/>
          <p:cNvSpPr>
            <a:spLocks noEditPoints="1"/>
          </p:cNvSpPr>
          <p:nvPr/>
        </p:nvSpPr>
        <p:spPr bwMode="black">
          <a:xfrm>
            <a:off x="7278269" y="5314158"/>
            <a:ext cx="288365" cy="234879"/>
          </a:xfrm>
          <a:custGeom>
            <a:avLst/>
            <a:gdLst>
              <a:gd name="T0" fmla="*/ 72 w 75"/>
              <a:gd name="T1" fmla="*/ 23 h 61"/>
              <a:gd name="T2" fmla="*/ 71 w 75"/>
              <a:gd name="T3" fmla="*/ 22 h 61"/>
              <a:gd name="T4" fmla="*/ 63 w 75"/>
              <a:gd name="T5" fmla="*/ 3 h 61"/>
              <a:gd name="T6" fmla="*/ 59 w 75"/>
              <a:gd name="T7" fmla="*/ 0 h 61"/>
              <a:gd name="T8" fmla="*/ 16 w 75"/>
              <a:gd name="T9" fmla="*/ 0 h 61"/>
              <a:gd name="T10" fmla="*/ 13 w 75"/>
              <a:gd name="T11" fmla="*/ 3 h 61"/>
              <a:gd name="T12" fmla="*/ 4 w 75"/>
              <a:gd name="T13" fmla="*/ 23 h 61"/>
              <a:gd name="T14" fmla="*/ 0 w 75"/>
              <a:gd name="T15" fmla="*/ 28 h 61"/>
              <a:gd name="T16" fmla="*/ 0 w 75"/>
              <a:gd name="T17" fmla="*/ 45 h 61"/>
              <a:gd name="T18" fmla="*/ 5 w 75"/>
              <a:gd name="T19" fmla="*/ 50 h 61"/>
              <a:gd name="T20" fmla="*/ 10 w 75"/>
              <a:gd name="T21" fmla="*/ 50 h 61"/>
              <a:gd name="T22" fmla="*/ 10 w 75"/>
              <a:gd name="T23" fmla="*/ 56 h 61"/>
              <a:gd name="T24" fmla="*/ 14 w 75"/>
              <a:gd name="T25" fmla="*/ 61 h 61"/>
              <a:gd name="T26" fmla="*/ 19 w 75"/>
              <a:gd name="T27" fmla="*/ 56 h 61"/>
              <a:gd name="T28" fmla="*/ 19 w 75"/>
              <a:gd name="T29" fmla="*/ 50 h 61"/>
              <a:gd name="T30" fmla="*/ 56 w 75"/>
              <a:gd name="T31" fmla="*/ 50 h 61"/>
              <a:gd name="T32" fmla="*/ 56 w 75"/>
              <a:gd name="T33" fmla="*/ 56 h 61"/>
              <a:gd name="T34" fmla="*/ 61 w 75"/>
              <a:gd name="T35" fmla="*/ 61 h 61"/>
              <a:gd name="T36" fmla="*/ 66 w 75"/>
              <a:gd name="T37" fmla="*/ 56 h 61"/>
              <a:gd name="T38" fmla="*/ 66 w 75"/>
              <a:gd name="T39" fmla="*/ 50 h 61"/>
              <a:gd name="T40" fmla="*/ 70 w 75"/>
              <a:gd name="T41" fmla="*/ 50 h 61"/>
              <a:gd name="T42" fmla="*/ 75 w 75"/>
              <a:gd name="T43" fmla="*/ 45 h 61"/>
              <a:gd name="T44" fmla="*/ 75 w 75"/>
              <a:gd name="T45" fmla="*/ 28 h 61"/>
              <a:gd name="T46" fmla="*/ 72 w 75"/>
              <a:gd name="T47" fmla="*/ 23 h 61"/>
              <a:gd name="T48" fmla="*/ 18 w 75"/>
              <a:gd name="T49" fmla="*/ 8 h 61"/>
              <a:gd name="T50" fmla="*/ 57 w 75"/>
              <a:gd name="T51" fmla="*/ 8 h 61"/>
              <a:gd name="T52" fmla="*/ 62 w 75"/>
              <a:gd name="T53" fmla="*/ 20 h 61"/>
              <a:gd name="T54" fmla="*/ 13 w 75"/>
              <a:gd name="T55" fmla="*/ 20 h 61"/>
              <a:gd name="T56" fmla="*/ 18 w 75"/>
              <a:gd name="T57" fmla="*/ 8 h 61"/>
              <a:gd name="T58" fmla="*/ 14 w 75"/>
              <a:gd name="T59" fmla="*/ 38 h 61"/>
              <a:gd name="T60" fmla="*/ 9 w 75"/>
              <a:gd name="T61" fmla="*/ 33 h 61"/>
              <a:gd name="T62" fmla="*/ 14 w 75"/>
              <a:gd name="T63" fmla="*/ 28 h 61"/>
              <a:gd name="T64" fmla="*/ 19 w 75"/>
              <a:gd name="T65" fmla="*/ 33 h 61"/>
              <a:gd name="T66" fmla="*/ 14 w 75"/>
              <a:gd name="T67" fmla="*/ 38 h 61"/>
              <a:gd name="T68" fmla="*/ 61 w 75"/>
              <a:gd name="T69" fmla="*/ 38 h 61"/>
              <a:gd name="T70" fmla="*/ 56 w 75"/>
              <a:gd name="T71" fmla="*/ 33 h 61"/>
              <a:gd name="T72" fmla="*/ 61 w 75"/>
              <a:gd name="T73" fmla="*/ 28 h 61"/>
              <a:gd name="T74" fmla="*/ 67 w 75"/>
              <a:gd name="T75" fmla="*/ 33 h 61"/>
              <a:gd name="T76" fmla="*/ 61 w 75"/>
              <a:gd name="T77" fmla="*/ 38 h 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75" h="61">
                <a:moveTo>
                  <a:pt x="72" y="23"/>
                </a:moveTo>
                <a:cubicBezTo>
                  <a:pt x="72" y="22"/>
                  <a:pt x="71" y="22"/>
                  <a:pt x="71" y="22"/>
                </a:cubicBezTo>
                <a:cubicBezTo>
                  <a:pt x="63" y="3"/>
                  <a:pt x="63" y="3"/>
                  <a:pt x="63" y="3"/>
                </a:cubicBezTo>
                <a:cubicBezTo>
                  <a:pt x="62" y="1"/>
                  <a:pt x="61" y="0"/>
                  <a:pt x="5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4" y="0"/>
                  <a:pt x="13" y="1"/>
                  <a:pt x="13" y="3"/>
                </a:cubicBezTo>
                <a:cubicBezTo>
                  <a:pt x="4" y="23"/>
                  <a:pt x="4" y="23"/>
                  <a:pt x="4" y="23"/>
                </a:cubicBezTo>
                <a:cubicBezTo>
                  <a:pt x="2" y="23"/>
                  <a:pt x="0" y="25"/>
                  <a:pt x="0" y="28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48"/>
                  <a:pt x="2" y="50"/>
                  <a:pt x="5" y="50"/>
                </a:cubicBezTo>
                <a:cubicBezTo>
                  <a:pt x="10" y="50"/>
                  <a:pt x="10" y="50"/>
                  <a:pt x="10" y="50"/>
                </a:cubicBezTo>
                <a:cubicBezTo>
                  <a:pt x="10" y="56"/>
                  <a:pt x="10" y="56"/>
                  <a:pt x="10" y="56"/>
                </a:cubicBezTo>
                <a:cubicBezTo>
                  <a:pt x="10" y="59"/>
                  <a:pt x="12" y="61"/>
                  <a:pt x="14" y="61"/>
                </a:cubicBezTo>
                <a:cubicBezTo>
                  <a:pt x="17" y="61"/>
                  <a:pt x="19" y="59"/>
                  <a:pt x="19" y="56"/>
                </a:cubicBezTo>
                <a:cubicBezTo>
                  <a:pt x="19" y="50"/>
                  <a:pt x="19" y="50"/>
                  <a:pt x="19" y="50"/>
                </a:cubicBezTo>
                <a:cubicBezTo>
                  <a:pt x="56" y="50"/>
                  <a:pt x="56" y="50"/>
                  <a:pt x="56" y="50"/>
                </a:cubicBezTo>
                <a:cubicBezTo>
                  <a:pt x="56" y="56"/>
                  <a:pt x="56" y="56"/>
                  <a:pt x="56" y="56"/>
                </a:cubicBezTo>
                <a:cubicBezTo>
                  <a:pt x="56" y="59"/>
                  <a:pt x="58" y="61"/>
                  <a:pt x="61" y="61"/>
                </a:cubicBezTo>
                <a:cubicBezTo>
                  <a:pt x="64" y="61"/>
                  <a:pt x="66" y="59"/>
                  <a:pt x="66" y="56"/>
                </a:cubicBezTo>
                <a:cubicBezTo>
                  <a:pt x="66" y="50"/>
                  <a:pt x="66" y="50"/>
                  <a:pt x="66" y="50"/>
                </a:cubicBezTo>
                <a:cubicBezTo>
                  <a:pt x="70" y="50"/>
                  <a:pt x="70" y="50"/>
                  <a:pt x="70" y="50"/>
                </a:cubicBezTo>
                <a:cubicBezTo>
                  <a:pt x="73" y="50"/>
                  <a:pt x="75" y="48"/>
                  <a:pt x="75" y="45"/>
                </a:cubicBezTo>
                <a:cubicBezTo>
                  <a:pt x="75" y="28"/>
                  <a:pt x="75" y="28"/>
                  <a:pt x="75" y="28"/>
                </a:cubicBezTo>
                <a:cubicBezTo>
                  <a:pt x="75" y="25"/>
                  <a:pt x="74" y="23"/>
                  <a:pt x="72" y="23"/>
                </a:cubicBezTo>
                <a:close/>
                <a:moveTo>
                  <a:pt x="18" y="8"/>
                </a:moveTo>
                <a:cubicBezTo>
                  <a:pt x="57" y="8"/>
                  <a:pt x="57" y="8"/>
                  <a:pt x="57" y="8"/>
                </a:cubicBezTo>
                <a:cubicBezTo>
                  <a:pt x="62" y="20"/>
                  <a:pt x="62" y="20"/>
                  <a:pt x="62" y="20"/>
                </a:cubicBezTo>
                <a:cubicBezTo>
                  <a:pt x="13" y="20"/>
                  <a:pt x="13" y="20"/>
                  <a:pt x="13" y="20"/>
                </a:cubicBezTo>
                <a:lnTo>
                  <a:pt x="18" y="8"/>
                </a:lnTo>
                <a:close/>
                <a:moveTo>
                  <a:pt x="14" y="38"/>
                </a:moveTo>
                <a:cubicBezTo>
                  <a:pt x="11" y="38"/>
                  <a:pt x="9" y="36"/>
                  <a:pt x="9" y="33"/>
                </a:cubicBezTo>
                <a:cubicBezTo>
                  <a:pt x="9" y="30"/>
                  <a:pt x="11" y="28"/>
                  <a:pt x="14" y="28"/>
                </a:cubicBezTo>
                <a:cubicBezTo>
                  <a:pt x="17" y="28"/>
                  <a:pt x="19" y="30"/>
                  <a:pt x="19" y="33"/>
                </a:cubicBezTo>
                <a:cubicBezTo>
                  <a:pt x="19" y="36"/>
                  <a:pt x="17" y="38"/>
                  <a:pt x="14" y="38"/>
                </a:cubicBezTo>
                <a:close/>
                <a:moveTo>
                  <a:pt x="61" y="38"/>
                </a:moveTo>
                <a:cubicBezTo>
                  <a:pt x="58" y="38"/>
                  <a:pt x="56" y="36"/>
                  <a:pt x="56" y="33"/>
                </a:cubicBezTo>
                <a:cubicBezTo>
                  <a:pt x="56" y="30"/>
                  <a:pt x="58" y="28"/>
                  <a:pt x="61" y="28"/>
                </a:cubicBezTo>
                <a:cubicBezTo>
                  <a:pt x="64" y="28"/>
                  <a:pt x="67" y="30"/>
                  <a:pt x="67" y="33"/>
                </a:cubicBezTo>
                <a:cubicBezTo>
                  <a:pt x="67" y="36"/>
                  <a:pt x="64" y="38"/>
                  <a:pt x="61" y="3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54" name="Freeform 128"/>
          <p:cNvSpPr>
            <a:spLocks noEditPoints="1"/>
          </p:cNvSpPr>
          <p:nvPr/>
        </p:nvSpPr>
        <p:spPr bwMode="black">
          <a:xfrm>
            <a:off x="9303767" y="5311837"/>
            <a:ext cx="272086" cy="239527"/>
          </a:xfrm>
          <a:custGeom>
            <a:avLst/>
            <a:gdLst>
              <a:gd name="T0" fmla="*/ 49 w 71"/>
              <a:gd name="T1" fmla="*/ 21 h 62"/>
              <a:gd name="T2" fmla="*/ 49 w 71"/>
              <a:gd name="T3" fmla="*/ 19 h 62"/>
              <a:gd name="T4" fmla="*/ 49 w 71"/>
              <a:gd name="T5" fmla="*/ 19 h 62"/>
              <a:gd name="T6" fmla="*/ 48 w 71"/>
              <a:gd name="T7" fmla="*/ 17 h 62"/>
              <a:gd name="T8" fmla="*/ 32 w 71"/>
              <a:gd name="T9" fmla="*/ 2 h 62"/>
              <a:gd name="T10" fmla="*/ 28 w 71"/>
              <a:gd name="T11" fmla="*/ 0 h 62"/>
              <a:gd name="T12" fmla="*/ 28 w 71"/>
              <a:gd name="T13" fmla="*/ 0 h 62"/>
              <a:gd name="T14" fmla="*/ 28 w 71"/>
              <a:gd name="T15" fmla="*/ 0 h 62"/>
              <a:gd name="T16" fmla="*/ 6 w 71"/>
              <a:gd name="T17" fmla="*/ 0 h 62"/>
              <a:gd name="T18" fmla="*/ 0 w 71"/>
              <a:gd name="T19" fmla="*/ 5 h 62"/>
              <a:gd name="T20" fmla="*/ 0 w 71"/>
              <a:gd name="T21" fmla="*/ 56 h 62"/>
              <a:gd name="T22" fmla="*/ 6 w 71"/>
              <a:gd name="T23" fmla="*/ 62 h 62"/>
              <a:gd name="T24" fmla="*/ 44 w 71"/>
              <a:gd name="T25" fmla="*/ 62 h 62"/>
              <a:gd name="T26" fmla="*/ 50 w 71"/>
              <a:gd name="T27" fmla="*/ 56 h 62"/>
              <a:gd name="T28" fmla="*/ 50 w 71"/>
              <a:gd name="T29" fmla="*/ 21 h 62"/>
              <a:gd name="T30" fmla="*/ 49 w 71"/>
              <a:gd name="T31" fmla="*/ 21 h 62"/>
              <a:gd name="T32" fmla="*/ 28 w 71"/>
              <a:gd name="T33" fmla="*/ 5 h 62"/>
              <a:gd name="T34" fmla="*/ 44 w 71"/>
              <a:gd name="T35" fmla="*/ 21 h 62"/>
              <a:gd name="T36" fmla="*/ 28 w 71"/>
              <a:gd name="T37" fmla="*/ 21 h 62"/>
              <a:gd name="T38" fmla="*/ 28 w 71"/>
              <a:gd name="T39" fmla="*/ 5 h 62"/>
              <a:gd name="T40" fmla="*/ 44 w 71"/>
              <a:gd name="T41" fmla="*/ 56 h 62"/>
              <a:gd name="T42" fmla="*/ 6 w 71"/>
              <a:gd name="T43" fmla="*/ 56 h 62"/>
              <a:gd name="T44" fmla="*/ 6 w 71"/>
              <a:gd name="T45" fmla="*/ 5 h 62"/>
              <a:gd name="T46" fmla="*/ 23 w 71"/>
              <a:gd name="T47" fmla="*/ 5 h 62"/>
              <a:gd name="T48" fmla="*/ 23 w 71"/>
              <a:gd name="T49" fmla="*/ 21 h 62"/>
              <a:gd name="T50" fmla="*/ 28 w 71"/>
              <a:gd name="T51" fmla="*/ 27 h 62"/>
              <a:gd name="T52" fmla="*/ 44 w 71"/>
              <a:gd name="T53" fmla="*/ 27 h 62"/>
              <a:gd name="T54" fmla="*/ 44 w 71"/>
              <a:gd name="T55" fmla="*/ 56 h 62"/>
              <a:gd name="T56" fmla="*/ 58 w 71"/>
              <a:gd name="T57" fmla="*/ 14 h 62"/>
              <a:gd name="T58" fmla="*/ 60 w 71"/>
              <a:gd name="T59" fmla="*/ 19 h 62"/>
              <a:gd name="T60" fmla="*/ 60 w 71"/>
              <a:gd name="T61" fmla="*/ 56 h 62"/>
              <a:gd name="T62" fmla="*/ 55 w 71"/>
              <a:gd name="T63" fmla="*/ 62 h 62"/>
              <a:gd name="T64" fmla="*/ 53 w 71"/>
              <a:gd name="T65" fmla="*/ 62 h 62"/>
              <a:gd name="T66" fmla="*/ 55 w 71"/>
              <a:gd name="T67" fmla="*/ 57 h 62"/>
              <a:gd name="T68" fmla="*/ 55 w 71"/>
              <a:gd name="T69" fmla="*/ 21 h 62"/>
              <a:gd name="T70" fmla="*/ 53 w 71"/>
              <a:gd name="T71" fmla="*/ 15 h 62"/>
              <a:gd name="T72" fmla="*/ 37 w 71"/>
              <a:gd name="T73" fmla="*/ 0 h 62"/>
              <a:gd name="T74" fmla="*/ 37 w 71"/>
              <a:gd name="T75" fmla="*/ 0 h 62"/>
              <a:gd name="T76" fmla="*/ 39 w 71"/>
              <a:gd name="T77" fmla="*/ 0 h 62"/>
              <a:gd name="T78" fmla="*/ 40 w 71"/>
              <a:gd name="T79" fmla="*/ 0 h 62"/>
              <a:gd name="T80" fmla="*/ 47 w 71"/>
              <a:gd name="T81" fmla="*/ 3 h 62"/>
              <a:gd name="T82" fmla="*/ 58 w 71"/>
              <a:gd name="T83" fmla="*/ 14 h 62"/>
              <a:gd name="T84" fmla="*/ 69 w 71"/>
              <a:gd name="T85" fmla="*/ 13 h 62"/>
              <a:gd name="T86" fmla="*/ 71 w 71"/>
              <a:gd name="T87" fmla="*/ 17 h 62"/>
              <a:gd name="T88" fmla="*/ 71 w 71"/>
              <a:gd name="T89" fmla="*/ 56 h 62"/>
              <a:gd name="T90" fmla="*/ 65 w 71"/>
              <a:gd name="T91" fmla="*/ 62 h 62"/>
              <a:gd name="T92" fmla="*/ 64 w 71"/>
              <a:gd name="T93" fmla="*/ 62 h 62"/>
              <a:gd name="T94" fmla="*/ 65 w 71"/>
              <a:gd name="T95" fmla="*/ 57 h 62"/>
              <a:gd name="T96" fmla="*/ 65 w 71"/>
              <a:gd name="T97" fmla="*/ 18 h 62"/>
              <a:gd name="T98" fmla="*/ 64 w 71"/>
              <a:gd name="T99" fmla="*/ 14 h 62"/>
              <a:gd name="T100" fmla="*/ 50 w 71"/>
              <a:gd name="T101" fmla="*/ 0 h 62"/>
              <a:gd name="T102" fmla="*/ 50 w 71"/>
              <a:gd name="T103" fmla="*/ 0 h 62"/>
              <a:gd name="T104" fmla="*/ 51 w 71"/>
              <a:gd name="T105" fmla="*/ 0 h 62"/>
              <a:gd name="T106" fmla="*/ 52 w 71"/>
              <a:gd name="T107" fmla="*/ 0 h 62"/>
              <a:gd name="T108" fmla="*/ 59 w 71"/>
              <a:gd name="T109" fmla="*/ 3 h 62"/>
              <a:gd name="T110" fmla="*/ 69 w 71"/>
              <a:gd name="T111" fmla="*/ 13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71" h="62">
                <a:moveTo>
                  <a:pt x="49" y="21"/>
                </a:moveTo>
                <a:cubicBezTo>
                  <a:pt x="49" y="20"/>
                  <a:pt x="49" y="20"/>
                  <a:pt x="49" y="19"/>
                </a:cubicBezTo>
                <a:cubicBezTo>
                  <a:pt x="49" y="19"/>
                  <a:pt x="49" y="19"/>
                  <a:pt x="49" y="19"/>
                </a:cubicBezTo>
                <a:cubicBezTo>
                  <a:pt x="49" y="18"/>
                  <a:pt x="48" y="18"/>
                  <a:pt x="48" y="17"/>
                </a:cubicBezTo>
                <a:cubicBezTo>
                  <a:pt x="32" y="2"/>
                  <a:pt x="32" y="2"/>
                  <a:pt x="32" y="2"/>
                </a:cubicBezTo>
                <a:cubicBezTo>
                  <a:pt x="31" y="0"/>
                  <a:pt x="30" y="0"/>
                  <a:pt x="28" y="0"/>
                </a:cubicBezTo>
                <a:cubicBezTo>
                  <a:pt x="28" y="0"/>
                  <a:pt x="28" y="0"/>
                  <a:pt x="28" y="0"/>
                </a:cubicBezTo>
                <a:cubicBezTo>
                  <a:pt x="28" y="0"/>
                  <a:pt x="28" y="0"/>
                  <a:pt x="28" y="0"/>
                </a:cubicBezTo>
                <a:cubicBezTo>
                  <a:pt x="6" y="0"/>
                  <a:pt x="6" y="0"/>
                  <a:pt x="6" y="0"/>
                </a:cubicBezTo>
                <a:cubicBezTo>
                  <a:pt x="3" y="0"/>
                  <a:pt x="0" y="2"/>
                  <a:pt x="0" y="5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59"/>
                  <a:pt x="3" y="62"/>
                  <a:pt x="6" y="62"/>
                </a:cubicBezTo>
                <a:cubicBezTo>
                  <a:pt x="44" y="62"/>
                  <a:pt x="44" y="62"/>
                  <a:pt x="44" y="62"/>
                </a:cubicBezTo>
                <a:cubicBezTo>
                  <a:pt x="47" y="62"/>
                  <a:pt x="50" y="59"/>
                  <a:pt x="50" y="56"/>
                </a:cubicBezTo>
                <a:cubicBezTo>
                  <a:pt x="50" y="21"/>
                  <a:pt x="50" y="21"/>
                  <a:pt x="50" y="21"/>
                </a:cubicBezTo>
                <a:cubicBezTo>
                  <a:pt x="50" y="21"/>
                  <a:pt x="49" y="21"/>
                  <a:pt x="49" y="21"/>
                </a:cubicBezTo>
                <a:close/>
                <a:moveTo>
                  <a:pt x="28" y="5"/>
                </a:moveTo>
                <a:cubicBezTo>
                  <a:pt x="44" y="21"/>
                  <a:pt x="44" y="21"/>
                  <a:pt x="44" y="21"/>
                </a:cubicBezTo>
                <a:cubicBezTo>
                  <a:pt x="28" y="21"/>
                  <a:pt x="28" y="21"/>
                  <a:pt x="28" y="21"/>
                </a:cubicBezTo>
                <a:lnTo>
                  <a:pt x="28" y="5"/>
                </a:lnTo>
                <a:close/>
                <a:moveTo>
                  <a:pt x="44" y="56"/>
                </a:moveTo>
                <a:cubicBezTo>
                  <a:pt x="6" y="56"/>
                  <a:pt x="6" y="56"/>
                  <a:pt x="6" y="56"/>
                </a:cubicBezTo>
                <a:cubicBezTo>
                  <a:pt x="6" y="5"/>
                  <a:pt x="6" y="5"/>
                  <a:pt x="6" y="5"/>
                </a:cubicBezTo>
                <a:cubicBezTo>
                  <a:pt x="23" y="5"/>
                  <a:pt x="23" y="5"/>
                  <a:pt x="23" y="5"/>
                </a:cubicBezTo>
                <a:cubicBezTo>
                  <a:pt x="23" y="21"/>
                  <a:pt x="23" y="21"/>
                  <a:pt x="23" y="21"/>
                </a:cubicBezTo>
                <a:cubicBezTo>
                  <a:pt x="23" y="24"/>
                  <a:pt x="25" y="27"/>
                  <a:pt x="28" y="27"/>
                </a:cubicBezTo>
                <a:cubicBezTo>
                  <a:pt x="44" y="27"/>
                  <a:pt x="44" y="27"/>
                  <a:pt x="44" y="27"/>
                </a:cubicBezTo>
                <a:lnTo>
                  <a:pt x="44" y="56"/>
                </a:lnTo>
                <a:close/>
                <a:moveTo>
                  <a:pt x="58" y="14"/>
                </a:moveTo>
                <a:cubicBezTo>
                  <a:pt x="59" y="15"/>
                  <a:pt x="60" y="17"/>
                  <a:pt x="60" y="19"/>
                </a:cubicBezTo>
                <a:cubicBezTo>
                  <a:pt x="60" y="56"/>
                  <a:pt x="60" y="56"/>
                  <a:pt x="60" y="56"/>
                </a:cubicBezTo>
                <a:cubicBezTo>
                  <a:pt x="60" y="59"/>
                  <a:pt x="58" y="62"/>
                  <a:pt x="55" y="62"/>
                </a:cubicBezTo>
                <a:cubicBezTo>
                  <a:pt x="53" y="62"/>
                  <a:pt x="53" y="62"/>
                  <a:pt x="53" y="62"/>
                </a:cubicBezTo>
                <a:cubicBezTo>
                  <a:pt x="54" y="60"/>
                  <a:pt x="55" y="59"/>
                  <a:pt x="55" y="57"/>
                </a:cubicBezTo>
                <a:cubicBezTo>
                  <a:pt x="55" y="21"/>
                  <a:pt x="55" y="21"/>
                  <a:pt x="55" y="21"/>
                </a:cubicBezTo>
                <a:cubicBezTo>
                  <a:pt x="55" y="19"/>
                  <a:pt x="54" y="17"/>
                  <a:pt x="53" y="15"/>
                </a:cubicBezTo>
                <a:cubicBezTo>
                  <a:pt x="37" y="0"/>
                  <a:pt x="37" y="0"/>
                  <a:pt x="37" y="0"/>
                </a:cubicBezTo>
                <a:cubicBezTo>
                  <a:pt x="37" y="0"/>
                  <a:pt x="37" y="0"/>
                  <a:pt x="37" y="0"/>
                </a:cubicBezTo>
                <a:cubicBezTo>
                  <a:pt x="39" y="0"/>
                  <a:pt x="39" y="0"/>
                  <a:pt x="39" y="0"/>
                </a:cubicBezTo>
                <a:cubicBezTo>
                  <a:pt x="40" y="0"/>
                  <a:pt x="40" y="0"/>
                  <a:pt x="40" y="0"/>
                </a:cubicBezTo>
                <a:cubicBezTo>
                  <a:pt x="41" y="0"/>
                  <a:pt x="44" y="0"/>
                  <a:pt x="47" y="3"/>
                </a:cubicBezTo>
                <a:cubicBezTo>
                  <a:pt x="58" y="14"/>
                  <a:pt x="58" y="14"/>
                  <a:pt x="58" y="14"/>
                </a:cubicBezTo>
                <a:moveTo>
                  <a:pt x="69" y="13"/>
                </a:moveTo>
                <a:cubicBezTo>
                  <a:pt x="70" y="14"/>
                  <a:pt x="71" y="16"/>
                  <a:pt x="71" y="17"/>
                </a:cubicBezTo>
                <a:cubicBezTo>
                  <a:pt x="71" y="56"/>
                  <a:pt x="71" y="56"/>
                  <a:pt x="71" y="56"/>
                </a:cubicBezTo>
                <a:cubicBezTo>
                  <a:pt x="71" y="59"/>
                  <a:pt x="68" y="62"/>
                  <a:pt x="65" y="62"/>
                </a:cubicBezTo>
                <a:cubicBezTo>
                  <a:pt x="64" y="62"/>
                  <a:pt x="64" y="62"/>
                  <a:pt x="64" y="62"/>
                </a:cubicBezTo>
                <a:cubicBezTo>
                  <a:pt x="65" y="60"/>
                  <a:pt x="65" y="59"/>
                  <a:pt x="65" y="57"/>
                </a:cubicBezTo>
                <a:cubicBezTo>
                  <a:pt x="65" y="18"/>
                  <a:pt x="65" y="18"/>
                  <a:pt x="65" y="18"/>
                </a:cubicBezTo>
                <a:cubicBezTo>
                  <a:pt x="65" y="17"/>
                  <a:pt x="65" y="15"/>
                  <a:pt x="64" y="14"/>
                </a:cubicBezTo>
                <a:cubicBezTo>
                  <a:pt x="50" y="0"/>
                  <a:pt x="50" y="0"/>
                  <a:pt x="50" y="0"/>
                </a:cubicBezTo>
                <a:cubicBezTo>
                  <a:pt x="50" y="0"/>
                  <a:pt x="50" y="0"/>
                  <a:pt x="50" y="0"/>
                </a:cubicBezTo>
                <a:cubicBezTo>
                  <a:pt x="51" y="0"/>
                  <a:pt x="51" y="0"/>
                  <a:pt x="51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4" y="0"/>
                  <a:pt x="56" y="0"/>
                  <a:pt x="59" y="3"/>
                </a:cubicBezTo>
                <a:cubicBezTo>
                  <a:pt x="69" y="13"/>
                  <a:pt x="69" y="13"/>
                  <a:pt x="69" y="13"/>
                </a:cubicBezTo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55" name="Oval 129"/>
          <p:cNvSpPr>
            <a:spLocks noChangeArrowheads="1"/>
          </p:cNvSpPr>
          <p:nvPr/>
        </p:nvSpPr>
        <p:spPr bwMode="black">
          <a:xfrm>
            <a:off x="6598208" y="5954534"/>
            <a:ext cx="47207" cy="53929"/>
          </a:xfrm>
          <a:prstGeom prst="ellipse">
            <a:avLst/>
          </a:prstGeom>
          <a:solidFill>
            <a:srgbClr val="FFFFFF"/>
          </a:solidFill>
          <a:ln>
            <a:noFill/>
          </a:ln>
          <a:extLst/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56" name="Freeform 131"/>
          <p:cNvSpPr>
            <a:spLocks noEditPoints="1"/>
          </p:cNvSpPr>
          <p:nvPr/>
        </p:nvSpPr>
        <p:spPr bwMode="black">
          <a:xfrm>
            <a:off x="9289815" y="3318207"/>
            <a:ext cx="299994" cy="176740"/>
          </a:xfrm>
          <a:custGeom>
            <a:avLst/>
            <a:gdLst>
              <a:gd name="T0" fmla="*/ 63 w 78"/>
              <a:gd name="T1" fmla="*/ 46 h 46"/>
              <a:gd name="T2" fmla="*/ 15 w 78"/>
              <a:gd name="T3" fmla="*/ 46 h 46"/>
              <a:gd name="T4" fmla="*/ 15 w 78"/>
              <a:gd name="T5" fmla="*/ 37 h 46"/>
              <a:gd name="T6" fmla="*/ 63 w 78"/>
              <a:gd name="T7" fmla="*/ 37 h 46"/>
              <a:gd name="T8" fmla="*/ 63 w 78"/>
              <a:gd name="T9" fmla="*/ 46 h 46"/>
              <a:gd name="T10" fmla="*/ 70 w 78"/>
              <a:gd name="T11" fmla="*/ 0 h 46"/>
              <a:gd name="T12" fmla="*/ 15 w 78"/>
              <a:gd name="T13" fmla="*/ 0 h 46"/>
              <a:gd name="T14" fmla="*/ 15 w 78"/>
              <a:gd name="T15" fmla="*/ 9 h 46"/>
              <a:gd name="T16" fmla="*/ 70 w 78"/>
              <a:gd name="T17" fmla="*/ 9 h 46"/>
              <a:gd name="T18" fmla="*/ 70 w 78"/>
              <a:gd name="T19" fmla="*/ 0 h 46"/>
              <a:gd name="T20" fmla="*/ 78 w 78"/>
              <a:gd name="T21" fmla="*/ 18 h 46"/>
              <a:gd name="T22" fmla="*/ 15 w 78"/>
              <a:gd name="T23" fmla="*/ 18 h 46"/>
              <a:gd name="T24" fmla="*/ 15 w 78"/>
              <a:gd name="T25" fmla="*/ 28 h 46"/>
              <a:gd name="T26" fmla="*/ 78 w 78"/>
              <a:gd name="T27" fmla="*/ 28 h 46"/>
              <a:gd name="T28" fmla="*/ 78 w 78"/>
              <a:gd name="T29" fmla="*/ 18 h 46"/>
              <a:gd name="T30" fmla="*/ 4 w 78"/>
              <a:gd name="T31" fmla="*/ 9 h 46"/>
              <a:gd name="T32" fmla="*/ 9 w 78"/>
              <a:gd name="T33" fmla="*/ 4 h 46"/>
              <a:gd name="T34" fmla="*/ 4 w 78"/>
              <a:gd name="T35" fmla="*/ 0 h 46"/>
              <a:gd name="T36" fmla="*/ 0 w 78"/>
              <a:gd name="T37" fmla="*/ 4 h 46"/>
              <a:gd name="T38" fmla="*/ 4 w 78"/>
              <a:gd name="T39" fmla="*/ 9 h 46"/>
              <a:gd name="T40" fmla="*/ 4 w 78"/>
              <a:gd name="T41" fmla="*/ 18 h 46"/>
              <a:gd name="T42" fmla="*/ 0 w 78"/>
              <a:gd name="T43" fmla="*/ 23 h 46"/>
              <a:gd name="T44" fmla="*/ 4 w 78"/>
              <a:gd name="T45" fmla="*/ 28 h 46"/>
              <a:gd name="T46" fmla="*/ 9 w 78"/>
              <a:gd name="T47" fmla="*/ 23 h 46"/>
              <a:gd name="T48" fmla="*/ 4 w 78"/>
              <a:gd name="T49" fmla="*/ 18 h 46"/>
              <a:gd name="T50" fmla="*/ 4 w 78"/>
              <a:gd name="T51" fmla="*/ 37 h 46"/>
              <a:gd name="T52" fmla="*/ 0 w 78"/>
              <a:gd name="T53" fmla="*/ 41 h 46"/>
              <a:gd name="T54" fmla="*/ 4 w 78"/>
              <a:gd name="T55" fmla="*/ 46 h 46"/>
              <a:gd name="T56" fmla="*/ 9 w 78"/>
              <a:gd name="T57" fmla="*/ 41 h 46"/>
              <a:gd name="T58" fmla="*/ 4 w 78"/>
              <a:gd name="T59" fmla="*/ 37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78" h="46">
                <a:moveTo>
                  <a:pt x="63" y="46"/>
                </a:moveTo>
                <a:cubicBezTo>
                  <a:pt x="15" y="46"/>
                  <a:pt x="15" y="46"/>
                  <a:pt x="15" y="46"/>
                </a:cubicBezTo>
                <a:cubicBezTo>
                  <a:pt x="15" y="37"/>
                  <a:pt x="15" y="37"/>
                  <a:pt x="15" y="37"/>
                </a:cubicBezTo>
                <a:cubicBezTo>
                  <a:pt x="63" y="37"/>
                  <a:pt x="63" y="37"/>
                  <a:pt x="63" y="37"/>
                </a:cubicBezTo>
                <a:lnTo>
                  <a:pt x="63" y="46"/>
                </a:lnTo>
                <a:close/>
                <a:moveTo>
                  <a:pt x="70" y="0"/>
                </a:moveTo>
                <a:cubicBezTo>
                  <a:pt x="15" y="0"/>
                  <a:pt x="15" y="0"/>
                  <a:pt x="15" y="0"/>
                </a:cubicBezTo>
                <a:cubicBezTo>
                  <a:pt x="15" y="9"/>
                  <a:pt x="15" y="9"/>
                  <a:pt x="15" y="9"/>
                </a:cubicBezTo>
                <a:cubicBezTo>
                  <a:pt x="70" y="9"/>
                  <a:pt x="70" y="9"/>
                  <a:pt x="70" y="9"/>
                </a:cubicBezTo>
                <a:lnTo>
                  <a:pt x="70" y="0"/>
                </a:lnTo>
                <a:close/>
                <a:moveTo>
                  <a:pt x="78" y="18"/>
                </a:moveTo>
                <a:cubicBezTo>
                  <a:pt x="15" y="18"/>
                  <a:pt x="15" y="18"/>
                  <a:pt x="15" y="18"/>
                </a:cubicBezTo>
                <a:cubicBezTo>
                  <a:pt x="15" y="28"/>
                  <a:pt x="15" y="28"/>
                  <a:pt x="15" y="28"/>
                </a:cubicBezTo>
                <a:cubicBezTo>
                  <a:pt x="78" y="28"/>
                  <a:pt x="78" y="28"/>
                  <a:pt x="78" y="28"/>
                </a:cubicBezTo>
                <a:lnTo>
                  <a:pt x="78" y="18"/>
                </a:lnTo>
                <a:close/>
                <a:moveTo>
                  <a:pt x="4" y="9"/>
                </a:moveTo>
                <a:cubicBezTo>
                  <a:pt x="7" y="9"/>
                  <a:pt x="9" y="7"/>
                  <a:pt x="9" y="4"/>
                </a:cubicBezTo>
                <a:cubicBezTo>
                  <a:pt x="9" y="2"/>
                  <a:pt x="7" y="0"/>
                  <a:pt x="4" y="0"/>
                </a:cubicBezTo>
                <a:cubicBezTo>
                  <a:pt x="2" y="0"/>
                  <a:pt x="0" y="2"/>
                  <a:pt x="0" y="4"/>
                </a:cubicBezTo>
                <a:cubicBezTo>
                  <a:pt x="0" y="7"/>
                  <a:pt x="2" y="9"/>
                  <a:pt x="4" y="9"/>
                </a:cubicBezTo>
                <a:moveTo>
                  <a:pt x="4" y="18"/>
                </a:moveTo>
                <a:cubicBezTo>
                  <a:pt x="2" y="18"/>
                  <a:pt x="0" y="20"/>
                  <a:pt x="0" y="23"/>
                </a:cubicBezTo>
                <a:cubicBezTo>
                  <a:pt x="0" y="26"/>
                  <a:pt x="2" y="28"/>
                  <a:pt x="4" y="28"/>
                </a:cubicBezTo>
                <a:cubicBezTo>
                  <a:pt x="7" y="28"/>
                  <a:pt x="9" y="26"/>
                  <a:pt x="9" y="23"/>
                </a:cubicBezTo>
                <a:cubicBezTo>
                  <a:pt x="9" y="20"/>
                  <a:pt x="7" y="18"/>
                  <a:pt x="4" y="18"/>
                </a:cubicBezTo>
                <a:moveTo>
                  <a:pt x="4" y="37"/>
                </a:moveTo>
                <a:cubicBezTo>
                  <a:pt x="2" y="37"/>
                  <a:pt x="0" y="39"/>
                  <a:pt x="0" y="41"/>
                </a:cubicBezTo>
                <a:cubicBezTo>
                  <a:pt x="0" y="44"/>
                  <a:pt x="2" y="46"/>
                  <a:pt x="4" y="46"/>
                </a:cubicBezTo>
                <a:cubicBezTo>
                  <a:pt x="7" y="46"/>
                  <a:pt x="9" y="44"/>
                  <a:pt x="9" y="41"/>
                </a:cubicBezTo>
                <a:cubicBezTo>
                  <a:pt x="9" y="39"/>
                  <a:pt x="7" y="37"/>
                  <a:pt x="4" y="37"/>
                </a:cubicBezTo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57" name="Freeform 132"/>
          <p:cNvSpPr>
            <a:spLocks noEditPoints="1"/>
          </p:cNvSpPr>
          <p:nvPr/>
        </p:nvSpPr>
        <p:spPr bwMode="black">
          <a:xfrm>
            <a:off x="9345628" y="2578085"/>
            <a:ext cx="188368" cy="306969"/>
          </a:xfrm>
          <a:custGeom>
            <a:avLst/>
            <a:gdLst>
              <a:gd name="T0" fmla="*/ 42 w 49"/>
              <a:gd name="T1" fmla="*/ 7 h 80"/>
              <a:gd name="T2" fmla="*/ 25 w 49"/>
              <a:gd name="T3" fmla="*/ 0 h 80"/>
              <a:gd name="T4" fmla="*/ 8 w 49"/>
              <a:gd name="T5" fmla="*/ 7 h 80"/>
              <a:gd name="T6" fmla="*/ 0 w 49"/>
              <a:gd name="T7" fmla="*/ 24 h 80"/>
              <a:gd name="T8" fmla="*/ 4 w 49"/>
              <a:gd name="T9" fmla="*/ 39 h 80"/>
              <a:gd name="T10" fmla="*/ 16 w 49"/>
              <a:gd name="T11" fmla="*/ 55 h 80"/>
              <a:gd name="T12" fmla="*/ 23 w 49"/>
              <a:gd name="T13" fmla="*/ 80 h 80"/>
              <a:gd name="T14" fmla="*/ 27 w 49"/>
              <a:gd name="T15" fmla="*/ 80 h 80"/>
              <a:gd name="T16" fmla="*/ 37 w 49"/>
              <a:gd name="T17" fmla="*/ 49 h 80"/>
              <a:gd name="T18" fmla="*/ 45 w 49"/>
              <a:gd name="T19" fmla="*/ 39 h 80"/>
              <a:gd name="T20" fmla="*/ 49 w 49"/>
              <a:gd name="T21" fmla="*/ 24 h 80"/>
              <a:gd name="T22" fmla="*/ 42 w 49"/>
              <a:gd name="T23" fmla="*/ 7 h 80"/>
              <a:gd name="T24" fmla="*/ 25 w 49"/>
              <a:gd name="T25" fmla="*/ 37 h 80"/>
              <a:gd name="T26" fmla="*/ 13 w 49"/>
              <a:gd name="T27" fmla="*/ 25 h 80"/>
              <a:gd name="T28" fmla="*/ 25 w 49"/>
              <a:gd name="T29" fmla="*/ 14 h 80"/>
              <a:gd name="T30" fmla="*/ 36 w 49"/>
              <a:gd name="T31" fmla="*/ 25 h 80"/>
              <a:gd name="T32" fmla="*/ 25 w 49"/>
              <a:gd name="T33" fmla="*/ 37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9" h="80">
                <a:moveTo>
                  <a:pt x="42" y="7"/>
                </a:moveTo>
                <a:cubicBezTo>
                  <a:pt x="37" y="3"/>
                  <a:pt x="31" y="0"/>
                  <a:pt x="25" y="0"/>
                </a:cubicBezTo>
                <a:cubicBezTo>
                  <a:pt x="18" y="0"/>
                  <a:pt x="12" y="3"/>
                  <a:pt x="8" y="7"/>
                </a:cubicBezTo>
                <a:cubicBezTo>
                  <a:pt x="3" y="12"/>
                  <a:pt x="0" y="18"/>
                  <a:pt x="0" y="24"/>
                </a:cubicBezTo>
                <a:cubicBezTo>
                  <a:pt x="0" y="30"/>
                  <a:pt x="2" y="35"/>
                  <a:pt x="4" y="39"/>
                </a:cubicBezTo>
                <a:cubicBezTo>
                  <a:pt x="8" y="45"/>
                  <a:pt x="12" y="49"/>
                  <a:pt x="16" y="55"/>
                </a:cubicBezTo>
                <a:cubicBezTo>
                  <a:pt x="20" y="61"/>
                  <a:pt x="23" y="68"/>
                  <a:pt x="23" y="80"/>
                </a:cubicBezTo>
                <a:cubicBezTo>
                  <a:pt x="27" y="80"/>
                  <a:pt x="27" y="80"/>
                  <a:pt x="27" y="80"/>
                </a:cubicBezTo>
                <a:cubicBezTo>
                  <a:pt x="27" y="64"/>
                  <a:pt x="32" y="56"/>
                  <a:pt x="37" y="49"/>
                </a:cubicBezTo>
                <a:cubicBezTo>
                  <a:pt x="40" y="46"/>
                  <a:pt x="43" y="43"/>
                  <a:pt x="45" y="39"/>
                </a:cubicBezTo>
                <a:cubicBezTo>
                  <a:pt x="48" y="35"/>
                  <a:pt x="49" y="30"/>
                  <a:pt x="49" y="24"/>
                </a:cubicBezTo>
                <a:cubicBezTo>
                  <a:pt x="49" y="18"/>
                  <a:pt x="46" y="12"/>
                  <a:pt x="42" y="7"/>
                </a:cubicBezTo>
                <a:close/>
                <a:moveTo>
                  <a:pt x="25" y="37"/>
                </a:moveTo>
                <a:cubicBezTo>
                  <a:pt x="18" y="37"/>
                  <a:pt x="13" y="31"/>
                  <a:pt x="13" y="25"/>
                </a:cubicBezTo>
                <a:cubicBezTo>
                  <a:pt x="13" y="19"/>
                  <a:pt x="18" y="14"/>
                  <a:pt x="25" y="14"/>
                </a:cubicBezTo>
                <a:cubicBezTo>
                  <a:pt x="31" y="14"/>
                  <a:pt x="36" y="19"/>
                  <a:pt x="36" y="25"/>
                </a:cubicBezTo>
                <a:cubicBezTo>
                  <a:pt x="36" y="31"/>
                  <a:pt x="31" y="37"/>
                  <a:pt x="25" y="3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58" name="Freeform 133"/>
          <p:cNvSpPr>
            <a:spLocks noEditPoints="1"/>
          </p:cNvSpPr>
          <p:nvPr/>
        </p:nvSpPr>
        <p:spPr bwMode="black">
          <a:xfrm>
            <a:off x="8642945" y="5285089"/>
            <a:ext cx="248831" cy="293015"/>
          </a:xfrm>
          <a:custGeom>
            <a:avLst/>
            <a:gdLst>
              <a:gd name="T0" fmla="*/ 60 w 65"/>
              <a:gd name="T1" fmla="*/ 76 h 76"/>
              <a:gd name="T2" fmla="*/ 5 w 65"/>
              <a:gd name="T3" fmla="*/ 76 h 76"/>
              <a:gd name="T4" fmla="*/ 5 w 65"/>
              <a:gd name="T5" fmla="*/ 43 h 76"/>
              <a:gd name="T6" fmla="*/ 60 w 65"/>
              <a:gd name="T7" fmla="*/ 43 h 76"/>
              <a:gd name="T8" fmla="*/ 60 w 65"/>
              <a:gd name="T9" fmla="*/ 76 h 76"/>
              <a:gd name="T10" fmla="*/ 63 w 65"/>
              <a:gd name="T11" fmla="*/ 30 h 76"/>
              <a:gd name="T12" fmla="*/ 63 w 65"/>
              <a:gd name="T13" fmla="*/ 38 h 76"/>
              <a:gd name="T14" fmla="*/ 2 w 65"/>
              <a:gd name="T15" fmla="*/ 38 h 76"/>
              <a:gd name="T16" fmla="*/ 2 w 65"/>
              <a:gd name="T17" fmla="*/ 30 h 76"/>
              <a:gd name="T18" fmla="*/ 4 w 65"/>
              <a:gd name="T19" fmla="*/ 22 h 76"/>
              <a:gd name="T20" fmla="*/ 19 w 65"/>
              <a:gd name="T21" fmla="*/ 22 h 76"/>
              <a:gd name="T22" fmla="*/ 5 w 65"/>
              <a:gd name="T23" fmla="*/ 16 h 76"/>
              <a:gd name="T24" fmla="*/ 14 w 65"/>
              <a:gd name="T25" fmla="*/ 5 h 76"/>
              <a:gd name="T26" fmla="*/ 32 w 65"/>
              <a:gd name="T27" fmla="*/ 14 h 76"/>
              <a:gd name="T28" fmla="*/ 51 w 65"/>
              <a:gd name="T29" fmla="*/ 5 h 76"/>
              <a:gd name="T30" fmla="*/ 60 w 65"/>
              <a:gd name="T31" fmla="*/ 16 h 76"/>
              <a:gd name="T32" fmla="*/ 45 w 65"/>
              <a:gd name="T33" fmla="*/ 22 h 76"/>
              <a:gd name="T34" fmla="*/ 61 w 65"/>
              <a:gd name="T35" fmla="*/ 22 h 76"/>
              <a:gd name="T36" fmla="*/ 63 w 65"/>
              <a:gd name="T37" fmla="*/ 30 h 76"/>
              <a:gd name="T38" fmla="*/ 39 w 65"/>
              <a:gd name="T39" fmla="*/ 20 h 76"/>
              <a:gd name="T40" fmla="*/ 57 w 65"/>
              <a:gd name="T41" fmla="*/ 15 h 76"/>
              <a:gd name="T42" fmla="*/ 51 w 65"/>
              <a:gd name="T43" fmla="*/ 10 h 76"/>
              <a:gd name="T44" fmla="*/ 39 w 65"/>
              <a:gd name="T45" fmla="*/ 20 h 76"/>
              <a:gd name="T46" fmla="*/ 8 w 65"/>
              <a:gd name="T47" fmla="*/ 15 h 76"/>
              <a:gd name="T48" fmla="*/ 26 w 65"/>
              <a:gd name="T49" fmla="*/ 20 h 76"/>
              <a:gd name="T50" fmla="*/ 14 w 65"/>
              <a:gd name="T51" fmla="*/ 10 h 76"/>
              <a:gd name="T52" fmla="*/ 8 w 65"/>
              <a:gd name="T53" fmla="*/ 15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65" h="76">
                <a:moveTo>
                  <a:pt x="60" y="76"/>
                </a:moveTo>
                <a:cubicBezTo>
                  <a:pt x="5" y="76"/>
                  <a:pt x="5" y="76"/>
                  <a:pt x="5" y="76"/>
                </a:cubicBezTo>
                <a:cubicBezTo>
                  <a:pt x="5" y="43"/>
                  <a:pt x="5" y="43"/>
                  <a:pt x="5" y="43"/>
                </a:cubicBezTo>
                <a:cubicBezTo>
                  <a:pt x="60" y="43"/>
                  <a:pt x="60" y="43"/>
                  <a:pt x="60" y="43"/>
                </a:cubicBezTo>
                <a:lnTo>
                  <a:pt x="60" y="76"/>
                </a:lnTo>
                <a:close/>
                <a:moveTo>
                  <a:pt x="63" y="30"/>
                </a:moveTo>
                <a:cubicBezTo>
                  <a:pt x="63" y="38"/>
                  <a:pt x="63" y="38"/>
                  <a:pt x="63" y="38"/>
                </a:cubicBezTo>
                <a:cubicBezTo>
                  <a:pt x="2" y="38"/>
                  <a:pt x="2" y="38"/>
                  <a:pt x="2" y="38"/>
                </a:cubicBezTo>
                <a:cubicBezTo>
                  <a:pt x="2" y="30"/>
                  <a:pt x="2" y="30"/>
                  <a:pt x="2" y="30"/>
                </a:cubicBezTo>
                <a:cubicBezTo>
                  <a:pt x="4" y="22"/>
                  <a:pt x="4" y="22"/>
                  <a:pt x="4" y="22"/>
                </a:cubicBezTo>
                <a:cubicBezTo>
                  <a:pt x="19" y="22"/>
                  <a:pt x="19" y="22"/>
                  <a:pt x="19" y="22"/>
                </a:cubicBezTo>
                <a:cubicBezTo>
                  <a:pt x="13" y="21"/>
                  <a:pt x="8" y="18"/>
                  <a:pt x="5" y="16"/>
                </a:cubicBezTo>
                <a:cubicBezTo>
                  <a:pt x="0" y="13"/>
                  <a:pt x="11" y="9"/>
                  <a:pt x="14" y="5"/>
                </a:cubicBezTo>
                <a:cubicBezTo>
                  <a:pt x="18" y="0"/>
                  <a:pt x="26" y="8"/>
                  <a:pt x="32" y="14"/>
                </a:cubicBezTo>
                <a:cubicBezTo>
                  <a:pt x="39" y="8"/>
                  <a:pt x="46" y="0"/>
                  <a:pt x="51" y="5"/>
                </a:cubicBezTo>
                <a:cubicBezTo>
                  <a:pt x="54" y="9"/>
                  <a:pt x="65" y="13"/>
                  <a:pt x="60" y="16"/>
                </a:cubicBezTo>
                <a:cubicBezTo>
                  <a:pt x="57" y="18"/>
                  <a:pt x="51" y="21"/>
                  <a:pt x="45" y="22"/>
                </a:cubicBezTo>
                <a:cubicBezTo>
                  <a:pt x="61" y="22"/>
                  <a:pt x="61" y="22"/>
                  <a:pt x="61" y="22"/>
                </a:cubicBezTo>
                <a:lnTo>
                  <a:pt x="63" y="30"/>
                </a:lnTo>
                <a:close/>
                <a:moveTo>
                  <a:pt x="39" y="20"/>
                </a:moveTo>
                <a:cubicBezTo>
                  <a:pt x="50" y="19"/>
                  <a:pt x="56" y="16"/>
                  <a:pt x="57" y="15"/>
                </a:cubicBezTo>
                <a:cubicBezTo>
                  <a:pt x="58" y="14"/>
                  <a:pt x="52" y="10"/>
                  <a:pt x="51" y="10"/>
                </a:cubicBezTo>
                <a:cubicBezTo>
                  <a:pt x="49" y="10"/>
                  <a:pt x="39" y="20"/>
                  <a:pt x="39" y="20"/>
                </a:cubicBezTo>
                <a:close/>
                <a:moveTo>
                  <a:pt x="8" y="15"/>
                </a:moveTo>
                <a:cubicBezTo>
                  <a:pt x="9" y="16"/>
                  <a:pt x="15" y="19"/>
                  <a:pt x="26" y="20"/>
                </a:cubicBezTo>
                <a:cubicBezTo>
                  <a:pt x="26" y="20"/>
                  <a:pt x="16" y="10"/>
                  <a:pt x="14" y="10"/>
                </a:cubicBezTo>
                <a:cubicBezTo>
                  <a:pt x="13" y="10"/>
                  <a:pt x="7" y="14"/>
                  <a:pt x="8" y="1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59" name="Freeform 134"/>
          <p:cNvSpPr>
            <a:spLocks noEditPoints="1"/>
          </p:cNvSpPr>
          <p:nvPr/>
        </p:nvSpPr>
        <p:spPr bwMode="black">
          <a:xfrm>
            <a:off x="8572013" y="4667061"/>
            <a:ext cx="390686" cy="179065"/>
          </a:xfrm>
          <a:custGeom>
            <a:avLst/>
            <a:gdLst>
              <a:gd name="T0" fmla="*/ 77 w 102"/>
              <a:gd name="T1" fmla="*/ 47 h 47"/>
              <a:gd name="T2" fmla="*/ 72 w 102"/>
              <a:gd name="T3" fmla="*/ 47 h 47"/>
              <a:gd name="T4" fmla="*/ 56 w 102"/>
              <a:gd name="T5" fmla="*/ 31 h 47"/>
              <a:gd name="T6" fmla="*/ 55 w 102"/>
              <a:gd name="T7" fmla="*/ 31 h 47"/>
              <a:gd name="T8" fmla="*/ 52 w 102"/>
              <a:gd name="T9" fmla="*/ 25 h 47"/>
              <a:gd name="T10" fmla="*/ 56 w 102"/>
              <a:gd name="T11" fmla="*/ 25 h 47"/>
              <a:gd name="T12" fmla="*/ 77 w 102"/>
              <a:gd name="T13" fmla="*/ 47 h 47"/>
              <a:gd name="T14" fmla="*/ 56 w 102"/>
              <a:gd name="T15" fmla="*/ 0 h 47"/>
              <a:gd name="T16" fmla="*/ 23 w 102"/>
              <a:gd name="T17" fmla="*/ 13 h 47"/>
              <a:gd name="T18" fmla="*/ 28 w 102"/>
              <a:gd name="T19" fmla="*/ 12 h 47"/>
              <a:gd name="T20" fmla="*/ 32 w 102"/>
              <a:gd name="T21" fmla="*/ 13 h 47"/>
              <a:gd name="T22" fmla="*/ 56 w 102"/>
              <a:gd name="T23" fmla="*/ 6 h 47"/>
              <a:gd name="T24" fmla="*/ 97 w 102"/>
              <a:gd name="T25" fmla="*/ 47 h 47"/>
              <a:gd name="T26" fmla="*/ 102 w 102"/>
              <a:gd name="T27" fmla="*/ 47 h 47"/>
              <a:gd name="T28" fmla="*/ 56 w 102"/>
              <a:gd name="T29" fmla="*/ 0 h 47"/>
              <a:gd name="T30" fmla="*/ 56 w 102"/>
              <a:gd name="T31" fmla="*/ 13 h 47"/>
              <a:gd name="T32" fmla="*/ 38 w 102"/>
              <a:gd name="T33" fmla="*/ 17 h 47"/>
              <a:gd name="T34" fmla="*/ 39 w 102"/>
              <a:gd name="T35" fmla="*/ 19 h 47"/>
              <a:gd name="T36" fmla="*/ 39 w 102"/>
              <a:gd name="T37" fmla="*/ 19 h 47"/>
              <a:gd name="T38" fmla="*/ 46 w 102"/>
              <a:gd name="T39" fmla="*/ 20 h 47"/>
              <a:gd name="T40" fmla="*/ 56 w 102"/>
              <a:gd name="T41" fmla="*/ 18 h 47"/>
              <a:gd name="T42" fmla="*/ 84 w 102"/>
              <a:gd name="T43" fmla="*/ 47 h 47"/>
              <a:gd name="T44" fmla="*/ 90 w 102"/>
              <a:gd name="T45" fmla="*/ 47 h 47"/>
              <a:gd name="T46" fmla="*/ 56 w 102"/>
              <a:gd name="T47" fmla="*/ 13 h 47"/>
              <a:gd name="T48" fmla="*/ 0 w 102"/>
              <a:gd name="T49" fmla="*/ 39 h 47"/>
              <a:gd name="T50" fmla="*/ 8 w 102"/>
              <a:gd name="T51" fmla="*/ 46 h 47"/>
              <a:gd name="T52" fmla="*/ 9 w 102"/>
              <a:gd name="T53" fmla="*/ 46 h 47"/>
              <a:gd name="T54" fmla="*/ 41 w 102"/>
              <a:gd name="T55" fmla="*/ 46 h 47"/>
              <a:gd name="T56" fmla="*/ 51 w 102"/>
              <a:gd name="T57" fmla="*/ 35 h 47"/>
              <a:gd name="T58" fmla="*/ 39 w 102"/>
              <a:gd name="T59" fmla="*/ 24 h 47"/>
              <a:gd name="T60" fmla="*/ 36 w 102"/>
              <a:gd name="T61" fmla="*/ 24 h 47"/>
              <a:gd name="T62" fmla="*/ 28 w 102"/>
              <a:gd name="T63" fmla="*/ 17 h 47"/>
              <a:gd name="T64" fmla="*/ 18 w 102"/>
              <a:gd name="T65" fmla="*/ 26 h 47"/>
              <a:gd name="T66" fmla="*/ 18 w 102"/>
              <a:gd name="T67" fmla="*/ 28 h 47"/>
              <a:gd name="T68" fmla="*/ 15 w 102"/>
              <a:gd name="T69" fmla="*/ 27 h 47"/>
              <a:gd name="T70" fmla="*/ 9 w 102"/>
              <a:gd name="T71" fmla="*/ 31 h 47"/>
              <a:gd name="T72" fmla="*/ 8 w 102"/>
              <a:gd name="T73" fmla="*/ 31 h 47"/>
              <a:gd name="T74" fmla="*/ 0 w 102"/>
              <a:gd name="T75" fmla="*/ 39 h 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02" h="47">
                <a:moveTo>
                  <a:pt x="77" y="47"/>
                </a:moveTo>
                <a:cubicBezTo>
                  <a:pt x="72" y="47"/>
                  <a:pt x="72" y="47"/>
                  <a:pt x="72" y="47"/>
                </a:cubicBezTo>
                <a:cubicBezTo>
                  <a:pt x="72" y="38"/>
                  <a:pt x="64" y="31"/>
                  <a:pt x="56" y="31"/>
                </a:cubicBezTo>
                <a:cubicBezTo>
                  <a:pt x="55" y="31"/>
                  <a:pt x="55" y="31"/>
                  <a:pt x="55" y="31"/>
                </a:cubicBezTo>
                <a:cubicBezTo>
                  <a:pt x="54" y="29"/>
                  <a:pt x="53" y="27"/>
                  <a:pt x="52" y="25"/>
                </a:cubicBezTo>
                <a:cubicBezTo>
                  <a:pt x="53" y="25"/>
                  <a:pt x="54" y="25"/>
                  <a:pt x="56" y="25"/>
                </a:cubicBezTo>
                <a:cubicBezTo>
                  <a:pt x="68" y="25"/>
                  <a:pt x="77" y="35"/>
                  <a:pt x="77" y="47"/>
                </a:cubicBezTo>
                <a:close/>
                <a:moveTo>
                  <a:pt x="56" y="0"/>
                </a:moveTo>
                <a:cubicBezTo>
                  <a:pt x="43" y="0"/>
                  <a:pt x="32" y="5"/>
                  <a:pt x="23" y="13"/>
                </a:cubicBezTo>
                <a:cubicBezTo>
                  <a:pt x="25" y="13"/>
                  <a:pt x="26" y="12"/>
                  <a:pt x="28" y="12"/>
                </a:cubicBezTo>
                <a:cubicBezTo>
                  <a:pt x="29" y="12"/>
                  <a:pt x="31" y="13"/>
                  <a:pt x="32" y="13"/>
                </a:cubicBezTo>
                <a:cubicBezTo>
                  <a:pt x="39" y="9"/>
                  <a:pt x="47" y="6"/>
                  <a:pt x="56" y="6"/>
                </a:cubicBezTo>
                <a:cubicBezTo>
                  <a:pt x="78" y="6"/>
                  <a:pt x="97" y="24"/>
                  <a:pt x="97" y="47"/>
                </a:cubicBezTo>
                <a:cubicBezTo>
                  <a:pt x="102" y="47"/>
                  <a:pt x="102" y="47"/>
                  <a:pt x="102" y="47"/>
                </a:cubicBezTo>
                <a:cubicBezTo>
                  <a:pt x="102" y="21"/>
                  <a:pt x="81" y="0"/>
                  <a:pt x="56" y="0"/>
                </a:cubicBezTo>
                <a:close/>
                <a:moveTo>
                  <a:pt x="56" y="13"/>
                </a:moveTo>
                <a:cubicBezTo>
                  <a:pt x="49" y="13"/>
                  <a:pt x="43" y="14"/>
                  <a:pt x="38" y="17"/>
                </a:cubicBezTo>
                <a:cubicBezTo>
                  <a:pt x="39" y="18"/>
                  <a:pt x="39" y="18"/>
                  <a:pt x="39" y="19"/>
                </a:cubicBezTo>
                <a:cubicBezTo>
                  <a:pt x="39" y="19"/>
                  <a:pt x="39" y="19"/>
                  <a:pt x="39" y="19"/>
                </a:cubicBezTo>
                <a:cubicBezTo>
                  <a:pt x="42" y="19"/>
                  <a:pt x="44" y="19"/>
                  <a:pt x="46" y="20"/>
                </a:cubicBezTo>
                <a:cubicBezTo>
                  <a:pt x="49" y="19"/>
                  <a:pt x="52" y="18"/>
                  <a:pt x="56" y="18"/>
                </a:cubicBezTo>
                <a:cubicBezTo>
                  <a:pt x="71" y="18"/>
                  <a:pt x="84" y="31"/>
                  <a:pt x="84" y="47"/>
                </a:cubicBezTo>
                <a:cubicBezTo>
                  <a:pt x="90" y="47"/>
                  <a:pt x="90" y="47"/>
                  <a:pt x="90" y="47"/>
                </a:cubicBezTo>
                <a:cubicBezTo>
                  <a:pt x="90" y="28"/>
                  <a:pt x="75" y="13"/>
                  <a:pt x="56" y="13"/>
                </a:cubicBezTo>
                <a:close/>
                <a:moveTo>
                  <a:pt x="0" y="39"/>
                </a:moveTo>
                <a:cubicBezTo>
                  <a:pt x="0" y="43"/>
                  <a:pt x="3" y="46"/>
                  <a:pt x="8" y="46"/>
                </a:cubicBezTo>
                <a:cubicBezTo>
                  <a:pt x="9" y="46"/>
                  <a:pt x="9" y="46"/>
                  <a:pt x="9" y="46"/>
                </a:cubicBezTo>
                <a:cubicBezTo>
                  <a:pt x="41" y="46"/>
                  <a:pt x="41" y="46"/>
                  <a:pt x="41" y="46"/>
                </a:cubicBezTo>
                <a:cubicBezTo>
                  <a:pt x="46" y="46"/>
                  <a:pt x="51" y="41"/>
                  <a:pt x="51" y="35"/>
                </a:cubicBezTo>
                <a:cubicBezTo>
                  <a:pt x="51" y="29"/>
                  <a:pt x="46" y="24"/>
                  <a:pt x="39" y="24"/>
                </a:cubicBezTo>
                <a:cubicBezTo>
                  <a:pt x="38" y="24"/>
                  <a:pt x="37" y="24"/>
                  <a:pt x="36" y="24"/>
                </a:cubicBezTo>
                <a:cubicBezTo>
                  <a:pt x="35" y="20"/>
                  <a:pt x="32" y="17"/>
                  <a:pt x="28" y="17"/>
                </a:cubicBezTo>
                <a:cubicBezTo>
                  <a:pt x="22" y="17"/>
                  <a:pt x="18" y="21"/>
                  <a:pt x="18" y="26"/>
                </a:cubicBezTo>
                <a:cubicBezTo>
                  <a:pt x="18" y="27"/>
                  <a:pt x="18" y="27"/>
                  <a:pt x="18" y="28"/>
                </a:cubicBezTo>
                <a:cubicBezTo>
                  <a:pt x="17" y="27"/>
                  <a:pt x="16" y="27"/>
                  <a:pt x="15" y="27"/>
                </a:cubicBezTo>
                <a:cubicBezTo>
                  <a:pt x="13" y="27"/>
                  <a:pt x="10" y="29"/>
                  <a:pt x="9" y="31"/>
                </a:cubicBezTo>
                <a:cubicBezTo>
                  <a:pt x="9" y="31"/>
                  <a:pt x="8" y="31"/>
                  <a:pt x="8" y="31"/>
                </a:cubicBezTo>
                <a:cubicBezTo>
                  <a:pt x="3" y="31"/>
                  <a:pt x="0" y="34"/>
                  <a:pt x="0" y="3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60" name="Freeform 135"/>
          <p:cNvSpPr>
            <a:spLocks noEditPoints="1"/>
          </p:cNvSpPr>
          <p:nvPr/>
        </p:nvSpPr>
        <p:spPr bwMode="black">
          <a:xfrm>
            <a:off x="9285162" y="4543808"/>
            <a:ext cx="309295" cy="425571"/>
          </a:xfrm>
          <a:custGeom>
            <a:avLst/>
            <a:gdLst>
              <a:gd name="T0" fmla="*/ 60 w 80"/>
              <a:gd name="T1" fmla="*/ 15 h 111"/>
              <a:gd name="T2" fmla="*/ 71 w 80"/>
              <a:gd name="T3" fmla="*/ 0 h 111"/>
              <a:gd name="T4" fmla="*/ 74 w 80"/>
              <a:gd name="T5" fmla="*/ 2 h 111"/>
              <a:gd name="T6" fmla="*/ 62 w 80"/>
              <a:gd name="T7" fmla="*/ 16 h 111"/>
              <a:gd name="T8" fmla="*/ 60 w 80"/>
              <a:gd name="T9" fmla="*/ 15 h 111"/>
              <a:gd name="T10" fmla="*/ 67 w 80"/>
              <a:gd name="T11" fmla="*/ 111 h 111"/>
              <a:gd name="T12" fmla="*/ 67 w 80"/>
              <a:gd name="T13" fmla="*/ 103 h 111"/>
              <a:gd name="T14" fmla="*/ 46 w 80"/>
              <a:gd name="T15" fmla="*/ 103 h 111"/>
              <a:gd name="T16" fmla="*/ 46 w 80"/>
              <a:gd name="T17" fmla="*/ 68 h 111"/>
              <a:gd name="T18" fmla="*/ 80 w 80"/>
              <a:gd name="T19" fmla="*/ 26 h 111"/>
              <a:gd name="T20" fmla="*/ 0 w 80"/>
              <a:gd name="T21" fmla="*/ 26 h 111"/>
              <a:gd name="T22" fmla="*/ 34 w 80"/>
              <a:gd name="T23" fmla="*/ 68 h 111"/>
              <a:gd name="T24" fmla="*/ 34 w 80"/>
              <a:gd name="T25" fmla="*/ 103 h 111"/>
              <a:gd name="T26" fmla="*/ 13 w 80"/>
              <a:gd name="T27" fmla="*/ 103 h 111"/>
              <a:gd name="T28" fmla="*/ 13 w 80"/>
              <a:gd name="T29" fmla="*/ 111 h 111"/>
              <a:gd name="T30" fmla="*/ 67 w 80"/>
              <a:gd name="T31" fmla="*/ 111 h 111"/>
              <a:gd name="T32" fmla="*/ 62 w 80"/>
              <a:gd name="T33" fmla="*/ 23 h 111"/>
              <a:gd name="T34" fmla="*/ 54 w 80"/>
              <a:gd name="T35" fmla="*/ 17 h 111"/>
              <a:gd name="T36" fmla="*/ 47 w 80"/>
              <a:gd name="T37" fmla="*/ 23 h 111"/>
              <a:gd name="T38" fmla="*/ 62 w 80"/>
              <a:gd name="T39" fmla="*/ 23 h 1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80" h="111">
                <a:moveTo>
                  <a:pt x="60" y="15"/>
                </a:moveTo>
                <a:cubicBezTo>
                  <a:pt x="71" y="0"/>
                  <a:pt x="71" y="0"/>
                  <a:pt x="71" y="0"/>
                </a:cubicBezTo>
                <a:cubicBezTo>
                  <a:pt x="74" y="2"/>
                  <a:pt x="74" y="2"/>
                  <a:pt x="74" y="2"/>
                </a:cubicBezTo>
                <a:cubicBezTo>
                  <a:pt x="62" y="16"/>
                  <a:pt x="62" y="16"/>
                  <a:pt x="62" y="16"/>
                </a:cubicBezTo>
                <a:cubicBezTo>
                  <a:pt x="61" y="16"/>
                  <a:pt x="61" y="15"/>
                  <a:pt x="60" y="15"/>
                </a:cubicBezTo>
                <a:close/>
                <a:moveTo>
                  <a:pt x="67" y="111"/>
                </a:moveTo>
                <a:cubicBezTo>
                  <a:pt x="67" y="103"/>
                  <a:pt x="67" y="103"/>
                  <a:pt x="67" y="103"/>
                </a:cubicBezTo>
                <a:cubicBezTo>
                  <a:pt x="46" y="103"/>
                  <a:pt x="46" y="103"/>
                  <a:pt x="46" y="103"/>
                </a:cubicBezTo>
                <a:cubicBezTo>
                  <a:pt x="46" y="68"/>
                  <a:pt x="46" y="68"/>
                  <a:pt x="46" y="68"/>
                </a:cubicBezTo>
                <a:cubicBezTo>
                  <a:pt x="80" y="26"/>
                  <a:pt x="80" y="26"/>
                  <a:pt x="80" y="26"/>
                </a:cubicBezTo>
                <a:cubicBezTo>
                  <a:pt x="0" y="26"/>
                  <a:pt x="0" y="26"/>
                  <a:pt x="0" y="26"/>
                </a:cubicBezTo>
                <a:cubicBezTo>
                  <a:pt x="34" y="68"/>
                  <a:pt x="34" y="68"/>
                  <a:pt x="34" y="68"/>
                </a:cubicBezTo>
                <a:cubicBezTo>
                  <a:pt x="34" y="103"/>
                  <a:pt x="34" y="103"/>
                  <a:pt x="34" y="103"/>
                </a:cubicBezTo>
                <a:cubicBezTo>
                  <a:pt x="13" y="103"/>
                  <a:pt x="13" y="103"/>
                  <a:pt x="13" y="103"/>
                </a:cubicBezTo>
                <a:cubicBezTo>
                  <a:pt x="13" y="111"/>
                  <a:pt x="13" y="111"/>
                  <a:pt x="13" y="111"/>
                </a:cubicBezTo>
                <a:lnTo>
                  <a:pt x="67" y="111"/>
                </a:lnTo>
                <a:close/>
                <a:moveTo>
                  <a:pt x="62" y="23"/>
                </a:moveTo>
                <a:cubicBezTo>
                  <a:pt x="61" y="19"/>
                  <a:pt x="58" y="17"/>
                  <a:pt x="54" y="17"/>
                </a:cubicBezTo>
                <a:cubicBezTo>
                  <a:pt x="51" y="17"/>
                  <a:pt x="48" y="19"/>
                  <a:pt x="47" y="23"/>
                </a:cubicBezTo>
                <a:lnTo>
                  <a:pt x="62" y="2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61" name="Freeform 136"/>
          <p:cNvSpPr>
            <a:spLocks noEditPoints="1"/>
          </p:cNvSpPr>
          <p:nvPr/>
        </p:nvSpPr>
        <p:spPr bwMode="black">
          <a:xfrm>
            <a:off x="5946152" y="4599622"/>
            <a:ext cx="262783" cy="313942"/>
          </a:xfrm>
          <a:custGeom>
            <a:avLst/>
            <a:gdLst>
              <a:gd name="T0" fmla="*/ 28 w 68"/>
              <a:gd name="T1" fmla="*/ 36 h 82"/>
              <a:gd name="T2" fmla="*/ 48 w 68"/>
              <a:gd name="T3" fmla="*/ 36 h 82"/>
              <a:gd name="T4" fmla="*/ 37 w 68"/>
              <a:gd name="T5" fmla="*/ 82 h 82"/>
              <a:gd name="T6" fmla="*/ 29 w 68"/>
              <a:gd name="T7" fmla="*/ 82 h 82"/>
              <a:gd name="T8" fmla="*/ 28 w 68"/>
              <a:gd name="T9" fmla="*/ 82 h 82"/>
              <a:gd name="T10" fmla="*/ 24 w 68"/>
              <a:gd name="T11" fmla="*/ 82 h 82"/>
              <a:gd name="T12" fmla="*/ 24 w 68"/>
              <a:gd name="T13" fmla="*/ 82 h 82"/>
              <a:gd name="T14" fmla="*/ 16 w 68"/>
              <a:gd name="T15" fmla="*/ 82 h 82"/>
              <a:gd name="T16" fmla="*/ 4 w 68"/>
              <a:gd name="T17" fmla="*/ 36 h 82"/>
              <a:gd name="T18" fmla="*/ 24 w 68"/>
              <a:gd name="T19" fmla="*/ 36 h 82"/>
              <a:gd name="T20" fmla="*/ 28 w 68"/>
              <a:gd name="T21" fmla="*/ 36 h 82"/>
              <a:gd name="T22" fmla="*/ 64 w 68"/>
              <a:gd name="T23" fmla="*/ 44 h 82"/>
              <a:gd name="T24" fmla="*/ 53 w 68"/>
              <a:gd name="T25" fmla="*/ 37 h 82"/>
              <a:gd name="T26" fmla="*/ 54 w 68"/>
              <a:gd name="T27" fmla="*/ 43 h 82"/>
              <a:gd name="T28" fmla="*/ 60 w 68"/>
              <a:gd name="T29" fmla="*/ 47 h 82"/>
              <a:gd name="T30" fmla="*/ 62 w 68"/>
              <a:gd name="T31" fmla="*/ 58 h 82"/>
              <a:gd name="T32" fmla="*/ 56 w 68"/>
              <a:gd name="T33" fmla="*/ 67 h 82"/>
              <a:gd name="T34" fmla="*/ 50 w 68"/>
              <a:gd name="T35" fmla="*/ 70 h 82"/>
              <a:gd name="T36" fmla="*/ 47 w 68"/>
              <a:gd name="T37" fmla="*/ 75 h 82"/>
              <a:gd name="T38" fmla="*/ 48 w 68"/>
              <a:gd name="T39" fmla="*/ 75 h 82"/>
              <a:gd name="T40" fmla="*/ 59 w 68"/>
              <a:gd name="T41" fmla="*/ 72 h 82"/>
              <a:gd name="T42" fmla="*/ 67 w 68"/>
              <a:gd name="T43" fmla="*/ 59 h 82"/>
              <a:gd name="T44" fmla="*/ 64 w 68"/>
              <a:gd name="T45" fmla="*/ 44 h 82"/>
              <a:gd name="T46" fmla="*/ 36 w 68"/>
              <a:gd name="T47" fmla="*/ 28 h 82"/>
              <a:gd name="T48" fmla="*/ 36 w 68"/>
              <a:gd name="T49" fmla="*/ 26 h 82"/>
              <a:gd name="T50" fmla="*/ 33 w 68"/>
              <a:gd name="T51" fmla="*/ 21 h 82"/>
              <a:gd name="T52" fmla="*/ 36 w 68"/>
              <a:gd name="T53" fmla="*/ 16 h 82"/>
              <a:gd name="T54" fmla="*/ 39 w 68"/>
              <a:gd name="T55" fmla="*/ 8 h 82"/>
              <a:gd name="T56" fmla="*/ 31 w 68"/>
              <a:gd name="T57" fmla="*/ 0 h 82"/>
              <a:gd name="T58" fmla="*/ 29 w 68"/>
              <a:gd name="T59" fmla="*/ 1 h 82"/>
              <a:gd name="T60" fmla="*/ 30 w 68"/>
              <a:gd name="T61" fmla="*/ 3 h 82"/>
              <a:gd name="T62" fmla="*/ 32 w 68"/>
              <a:gd name="T63" fmla="*/ 7 h 82"/>
              <a:gd name="T64" fmla="*/ 29 w 68"/>
              <a:gd name="T65" fmla="*/ 13 h 82"/>
              <a:gd name="T66" fmla="*/ 27 w 68"/>
              <a:gd name="T67" fmla="*/ 21 h 82"/>
              <a:gd name="T68" fmla="*/ 34 w 68"/>
              <a:gd name="T69" fmla="*/ 29 h 82"/>
              <a:gd name="T70" fmla="*/ 35 w 68"/>
              <a:gd name="T71" fmla="*/ 29 h 82"/>
              <a:gd name="T72" fmla="*/ 36 w 68"/>
              <a:gd name="T73" fmla="*/ 28 h 82"/>
              <a:gd name="T74" fmla="*/ 23 w 68"/>
              <a:gd name="T75" fmla="*/ 28 h 82"/>
              <a:gd name="T76" fmla="*/ 23 w 68"/>
              <a:gd name="T77" fmla="*/ 26 h 82"/>
              <a:gd name="T78" fmla="*/ 21 w 68"/>
              <a:gd name="T79" fmla="*/ 24 h 82"/>
              <a:gd name="T80" fmla="*/ 23 w 68"/>
              <a:gd name="T81" fmla="*/ 21 h 82"/>
              <a:gd name="T82" fmla="*/ 25 w 68"/>
              <a:gd name="T83" fmla="*/ 16 h 82"/>
              <a:gd name="T84" fmla="*/ 20 w 68"/>
              <a:gd name="T85" fmla="*/ 11 h 82"/>
              <a:gd name="T86" fmla="*/ 18 w 68"/>
              <a:gd name="T87" fmla="*/ 12 h 82"/>
              <a:gd name="T88" fmla="*/ 18 w 68"/>
              <a:gd name="T89" fmla="*/ 14 h 82"/>
              <a:gd name="T90" fmla="*/ 19 w 68"/>
              <a:gd name="T91" fmla="*/ 16 h 82"/>
              <a:gd name="T92" fmla="*/ 18 w 68"/>
              <a:gd name="T93" fmla="*/ 19 h 82"/>
              <a:gd name="T94" fmla="*/ 16 w 68"/>
              <a:gd name="T95" fmla="*/ 24 h 82"/>
              <a:gd name="T96" fmla="*/ 21 w 68"/>
              <a:gd name="T97" fmla="*/ 29 h 82"/>
              <a:gd name="T98" fmla="*/ 22 w 68"/>
              <a:gd name="T99" fmla="*/ 29 h 82"/>
              <a:gd name="T100" fmla="*/ 23 w 68"/>
              <a:gd name="T101" fmla="*/ 28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68" h="82">
                <a:moveTo>
                  <a:pt x="28" y="36"/>
                </a:moveTo>
                <a:cubicBezTo>
                  <a:pt x="48" y="36"/>
                  <a:pt x="48" y="36"/>
                  <a:pt x="48" y="36"/>
                </a:cubicBezTo>
                <a:cubicBezTo>
                  <a:pt x="48" y="36"/>
                  <a:pt x="53" y="64"/>
                  <a:pt x="37" y="82"/>
                </a:cubicBezTo>
                <a:cubicBezTo>
                  <a:pt x="29" y="82"/>
                  <a:pt x="29" y="82"/>
                  <a:pt x="29" y="82"/>
                </a:cubicBezTo>
                <a:cubicBezTo>
                  <a:pt x="28" y="82"/>
                  <a:pt x="28" y="82"/>
                  <a:pt x="28" y="82"/>
                </a:cubicBezTo>
                <a:cubicBezTo>
                  <a:pt x="24" y="82"/>
                  <a:pt x="24" y="82"/>
                  <a:pt x="24" y="82"/>
                </a:cubicBezTo>
                <a:cubicBezTo>
                  <a:pt x="24" y="82"/>
                  <a:pt x="24" y="82"/>
                  <a:pt x="24" y="82"/>
                </a:cubicBezTo>
                <a:cubicBezTo>
                  <a:pt x="16" y="82"/>
                  <a:pt x="16" y="82"/>
                  <a:pt x="16" y="82"/>
                </a:cubicBezTo>
                <a:cubicBezTo>
                  <a:pt x="0" y="64"/>
                  <a:pt x="4" y="36"/>
                  <a:pt x="4" y="36"/>
                </a:cubicBezTo>
                <a:cubicBezTo>
                  <a:pt x="24" y="36"/>
                  <a:pt x="24" y="36"/>
                  <a:pt x="24" y="36"/>
                </a:cubicBezTo>
                <a:lnTo>
                  <a:pt x="28" y="36"/>
                </a:lnTo>
                <a:close/>
                <a:moveTo>
                  <a:pt x="64" y="44"/>
                </a:moveTo>
                <a:cubicBezTo>
                  <a:pt x="62" y="40"/>
                  <a:pt x="58" y="38"/>
                  <a:pt x="53" y="37"/>
                </a:cubicBezTo>
                <a:cubicBezTo>
                  <a:pt x="54" y="38"/>
                  <a:pt x="54" y="40"/>
                  <a:pt x="54" y="43"/>
                </a:cubicBezTo>
                <a:cubicBezTo>
                  <a:pt x="56" y="44"/>
                  <a:pt x="58" y="45"/>
                  <a:pt x="60" y="47"/>
                </a:cubicBezTo>
                <a:cubicBezTo>
                  <a:pt x="62" y="51"/>
                  <a:pt x="63" y="54"/>
                  <a:pt x="62" y="58"/>
                </a:cubicBezTo>
                <a:cubicBezTo>
                  <a:pt x="61" y="62"/>
                  <a:pt x="59" y="65"/>
                  <a:pt x="56" y="67"/>
                </a:cubicBezTo>
                <a:cubicBezTo>
                  <a:pt x="54" y="69"/>
                  <a:pt x="52" y="69"/>
                  <a:pt x="50" y="70"/>
                </a:cubicBezTo>
                <a:cubicBezTo>
                  <a:pt x="49" y="72"/>
                  <a:pt x="48" y="73"/>
                  <a:pt x="47" y="75"/>
                </a:cubicBezTo>
                <a:cubicBezTo>
                  <a:pt x="47" y="75"/>
                  <a:pt x="48" y="75"/>
                  <a:pt x="48" y="75"/>
                </a:cubicBezTo>
                <a:cubicBezTo>
                  <a:pt x="52" y="75"/>
                  <a:pt x="56" y="74"/>
                  <a:pt x="59" y="72"/>
                </a:cubicBezTo>
                <a:cubicBezTo>
                  <a:pt x="64" y="69"/>
                  <a:pt x="66" y="64"/>
                  <a:pt x="67" y="59"/>
                </a:cubicBezTo>
                <a:cubicBezTo>
                  <a:pt x="68" y="54"/>
                  <a:pt x="67" y="49"/>
                  <a:pt x="64" y="44"/>
                </a:cubicBezTo>
                <a:close/>
                <a:moveTo>
                  <a:pt x="36" y="28"/>
                </a:moveTo>
                <a:cubicBezTo>
                  <a:pt x="37" y="27"/>
                  <a:pt x="36" y="26"/>
                  <a:pt x="36" y="26"/>
                </a:cubicBezTo>
                <a:cubicBezTo>
                  <a:pt x="36" y="26"/>
                  <a:pt x="33" y="24"/>
                  <a:pt x="33" y="21"/>
                </a:cubicBezTo>
                <a:cubicBezTo>
                  <a:pt x="33" y="20"/>
                  <a:pt x="34" y="18"/>
                  <a:pt x="36" y="16"/>
                </a:cubicBezTo>
                <a:cubicBezTo>
                  <a:pt x="38" y="13"/>
                  <a:pt x="39" y="11"/>
                  <a:pt x="39" y="8"/>
                </a:cubicBezTo>
                <a:cubicBezTo>
                  <a:pt x="38" y="3"/>
                  <a:pt x="32" y="0"/>
                  <a:pt x="31" y="0"/>
                </a:cubicBezTo>
                <a:cubicBezTo>
                  <a:pt x="31" y="0"/>
                  <a:pt x="30" y="0"/>
                  <a:pt x="29" y="1"/>
                </a:cubicBezTo>
                <a:cubicBezTo>
                  <a:pt x="29" y="2"/>
                  <a:pt x="29" y="3"/>
                  <a:pt x="30" y="3"/>
                </a:cubicBezTo>
                <a:cubicBezTo>
                  <a:pt x="30" y="3"/>
                  <a:pt x="32" y="5"/>
                  <a:pt x="32" y="7"/>
                </a:cubicBezTo>
                <a:cubicBezTo>
                  <a:pt x="32" y="9"/>
                  <a:pt x="31" y="11"/>
                  <a:pt x="29" y="13"/>
                </a:cubicBezTo>
                <a:cubicBezTo>
                  <a:pt x="27" y="16"/>
                  <a:pt x="26" y="18"/>
                  <a:pt x="27" y="21"/>
                </a:cubicBezTo>
                <a:cubicBezTo>
                  <a:pt x="27" y="26"/>
                  <a:pt x="34" y="29"/>
                  <a:pt x="34" y="29"/>
                </a:cubicBezTo>
                <a:cubicBezTo>
                  <a:pt x="34" y="29"/>
                  <a:pt x="34" y="29"/>
                  <a:pt x="35" y="29"/>
                </a:cubicBezTo>
                <a:cubicBezTo>
                  <a:pt x="35" y="29"/>
                  <a:pt x="36" y="29"/>
                  <a:pt x="36" y="28"/>
                </a:cubicBezTo>
                <a:close/>
                <a:moveTo>
                  <a:pt x="23" y="28"/>
                </a:moveTo>
                <a:cubicBezTo>
                  <a:pt x="23" y="27"/>
                  <a:pt x="23" y="26"/>
                  <a:pt x="23" y="26"/>
                </a:cubicBezTo>
                <a:cubicBezTo>
                  <a:pt x="23" y="26"/>
                  <a:pt x="21" y="25"/>
                  <a:pt x="21" y="24"/>
                </a:cubicBezTo>
                <a:cubicBezTo>
                  <a:pt x="21" y="23"/>
                  <a:pt x="22" y="22"/>
                  <a:pt x="23" y="21"/>
                </a:cubicBezTo>
                <a:cubicBezTo>
                  <a:pt x="25" y="19"/>
                  <a:pt x="25" y="17"/>
                  <a:pt x="25" y="16"/>
                </a:cubicBezTo>
                <a:cubicBezTo>
                  <a:pt x="24" y="13"/>
                  <a:pt x="20" y="11"/>
                  <a:pt x="20" y="11"/>
                </a:cubicBezTo>
                <a:cubicBezTo>
                  <a:pt x="19" y="11"/>
                  <a:pt x="18" y="11"/>
                  <a:pt x="18" y="12"/>
                </a:cubicBezTo>
                <a:cubicBezTo>
                  <a:pt x="17" y="13"/>
                  <a:pt x="18" y="13"/>
                  <a:pt x="18" y="14"/>
                </a:cubicBezTo>
                <a:cubicBezTo>
                  <a:pt x="18" y="14"/>
                  <a:pt x="19" y="15"/>
                  <a:pt x="19" y="16"/>
                </a:cubicBezTo>
                <a:cubicBezTo>
                  <a:pt x="19" y="17"/>
                  <a:pt x="19" y="18"/>
                  <a:pt x="18" y="19"/>
                </a:cubicBezTo>
                <a:cubicBezTo>
                  <a:pt x="16" y="21"/>
                  <a:pt x="16" y="22"/>
                  <a:pt x="16" y="24"/>
                </a:cubicBezTo>
                <a:cubicBezTo>
                  <a:pt x="17" y="27"/>
                  <a:pt x="20" y="28"/>
                  <a:pt x="21" y="29"/>
                </a:cubicBezTo>
                <a:cubicBezTo>
                  <a:pt x="21" y="29"/>
                  <a:pt x="21" y="29"/>
                  <a:pt x="22" y="29"/>
                </a:cubicBezTo>
                <a:cubicBezTo>
                  <a:pt x="22" y="29"/>
                  <a:pt x="23" y="29"/>
                  <a:pt x="23" y="2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62" name="Freeform 137"/>
          <p:cNvSpPr>
            <a:spLocks/>
          </p:cNvSpPr>
          <p:nvPr/>
        </p:nvSpPr>
        <p:spPr bwMode="black">
          <a:xfrm>
            <a:off x="8608057" y="3933913"/>
            <a:ext cx="318595" cy="295339"/>
          </a:xfrm>
          <a:custGeom>
            <a:avLst/>
            <a:gdLst>
              <a:gd name="T0" fmla="*/ 23 w 83"/>
              <a:gd name="T1" fmla="*/ 76 h 77"/>
              <a:gd name="T2" fmla="*/ 31 w 83"/>
              <a:gd name="T3" fmla="*/ 77 h 77"/>
              <a:gd name="T4" fmla="*/ 52 w 83"/>
              <a:gd name="T5" fmla="*/ 43 h 77"/>
              <a:gd name="T6" fmla="*/ 79 w 83"/>
              <a:gd name="T7" fmla="*/ 43 h 77"/>
              <a:gd name="T8" fmla="*/ 83 w 83"/>
              <a:gd name="T9" fmla="*/ 38 h 77"/>
              <a:gd name="T10" fmla="*/ 79 w 83"/>
              <a:gd name="T11" fmla="*/ 33 h 77"/>
              <a:gd name="T12" fmla="*/ 52 w 83"/>
              <a:gd name="T13" fmla="*/ 33 h 77"/>
              <a:gd name="T14" fmla="*/ 31 w 83"/>
              <a:gd name="T15" fmla="*/ 0 h 77"/>
              <a:gd name="T16" fmla="*/ 23 w 83"/>
              <a:gd name="T17" fmla="*/ 1 h 77"/>
              <a:gd name="T18" fmla="*/ 33 w 83"/>
              <a:gd name="T19" fmla="*/ 33 h 77"/>
              <a:gd name="T20" fmla="*/ 14 w 83"/>
              <a:gd name="T21" fmla="*/ 33 h 77"/>
              <a:gd name="T22" fmla="*/ 8 w 83"/>
              <a:gd name="T23" fmla="*/ 27 h 77"/>
              <a:gd name="T24" fmla="*/ 0 w 83"/>
              <a:gd name="T25" fmla="*/ 27 h 77"/>
              <a:gd name="T26" fmla="*/ 5 w 83"/>
              <a:gd name="T27" fmla="*/ 38 h 77"/>
              <a:gd name="T28" fmla="*/ 0 w 83"/>
              <a:gd name="T29" fmla="*/ 50 h 77"/>
              <a:gd name="T30" fmla="*/ 8 w 83"/>
              <a:gd name="T31" fmla="*/ 50 h 77"/>
              <a:gd name="T32" fmla="*/ 14 w 83"/>
              <a:gd name="T33" fmla="*/ 43 h 77"/>
              <a:gd name="T34" fmla="*/ 33 w 83"/>
              <a:gd name="T35" fmla="*/ 43 h 77"/>
              <a:gd name="T36" fmla="*/ 23 w 83"/>
              <a:gd name="T37" fmla="*/ 76 h 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83" h="77">
                <a:moveTo>
                  <a:pt x="23" y="76"/>
                </a:moveTo>
                <a:cubicBezTo>
                  <a:pt x="31" y="77"/>
                  <a:pt x="31" y="77"/>
                  <a:pt x="31" y="77"/>
                </a:cubicBezTo>
                <a:cubicBezTo>
                  <a:pt x="52" y="43"/>
                  <a:pt x="52" y="43"/>
                  <a:pt x="52" y="43"/>
                </a:cubicBezTo>
                <a:cubicBezTo>
                  <a:pt x="79" y="43"/>
                  <a:pt x="79" y="43"/>
                  <a:pt x="79" y="43"/>
                </a:cubicBezTo>
                <a:cubicBezTo>
                  <a:pt x="81" y="43"/>
                  <a:pt x="83" y="41"/>
                  <a:pt x="83" y="38"/>
                </a:cubicBezTo>
                <a:cubicBezTo>
                  <a:pt x="83" y="36"/>
                  <a:pt x="81" y="33"/>
                  <a:pt x="79" y="33"/>
                </a:cubicBezTo>
                <a:cubicBezTo>
                  <a:pt x="52" y="33"/>
                  <a:pt x="52" y="33"/>
                  <a:pt x="52" y="33"/>
                </a:cubicBezTo>
                <a:cubicBezTo>
                  <a:pt x="31" y="0"/>
                  <a:pt x="31" y="0"/>
                  <a:pt x="31" y="0"/>
                </a:cubicBezTo>
                <a:cubicBezTo>
                  <a:pt x="23" y="1"/>
                  <a:pt x="23" y="1"/>
                  <a:pt x="23" y="1"/>
                </a:cubicBezTo>
                <a:cubicBezTo>
                  <a:pt x="33" y="33"/>
                  <a:pt x="33" y="33"/>
                  <a:pt x="33" y="33"/>
                </a:cubicBezTo>
                <a:cubicBezTo>
                  <a:pt x="14" y="33"/>
                  <a:pt x="14" y="33"/>
                  <a:pt x="14" y="33"/>
                </a:cubicBezTo>
                <a:cubicBezTo>
                  <a:pt x="8" y="27"/>
                  <a:pt x="8" y="27"/>
                  <a:pt x="8" y="27"/>
                </a:cubicBezTo>
                <a:cubicBezTo>
                  <a:pt x="0" y="27"/>
                  <a:pt x="0" y="27"/>
                  <a:pt x="0" y="27"/>
                </a:cubicBezTo>
                <a:cubicBezTo>
                  <a:pt x="5" y="38"/>
                  <a:pt x="5" y="38"/>
                  <a:pt x="5" y="38"/>
                </a:cubicBezTo>
                <a:cubicBezTo>
                  <a:pt x="0" y="50"/>
                  <a:pt x="0" y="50"/>
                  <a:pt x="0" y="50"/>
                </a:cubicBezTo>
                <a:cubicBezTo>
                  <a:pt x="8" y="50"/>
                  <a:pt x="8" y="50"/>
                  <a:pt x="8" y="50"/>
                </a:cubicBezTo>
                <a:cubicBezTo>
                  <a:pt x="14" y="43"/>
                  <a:pt x="14" y="43"/>
                  <a:pt x="14" y="43"/>
                </a:cubicBezTo>
                <a:cubicBezTo>
                  <a:pt x="33" y="43"/>
                  <a:pt x="33" y="43"/>
                  <a:pt x="33" y="43"/>
                </a:cubicBezTo>
                <a:lnTo>
                  <a:pt x="23" y="7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63" name="Freeform 138"/>
          <p:cNvSpPr>
            <a:spLocks noEditPoints="1"/>
          </p:cNvSpPr>
          <p:nvPr/>
        </p:nvSpPr>
        <p:spPr bwMode="black">
          <a:xfrm>
            <a:off x="8644106" y="3253093"/>
            <a:ext cx="246508" cy="306966"/>
          </a:xfrm>
          <a:custGeom>
            <a:avLst/>
            <a:gdLst>
              <a:gd name="T0" fmla="*/ 64 w 64"/>
              <a:gd name="T1" fmla="*/ 9 h 80"/>
              <a:gd name="T2" fmla="*/ 64 w 64"/>
              <a:gd name="T3" fmla="*/ 32 h 80"/>
              <a:gd name="T4" fmla="*/ 40 w 64"/>
              <a:gd name="T5" fmla="*/ 33 h 80"/>
              <a:gd name="T6" fmla="*/ 32 w 64"/>
              <a:gd name="T7" fmla="*/ 25 h 80"/>
              <a:gd name="T8" fmla="*/ 47 w 64"/>
              <a:gd name="T9" fmla="*/ 24 h 80"/>
              <a:gd name="T10" fmla="*/ 37 w 64"/>
              <a:gd name="T11" fmla="*/ 18 h 80"/>
              <a:gd name="T12" fmla="*/ 12 w 64"/>
              <a:gd name="T13" fmla="*/ 35 h 80"/>
              <a:gd name="T14" fmla="*/ 0 w 64"/>
              <a:gd name="T15" fmla="*/ 35 h 80"/>
              <a:gd name="T16" fmla="*/ 39 w 64"/>
              <a:gd name="T17" fmla="*/ 7 h 80"/>
              <a:gd name="T18" fmla="*/ 55 w 64"/>
              <a:gd name="T19" fmla="*/ 15 h 80"/>
              <a:gd name="T20" fmla="*/ 56 w 64"/>
              <a:gd name="T21" fmla="*/ 0 h 80"/>
              <a:gd name="T22" fmla="*/ 64 w 64"/>
              <a:gd name="T23" fmla="*/ 9 h 80"/>
              <a:gd name="T24" fmla="*/ 26 w 64"/>
              <a:gd name="T25" fmla="*/ 62 h 80"/>
              <a:gd name="T26" fmla="*/ 15 w 64"/>
              <a:gd name="T27" fmla="*/ 56 h 80"/>
              <a:gd name="T28" fmla="*/ 32 w 64"/>
              <a:gd name="T29" fmla="*/ 56 h 80"/>
              <a:gd name="T30" fmla="*/ 24 w 64"/>
              <a:gd name="T31" fmla="*/ 47 h 80"/>
              <a:gd name="T32" fmla="*/ 0 w 64"/>
              <a:gd name="T33" fmla="*/ 48 h 80"/>
              <a:gd name="T34" fmla="*/ 0 w 64"/>
              <a:gd name="T35" fmla="*/ 72 h 80"/>
              <a:gd name="T36" fmla="*/ 8 w 64"/>
              <a:gd name="T37" fmla="*/ 80 h 80"/>
              <a:gd name="T38" fmla="*/ 9 w 64"/>
              <a:gd name="T39" fmla="*/ 66 h 80"/>
              <a:gd name="T40" fmla="*/ 24 w 64"/>
              <a:gd name="T41" fmla="*/ 73 h 80"/>
              <a:gd name="T42" fmla="*/ 64 w 64"/>
              <a:gd name="T43" fmla="*/ 45 h 80"/>
              <a:gd name="T44" fmla="*/ 51 w 64"/>
              <a:gd name="T45" fmla="*/ 45 h 80"/>
              <a:gd name="T46" fmla="*/ 26 w 64"/>
              <a:gd name="T47" fmla="*/ 62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64" h="80">
                <a:moveTo>
                  <a:pt x="64" y="9"/>
                </a:moveTo>
                <a:cubicBezTo>
                  <a:pt x="64" y="32"/>
                  <a:pt x="64" y="32"/>
                  <a:pt x="64" y="32"/>
                </a:cubicBezTo>
                <a:cubicBezTo>
                  <a:pt x="40" y="33"/>
                  <a:pt x="40" y="33"/>
                  <a:pt x="40" y="33"/>
                </a:cubicBezTo>
                <a:cubicBezTo>
                  <a:pt x="32" y="25"/>
                  <a:pt x="32" y="25"/>
                  <a:pt x="32" y="25"/>
                </a:cubicBezTo>
                <a:cubicBezTo>
                  <a:pt x="47" y="24"/>
                  <a:pt x="47" y="24"/>
                  <a:pt x="47" y="24"/>
                </a:cubicBezTo>
                <a:cubicBezTo>
                  <a:pt x="45" y="21"/>
                  <a:pt x="41" y="19"/>
                  <a:pt x="37" y="18"/>
                </a:cubicBezTo>
                <a:cubicBezTo>
                  <a:pt x="26" y="16"/>
                  <a:pt x="14" y="24"/>
                  <a:pt x="12" y="35"/>
                </a:cubicBezTo>
                <a:cubicBezTo>
                  <a:pt x="0" y="35"/>
                  <a:pt x="0" y="35"/>
                  <a:pt x="0" y="35"/>
                </a:cubicBezTo>
                <a:cubicBezTo>
                  <a:pt x="4" y="14"/>
                  <a:pt x="22" y="4"/>
                  <a:pt x="39" y="7"/>
                </a:cubicBezTo>
                <a:cubicBezTo>
                  <a:pt x="45" y="8"/>
                  <a:pt x="51" y="11"/>
                  <a:pt x="55" y="15"/>
                </a:cubicBezTo>
                <a:cubicBezTo>
                  <a:pt x="56" y="0"/>
                  <a:pt x="56" y="0"/>
                  <a:pt x="56" y="0"/>
                </a:cubicBezTo>
                <a:lnTo>
                  <a:pt x="64" y="9"/>
                </a:lnTo>
                <a:close/>
                <a:moveTo>
                  <a:pt x="26" y="62"/>
                </a:moveTo>
                <a:cubicBezTo>
                  <a:pt x="22" y="61"/>
                  <a:pt x="18" y="59"/>
                  <a:pt x="15" y="56"/>
                </a:cubicBezTo>
                <a:cubicBezTo>
                  <a:pt x="32" y="56"/>
                  <a:pt x="32" y="56"/>
                  <a:pt x="32" y="56"/>
                </a:cubicBezTo>
                <a:cubicBezTo>
                  <a:pt x="24" y="47"/>
                  <a:pt x="24" y="47"/>
                  <a:pt x="24" y="47"/>
                </a:cubicBezTo>
                <a:cubicBezTo>
                  <a:pt x="0" y="48"/>
                  <a:pt x="0" y="48"/>
                  <a:pt x="0" y="48"/>
                </a:cubicBezTo>
                <a:cubicBezTo>
                  <a:pt x="0" y="72"/>
                  <a:pt x="0" y="72"/>
                  <a:pt x="0" y="72"/>
                </a:cubicBezTo>
                <a:cubicBezTo>
                  <a:pt x="8" y="80"/>
                  <a:pt x="8" y="80"/>
                  <a:pt x="8" y="80"/>
                </a:cubicBezTo>
                <a:cubicBezTo>
                  <a:pt x="9" y="66"/>
                  <a:pt x="9" y="66"/>
                  <a:pt x="9" y="66"/>
                </a:cubicBezTo>
                <a:cubicBezTo>
                  <a:pt x="13" y="70"/>
                  <a:pt x="18" y="72"/>
                  <a:pt x="24" y="73"/>
                </a:cubicBezTo>
                <a:cubicBezTo>
                  <a:pt x="42" y="77"/>
                  <a:pt x="60" y="66"/>
                  <a:pt x="64" y="45"/>
                </a:cubicBezTo>
                <a:cubicBezTo>
                  <a:pt x="51" y="45"/>
                  <a:pt x="51" y="45"/>
                  <a:pt x="51" y="45"/>
                </a:cubicBezTo>
                <a:cubicBezTo>
                  <a:pt x="49" y="57"/>
                  <a:pt x="38" y="64"/>
                  <a:pt x="26" y="6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64" name="Freeform 139"/>
          <p:cNvSpPr>
            <a:spLocks/>
          </p:cNvSpPr>
          <p:nvPr/>
        </p:nvSpPr>
        <p:spPr bwMode="black">
          <a:xfrm>
            <a:off x="5260911" y="5287414"/>
            <a:ext cx="288364" cy="288363"/>
          </a:xfrm>
          <a:custGeom>
            <a:avLst/>
            <a:gdLst>
              <a:gd name="T0" fmla="*/ 63 w 75"/>
              <a:gd name="T1" fmla="*/ 29 h 75"/>
              <a:gd name="T2" fmla="*/ 44 w 75"/>
              <a:gd name="T3" fmla="*/ 48 h 75"/>
              <a:gd name="T4" fmla="*/ 40 w 75"/>
              <a:gd name="T5" fmla="*/ 68 h 75"/>
              <a:gd name="T6" fmla="*/ 26 w 75"/>
              <a:gd name="T7" fmla="*/ 54 h 75"/>
              <a:gd name="T8" fmla="*/ 0 w 75"/>
              <a:gd name="T9" fmla="*/ 74 h 75"/>
              <a:gd name="T10" fmla="*/ 0 w 75"/>
              <a:gd name="T11" fmla="*/ 74 h 75"/>
              <a:gd name="T12" fmla="*/ 0 w 75"/>
              <a:gd name="T13" fmla="*/ 74 h 75"/>
              <a:gd name="T14" fmla="*/ 0 w 75"/>
              <a:gd name="T15" fmla="*/ 74 h 75"/>
              <a:gd name="T16" fmla="*/ 0 w 75"/>
              <a:gd name="T17" fmla="*/ 74 h 75"/>
              <a:gd name="T18" fmla="*/ 20 w 75"/>
              <a:gd name="T19" fmla="*/ 49 h 75"/>
              <a:gd name="T20" fmla="*/ 6 w 75"/>
              <a:gd name="T21" fmla="*/ 35 h 75"/>
              <a:gd name="T22" fmla="*/ 27 w 75"/>
              <a:gd name="T23" fmla="*/ 31 h 75"/>
              <a:gd name="T24" fmla="*/ 46 w 75"/>
              <a:gd name="T25" fmla="*/ 11 h 75"/>
              <a:gd name="T26" fmla="*/ 50 w 75"/>
              <a:gd name="T27" fmla="*/ 0 h 75"/>
              <a:gd name="T28" fmla="*/ 75 w 75"/>
              <a:gd name="T29" fmla="*/ 25 h 75"/>
              <a:gd name="T30" fmla="*/ 63 w 75"/>
              <a:gd name="T31" fmla="*/ 29 h 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75" h="75">
                <a:moveTo>
                  <a:pt x="63" y="29"/>
                </a:moveTo>
                <a:cubicBezTo>
                  <a:pt x="44" y="48"/>
                  <a:pt x="44" y="48"/>
                  <a:pt x="44" y="48"/>
                </a:cubicBezTo>
                <a:cubicBezTo>
                  <a:pt x="47" y="55"/>
                  <a:pt x="46" y="63"/>
                  <a:pt x="40" y="68"/>
                </a:cubicBezTo>
                <a:cubicBezTo>
                  <a:pt x="26" y="54"/>
                  <a:pt x="26" y="54"/>
                  <a:pt x="26" y="54"/>
                </a:cubicBezTo>
                <a:cubicBezTo>
                  <a:pt x="11" y="67"/>
                  <a:pt x="2" y="75"/>
                  <a:pt x="0" y="74"/>
                </a:cubicBezTo>
                <a:cubicBezTo>
                  <a:pt x="0" y="74"/>
                  <a:pt x="0" y="74"/>
                  <a:pt x="0" y="74"/>
                </a:cubicBezTo>
                <a:cubicBezTo>
                  <a:pt x="0" y="74"/>
                  <a:pt x="0" y="74"/>
                  <a:pt x="0" y="74"/>
                </a:cubicBezTo>
                <a:cubicBezTo>
                  <a:pt x="0" y="74"/>
                  <a:pt x="0" y="74"/>
                  <a:pt x="0" y="74"/>
                </a:cubicBezTo>
                <a:cubicBezTo>
                  <a:pt x="0" y="74"/>
                  <a:pt x="0" y="74"/>
                  <a:pt x="0" y="74"/>
                </a:cubicBezTo>
                <a:cubicBezTo>
                  <a:pt x="0" y="73"/>
                  <a:pt x="7" y="63"/>
                  <a:pt x="20" y="49"/>
                </a:cubicBezTo>
                <a:cubicBezTo>
                  <a:pt x="6" y="35"/>
                  <a:pt x="6" y="35"/>
                  <a:pt x="6" y="35"/>
                </a:cubicBezTo>
                <a:cubicBezTo>
                  <a:pt x="12" y="29"/>
                  <a:pt x="20" y="28"/>
                  <a:pt x="27" y="31"/>
                </a:cubicBezTo>
                <a:cubicBezTo>
                  <a:pt x="46" y="11"/>
                  <a:pt x="46" y="11"/>
                  <a:pt x="46" y="11"/>
                </a:cubicBezTo>
                <a:cubicBezTo>
                  <a:pt x="45" y="7"/>
                  <a:pt x="46" y="3"/>
                  <a:pt x="50" y="0"/>
                </a:cubicBezTo>
                <a:cubicBezTo>
                  <a:pt x="75" y="25"/>
                  <a:pt x="75" y="25"/>
                  <a:pt x="75" y="25"/>
                </a:cubicBezTo>
                <a:cubicBezTo>
                  <a:pt x="72" y="28"/>
                  <a:pt x="67" y="30"/>
                  <a:pt x="63" y="2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65" name="Freeform 144"/>
          <p:cNvSpPr>
            <a:spLocks noEditPoints="1"/>
          </p:cNvSpPr>
          <p:nvPr/>
        </p:nvSpPr>
        <p:spPr bwMode="black">
          <a:xfrm>
            <a:off x="9345628" y="3915307"/>
            <a:ext cx="188368" cy="332552"/>
          </a:xfrm>
          <a:custGeom>
            <a:avLst/>
            <a:gdLst>
              <a:gd name="T0" fmla="*/ 35 w 46"/>
              <a:gd name="T1" fmla="*/ 7 h 84"/>
              <a:gd name="T2" fmla="*/ 29 w 46"/>
              <a:gd name="T3" fmla="*/ 14 h 84"/>
              <a:gd name="T4" fmla="*/ 22 w 46"/>
              <a:gd name="T5" fmla="*/ 7 h 84"/>
              <a:gd name="T6" fmla="*/ 29 w 46"/>
              <a:gd name="T7" fmla="*/ 0 h 84"/>
              <a:gd name="T8" fmla="*/ 35 w 46"/>
              <a:gd name="T9" fmla="*/ 7 h 84"/>
              <a:gd name="T10" fmla="*/ 20 w 46"/>
              <a:gd name="T11" fmla="*/ 12 h 84"/>
              <a:gd name="T12" fmla="*/ 2 w 46"/>
              <a:gd name="T13" fmla="*/ 22 h 84"/>
              <a:gd name="T14" fmla="*/ 0 w 46"/>
              <a:gd name="T15" fmla="*/ 41 h 84"/>
              <a:gd name="T16" fmla="*/ 6 w 46"/>
              <a:gd name="T17" fmla="*/ 41 h 84"/>
              <a:gd name="T18" fmla="*/ 7 w 46"/>
              <a:gd name="T19" fmla="*/ 26 h 84"/>
              <a:gd name="T20" fmla="*/ 15 w 46"/>
              <a:gd name="T21" fmla="*/ 22 h 84"/>
              <a:gd name="T22" fmla="*/ 10 w 46"/>
              <a:gd name="T23" fmla="*/ 37 h 84"/>
              <a:gd name="T24" fmla="*/ 12 w 46"/>
              <a:gd name="T25" fmla="*/ 45 h 84"/>
              <a:gd name="T26" fmla="*/ 0 w 46"/>
              <a:gd name="T27" fmla="*/ 82 h 84"/>
              <a:gd name="T28" fmla="*/ 8 w 46"/>
              <a:gd name="T29" fmla="*/ 84 h 84"/>
              <a:gd name="T30" fmla="*/ 18 w 46"/>
              <a:gd name="T31" fmla="*/ 57 h 84"/>
              <a:gd name="T32" fmla="*/ 21 w 46"/>
              <a:gd name="T33" fmla="*/ 62 h 84"/>
              <a:gd name="T34" fmla="*/ 27 w 46"/>
              <a:gd name="T35" fmla="*/ 84 h 84"/>
              <a:gd name="T36" fmla="*/ 36 w 46"/>
              <a:gd name="T37" fmla="*/ 81 h 84"/>
              <a:gd name="T38" fmla="*/ 29 w 46"/>
              <a:gd name="T39" fmla="*/ 56 h 84"/>
              <a:gd name="T40" fmla="*/ 22 w 46"/>
              <a:gd name="T41" fmla="*/ 45 h 84"/>
              <a:gd name="T42" fmla="*/ 27 w 46"/>
              <a:gd name="T43" fmla="*/ 29 h 84"/>
              <a:gd name="T44" fmla="*/ 29 w 46"/>
              <a:gd name="T45" fmla="*/ 35 h 84"/>
              <a:gd name="T46" fmla="*/ 44 w 46"/>
              <a:gd name="T47" fmla="*/ 41 h 84"/>
              <a:gd name="T48" fmla="*/ 46 w 46"/>
              <a:gd name="T49" fmla="*/ 35 h 84"/>
              <a:gd name="T50" fmla="*/ 35 w 46"/>
              <a:gd name="T51" fmla="*/ 30 h 84"/>
              <a:gd name="T52" fmla="*/ 31 w 46"/>
              <a:gd name="T53" fmla="*/ 17 h 84"/>
              <a:gd name="T54" fmla="*/ 20 w 46"/>
              <a:gd name="T55" fmla="*/ 12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46" h="84">
                <a:moveTo>
                  <a:pt x="35" y="7"/>
                </a:moveTo>
                <a:cubicBezTo>
                  <a:pt x="35" y="11"/>
                  <a:pt x="33" y="14"/>
                  <a:pt x="29" y="14"/>
                </a:cubicBezTo>
                <a:cubicBezTo>
                  <a:pt x="25" y="14"/>
                  <a:pt x="22" y="11"/>
                  <a:pt x="22" y="7"/>
                </a:cubicBezTo>
                <a:cubicBezTo>
                  <a:pt x="22" y="3"/>
                  <a:pt x="25" y="0"/>
                  <a:pt x="29" y="0"/>
                </a:cubicBezTo>
                <a:cubicBezTo>
                  <a:pt x="33" y="0"/>
                  <a:pt x="35" y="3"/>
                  <a:pt x="35" y="7"/>
                </a:cubicBezTo>
                <a:moveTo>
                  <a:pt x="20" y="12"/>
                </a:moveTo>
                <a:cubicBezTo>
                  <a:pt x="2" y="22"/>
                  <a:pt x="2" y="22"/>
                  <a:pt x="2" y="22"/>
                </a:cubicBezTo>
                <a:cubicBezTo>
                  <a:pt x="0" y="41"/>
                  <a:pt x="0" y="41"/>
                  <a:pt x="0" y="41"/>
                </a:cubicBezTo>
                <a:cubicBezTo>
                  <a:pt x="6" y="41"/>
                  <a:pt x="6" y="41"/>
                  <a:pt x="6" y="41"/>
                </a:cubicBezTo>
                <a:cubicBezTo>
                  <a:pt x="7" y="26"/>
                  <a:pt x="7" y="26"/>
                  <a:pt x="7" y="26"/>
                </a:cubicBezTo>
                <a:cubicBezTo>
                  <a:pt x="15" y="22"/>
                  <a:pt x="15" y="22"/>
                  <a:pt x="15" y="22"/>
                </a:cubicBezTo>
                <a:cubicBezTo>
                  <a:pt x="15" y="22"/>
                  <a:pt x="11" y="34"/>
                  <a:pt x="10" y="37"/>
                </a:cubicBezTo>
                <a:cubicBezTo>
                  <a:pt x="9" y="39"/>
                  <a:pt x="11" y="43"/>
                  <a:pt x="12" y="45"/>
                </a:cubicBezTo>
                <a:cubicBezTo>
                  <a:pt x="0" y="82"/>
                  <a:pt x="0" y="82"/>
                  <a:pt x="0" y="82"/>
                </a:cubicBezTo>
                <a:cubicBezTo>
                  <a:pt x="8" y="84"/>
                  <a:pt x="8" y="84"/>
                  <a:pt x="8" y="84"/>
                </a:cubicBezTo>
                <a:cubicBezTo>
                  <a:pt x="18" y="57"/>
                  <a:pt x="18" y="57"/>
                  <a:pt x="18" y="57"/>
                </a:cubicBezTo>
                <a:cubicBezTo>
                  <a:pt x="21" y="62"/>
                  <a:pt x="21" y="62"/>
                  <a:pt x="21" y="62"/>
                </a:cubicBezTo>
                <a:cubicBezTo>
                  <a:pt x="27" y="84"/>
                  <a:pt x="27" y="84"/>
                  <a:pt x="27" y="84"/>
                </a:cubicBezTo>
                <a:cubicBezTo>
                  <a:pt x="36" y="81"/>
                  <a:pt x="36" y="81"/>
                  <a:pt x="36" y="81"/>
                </a:cubicBezTo>
                <a:cubicBezTo>
                  <a:pt x="29" y="56"/>
                  <a:pt x="29" y="56"/>
                  <a:pt x="29" y="56"/>
                </a:cubicBezTo>
                <a:cubicBezTo>
                  <a:pt x="22" y="45"/>
                  <a:pt x="22" y="45"/>
                  <a:pt x="22" y="45"/>
                </a:cubicBezTo>
                <a:cubicBezTo>
                  <a:pt x="27" y="29"/>
                  <a:pt x="27" y="29"/>
                  <a:pt x="27" y="29"/>
                </a:cubicBezTo>
                <a:cubicBezTo>
                  <a:pt x="29" y="35"/>
                  <a:pt x="29" y="35"/>
                  <a:pt x="29" y="35"/>
                </a:cubicBezTo>
                <a:cubicBezTo>
                  <a:pt x="44" y="41"/>
                  <a:pt x="44" y="41"/>
                  <a:pt x="44" y="41"/>
                </a:cubicBezTo>
                <a:cubicBezTo>
                  <a:pt x="46" y="35"/>
                  <a:pt x="46" y="35"/>
                  <a:pt x="46" y="35"/>
                </a:cubicBezTo>
                <a:cubicBezTo>
                  <a:pt x="35" y="30"/>
                  <a:pt x="35" y="30"/>
                  <a:pt x="35" y="30"/>
                </a:cubicBezTo>
                <a:cubicBezTo>
                  <a:pt x="31" y="17"/>
                  <a:pt x="31" y="17"/>
                  <a:pt x="31" y="17"/>
                </a:cubicBezTo>
                <a:lnTo>
                  <a:pt x="20" y="1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66" name="Freeform 88"/>
          <p:cNvSpPr>
            <a:spLocks/>
          </p:cNvSpPr>
          <p:nvPr/>
        </p:nvSpPr>
        <p:spPr bwMode="black">
          <a:xfrm>
            <a:off x="4614038" y="5309507"/>
            <a:ext cx="237204" cy="244179"/>
          </a:xfrm>
          <a:custGeom>
            <a:avLst/>
            <a:gdLst>
              <a:gd name="T0" fmla="*/ 13 w 102"/>
              <a:gd name="T1" fmla="*/ 105 h 105"/>
              <a:gd name="T2" fmla="*/ 102 w 102"/>
              <a:gd name="T3" fmla="*/ 15 h 105"/>
              <a:gd name="T4" fmla="*/ 89 w 102"/>
              <a:gd name="T5" fmla="*/ 0 h 105"/>
              <a:gd name="T6" fmla="*/ 0 w 102"/>
              <a:gd name="T7" fmla="*/ 91 h 105"/>
              <a:gd name="T8" fmla="*/ 13 w 102"/>
              <a:gd name="T9" fmla="*/ 105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2" h="105">
                <a:moveTo>
                  <a:pt x="13" y="105"/>
                </a:moveTo>
                <a:lnTo>
                  <a:pt x="102" y="15"/>
                </a:lnTo>
                <a:lnTo>
                  <a:pt x="89" y="0"/>
                </a:lnTo>
                <a:lnTo>
                  <a:pt x="0" y="91"/>
                </a:lnTo>
                <a:lnTo>
                  <a:pt x="13" y="10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7236" tIns="33618" rIns="67236" bIns="33618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67" name="Freeform 89"/>
          <p:cNvSpPr>
            <a:spLocks/>
          </p:cNvSpPr>
          <p:nvPr/>
        </p:nvSpPr>
        <p:spPr bwMode="black">
          <a:xfrm>
            <a:off x="4609387" y="5309507"/>
            <a:ext cx="246508" cy="244179"/>
          </a:xfrm>
          <a:custGeom>
            <a:avLst/>
            <a:gdLst>
              <a:gd name="T0" fmla="*/ 106 w 106"/>
              <a:gd name="T1" fmla="*/ 91 h 105"/>
              <a:gd name="T2" fmla="*/ 15 w 106"/>
              <a:gd name="T3" fmla="*/ 0 h 105"/>
              <a:gd name="T4" fmla="*/ 0 w 106"/>
              <a:gd name="T5" fmla="*/ 14 h 105"/>
              <a:gd name="T6" fmla="*/ 91 w 106"/>
              <a:gd name="T7" fmla="*/ 105 h 105"/>
              <a:gd name="T8" fmla="*/ 106 w 106"/>
              <a:gd name="T9" fmla="*/ 91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6" h="105">
                <a:moveTo>
                  <a:pt x="106" y="91"/>
                </a:moveTo>
                <a:lnTo>
                  <a:pt x="15" y="0"/>
                </a:lnTo>
                <a:lnTo>
                  <a:pt x="0" y="14"/>
                </a:lnTo>
                <a:lnTo>
                  <a:pt x="91" y="105"/>
                </a:lnTo>
                <a:lnTo>
                  <a:pt x="106" y="9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7236" tIns="33618" rIns="67236" bIns="33618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6888343"/>
      </p:ext>
    </p:extLst>
  </p:cSld>
  <p:clrMapOvr>
    <a:masterClrMapping/>
  </p:clrMapOvr>
  <p:transition>
    <p:fade/>
  </p:transition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1725683" y="1074588"/>
            <a:ext cx="8742376" cy="674692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3970" dirty="0"/>
              <a:t>Icons Circled</a:t>
            </a:r>
          </a:p>
        </p:txBody>
      </p:sp>
      <p:sp>
        <p:nvSpPr>
          <p:cNvPr id="3" name="Freeform 6"/>
          <p:cNvSpPr>
            <a:spLocks noEditPoints="1"/>
          </p:cNvSpPr>
          <p:nvPr/>
        </p:nvSpPr>
        <p:spPr bwMode="black">
          <a:xfrm>
            <a:off x="1887901" y="2578328"/>
            <a:ext cx="305569" cy="304337"/>
          </a:xfrm>
          <a:custGeom>
            <a:avLst/>
            <a:gdLst>
              <a:gd name="T0" fmla="*/ 61 w 150"/>
              <a:gd name="T1" fmla="*/ 82 h 149"/>
              <a:gd name="T2" fmla="*/ 84 w 150"/>
              <a:gd name="T3" fmla="*/ 104 h 149"/>
              <a:gd name="T4" fmla="*/ 66 w 150"/>
              <a:gd name="T5" fmla="*/ 104 h 149"/>
              <a:gd name="T6" fmla="*/ 35 w 150"/>
              <a:gd name="T7" fmla="*/ 75 h 149"/>
              <a:gd name="T8" fmla="*/ 65 w 150"/>
              <a:gd name="T9" fmla="*/ 46 h 149"/>
              <a:gd name="T10" fmla="*/ 84 w 150"/>
              <a:gd name="T11" fmla="*/ 46 h 149"/>
              <a:gd name="T12" fmla="*/ 61 w 150"/>
              <a:gd name="T13" fmla="*/ 67 h 149"/>
              <a:gd name="T14" fmla="*/ 113 w 150"/>
              <a:gd name="T15" fmla="*/ 67 h 149"/>
              <a:gd name="T16" fmla="*/ 113 w 150"/>
              <a:gd name="T17" fmla="*/ 82 h 149"/>
              <a:gd name="T18" fmla="*/ 61 w 150"/>
              <a:gd name="T19" fmla="*/ 82 h 149"/>
              <a:gd name="T20" fmla="*/ 150 w 150"/>
              <a:gd name="T21" fmla="*/ 75 h 149"/>
              <a:gd name="T22" fmla="*/ 75 w 150"/>
              <a:gd name="T23" fmla="*/ 149 h 149"/>
              <a:gd name="T24" fmla="*/ 0 w 150"/>
              <a:gd name="T25" fmla="*/ 75 h 149"/>
              <a:gd name="T26" fmla="*/ 75 w 150"/>
              <a:gd name="T27" fmla="*/ 0 h 149"/>
              <a:gd name="T28" fmla="*/ 150 w 150"/>
              <a:gd name="T29" fmla="*/ 75 h 149"/>
              <a:gd name="T30" fmla="*/ 140 w 150"/>
              <a:gd name="T31" fmla="*/ 75 h 149"/>
              <a:gd name="T32" fmla="*/ 75 w 150"/>
              <a:gd name="T33" fmla="*/ 9 h 149"/>
              <a:gd name="T34" fmla="*/ 10 w 150"/>
              <a:gd name="T35" fmla="*/ 75 h 149"/>
              <a:gd name="T36" fmla="*/ 75 w 150"/>
              <a:gd name="T37" fmla="*/ 140 h 149"/>
              <a:gd name="T38" fmla="*/ 140 w 150"/>
              <a:gd name="T39" fmla="*/ 75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50" h="149">
                <a:moveTo>
                  <a:pt x="61" y="82"/>
                </a:moveTo>
                <a:cubicBezTo>
                  <a:pt x="84" y="104"/>
                  <a:pt x="84" y="104"/>
                  <a:pt x="84" y="104"/>
                </a:cubicBezTo>
                <a:cubicBezTo>
                  <a:pt x="66" y="104"/>
                  <a:pt x="66" y="104"/>
                  <a:pt x="66" y="104"/>
                </a:cubicBezTo>
                <a:cubicBezTo>
                  <a:pt x="35" y="75"/>
                  <a:pt x="35" y="75"/>
                  <a:pt x="35" y="75"/>
                </a:cubicBezTo>
                <a:cubicBezTo>
                  <a:pt x="65" y="46"/>
                  <a:pt x="65" y="46"/>
                  <a:pt x="65" y="46"/>
                </a:cubicBezTo>
                <a:cubicBezTo>
                  <a:pt x="84" y="46"/>
                  <a:pt x="84" y="46"/>
                  <a:pt x="84" y="46"/>
                </a:cubicBezTo>
                <a:cubicBezTo>
                  <a:pt x="61" y="67"/>
                  <a:pt x="61" y="67"/>
                  <a:pt x="61" y="67"/>
                </a:cubicBezTo>
                <a:cubicBezTo>
                  <a:pt x="113" y="67"/>
                  <a:pt x="113" y="67"/>
                  <a:pt x="113" y="67"/>
                </a:cubicBezTo>
                <a:cubicBezTo>
                  <a:pt x="113" y="82"/>
                  <a:pt x="113" y="82"/>
                  <a:pt x="113" y="82"/>
                </a:cubicBezTo>
                <a:lnTo>
                  <a:pt x="61" y="82"/>
                </a:lnTo>
                <a:close/>
                <a:moveTo>
                  <a:pt x="150" y="75"/>
                </a:moveTo>
                <a:cubicBezTo>
                  <a:pt x="150" y="116"/>
                  <a:pt x="116" y="149"/>
                  <a:pt x="75" y="149"/>
                </a:cubicBezTo>
                <a:cubicBezTo>
                  <a:pt x="34" y="149"/>
                  <a:pt x="0" y="116"/>
                  <a:pt x="0" y="75"/>
                </a:cubicBezTo>
                <a:cubicBezTo>
                  <a:pt x="0" y="33"/>
                  <a:pt x="34" y="0"/>
                  <a:pt x="75" y="0"/>
                </a:cubicBezTo>
                <a:cubicBezTo>
                  <a:pt x="116" y="0"/>
                  <a:pt x="150" y="33"/>
                  <a:pt x="150" y="75"/>
                </a:cubicBezTo>
                <a:close/>
                <a:moveTo>
                  <a:pt x="140" y="75"/>
                </a:moveTo>
                <a:cubicBezTo>
                  <a:pt x="140" y="39"/>
                  <a:pt x="111" y="9"/>
                  <a:pt x="75" y="9"/>
                </a:cubicBezTo>
                <a:cubicBezTo>
                  <a:pt x="39" y="9"/>
                  <a:pt x="10" y="39"/>
                  <a:pt x="10" y="75"/>
                </a:cubicBezTo>
                <a:cubicBezTo>
                  <a:pt x="10" y="111"/>
                  <a:pt x="39" y="140"/>
                  <a:pt x="75" y="140"/>
                </a:cubicBezTo>
                <a:cubicBezTo>
                  <a:pt x="111" y="140"/>
                  <a:pt x="140" y="111"/>
                  <a:pt x="140" y="7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4" name="Freeform 7"/>
          <p:cNvSpPr>
            <a:spLocks noEditPoints="1"/>
          </p:cNvSpPr>
          <p:nvPr/>
        </p:nvSpPr>
        <p:spPr bwMode="black">
          <a:xfrm>
            <a:off x="7936171" y="2584493"/>
            <a:ext cx="330213" cy="292016"/>
          </a:xfrm>
          <a:custGeom>
            <a:avLst/>
            <a:gdLst>
              <a:gd name="T0" fmla="*/ 87 w 162"/>
              <a:gd name="T1" fmla="*/ 109 h 143"/>
              <a:gd name="T2" fmla="*/ 74 w 162"/>
              <a:gd name="T3" fmla="*/ 109 h 143"/>
              <a:gd name="T4" fmla="*/ 74 w 162"/>
              <a:gd name="T5" fmla="*/ 79 h 143"/>
              <a:gd name="T6" fmla="*/ 45 w 162"/>
              <a:gd name="T7" fmla="*/ 79 h 143"/>
              <a:gd name="T8" fmla="*/ 45 w 162"/>
              <a:gd name="T9" fmla="*/ 66 h 143"/>
              <a:gd name="T10" fmla="*/ 74 w 162"/>
              <a:gd name="T11" fmla="*/ 66 h 143"/>
              <a:gd name="T12" fmla="*/ 74 w 162"/>
              <a:gd name="T13" fmla="*/ 36 h 143"/>
              <a:gd name="T14" fmla="*/ 87 w 162"/>
              <a:gd name="T15" fmla="*/ 36 h 143"/>
              <a:gd name="T16" fmla="*/ 87 w 162"/>
              <a:gd name="T17" fmla="*/ 66 h 143"/>
              <a:gd name="T18" fmla="*/ 117 w 162"/>
              <a:gd name="T19" fmla="*/ 66 h 143"/>
              <a:gd name="T20" fmla="*/ 117 w 162"/>
              <a:gd name="T21" fmla="*/ 79 h 143"/>
              <a:gd name="T22" fmla="*/ 87 w 162"/>
              <a:gd name="T23" fmla="*/ 79 h 143"/>
              <a:gd name="T24" fmla="*/ 87 w 162"/>
              <a:gd name="T25" fmla="*/ 109 h 143"/>
              <a:gd name="T26" fmla="*/ 124 w 162"/>
              <a:gd name="T27" fmla="*/ 129 h 143"/>
              <a:gd name="T28" fmla="*/ 81 w 162"/>
              <a:gd name="T29" fmla="*/ 143 h 143"/>
              <a:gd name="T30" fmla="*/ 24 w 162"/>
              <a:gd name="T31" fmla="*/ 115 h 143"/>
              <a:gd name="T32" fmla="*/ 37 w 162"/>
              <a:gd name="T33" fmla="*/ 14 h 143"/>
              <a:gd name="T34" fmla="*/ 81 w 162"/>
              <a:gd name="T35" fmla="*/ 0 h 143"/>
              <a:gd name="T36" fmla="*/ 138 w 162"/>
              <a:gd name="T37" fmla="*/ 28 h 143"/>
              <a:gd name="T38" fmla="*/ 124 w 162"/>
              <a:gd name="T39" fmla="*/ 129 h 143"/>
              <a:gd name="T40" fmla="*/ 130 w 162"/>
              <a:gd name="T41" fmla="*/ 34 h 143"/>
              <a:gd name="T42" fmla="*/ 81 w 162"/>
              <a:gd name="T43" fmla="*/ 9 h 143"/>
              <a:gd name="T44" fmla="*/ 43 w 162"/>
              <a:gd name="T45" fmla="*/ 22 h 143"/>
              <a:gd name="T46" fmla="*/ 31 w 162"/>
              <a:gd name="T47" fmla="*/ 109 h 143"/>
              <a:gd name="T48" fmla="*/ 81 w 162"/>
              <a:gd name="T49" fmla="*/ 134 h 143"/>
              <a:gd name="T50" fmla="*/ 119 w 162"/>
              <a:gd name="T51" fmla="*/ 121 h 143"/>
              <a:gd name="T52" fmla="*/ 130 w 162"/>
              <a:gd name="T53" fmla="*/ 34 h 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62" h="143">
                <a:moveTo>
                  <a:pt x="87" y="109"/>
                </a:moveTo>
                <a:cubicBezTo>
                  <a:pt x="74" y="109"/>
                  <a:pt x="74" y="109"/>
                  <a:pt x="74" y="109"/>
                </a:cubicBezTo>
                <a:cubicBezTo>
                  <a:pt x="74" y="79"/>
                  <a:pt x="74" y="79"/>
                  <a:pt x="74" y="79"/>
                </a:cubicBezTo>
                <a:cubicBezTo>
                  <a:pt x="45" y="79"/>
                  <a:pt x="45" y="79"/>
                  <a:pt x="45" y="79"/>
                </a:cubicBezTo>
                <a:cubicBezTo>
                  <a:pt x="45" y="66"/>
                  <a:pt x="45" y="66"/>
                  <a:pt x="45" y="66"/>
                </a:cubicBezTo>
                <a:cubicBezTo>
                  <a:pt x="74" y="66"/>
                  <a:pt x="74" y="66"/>
                  <a:pt x="74" y="66"/>
                </a:cubicBezTo>
                <a:cubicBezTo>
                  <a:pt x="74" y="36"/>
                  <a:pt x="74" y="36"/>
                  <a:pt x="74" y="36"/>
                </a:cubicBezTo>
                <a:cubicBezTo>
                  <a:pt x="87" y="36"/>
                  <a:pt x="87" y="36"/>
                  <a:pt x="87" y="36"/>
                </a:cubicBezTo>
                <a:cubicBezTo>
                  <a:pt x="87" y="66"/>
                  <a:pt x="87" y="66"/>
                  <a:pt x="87" y="66"/>
                </a:cubicBezTo>
                <a:cubicBezTo>
                  <a:pt x="117" y="66"/>
                  <a:pt x="117" y="66"/>
                  <a:pt x="117" y="66"/>
                </a:cubicBezTo>
                <a:cubicBezTo>
                  <a:pt x="117" y="79"/>
                  <a:pt x="117" y="79"/>
                  <a:pt x="117" y="79"/>
                </a:cubicBezTo>
                <a:cubicBezTo>
                  <a:pt x="87" y="79"/>
                  <a:pt x="87" y="79"/>
                  <a:pt x="87" y="79"/>
                </a:cubicBezTo>
                <a:lnTo>
                  <a:pt x="87" y="109"/>
                </a:lnTo>
                <a:close/>
                <a:moveTo>
                  <a:pt x="124" y="129"/>
                </a:moveTo>
                <a:cubicBezTo>
                  <a:pt x="111" y="139"/>
                  <a:pt x="96" y="143"/>
                  <a:pt x="81" y="143"/>
                </a:cubicBezTo>
                <a:cubicBezTo>
                  <a:pt x="59" y="143"/>
                  <a:pt x="38" y="134"/>
                  <a:pt x="24" y="115"/>
                </a:cubicBezTo>
                <a:cubicBezTo>
                  <a:pt x="0" y="84"/>
                  <a:pt x="6" y="38"/>
                  <a:pt x="37" y="14"/>
                </a:cubicBezTo>
                <a:cubicBezTo>
                  <a:pt x="50" y="4"/>
                  <a:pt x="66" y="0"/>
                  <a:pt x="81" y="0"/>
                </a:cubicBezTo>
                <a:cubicBezTo>
                  <a:pt x="102" y="0"/>
                  <a:pt x="124" y="9"/>
                  <a:pt x="138" y="28"/>
                </a:cubicBezTo>
                <a:cubicBezTo>
                  <a:pt x="162" y="60"/>
                  <a:pt x="156" y="105"/>
                  <a:pt x="124" y="129"/>
                </a:cubicBezTo>
                <a:close/>
                <a:moveTo>
                  <a:pt x="130" y="34"/>
                </a:moveTo>
                <a:cubicBezTo>
                  <a:pt x="119" y="18"/>
                  <a:pt x="100" y="9"/>
                  <a:pt x="81" y="9"/>
                </a:cubicBezTo>
                <a:cubicBezTo>
                  <a:pt x="67" y="9"/>
                  <a:pt x="54" y="14"/>
                  <a:pt x="43" y="22"/>
                </a:cubicBezTo>
                <a:cubicBezTo>
                  <a:pt x="16" y="43"/>
                  <a:pt x="10" y="82"/>
                  <a:pt x="31" y="109"/>
                </a:cubicBezTo>
                <a:cubicBezTo>
                  <a:pt x="43" y="125"/>
                  <a:pt x="61" y="134"/>
                  <a:pt x="81" y="134"/>
                </a:cubicBezTo>
                <a:cubicBezTo>
                  <a:pt x="95" y="134"/>
                  <a:pt x="108" y="130"/>
                  <a:pt x="119" y="121"/>
                </a:cubicBezTo>
                <a:cubicBezTo>
                  <a:pt x="146" y="100"/>
                  <a:pt x="151" y="61"/>
                  <a:pt x="130" y="3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5" name="Freeform 8"/>
          <p:cNvSpPr>
            <a:spLocks noEditPoints="1"/>
          </p:cNvSpPr>
          <p:nvPr/>
        </p:nvSpPr>
        <p:spPr bwMode="black">
          <a:xfrm>
            <a:off x="2561300" y="2578328"/>
            <a:ext cx="305569" cy="304337"/>
          </a:xfrm>
          <a:custGeom>
            <a:avLst/>
            <a:gdLst>
              <a:gd name="T0" fmla="*/ 68 w 150"/>
              <a:gd name="T1" fmla="*/ 61 h 149"/>
              <a:gd name="T2" fmla="*/ 46 w 150"/>
              <a:gd name="T3" fmla="*/ 84 h 149"/>
              <a:gd name="T4" fmla="*/ 46 w 150"/>
              <a:gd name="T5" fmla="*/ 65 h 149"/>
              <a:gd name="T6" fmla="*/ 75 w 150"/>
              <a:gd name="T7" fmla="*/ 34 h 149"/>
              <a:gd name="T8" fmla="*/ 104 w 150"/>
              <a:gd name="T9" fmla="*/ 65 h 149"/>
              <a:gd name="T10" fmla="*/ 104 w 150"/>
              <a:gd name="T11" fmla="*/ 84 h 149"/>
              <a:gd name="T12" fmla="*/ 82 w 150"/>
              <a:gd name="T13" fmla="*/ 61 h 149"/>
              <a:gd name="T14" fmla="*/ 82 w 150"/>
              <a:gd name="T15" fmla="*/ 113 h 149"/>
              <a:gd name="T16" fmla="*/ 68 w 150"/>
              <a:gd name="T17" fmla="*/ 113 h 149"/>
              <a:gd name="T18" fmla="*/ 68 w 150"/>
              <a:gd name="T19" fmla="*/ 61 h 149"/>
              <a:gd name="T20" fmla="*/ 10 w 150"/>
              <a:gd name="T21" fmla="*/ 75 h 149"/>
              <a:gd name="T22" fmla="*/ 75 w 150"/>
              <a:gd name="T23" fmla="*/ 9 h 149"/>
              <a:gd name="T24" fmla="*/ 140 w 150"/>
              <a:gd name="T25" fmla="*/ 75 h 149"/>
              <a:gd name="T26" fmla="*/ 75 w 150"/>
              <a:gd name="T27" fmla="*/ 140 h 149"/>
              <a:gd name="T28" fmla="*/ 10 w 150"/>
              <a:gd name="T29" fmla="*/ 75 h 149"/>
              <a:gd name="T30" fmla="*/ 0 w 150"/>
              <a:gd name="T31" fmla="*/ 75 h 149"/>
              <a:gd name="T32" fmla="*/ 75 w 150"/>
              <a:gd name="T33" fmla="*/ 149 h 149"/>
              <a:gd name="T34" fmla="*/ 150 w 150"/>
              <a:gd name="T35" fmla="*/ 75 h 149"/>
              <a:gd name="T36" fmla="*/ 75 w 150"/>
              <a:gd name="T37" fmla="*/ 0 h 149"/>
              <a:gd name="T38" fmla="*/ 0 w 150"/>
              <a:gd name="T39" fmla="*/ 75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50" h="149">
                <a:moveTo>
                  <a:pt x="68" y="61"/>
                </a:moveTo>
                <a:cubicBezTo>
                  <a:pt x="46" y="84"/>
                  <a:pt x="46" y="84"/>
                  <a:pt x="46" y="84"/>
                </a:cubicBezTo>
                <a:cubicBezTo>
                  <a:pt x="46" y="65"/>
                  <a:pt x="46" y="65"/>
                  <a:pt x="46" y="65"/>
                </a:cubicBezTo>
                <a:cubicBezTo>
                  <a:pt x="75" y="34"/>
                  <a:pt x="75" y="34"/>
                  <a:pt x="75" y="34"/>
                </a:cubicBezTo>
                <a:cubicBezTo>
                  <a:pt x="104" y="65"/>
                  <a:pt x="104" y="65"/>
                  <a:pt x="104" y="65"/>
                </a:cubicBezTo>
                <a:cubicBezTo>
                  <a:pt x="104" y="84"/>
                  <a:pt x="104" y="84"/>
                  <a:pt x="104" y="84"/>
                </a:cubicBezTo>
                <a:cubicBezTo>
                  <a:pt x="82" y="61"/>
                  <a:pt x="82" y="61"/>
                  <a:pt x="82" y="61"/>
                </a:cubicBezTo>
                <a:cubicBezTo>
                  <a:pt x="82" y="113"/>
                  <a:pt x="82" y="113"/>
                  <a:pt x="82" y="113"/>
                </a:cubicBezTo>
                <a:cubicBezTo>
                  <a:pt x="68" y="113"/>
                  <a:pt x="68" y="113"/>
                  <a:pt x="68" y="113"/>
                </a:cubicBezTo>
                <a:lnTo>
                  <a:pt x="68" y="61"/>
                </a:lnTo>
                <a:close/>
                <a:moveTo>
                  <a:pt x="10" y="75"/>
                </a:moveTo>
                <a:cubicBezTo>
                  <a:pt x="10" y="39"/>
                  <a:pt x="39" y="9"/>
                  <a:pt x="75" y="9"/>
                </a:cubicBezTo>
                <a:cubicBezTo>
                  <a:pt x="111" y="9"/>
                  <a:pt x="140" y="39"/>
                  <a:pt x="140" y="75"/>
                </a:cubicBezTo>
                <a:cubicBezTo>
                  <a:pt x="140" y="111"/>
                  <a:pt x="111" y="140"/>
                  <a:pt x="75" y="140"/>
                </a:cubicBezTo>
                <a:cubicBezTo>
                  <a:pt x="39" y="140"/>
                  <a:pt x="10" y="111"/>
                  <a:pt x="10" y="75"/>
                </a:cubicBezTo>
                <a:moveTo>
                  <a:pt x="0" y="75"/>
                </a:moveTo>
                <a:cubicBezTo>
                  <a:pt x="0" y="116"/>
                  <a:pt x="34" y="149"/>
                  <a:pt x="75" y="149"/>
                </a:cubicBezTo>
                <a:cubicBezTo>
                  <a:pt x="116" y="149"/>
                  <a:pt x="150" y="116"/>
                  <a:pt x="150" y="75"/>
                </a:cubicBezTo>
                <a:cubicBezTo>
                  <a:pt x="150" y="33"/>
                  <a:pt x="116" y="0"/>
                  <a:pt x="75" y="0"/>
                </a:cubicBezTo>
                <a:cubicBezTo>
                  <a:pt x="34" y="0"/>
                  <a:pt x="0" y="33"/>
                  <a:pt x="0" y="75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6" name="Freeform 9"/>
          <p:cNvSpPr>
            <a:spLocks noEditPoints="1"/>
          </p:cNvSpPr>
          <p:nvPr/>
        </p:nvSpPr>
        <p:spPr bwMode="black">
          <a:xfrm>
            <a:off x="3235935" y="2578330"/>
            <a:ext cx="303105" cy="304337"/>
          </a:xfrm>
          <a:custGeom>
            <a:avLst/>
            <a:gdLst>
              <a:gd name="T0" fmla="*/ 88 w 149"/>
              <a:gd name="T1" fmla="*/ 67 h 149"/>
              <a:gd name="T2" fmla="*/ 65 w 149"/>
              <a:gd name="T3" fmla="*/ 46 h 149"/>
              <a:gd name="T4" fmla="*/ 84 w 149"/>
              <a:gd name="T5" fmla="*/ 46 h 149"/>
              <a:gd name="T6" fmla="*/ 115 w 149"/>
              <a:gd name="T7" fmla="*/ 75 h 149"/>
              <a:gd name="T8" fmla="*/ 84 w 149"/>
              <a:gd name="T9" fmla="*/ 104 h 149"/>
              <a:gd name="T10" fmla="*/ 65 w 149"/>
              <a:gd name="T11" fmla="*/ 104 h 149"/>
              <a:gd name="T12" fmla="*/ 88 w 149"/>
              <a:gd name="T13" fmla="*/ 82 h 149"/>
              <a:gd name="T14" fmla="*/ 36 w 149"/>
              <a:gd name="T15" fmla="*/ 82 h 149"/>
              <a:gd name="T16" fmla="*/ 36 w 149"/>
              <a:gd name="T17" fmla="*/ 67 h 149"/>
              <a:gd name="T18" fmla="*/ 88 w 149"/>
              <a:gd name="T19" fmla="*/ 67 h 149"/>
              <a:gd name="T20" fmla="*/ 74 w 149"/>
              <a:gd name="T21" fmla="*/ 9 h 149"/>
              <a:gd name="T22" fmla="*/ 140 w 149"/>
              <a:gd name="T23" fmla="*/ 75 h 149"/>
              <a:gd name="T24" fmla="*/ 74 w 149"/>
              <a:gd name="T25" fmla="*/ 140 h 149"/>
              <a:gd name="T26" fmla="*/ 9 w 149"/>
              <a:gd name="T27" fmla="*/ 75 h 149"/>
              <a:gd name="T28" fmla="*/ 74 w 149"/>
              <a:gd name="T29" fmla="*/ 9 h 149"/>
              <a:gd name="T30" fmla="*/ 74 w 149"/>
              <a:gd name="T31" fmla="*/ 0 h 149"/>
              <a:gd name="T32" fmla="*/ 0 w 149"/>
              <a:gd name="T33" fmla="*/ 75 h 149"/>
              <a:gd name="T34" fmla="*/ 74 w 149"/>
              <a:gd name="T35" fmla="*/ 149 h 149"/>
              <a:gd name="T36" fmla="*/ 149 w 149"/>
              <a:gd name="T37" fmla="*/ 75 h 149"/>
              <a:gd name="T38" fmla="*/ 74 w 149"/>
              <a:gd name="T39" fmla="*/ 0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49" h="149">
                <a:moveTo>
                  <a:pt x="88" y="67"/>
                </a:moveTo>
                <a:cubicBezTo>
                  <a:pt x="65" y="46"/>
                  <a:pt x="65" y="46"/>
                  <a:pt x="65" y="46"/>
                </a:cubicBezTo>
                <a:cubicBezTo>
                  <a:pt x="84" y="46"/>
                  <a:pt x="84" y="46"/>
                  <a:pt x="84" y="46"/>
                </a:cubicBezTo>
                <a:cubicBezTo>
                  <a:pt x="115" y="75"/>
                  <a:pt x="115" y="75"/>
                  <a:pt x="115" y="75"/>
                </a:cubicBezTo>
                <a:cubicBezTo>
                  <a:pt x="84" y="104"/>
                  <a:pt x="84" y="104"/>
                  <a:pt x="84" y="104"/>
                </a:cubicBezTo>
                <a:cubicBezTo>
                  <a:pt x="65" y="104"/>
                  <a:pt x="65" y="104"/>
                  <a:pt x="65" y="104"/>
                </a:cubicBezTo>
                <a:cubicBezTo>
                  <a:pt x="88" y="82"/>
                  <a:pt x="88" y="82"/>
                  <a:pt x="88" y="82"/>
                </a:cubicBezTo>
                <a:cubicBezTo>
                  <a:pt x="36" y="82"/>
                  <a:pt x="36" y="82"/>
                  <a:pt x="36" y="82"/>
                </a:cubicBezTo>
                <a:cubicBezTo>
                  <a:pt x="36" y="67"/>
                  <a:pt x="36" y="67"/>
                  <a:pt x="36" y="67"/>
                </a:cubicBezTo>
                <a:lnTo>
                  <a:pt x="88" y="67"/>
                </a:lnTo>
                <a:close/>
                <a:moveTo>
                  <a:pt x="74" y="9"/>
                </a:moveTo>
                <a:cubicBezTo>
                  <a:pt x="110" y="9"/>
                  <a:pt x="140" y="39"/>
                  <a:pt x="140" y="75"/>
                </a:cubicBezTo>
                <a:cubicBezTo>
                  <a:pt x="140" y="111"/>
                  <a:pt x="110" y="140"/>
                  <a:pt x="74" y="140"/>
                </a:cubicBezTo>
                <a:cubicBezTo>
                  <a:pt x="38" y="140"/>
                  <a:pt x="9" y="111"/>
                  <a:pt x="9" y="75"/>
                </a:cubicBezTo>
                <a:cubicBezTo>
                  <a:pt x="9" y="39"/>
                  <a:pt x="38" y="9"/>
                  <a:pt x="74" y="9"/>
                </a:cubicBezTo>
                <a:moveTo>
                  <a:pt x="74" y="0"/>
                </a:moveTo>
                <a:cubicBezTo>
                  <a:pt x="33" y="0"/>
                  <a:pt x="0" y="33"/>
                  <a:pt x="0" y="75"/>
                </a:cubicBezTo>
                <a:cubicBezTo>
                  <a:pt x="0" y="116"/>
                  <a:pt x="33" y="149"/>
                  <a:pt x="74" y="149"/>
                </a:cubicBezTo>
                <a:cubicBezTo>
                  <a:pt x="116" y="149"/>
                  <a:pt x="149" y="116"/>
                  <a:pt x="149" y="75"/>
                </a:cubicBezTo>
                <a:cubicBezTo>
                  <a:pt x="149" y="33"/>
                  <a:pt x="116" y="0"/>
                  <a:pt x="74" y="0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7" name="Freeform 10"/>
          <p:cNvSpPr>
            <a:spLocks noEditPoints="1"/>
          </p:cNvSpPr>
          <p:nvPr/>
        </p:nvSpPr>
        <p:spPr bwMode="black">
          <a:xfrm>
            <a:off x="3908718" y="2578330"/>
            <a:ext cx="304337" cy="304337"/>
          </a:xfrm>
          <a:custGeom>
            <a:avLst/>
            <a:gdLst>
              <a:gd name="T0" fmla="*/ 81 w 149"/>
              <a:gd name="T1" fmla="*/ 87 h 149"/>
              <a:gd name="T2" fmla="*/ 62 w 149"/>
              <a:gd name="T3" fmla="*/ 81 h 149"/>
              <a:gd name="T4" fmla="*/ 68 w 149"/>
              <a:gd name="T5" fmla="*/ 62 h 149"/>
              <a:gd name="T6" fmla="*/ 87 w 149"/>
              <a:gd name="T7" fmla="*/ 68 h 149"/>
              <a:gd name="T8" fmla="*/ 81 w 149"/>
              <a:gd name="T9" fmla="*/ 87 h 149"/>
              <a:gd name="T10" fmla="*/ 105 w 149"/>
              <a:gd name="T11" fmla="*/ 72 h 149"/>
              <a:gd name="T12" fmla="*/ 102 w 149"/>
              <a:gd name="T13" fmla="*/ 62 h 149"/>
              <a:gd name="T14" fmla="*/ 94 w 149"/>
              <a:gd name="T15" fmla="*/ 63 h 149"/>
              <a:gd name="T16" fmla="*/ 91 w 149"/>
              <a:gd name="T17" fmla="*/ 59 h 149"/>
              <a:gd name="T18" fmla="*/ 94 w 149"/>
              <a:gd name="T19" fmla="*/ 51 h 149"/>
              <a:gd name="T20" fmla="*/ 85 w 149"/>
              <a:gd name="T21" fmla="*/ 46 h 149"/>
              <a:gd name="T22" fmla="*/ 80 w 149"/>
              <a:gd name="T23" fmla="*/ 53 h 149"/>
              <a:gd name="T24" fmla="*/ 74 w 149"/>
              <a:gd name="T25" fmla="*/ 52 h 149"/>
              <a:gd name="T26" fmla="*/ 71 w 149"/>
              <a:gd name="T27" fmla="*/ 44 h 149"/>
              <a:gd name="T28" fmla="*/ 61 w 149"/>
              <a:gd name="T29" fmla="*/ 47 h 149"/>
              <a:gd name="T30" fmla="*/ 62 w 149"/>
              <a:gd name="T31" fmla="*/ 55 h 149"/>
              <a:gd name="T32" fmla="*/ 59 w 149"/>
              <a:gd name="T33" fmla="*/ 58 h 149"/>
              <a:gd name="T34" fmla="*/ 51 w 149"/>
              <a:gd name="T35" fmla="*/ 55 h 149"/>
              <a:gd name="T36" fmla="*/ 46 w 149"/>
              <a:gd name="T37" fmla="*/ 64 h 149"/>
              <a:gd name="T38" fmla="*/ 52 w 149"/>
              <a:gd name="T39" fmla="*/ 69 h 149"/>
              <a:gd name="T40" fmla="*/ 51 w 149"/>
              <a:gd name="T41" fmla="*/ 74 h 149"/>
              <a:gd name="T42" fmla="*/ 44 w 149"/>
              <a:gd name="T43" fmla="*/ 77 h 149"/>
              <a:gd name="T44" fmla="*/ 47 w 149"/>
              <a:gd name="T45" fmla="*/ 87 h 149"/>
              <a:gd name="T46" fmla="*/ 55 w 149"/>
              <a:gd name="T47" fmla="*/ 86 h 149"/>
              <a:gd name="T48" fmla="*/ 58 w 149"/>
              <a:gd name="T49" fmla="*/ 91 h 149"/>
              <a:gd name="T50" fmla="*/ 55 w 149"/>
              <a:gd name="T51" fmla="*/ 98 h 149"/>
              <a:gd name="T52" fmla="*/ 64 w 149"/>
              <a:gd name="T53" fmla="*/ 103 h 149"/>
              <a:gd name="T54" fmla="*/ 69 w 149"/>
              <a:gd name="T55" fmla="*/ 97 h 149"/>
              <a:gd name="T56" fmla="*/ 74 w 149"/>
              <a:gd name="T57" fmla="*/ 97 h 149"/>
              <a:gd name="T58" fmla="*/ 77 w 149"/>
              <a:gd name="T59" fmla="*/ 105 h 149"/>
              <a:gd name="T60" fmla="*/ 87 w 149"/>
              <a:gd name="T61" fmla="*/ 102 h 149"/>
              <a:gd name="T62" fmla="*/ 86 w 149"/>
              <a:gd name="T63" fmla="*/ 94 h 149"/>
              <a:gd name="T64" fmla="*/ 90 w 149"/>
              <a:gd name="T65" fmla="*/ 91 h 149"/>
              <a:gd name="T66" fmla="*/ 98 w 149"/>
              <a:gd name="T67" fmla="*/ 94 h 149"/>
              <a:gd name="T68" fmla="*/ 103 w 149"/>
              <a:gd name="T69" fmla="*/ 85 h 149"/>
              <a:gd name="T70" fmla="*/ 96 w 149"/>
              <a:gd name="T71" fmla="*/ 80 h 149"/>
              <a:gd name="T72" fmla="*/ 97 w 149"/>
              <a:gd name="T73" fmla="*/ 75 h 149"/>
              <a:gd name="T74" fmla="*/ 105 w 149"/>
              <a:gd name="T75" fmla="*/ 72 h 149"/>
              <a:gd name="T76" fmla="*/ 79 w 149"/>
              <a:gd name="T77" fmla="*/ 72 h 149"/>
              <a:gd name="T78" fmla="*/ 72 w 149"/>
              <a:gd name="T79" fmla="*/ 70 h 149"/>
              <a:gd name="T80" fmla="*/ 70 w 149"/>
              <a:gd name="T81" fmla="*/ 77 h 149"/>
              <a:gd name="T82" fmla="*/ 77 w 149"/>
              <a:gd name="T83" fmla="*/ 79 h 149"/>
              <a:gd name="T84" fmla="*/ 79 w 149"/>
              <a:gd name="T85" fmla="*/ 72 h 149"/>
              <a:gd name="T86" fmla="*/ 74 w 149"/>
              <a:gd name="T87" fmla="*/ 9 h 149"/>
              <a:gd name="T88" fmla="*/ 9 w 149"/>
              <a:gd name="T89" fmla="*/ 75 h 149"/>
              <a:gd name="T90" fmla="*/ 74 w 149"/>
              <a:gd name="T91" fmla="*/ 140 h 149"/>
              <a:gd name="T92" fmla="*/ 140 w 149"/>
              <a:gd name="T93" fmla="*/ 75 h 149"/>
              <a:gd name="T94" fmla="*/ 74 w 149"/>
              <a:gd name="T95" fmla="*/ 9 h 149"/>
              <a:gd name="T96" fmla="*/ 74 w 149"/>
              <a:gd name="T97" fmla="*/ 0 h 149"/>
              <a:gd name="T98" fmla="*/ 149 w 149"/>
              <a:gd name="T99" fmla="*/ 75 h 149"/>
              <a:gd name="T100" fmla="*/ 74 w 149"/>
              <a:gd name="T101" fmla="*/ 149 h 149"/>
              <a:gd name="T102" fmla="*/ 0 w 149"/>
              <a:gd name="T103" fmla="*/ 75 h 149"/>
              <a:gd name="T104" fmla="*/ 74 w 149"/>
              <a:gd name="T105" fmla="*/ 0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49" h="149">
                <a:moveTo>
                  <a:pt x="81" y="87"/>
                </a:moveTo>
                <a:cubicBezTo>
                  <a:pt x="74" y="91"/>
                  <a:pt x="65" y="88"/>
                  <a:pt x="62" y="81"/>
                </a:cubicBezTo>
                <a:cubicBezTo>
                  <a:pt x="58" y="74"/>
                  <a:pt x="61" y="66"/>
                  <a:pt x="68" y="62"/>
                </a:cubicBezTo>
                <a:cubicBezTo>
                  <a:pt x="75" y="58"/>
                  <a:pt x="83" y="61"/>
                  <a:pt x="87" y="68"/>
                </a:cubicBezTo>
                <a:cubicBezTo>
                  <a:pt x="91" y="75"/>
                  <a:pt x="88" y="84"/>
                  <a:pt x="81" y="87"/>
                </a:cubicBezTo>
                <a:moveTo>
                  <a:pt x="105" y="72"/>
                </a:moveTo>
                <a:cubicBezTo>
                  <a:pt x="102" y="62"/>
                  <a:pt x="102" y="62"/>
                  <a:pt x="102" y="62"/>
                </a:cubicBezTo>
                <a:cubicBezTo>
                  <a:pt x="94" y="63"/>
                  <a:pt x="94" y="63"/>
                  <a:pt x="94" y="63"/>
                </a:cubicBezTo>
                <a:cubicBezTo>
                  <a:pt x="93" y="62"/>
                  <a:pt x="92" y="60"/>
                  <a:pt x="91" y="59"/>
                </a:cubicBezTo>
                <a:cubicBezTo>
                  <a:pt x="94" y="51"/>
                  <a:pt x="94" y="51"/>
                  <a:pt x="94" y="51"/>
                </a:cubicBezTo>
                <a:cubicBezTo>
                  <a:pt x="85" y="46"/>
                  <a:pt x="85" y="46"/>
                  <a:pt x="85" y="46"/>
                </a:cubicBezTo>
                <a:cubicBezTo>
                  <a:pt x="80" y="53"/>
                  <a:pt x="80" y="53"/>
                  <a:pt x="80" y="53"/>
                </a:cubicBezTo>
                <a:cubicBezTo>
                  <a:pt x="78" y="52"/>
                  <a:pt x="76" y="52"/>
                  <a:pt x="74" y="52"/>
                </a:cubicBezTo>
                <a:cubicBezTo>
                  <a:pt x="71" y="44"/>
                  <a:pt x="71" y="44"/>
                  <a:pt x="71" y="44"/>
                </a:cubicBezTo>
                <a:cubicBezTo>
                  <a:pt x="61" y="47"/>
                  <a:pt x="61" y="47"/>
                  <a:pt x="61" y="47"/>
                </a:cubicBezTo>
                <a:cubicBezTo>
                  <a:pt x="62" y="55"/>
                  <a:pt x="62" y="55"/>
                  <a:pt x="62" y="55"/>
                </a:cubicBezTo>
                <a:cubicBezTo>
                  <a:pt x="61" y="56"/>
                  <a:pt x="60" y="57"/>
                  <a:pt x="59" y="58"/>
                </a:cubicBezTo>
                <a:cubicBezTo>
                  <a:pt x="51" y="55"/>
                  <a:pt x="51" y="55"/>
                  <a:pt x="51" y="55"/>
                </a:cubicBezTo>
                <a:cubicBezTo>
                  <a:pt x="46" y="64"/>
                  <a:pt x="46" y="64"/>
                  <a:pt x="46" y="64"/>
                </a:cubicBezTo>
                <a:cubicBezTo>
                  <a:pt x="52" y="69"/>
                  <a:pt x="52" y="69"/>
                  <a:pt x="52" y="69"/>
                </a:cubicBezTo>
                <a:cubicBezTo>
                  <a:pt x="52" y="71"/>
                  <a:pt x="51" y="72"/>
                  <a:pt x="51" y="74"/>
                </a:cubicBezTo>
                <a:cubicBezTo>
                  <a:pt x="44" y="77"/>
                  <a:pt x="44" y="77"/>
                  <a:pt x="44" y="77"/>
                </a:cubicBezTo>
                <a:cubicBezTo>
                  <a:pt x="47" y="87"/>
                  <a:pt x="47" y="87"/>
                  <a:pt x="47" y="87"/>
                </a:cubicBezTo>
                <a:cubicBezTo>
                  <a:pt x="55" y="86"/>
                  <a:pt x="55" y="86"/>
                  <a:pt x="55" y="86"/>
                </a:cubicBezTo>
                <a:cubicBezTo>
                  <a:pt x="56" y="88"/>
                  <a:pt x="57" y="89"/>
                  <a:pt x="58" y="91"/>
                </a:cubicBezTo>
                <a:cubicBezTo>
                  <a:pt x="55" y="98"/>
                  <a:pt x="55" y="98"/>
                  <a:pt x="55" y="98"/>
                </a:cubicBezTo>
                <a:cubicBezTo>
                  <a:pt x="64" y="103"/>
                  <a:pt x="64" y="103"/>
                  <a:pt x="64" y="103"/>
                </a:cubicBezTo>
                <a:cubicBezTo>
                  <a:pt x="69" y="97"/>
                  <a:pt x="69" y="97"/>
                  <a:pt x="69" y="97"/>
                </a:cubicBezTo>
                <a:cubicBezTo>
                  <a:pt x="70" y="97"/>
                  <a:pt x="72" y="97"/>
                  <a:pt x="74" y="97"/>
                </a:cubicBezTo>
                <a:cubicBezTo>
                  <a:pt x="77" y="105"/>
                  <a:pt x="77" y="105"/>
                  <a:pt x="77" y="105"/>
                </a:cubicBezTo>
                <a:cubicBezTo>
                  <a:pt x="87" y="102"/>
                  <a:pt x="87" y="102"/>
                  <a:pt x="87" y="102"/>
                </a:cubicBezTo>
                <a:cubicBezTo>
                  <a:pt x="86" y="94"/>
                  <a:pt x="86" y="94"/>
                  <a:pt x="86" y="94"/>
                </a:cubicBezTo>
                <a:cubicBezTo>
                  <a:pt x="88" y="93"/>
                  <a:pt x="89" y="92"/>
                  <a:pt x="90" y="91"/>
                </a:cubicBezTo>
                <a:cubicBezTo>
                  <a:pt x="98" y="94"/>
                  <a:pt x="98" y="94"/>
                  <a:pt x="98" y="94"/>
                </a:cubicBezTo>
                <a:cubicBezTo>
                  <a:pt x="103" y="85"/>
                  <a:pt x="103" y="85"/>
                  <a:pt x="103" y="85"/>
                </a:cubicBezTo>
                <a:cubicBezTo>
                  <a:pt x="96" y="80"/>
                  <a:pt x="96" y="80"/>
                  <a:pt x="96" y="80"/>
                </a:cubicBezTo>
                <a:cubicBezTo>
                  <a:pt x="97" y="78"/>
                  <a:pt x="97" y="77"/>
                  <a:pt x="97" y="75"/>
                </a:cubicBezTo>
                <a:lnTo>
                  <a:pt x="105" y="72"/>
                </a:lnTo>
                <a:close/>
                <a:moveTo>
                  <a:pt x="79" y="72"/>
                </a:moveTo>
                <a:cubicBezTo>
                  <a:pt x="78" y="70"/>
                  <a:pt x="75" y="69"/>
                  <a:pt x="72" y="70"/>
                </a:cubicBezTo>
                <a:cubicBezTo>
                  <a:pt x="70" y="71"/>
                  <a:pt x="69" y="74"/>
                  <a:pt x="70" y="77"/>
                </a:cubicBezTo>
                <a:cubicBezTo>
                  <a:pt x="71" y="80"/>
                  <a:pt x="74" y="81"/>
                  <a:pt x="77" y="79"/>
                </a:cubicBezTo>
                <a:cubicBezTo>
                  <a:pt x="79" y="78"/>
                  <a:pt x="80" y="75"/>
                  <a:pt x="79" y="72"/>
                </a:cubicBezTo>
                <a:moveTo>
                  <a:pt x="74" y="9"/>
                </a:moveTo>
                <a:cubicBezTo>
                  <a:pt x="38" y="9"/>
                  <a:pt x="9" y="39"/>
                  <a:pt x="9" y="75"/>
                </a:cubicBezTo>
                <a:cubicBezTo>
                  <a:pt x="9" y="111"/>
                  <a:pt x="38" y="140"/>
                  <a:pt x="74" y="140"/>
                </a:cubicBezTo>
                <a:cubicBezTo>
                  <a:pt x="110" y="140"/>
                  <a:pt x="140" y="111"/>
                  <a:pt x="140" y="75"/>
                </a:cubicBezTo>
                <a:cubicBezTo>
                  <a:pt x="140" y="39"/>
                  <a:pt x="110" y="9"/>
                  <a:pt x="74" y="9"/>
                </a:cubicBezTo>
                <a:moveTo>
                  <a:pt x="74" y="0"/>
                </a:moveTo>
                <a:cubicBezTo>
                  <a:pt x="116" y="0"/>
                  <a:pt x="149" y="33"/>
                  <a:pt x="149" y="75"/>
                </a:cubicBezTo>
                <a:cubicBezTo>
                  <a:pt x="149" y="116"/>
                  <a:pt x="116" y="149"/>
                  <a:pt x="74" y="149"/>
                </a:cubicBezTo>
                <a:cubicBezTo>
                  <a:pt x="33" y="149"/>
                  <a:pt x="0" y="116"/>
                  <a:pt x="0" y="75"/>
                </a:cubicBezTo>
                <a:cubicBezTo>
                  <a:pt x="0" y="33"/>
                  <a:pt x="33" y="0"/>
                  <a:pt x="74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8" name="Freeform 11"/>
          <p:cNvSpPr>
            <a:spLocks noEditPoints="1"/>
          </p:cNvSpPr>
          <p:nvPr/>
        </p:nvSpPr>
        <p:spPr bwMode="black">
          <a:xfrm>
            <a:off x="4581498" y="2578330"/>
            <a:ext cx="305569" cy="304337"/>
          </a:xfrm>
          <a:custGeom>
            <a:avLst/>
            <a:gdLst>
              <a:gd name="T0" fmla="*/ 93 w 150"/>
              <a:gd name="T1" fmla="*/ 54 h 149"/>
              <a:gd name="T2" fmla="*/ 96 w 150"/>
              <a:gd name="T3" fmla="*/ 58 h 149"/>
              <a:gd name="T4" fmla="*/ 96 w 150"/>
              <a:gd name="T5" fmla="*/ 96 h 149"/>
              <a:gd name="T6" fmla="*/ 96 w 150"/>
              <a:gd name="T7" fmla="*/ 96 h 149"/>
              <a:gd name="T8" fmla="*/ 75 w 150"/>
              <a:gd name="T9" fmla="*/ 117 h 149"/>
              <a:gd name="T10" fmla="*/ 54 w 150"/>
              <a:gd name="T11" fmla="*/ 96 h 149"/>
              <a:gd name="T12" fmla="*/ 54 w 150"/>
              <a:gd name="T13" fmla="*/ 47 h 149"/>
              <a:gd name="T14" fmla="*/ 70 w 150"/>
              <a:gd name="T15" fmla="*/ 31 h 149"/>
              <a:gd name="T16" fmla="*/ 86 w 150"/>
              <a:gd name="T17" fmla="*/ 47 h 149"/>
              <a:gd name="T18" fmla="*/ 86 w 150"/>
              <a:gd name="T19" fmla="*/ 47 h 149"/>
              <a:gd name="T20" fmla="*/ 86 w 150"/>
              <a:gd name="T21" fmla="*/ 85 h 149"/>
              <a:gd name="T22" fmla="*/ 76 w 150"/>
              <a:gd name="T23" fmla="*/ 96 h 149"/>
              <a:gd name="T24" fmla="*/ 65 w 150"/>
              <a:gd name="T25" fmla="*/ 85 h 149"/>
              <a:gd name="T26" fmla="*/ 65 w 150"/>
              <a:gd name="T27" fmla="*/ 57 h 149"/>
              <a:gd name="T28" fmla="*/ 69 w 150"/>
              <a:gd name="T29" fmla="*/ 53 h 149"/>
              <a:gd name="T30" fmla="*/ 72 w 150"/>
              <a:gd name="T31" fmla="*/ 57 h 149"/>
              <a:gd name="T32" fmla="*/ 72 w 150"/>
              <a:gd name="T33" fmla="*/ 85 h 149"/>
              <a:gd name="T34" fmla="*/ 76 w 150"/>
              <a:gd name="T35" fmla="*/ 89 h 149"/>
              <a:gd name="T36" fmla="*/ 79 w 150"/>
              <a:gd name="T37" fmla="*/ 85 h 149"/>
              <a:gd name="T38" fmla="*/ 79 w 150"/>
              <a:gd name="T39" fmla="*/ 47 h 149"/>
              <a:gd name="T40" fmla="*/ 79 w 150"/>
              <a:gd name="T41" fmla="*/ 47 h 149"/>
              <a:gd name="T42" fmla="*/ 70 w 150"/>
              <a:gd name="T43" fmla="*/ 38 h 149"/>
              <a:gd name="T44" fmla="*/ 62 w 150"/>
              <a:gd name="T45" fmla="*/ 47 h 149"/>
              <a:gd name="T46" fmla="*/ 62 w 150"/>
              <a:gd name="T47" fmla="*/ 96 h 149"/>
              <a:gd name="T48" fmla="*/ 75 w 150"/>
              <a:gd name="T49" fmla="*/ 110 h 149"/>
              <a:gd name="T50" fmla="*/ 89 w 150"/>
              <a:gd name="T51" fmla="*/ 96 h 149"/>
              <a:gd name="T52" fmla="*/ 89 w 150"/>
              <a:gd name="T53" fmla="*/ 58 h 149"/>
              <a:gd name="T54" fmla="*/ 93 w 150"/>
              <a:gd name="T55" fmla="*/ 54 h 149"/>
              <a:gd name="T56" fmla="*/ 75 w 150"/>
              <a:gd name="T57" fmla="*/ 9 h 149"/>
              <a:gd name="T58" fmla="*/ 141 w 150"/>
              <a:gd name="T59" fmla="*/ 75 h 149"/>
              <a:gd name="T60" fmla="*/ 75 w 150"/>
              <a:gd name="T61" fmla="*/ 140 h 149"/>
              <a:gd name="T62" fmla="*/ 10 w 150"/>
              <a:gd name="T63" fmla="*/ 75 h 149"/>
              <a:gd name="T64" fmla="*/ 75 w 150"/>
              <a:gd name="T65" fmla="*/ 9 h 149"/>
              <a:gd name="T66" fmla="*/ 75 w 150"/>
              <a:gd name="T67" fmla="*/ 0 h 149"/>
              <a:gd name="T68" fmla="*/ 0 w 150"/>
              <a:gd name="T69" fmla="*/ 75 h 149"/>
              <a:gd name="T70" fmla="*/ 75 w 150"/>
              <a:gd name="T71" fmla="*/ 149 h 149"/>
              <a:gd name="T72" fmla="*/ 150 w 150"/>
              <a:gd name="T73" fmla="*/ 75 h 149"/>
              <a:gd name="T74" fmla="*/ 75 w 150"/>
              <a:gd name="T75" fmla="*/ 0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50" h="149">
                <a:moveTo>
                  <a:pt x="93" y="54"/>
                </a:moveTo>
                <a:cubicBezTo>
                  <a:pt x="95" y="54"/>
                  <a:pt x="96" y="56"/>
                  <a:pt x="96" y="58"/>
                </a:cubicBezTo>
                <a:cubicBezTo>
                  <a:pt x="96" y="96"/>
                  <a:pt x="96" y="96"/>
                  <a:pt x="96" y="96"/>
                </a:cubicBezTo>
                <a:cubicBezTo>
                  <a:pt x="96" y="96"/>
                  <a:pt x="96" y="96"/>
                  <a:pt x="96" y="96"/>
                </a:cubicBezTo>
                <a:cubicBezTo>
                  <a:pt x="96" y="108"/>
                  <a:pt x="87" y="117"/>
                  <a:pt x="75" y="117"/>
                </a:cubicBezTo>
                <a:cubicBezTo>
                  <a:pt x="64" y="117"/>
                  <a:pt x="54" y="108"/>
                  <a:pt x="54" y="96"/>
                </a:cubicBezTo>
                <a:cubicBezTo>
                  <a:pt x="54" y="47"/>
                  <a:pt x="54" y="47"/>
                  <a:pt x="54" y="47"/>
                </a:cubicBezTo>
                <a:cubicBezTo>
                  <a:pt x="54" y="38"/>
                  <a:pt x="62" y="31"/>
                  <a:pt x="70" y="31"/>
                </a:cubicBezTo>
                <a:cubicBezTo>
                  <a:pt x="79" y="31"/>
                  <a:pt x="86" y="38"/>
                  <a:pt x="86" y="47"/>
                </a:cubicBezTo>
                <a:cubicBezTo>
                  <a:pt x="86" y="47"/>
                  <a:pt x="86" y="47"/>
                  <a:pt x="86" y="47"/>
                </a:cubicBezTo>
                <a:cubicBezTo>
                  <a:pt x="86" y="85"/>
                  <a:pt x="86" y="85"/>
                  <a:pt x="86" y="85"/>
                </a:cubicBezTo>
                <a:cubicBezTo>
                  <a:pt x="86" y="91"/>
                  <a:pt x="82" y="96"/>
                  <a:pt x="76" y="96"/>
                </a:cubicBezTo>
                <a:cubicBezTo>
                  <a:pt x="70" y="96"/>
                  <a:pt x="65" y="91"/>
                  <a:pt x="65" y="85"/>
                </a:cubicBezTo>
                <a:cubicBezTo>
                  <a:pt x="65" y="57"/>
                  <a:pt x="65" y="57"/>
                  <a:pt x="65" y="57"/>
                </a:cubicBezTo>
                <a:cubicBezTo>
                  <a:pt x="65" y="55"/>
                  <a:pt x="67" y="53"/>
                  <a:pt x="69" y="53"/>
                </a:cubicBezTo>
                <a:cubicBezTo>
                  <a:pt x="71" y="53"/>
                  <a:pt x="72" y="55"/>
                  <a:pt x="72" y="57"/>
                </a:cubicBezTo>
                <a:cubicBezTo>
                  <a:pt x="72" y="85"/>
                  <a:pt x="72" y="85"/>
                  <a:pt x="72" y="85"/>
                </a:cubicBezTo>
                <a:cubicBezTo>
                  <a:pt x="72" y="87"/>
                  <a:pt x="74" y="89"/>
                  <a:pt x="76" y="89"/>
                </a:cubicBezTo>
                <a:cubicBezTo>
                  <a:pt x="78" y="89"/>
                  <a:pt x="79" y="87"/>
                  <a:pt x="79" y="85"/>
                </a:cubicBezTo>
                <a:cubicBezTo>
                  <a:pt x="79" y="47"/>
                  <a:pt x="79" y="47"/>
                  <a:pt x="79" y="47"/>
                </a:cubicBezTo>
                <a:cubicBezTo>
                  <a:pt x="79" y="47"/>
                  <a:pt x="79" y="47"/>
                  <a:pt x="79" y="47"/>
                </a:cubicBezTo>
                <a:cubicBezTo>
                  <a:pt x="79" y="42"/>
                  <a:pt x="75" y="38"/>
                  <a:pt x="70" y="38"/>
                </a:cubicBezTo>
                <a:cubicBezTo>
                  <a:pt x="66" y="38"/>
                  <a:pt x="62" y="42"/>
                  <a:pt x="62" y="47"/>
                </a:cubicBezTo>
                <a:cubicBezTo>
                  <a:pt x="62" y="96"/>
                  <a:pt x="62" y="96"/>
                  <a:pt x="62" y="96"/>
                </a:cubicBezTo>
                <a:cubicBezTo>
                  <a:pt x="62" y="104"/>
                  <a:pt x="68" y="110"/>
                  <a:pt x="75" y="110"/>
                </a:cubicBezTo>
                <a:cubicBezTo>
                  <a:pt x="83" y="110"/>
                  <a:pt x="89" y="104"/>
                  <a:pt x="89" y="96"/>
                </a:cubicBezTo>
                <a:cubicBezTo>
                  <a:pt x="89" y="58"/>
                  <a:pt x="89" y="58"/>
                  <a:pt x="89" y="58"/>
                </a:cubicBezTo>
                <a:cubicBezTo>
                  <a:pt x="89" y="56"/>
                  <a:pt x="91" y="54"/>
                  <a:pt x="93" y="54"/>
                </a:cubicBezTo>
                <a:moveTo>
                  <a:pt x="75" y="9"/>
                </a:moveTo>
                <a:cubicBezTo>
                  <a:pt x="111" y="9"/>
                  <a:pt x="141" y="39"/>
                  <a:pt x="141" y="75"/>
                </a:cubicBezTo>
                <a:cubicBezTo>
                  <a:pt x="141" y="111"/>
                  <a:pt x="111" y="140"/>
                  <a:pt x="75" y="140"/>
                </a:cubicBezTo>
                <a:cubicBezTo>
                  <a:pt x="39" y="140"/>
                  <a:pt x="10" y="111"/>
                  <a:pt x="10" y="75"/>
                </a:cubicBezTo>
                <a:cubicBezTo>
                  <a:pt x="10" y="39"/>
                  <a:pt x="39" y="9"/>
                  <a:pt x="75" y="9"/>
                </a:cubicBezTo>
                <a:moveTo>
                  <a:pt x="75" y="0"/>
                </a:moveTo>
                <a:cubicBezTo>
                  <a:pt x="34" y="0"/>
                  <a:pt x="0" y="33"/>
                  <a:pt x="0" y="75"/>
                </a:cubicBezTo>
                <a:cubicBezTo>
                  <a:pt x="0" y="116"/>
                  <a:pt x="34" y="149"/>
                  <a:pt x="75" y="149"/>
                </a:cubicBezTo>
                <a:cubicBezTo>
                  <a:pt x="117" y="149"/>
                  <a:pt x="150" y="116"/>
                  <a:pt x="150" y="75"/>
                </a:cubicBezTo>
                <a:cubicBezTo>
                  <a:pt x="150" y="33"/>
                  <a:pt x="117" y="0"/>
                  <a:pt x="75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9" name="Freeform 12"/>
          <p:cNvSpPr>
            <a:spLocks noEditPoints="1"/>
          </p:cNvSpPr>
          <p:nvPr/>
        </p:nvSpPr>
        <p:spPr bwMode="black">
          <a:xfrm>
            <a:off x="5250586" y="2574015"/>
            <a:ext cx="314195" cy="312962"/>
          </a:xfrm>
          <a:custGeom>
            <a:avLst/>
            <a:gdLst>
              <a:gd name="T0" fmla="*/ 55 w 154"/>
              <a:gd name="T1" fmla="*/ 58 h 153"/>
              <a:gd name="T2" fmla="*/ 64 w 154"/>
              <a:gd name="T3" fmla="*/ 79 h 153"/>
              <a:gd name="T4" fmla="*/ 45 w 154"/>
              <a:gd name="T5" fmla="*/ 82 h 153"/>
              <a:gd name="T6" fmla="*/ 41 w 154"/>
              <a:gd name="T7" fmla="*/ 94 h 153"/>
              <a:gd name="T8" fmla="*/ 47 w 154"/>
              <a:gd name="T9" fmla="*/ 97 h 153"/>
              <a:gd name="T10" fmla="*/ 30 w 154"/>
              <a:gd name="T11" fmla="*/ 99 h 153"/>
              <a:gd name="T12" fmla="*/ 35 w 154"/>
              <a:gd name="T13" fmla="*/ 96 h 153"/>
              <a:gd name="T14" fmla="*/ 57 w 154"/>
              <a:gd name="T15" fmla="*/ 47 h 153"/>
              <a:gd name="T16" fmla="*/ 76 w 154"/>
              <a:gd name="T17" fmla="*/ 89 h 153"/>
              <a:gd name="T18" fmla="*/ 85 w 154"/>
              <a:gd name="T19" fmla="*/ 97 h 153"/>
              <a:gd name="T20" fmla="*/ 65 w 154"/>
              <a:gd name="T21" fmla="*/ 99 h 153"/>
              <a:gd name="T22" fmla="*/ 69 w 154"/>
              <a:gd name="T23" fmla="*/ 96 h 153"/>
              <a:gd name="T24" fmla="*/ 68 w 154"/>
              <a:gd name="T25" fmla="*/ 89 h 153"/>
              <a:gd name="T26" fmla="*/ 108 w 154"/>
              <a:gd name="T27" fmla="*/ 91 h 153"/>
              <a:gd name="T28" fmla="*/ 100 w 154"/>
              <a:gd name="T29" fmla="*/ 81 h 153"/>
              <a:gd name="T30" fmla="*/ 95 w 154"/>
              <a:gd name="T31" fmla="*/ 89 h 153"/>
              <a:gd name="T32" fmla="*/ 100 w 154"/>
              <a:gd name="T33" fmla="*/ 95 h 153"/>
              <a:gd name="T34" fmla="*/ 108 w 154"/>
              <a:gd name="T35" fmla="*/ 94 h 153"/>
              <a:gd name="T36" fmla="*/ 97 w 154"/>
              <a:gd name="T37" fmla="*/ 100 h 153"/>
              <a:gd name="T38" fmla="*/ 88 w 154"/>
              <a:gd name="T39" fmla="*/ 91 h 153"/>
              <a:gd name="T40" fmla="*/ 95 w 154"/>
              <a:gd name="T41" fmla="*/ 81 h 153"/>
              <a:gd name="T42" fmla="*/ 108 w 154"/>
              <a:gd name="T43" fmla="*/ 75 h 153"/>
              <a:gd name="T44" fmla="*/ 101 w 154"/>
              <a:gd name="T45" fmla="*/ 66 h 153"/>
              <a:gd name="T46" fmla="*/ 96 w 154"/>
              <a:gd name="T47" fmla="*/ 70 h 153"/>
              <a:gd name="T48" fmla="*/ 95 w 154"/>
              <a:gd name="T49" fmla="*/ 75 h 153"/>
              <a:gd name="T50" fmla="*/ 91 w 154"/>
              <a:gd name="T51" fmla="*/ 75 h 153"/>
              <a:gd name="T52" fmla="*/ 93 w 154"/>
              <a:gd name="T53" fmla="*/ 66 h 153"/>
              <a:gd name="T54" fmla="*/ 110 w 154"/>
              <a:gd name="T55" fmla="*/ 65 h 153"/>
              <a:gd name="T56" fmla="*/ 114 w 154"/>
              <a:gd name="T57" fmla="*/ 75 h 153"/>
              <a:gd name="T58" fmla="*/ 114 w 154"/>
              <a:gd name="T59" fmla="*/ 93 h 153"/>
              <a:gd name="T60" fmla="*/ 116 w 154"/>
              <a:gd name="T61" fmla="*/ 95 h 153"/>
              <a:gd name="T62" fmla="*/ 120 w 154"/>
              <a:gd name="T63" fmla="*/ 92 h 153"/>
              <a:gd name="T64" fmla="*/ 112 w 154"/>
              <a:gd name="T65" fmla="*/ 100 h 153"/>
              <a:gd name="T66" fmla="*/ 108 w 154"/>
              <a:gd name="T67" fmla="*/ 94 h 153"/>
              <a:gd name="T68" fmla="*/ 0 w 154"/>
              <a:gd name="T69" fmla="*/ 76 h 153"/>
              <a:gd name="T70" fmla="*/ 154 w 154"/>
              <a:gd name="T71" fmla="*/ 76 h 153"/>
              <a:gd name="T72" fmla="*/ 77 w 154"/>
              <a:gd name="T73" fmla="*/ 9 h 153"/>
              <a:gd name="T74" fmla="*/ 77 w 154"/>
              <a:gd name="T75" fmla="*/ 144 h 153"/>
              <a:gd name="T76" fmla="*/ 77 w 154"/>
              <a:gd name="T77" fmla="*/ 9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54" h="153">
                <a:moveTo>
                  <a:pt x="64" y="79"/>
                </a:moveTo>
                <a:cubicBezTo>
                  <a:pt x="55" y="58"/>
                  <a:pt x="55" y="58"/>
                  <a:pt x="55" y="58"/>
                </a:cubicBezTo>
                <a:cubicBezTo>
                  <a:pt x="47" y="79"/>
                  <a:pt x="47" y="79"/>
                  <a:pt x="47" y="79"/>
                </a:cubicBezTo>
                <a:lnTo>
                  <a:pt x="64" y="79"/>
                </a:lnTo>
                <a:close/>
                <a:moveTo>
                  <a:pt x="65" y="82"/>
                </a:moveTo>
                <a:cubicBezTo>
                  <a:pt x="45" y="82"/>
                  <a:pt x="45" y="82"/>
                  <a:pt x="45" y="82"/>
                </a:cubicBezTo>
                <a:cubicBezTo>
                  <a:pt x="42" y="90"/>
                  <a:pt x="42" y="90"/>
                  <a:pt x="42" y="90"/>
                </a:cubicBezTo>
                <a:cubicBezTo>
                  <a:pt x="41" y="92"/>
                  <a:pt x="41" y="93"/>
                  <a:pt x="41" y="94"/>
                </a:cubicBezTo>
                <a:cubicBezTo>
                  <a:pt x="41" y="95"/>
                  <a:pt x="41" y="96"/>
                  <a:pt x="42" y="96"/>
                </a:cubicBezTo>
                <a:cubicBezTo>
                  <a:pt x="42" y="97"/>
                  <a:pt x="44" y="97"/>
                  <a:pt x="47" y="97"/>
                </a:cubicBezTo>
                <a:cubicBezTo>
                  <a:pt x="47" y="99"/>
                  <a:pt x="47" y="99"/>
                  <a:pt x="47" y="99"/>
                </a:cubicBezTo>
                <a:cubicBezTo>
                  <a:pt x="30" y="99"/>
                  <a:pt x="30" y="99"/>
                  <a:pt x="30" y="99"/>
                </a:cubicBezTo>
                <a:cubicBezTo>
                  <a:pt x="30" y="97"/>
                  <a:pt x="30" y="97"/>
                  <a:pt x="30" y="97"/>
                </a:cubicBezTo>
                <a:cubicBezTo>
                  <a:pt x="33" y="97"/>
                  <a:pt x="34" y="97"/>
                  <a:pt x="35" y="96"/>
                </a:cubicBezTo>
                <a:cubicBezTo>
                  <a:pt x="36" y="95"/>
                  <a:pt x="37" y="92"/>
                  <a:pt x="39" y="89"/>
                </a:cubicBezTo>
                <a:cubicBezTo>
                  <a:pt x="57" y="47"/>
                  <a:pt x="57" y="47"/>
                  <a:pt x="57" y="47"/>
                </a:cubicBezTo>
                <a:cubicBezTo>
                  <a:pt x="58" y="47"/>
                  <a:pt x="58" y="47"/>
                  <a:pt x="58" y="47"/>
                </a:cubicBezTo>
                <a:cubicBezTo>
                  <a:pt x="76" y="89"/>
                  <a:pt x="76" y="89"/>
                  <a:pt x="76" y="89"/>
                </a:cubicBezTo>
                <a:cubicBezTo>
                  <a:pt x="77" y="93"/>
                  <a:pt x="79" y="95"/>
                  <a:pt x="80" y="96"/>
                </a:cubicBezTo>
                <a:cubicBezTo>
                  <a:pt x="81" y="97"/>
                  <a:pt x="83" y="97"/>
                  <a:pt x="85" y="97"/>
                </a:cubicBezTo>
                <a:cubicBezTo>
                  <a:pt x="85" y="99"/>
                  <a:pt x="85" y="99"/>
                  <a:pt x="85" y="99"/>
                </a:cubicBezTo>
                <a:cubicBezTo>
                  <a:pt x="65" y="99"/>
                  <a:pt x="65" y="99"/>
                  <a:pt x="65" y="99"/>
                </a:cubicBezTo>
                <a:cubicBezTo>
                  <a:pt x="65" y="97"/>
                  <a:pt x="65" y="97"/>
                  <a:pt x="65" y="97"/>
                </a:cubicBezTo>
                <a:cubicBezTo>
                  <a:pt x="67" y="97"/>
                  <a:pt x="68" y="97"/>
                  <a:pt x="69" y="96"/>
                </a:cubicBezTo>
                <a:cubicBezTo>
                  <a:pt x="69" y="96"/>
                  <a:pt x="70" y="95"/>
                  <a:pt x="70" y="94"/>
                </a:cubicBezTo>
                <a:cubicBezTo>
                  <a:pt x="70" y="93"/>
                  <a:pt x="69" y="91"/>
                  <a:pt x="68" y="89"/>
                </a:cubicBezTo>
                <a:lnTo>
                  <a:pt x="65" y="82"/>
                </a:lnTo>
                <a:close/>
                <a:moveTo>
                  <a:pt x="108" y="91"/>
                </a:moveTo>
                <a:cubicBezTo>
                  <a:pt x="108" y="78"/>
                  <a:pt x="108" y="78"/>
                  <a:pt x="108" y="78"/>
                </a:cubicBezTo>
                <a:cubicBezTo>
                  <a:pt x="104" y="80"/>
                  <a:pt x="101" y="81"/>
                  <a:pt x="100" y="81"/>
                </a:cubicBezTo>
                <a:cubicBezTo>
                  <a:pt x="98" y="83"/>
                  <a:pt x="97" y="84"/>
                  <a:pt x="96" y="85"/>
                </a:cubicBezTo>
                <a:cubicBezTo>
                  <a:pt x="95" y="86"/>
                  <a:pt x="95" y="87"/>
                  <a:pt x="95" y="89"/>
                </a:cubicBezTo>
                <a:cubicBezTo>
                  <a:pt x="95" y="91"/>
                  <a:pt x="95" y="92"/>
                  <a:pt x="96" y="93"/>
                </a:cubicBezTo>
                <a:cubicBezTo>
                  <a:pt x="97" y="95"/>
                  <a:pt x="99" y="95"/>
                  <a:pt x="100" y="95"/>
                </a:cubicBezTo>
                <a:cubicBezTo>
                  <a:pt x="102" y="95"/>
                  <a:pt x="105" y="94"/>
                  <a:pt x="108" y="91"/>
                </a:cubicBezTo>
                <a:moveTo>
                  <a:pt x="108" y="94"/>
                </a:moveTo>
                <a:cubicBezTo>
                  <a:pt x="104" y="97"/>
                  <a:pt x="102" y="98"/>
                  <a:pt x="101" y="99"/>
                </a:cubicBezTo>
                <a:cubicBezTo>
                  <a:pt x="100" y="99"/>
                  <a:pt x="98" y="100"/>
                  <a:pt x="97" y="100"/>
                </a:cubicBezTo>
                <a:cubicBezTo>
                  <a:pt x="94" y="100"/>
                  <a:pt x="92" y="99"/>
                  <a:pt x="91" y="97"/>
                </a:cubicBezTo>
                <a:cubicBezTo>
                  <a:pt x="89" y="96"/>
                  <a:pt x="88" y="93"/>
                  <a:pt x="88" y="91"/>
                </a:cubicBezTo>
                <a:cubicBezTo>
                  <a:pt x="88" y="89"/>
                  <a:pt x="89" y="88"/>
                  <a:pt x="90" y="86"/>
                </a:cubicBezTo>
                <a:cubicBezTo>
                  <a:pt x="91" y="85"/>
                  <a:pt x="92" y="83"/>
                  <a:pt x="95" y="81"/>
                </a:cubicBezTo>
                <a:cubicBezTo>
                  <a:pt x="97" y="80"/>
                  <a:pt x="102" y="78"/>
                  <a:pt x="108" y="76"/>
                </a:cubicBezTo>
                <a:cubicBezTo>
                  <a:pt x="108" y="75"/>
                  <a:pt x="108" y="75"/>
                  <a:pt x="108" y="75"/>
                </a:cubicBezTo>
                <a:cubicBezTo>
                  <a:pt x="108" y="71"/>
                  <a:pt x="107" y="69"/>
                  <a:pt x="106" y="68"/>
                </a:cubicBezTo>
                <a:cubicBezTo>
                  <a:pt x="105" y="66"/>
                  <a:pt x="103" y="66"/>
                  <a:pt x="101" y="66"/>
                </a:cubicBezTo>
                <a:cubicBezTo>
                  <a:pt x="100" y="66"/>
                  <a:pt x="98" y="66"/>
                  <a:pt x="97" y="67"/>
                </a:cubicBezTo>
                <a:cubicBezTo>
                  <a:pt x="96" y="68"/>
                  <a:pt x="96" y="69"/>
                  <a:pt x="96" y="70"/>
                </a:cubicBezTo>
                <a:cubicBezTo>
                  <a:pt x="96" y="72"/>
                  <a:pt x="96" y="72"/>
                  <a:pt x="96" y="72"/>
                </a:cubicBezTo>
                <a:cubicBezTo>
                  <a:pt x="96" y="73"/>
                  <a:pt x="96" y="74"/>
                  <a:pt x="95" y="75"/>
                </a:cubicBezTo>
                <a:cubicBezTo>
                  <a:pt x="95" y="75"/>
                  <a:pt x="94" y="76"/>
                  <a:pt x="93" y="76"/>
                </a:cubicBezTo>
                <a:cubicBezTo>
                  <a:pt x="92" y="76"/>
                  <a:pt x="91" y="75"/>
                  <a:pt x="91" y="75"/>
                </a:cubicBezTo>
                <a:cubicBezTo>
                  <a:pt x="90" y="74"/>
                  <a:pt x="90" y="73"/>
                  <a:pt x="90" y="72"/>
                </a:cubicBezTo>
                <a:cubicBezTo>
                  <a:pt x="90" y="70"/>
                  <a:pt x="91" y="68"/>
                  <a:pt x="93" y="66"/>
                </a:cubicBezTo>
                <a:cubicBezTo>
                  <a:pt x="95" y="64"/>
                  <a:pt x="98" y="63"/>
                  <a:pt x="102" y="63"/>
                </a:cubicBezTo>
                <a:cubicBezTo>
                  <a:pt x="105" y="63"/>
                  <a:pt x="108" y="64"/>
                  <a:pt x="110" y="65"/>
                </a:cubicBezTo>
                <a:cubicBezTo>
                  <a:pt x="111" y="66"/>
                  <a:pt x="112" y="67"/>
                  <a:pt x="113" y="68"/>
                </a:cubicBezTo>
                <a:cubicBezTo>
                  <a:pt x="114" y="70"/>
                  <a:pt x="114" y="72"/>
                  <a:pt x="114" y="75"/>
                </a:cubicBezTo>
                <a:cubicBezTo>
                  <a:pt x="114" y="87"/>
                  <a:pt x="114" y="87"/>
                  <a:pt x="114" y="87"/>
                </a:cubicBezTo>
                <a:cubicBezTo>
                  <a:pt x="114" y="90"/>
                  <a:pt x="114" y="92"/>
                  <a:pt x="114" y="93"/>
                </a:cubicBezTo>
                <a:cubicBezTo>
                  <a:pt x="114" y="94"/>
                  <a:pt x="114" y="94"/>
                  <a:pt x="115" y="94"/>
                </a:cubicBezTo>
                <a:cubicBezTo>
                  <a:pt x="115" y="95"/>
                  <a:pt x="115" y="95"/>
                  <a:pt x="116" y="95"/>
                </a:cubicBezTo>
                <a:cubicBezTo>
                  <a:pt x="116" y="95"/>
                  <a:pt x="116" y="95"/>
                  <a:pt x="117" y="95"/>
                </a:cubicBezTo>
                <a:cubicBezTo>
                  <a:pt x="117" y="94"/>
                  <a:pt x="118" y="93"/>
                  <a:pt x="120" y="92"/>
                </a:cubicBezTo>
                <a:cubicBezTo>
                  <a:pt x="120" y="94"/>
                  <a:pt x="120" y="94"/>
                  <a:pt x="120" y="94"/>
                </a:cubicBezTo>
                <a:cubicBezTo>
                  <a:pt x="117" y="98"/>
                  <a:pt x="114" y="100"/>
                  <a:pt x="112" y="100"/>
                </a:cubicBezTo>
                <a:cubicBezTo>
                  <a:pt x="110" y="100"/>
                  <a:pt x="110" y="99"/>
                  <a:pt x="109" y="98"/>
                </a:cubicBezTo>
                <a:cubicBezTo>
                  <a:pt x="108" y="97"/>
                  <a:pt x="108" y="96"/>
                  <a:pt x="108" y="94"/>
                </a:cubicBezTo>
                <a:moveTo>
                  <a:pt x="77" y="0"/>
                </a:moveTo>
                <a:cubicBezTo>
                  <a:pt x="35" y="0"/>
                  <a:pt x="0" y="34"/>
                  <a:pt x="0" y="76"/>
                </a:cubicBezTo>
                <a:cubicBezTo>
                  <a:pt x="0" y="119"/>
                  <a:pt x="35" y="153"/>
                  <a:pt x="77" y="153"/>
                </a:cubicBezTo>
                <a:cubicBezTo>
                  <a:pt x="120" y="153"/>
                  <a:pt x="154" y="119"/>
                  <a:pt x="154" y="76"/>
                </a:cubicBezTo>
                <a:cubicBezTo>
                  <a:pt x="154" y="34"/>
                  <a:pt x="120" y="0"/>
                  <a:pt x="77" y="0"/>
                </a:cubicBezTo>
                <a:moveTo>
                  <a:pt x="77" y="9"/>
                </a:moveTo>
                <a:cubicBezTo>
                  <a:pt x="114" y="9"/>
                  <a:pt x="144" y="39"/>
                  <a:pt x="144" y="76"/>
                </a:cubicBezTo>
                <a:cubicBezTo>
                  <a:pt x="144" y="114"/>
                  <a:pt x="114" y="144"/>
                  <a:pt x="77" y="144"/>
                </a:cubicBezTo>
                <a:cubicBezTo>
                  <a:pt x="40" y="144"/>
                  <a:pt x="10" y="114"/>
                  <a:pt x="10" y="76"/>
                </a:cubicBezTo>
                <a:cubicBezTo>
                  <a:pt x="10" y="39"/>
                  <a:pt x="40" y="9"/>
                  <a:pt x="77" y="9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10" name="Freeform 13"/>
          <p:cNvSpPr>
            <a:spLocks noEditPoints="1"/>
          </p:cNvSpPr>
          <p:nvPr/>
        </p:nvSpPr>
        <p:spPr bwMode="black">
          <a:xfrm>
            <a:off x="5928296" y="2578330"/>
            <a:ext cx="305569" cy="304337"/>
          </a:xfrm>
          <a:custGeom>
            <a:avLst/>
            <a:gdLst>
              <a:gd name="T0" fmla="*/ 94 w 150"/>
              <a:gd name="T1" fmla="*/ 70 h 149"/>
              <a:gd name="T2" fmla="*/ 54 w 150"/>
              <a:gd name="T3" fmla="*/ 70 h 149"/>
              <a:gd name="T4" fmla="*/ 54 w 150"/>
              <a:gd name="T5" fmla="*/ 48 h 149"/>
              <a:gd name="T6" fmla="*/ 94 w 150"/>
              <a:gd name="T7" fmla="*/ 48 h 149"/>
              <a:gd name="T8" fmla="*/ 94 w 150"/>
              <a:gd name="T9" fmla="*/ 70 h 149"/>
              <a:gd name="T10" fmla="*/ 46 w 150"/>
              <a:gd name="T11" fmla="*/ 45 h 149"/>
              <a:gd name="T12" fmla="*/ 46 w 150"/>
              <a:gd name="T13" fmla="*/ 104 h 149"/>
              <a:gd name="T14" fmla="*/ 60 w 150"/>
              <a:gd name="T15" fmla="*/ 104 h 149"/>
              <a:gd name="T16" fmla="*/ 60 w 150"/>
              <a:gd name="T17" fmla="*/ 87 h 149"/>
              <a:gd name="T18" fmla="*/ 90 w 150"/>
              <a:gd name="T19" fmla="*/ 87 h 149"/>
              <a:gd name="T20" fmla="*/ 90 w 150"/>
              <a:gd name="T21" fmla="*/ 104 h 149"/>
              <a:gd name="T22" fmla="*/ 104 w 150"/>
              <a:gd name="T23" fmla="*/ 104 h 149"/>
              <a:gd name="T24" fmla="*/ 104 w 150"/>
              <a:gd name="T25" fmla="*/ 45 h 149"/>
              <a:gd name="T26" fmla="*/ 46 w 150"/>
              <a:gd name="T27" fmla="*/ 45 h 149"/>
              <a:gd name="T28" fmla="*/ 76 w 150"/>
              <a:gd name="T29" fmla="*/ 91 h 149"/>
              <a:gd name="T30" fmla="*/ 66 w 150"/>
              <a:gd name="T31" fmla="*/ 91 h 149"/>
              <a:gd name="T32" fmla="*/ 66 w 150"/>
              <a:gd name="T33" fmla="*/ 104 h 149"/>
              <a:gd name="T34" fmla="*/ 76 w 150"/>
              <a:gd name="T35" fmla="*/ 104 h 149"/>
              <a:gd name="T36" fmla="*/ 76 w 150"/>
              <a:gd name="T37" fmla="*/ 91 h 149"/>
              <a:gd name="T38" fmla="*/ 75 w 150"/>
              <a:gd name="T39" fmla="*/ 149 h 149"/>
              <a:gd name="T40" fmla="*/ 0 w 150"/>
              <a:gd name="T41" fmla="*/ 75 h 149"/>
              <a:gd name="T42" fmla="*/ 75 w 150"/>
              <a:gd name="T43" fmla="*/ 0 h 149"/>
              <a:gd name="T44" fmla="*/ 150 w 150"/>
              <a:gd name="T45" fmla="*/ 75 h 149"/>
              <a:gd name="T46" fmla="*/ 75 w 150"/>
              <a:gd name="T47" fmla="*/ 149 h 149"/>
              <a:gd name="T48" fmla="*/ 75 w 150"/>
              <a:gd name="T49" fmla="*/ 9 h 149"/>
              <a:gd name="T50" fmla="*/ 10 w 150"/>
              <a:gd name="T51" fmla="*/ 75 h 149"/>
              <a:gd name="T52" fmla="*/ 75 w 150"/>
              <a:gd name="T53" fmla="*/ 140 h 149"/>
              <a:gd name="T54" fmla="*/ 140 w 150"/>
              <a:gd name="T55" fmla="*/ 75 h 149"/>
              <a:gd name="T56" fmla="*/ 75 w 150"/>
              <a:gd name="T57" fmla="*/ 9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50" h="149">
                <a:moveTo>
                  <a:pt x="94" y="70"/>
                </a:moveTo>
                <a:cubicBezTo>
                  <a:pt x="54" y="70"/>
                  <a:pt x="54" y="70"/>
                  <a:pt x="54" y="70"/>
                </a:cubicBezTo>
                <a:cubicBezTo>
                  <a:pt x="54" y="48"/>
                  <a:pt x="54" y="48"/>
                  <a:pt x="54" y="48"/>
                </a:cubicBezTo>
                <a:cubicBezTo>
                  <a:pt x="94" y="48"/>
                  <a:pt x="94" y="48"/>
                  <a:pt x="94" y="48"/>
                </a:cubicBezTo>
                <a:lnTo>
                  <a:pt x="94" y="70"/>
                </a:lnTo>
                <a:close/>
                <a:moveTo>
                  <a:pt x="46" y="45"/>
                </a:moveTo>
                <a:cubicBezTo>
                  <a:pt x="46" y="104"/>
                  <a:pt x="46" y="104"/>
                  <a:pt x="46" y="104"/>
                </a:cubicBezTo>
                <a:cubicBezTo>
                  <a:pt x="60" y="104"/>
                  <a:pt x="60" y="104"/>
                  <a:pt x="60" y="104"/>
                </a:cubicBezTo>
                <a:cubicBezTo>
                  <a:pt x="60" y="87"/>
                  <a:pt x="60" y="87"/>
                  <a:pt x="60" y="87"/>
                </a:cubicBezTo>
                <a:cubicBezTo>
                  <a:pt x="90" y="87"/>
                  <a:pt x="90" y="87"/>
                  <a:pt x="90" y="87"/>
                </a:cubicBezTo>
                <a:cubicBezTo>
                  <a:pt x="90" y="104"/>
                  <a:pt x="90" y="104"/>
                  <a:pt x="90" y="104"/>
                </a:cubicBezTo>
                <a:cubicBezTo>
                  <a:pt x="104" y="104"/>
                  <a:pt x="104" y="104"/>
                  <a:pt x="104" y="104"/>
                </a:cubicBezTo>
                <a:cubicBezTo>
                  <a:pt x="104" y="45"/>
                  <a:pt x="104" y="45"/>
                  <a:pt x="104" y="45"/>
                </a:cubicBezTo>
                <a:lnTo>
                  <a:pt x="46" y="45"/>
                </a:lnTo>
                <a:close/>
                <a:moveTo>
                  <a:pt x="76" y="91"/>
                </a:moveTo>
                <a:cubicBezTo>
                  <a:pt x="66" y="91"/>
                  <a:pt x="66" y="91"/>
                  <a:pt x="66" y="91"/>
                </a:cubicBezTo>
                <a:cubicBezTo>
                  <a:pt x="66" y="104"/>
                  <a:pt x="66" y="104"/>
                  <a:pt x="66" y="104"/>
                </a:cubicBezTo>
                <a:cubicBezTo>
                  <a:pt x="76" y="104"/>
                  <a:pt x="76" y="104"/>
                  <a:pt x="76" y="104"/>
                </a:cubicBezTo>
                <a:lnTo>
                  <a:pt x="76" y="91"/>
                </a:lnTo>
                <a:close/>
                <a:moveTo>
                  <a:pt x="75" y="149"/>
                </a:moveTo>
                <a:cubicBezTo>
                  <a:pt x="34" y="149"/>
                  <a:pt x="0" y="116"/>
                  <a:pt x="0" y="75"/>
                </a:cubicBezTo>
                <a:cubicBezTo>
                  <a:pt x="0" y="33"/>
                  <a:pt x="34" y="0"/>
                  <a:pt x="75" y="0"/>
                </a:cubicBezTo>
                <a:cubicBezTo>
                  <a:pt x="116" y="0"/>
                  <a:pt x="150" y="33"/>
                  <a:pt x="150" y="75"/>
                </a:cubicBezTo>
                <a:cubicBezTo>
                  <a:pt x="150" y="116"/>
                  <a:pt x="116" y="149"/>
                  <a:pt x="75" y="149"/>
                </a:cubicBezTo>
                <a:close/>
                <a:moveTo>
                  <a:pt x="75" y="9"/>
                </a:moveTo>
                <a:cubicBezTo>
                  <a:pt x="39" y="9"/>
                  <a:pt x="10" y="38"/>
                  <a:pt x="10" y="75"/>
                </a:cubicBezTo>
                <a:cubicBezTo>
                  <a:pt x="10" y="111"/>
                  <a:pt x="39" y="140"/>
                  <a:pt x="75" y="140"/>
                </a:cubicBezTo>
                <a:cubicBezTo>
                  <a:pt x="111" y="140"/>
                  <a:pt x="140" y="111"/>
                  <a:pt x="140" y="75"/>
                </a:cubicBezTo>
                <a:cubicBezTo>
                  <a:pt x="140" y="38"/>
                  <a:pt x="111" y="9"/>
                  <a:pt x="75" y="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11" name="Freeform 14"/>
          <p:cNvSpPr>
            <a:spLocks noEditPoints="1"/>
          </p:cNvSpPr>
          <p:nvPr/>
        </p:nvSpPr>
        <p:spPr bwMode="black">
          <a:xfrm>
            <a:off x="6601694" y="2578330"/>
            <a:ext cx="305569" cy="304337"/>
          </a:xfrm>
          <a:custGeom>
            <a:avLst/>
            <a:gdLst>
              <a:gd name="T0" fmla="*/ 109 w 150"/>
              <a:gd name="T1" fmla="*/ 58 h 149"/>
              <a:gd name="T2" fmla="*/ 115 w 150"/>
              <a:gd name="T3" fmla="*/ 58 h 149"/>
              <a:gd name="T4" fmla="*/ 104 w 150"/>
              <a:gd name="T5" fmla="*/ 54 h 149"/>
              <a:gd name="T6" fmla="*/ 104 w 150"/>
              <a:gd name="T7" fmla="*/ 48 h 149"/>
              <a:gd name="T8" fmla="*/ 104 w 150"/>
              <a:gd name="T9" fmla="*/ 54 h 149"/>
              <a:gd name="T10" fmla="*/ 101 w 150"/>
              <a:gd name="T11" fmla="*/ 66 h 149"/>
              <a:gd name="T12" fmla="*/ 107 w 150"/>
              <a:gd name="T13" fmla="*/ 66 h 149"/>
              <a:gd name="T14" fmla="*/ 96 w 150"/>
              <a:gd name="T15" fmla="*/ 61 h 149"/>
              <a:gd name="T16" fmla="*/ 96 w 150"/>
              <a:gd name="T17" fmla="*/ 55 h 149"/>
              <a:gd name="T18" fmla="*/ 96 w 150"/>
              <a:gd name="T19" fmla="*/ 61 h 149"/>
              <a:gd name="T20" fmla="*/ 83 w 150"/>
              <a:gd name="T21" fmla="*/ 76 h 149"/>
              <a:gd name="T22" fmla="*/ 96 w 150"/>
              <a:gd name="T23" fmla="*/ 76 h 149"/>
              <a:gd name="T24" fmla="*/ 75 w 150"/>
              <a:gd name="T25" fmla="*/ 65 h 149"/>
              <a:gd name="T26" fmla="*/ 75 w 150"/>
              <a:gd name="T27" fmla="*/ 53 h 149"/>
              <a:gd name="T28" fmla="*/ 75 w 150"/>
              <a:gd name="T29" fmla="*/ 65 h 149"/>
              <a:gd name="T30" fmla="*/ 52 w 150"/>
              <a:gd name="T31" fmla="*/ 76 h 149"/>
              <a:gd name="T32" fmla="*/ 69 w 150"/>
              <a:gd name="T33" fmla="*/ 76 h 149"/>
              <a:gd name="T34" fmla="*/ 46 w 150"/>
              <a:gd name="T35" fmla="*/ 65 h 149"/>
              <a:gd name="T36" fmla="*/ 46 w 150"/>
              <a:gd name="T37" fmla="*/ 51 h 149"/>
              <a:gd name="T38" fmla="*/ 46 w 150"/>
              <a:gd name="T39" fmla="*/ 65 h 149"/>
              <a:gd name="T40" fmla="*/ 109 w 150"/>
              <a:gd name="T41" fmla="*/ 45 h 149"/>
              <a:gd name="T42" fmla="*/ 97 w 150"/>
              <a:gd name="T43" fmla="*/ 41 h 149"/>
              <a:gd name="T44" fmla="*/ 75 w 150"/>
              <a:gd name="T45" fmla="*/ 49 h 149"/>
              <a:gd name="T46" fmla="*/ 54 w 150"/>
              <a:gd name="T47" fmla="*/ 41 h 149"/>
              <a:gd name="T48" fmla="*/ 41 w 150"/>
              <a:gd name="T49" fmla="*/ 45 h 149"/>
              <a:gd name="T50" fmla="*/ 28 w 150"/>
              <a:gd name="T51" fmla="*/ 94 h 149"/>
              <a:gd name="T52" fmla="*/ 55 w 150"/>
              <a:gd name="T53" fmla="*/ 93 h 149"/>
              <a:gd name="T54" fmla="*/ 114 w 150"/>
              <a:gd name="T55" fmla="*/ 107 h 149"/>
              <a:gd name="T56" fmla="*/ 116 w 150"/>
              <a:gd name="T57" fmla="*/ 54 h 149"/>
              <a:gd name="T58" fmla="*/ 10 w 150"/>
              <a:gd name="T59" fmla="*/ 75 h 149"/>
              <a:gd name="T60" fmla="*/ 141 w 150"/>
              <a:gd name="T61" fmla="*/ 75 h 149"/>
              <a:gd name="T62" fmla="*/ 75 w 150"/>
              <a:gd name="T63" fmla="*/ 0 h 149"/>
              <a:gd name="T64" fmla="*/ 75 w 150"/>
              <a:gd name="T65" fmla="*/ 149 h 149"/>
              <a:gd name="T66" fmla="*/ 75 w 150"/>
              <a:gd name="T67" fmla="*/ 0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50" h="149">
                <a:moveTo>
                  <a:pt x="112" y="61"/>
                </a:moveTo>
                <a:cubicBezTo>
                  <a:pt x="110" y="61"/>
                  <a:pt x="109" y="60"/>
                  <a:pt x="109" y="58"/>
                </a:cubicBezTo>
                <a:cubicBezTo>
                  <a:pt x="109" y="57"/>
                  <a:pt x="110" y="55"/>
                  <a:pt x="112" y="55"/>
                </a:cubicBezTo>
                <a:cubicBezTo>
                  <a:pt x="114" y="55"/>
                  <a:pt x="115" y="57"/>
                  <a:pt x="115" y="58"/>
                </a:cubicBezTo>
                <a:cubicBezTo>
                  <a:pt x="115" y="60"/>
                  <a:pt x="114" y="61"/>
                  <a:pt x="112" y="61"/>
                </a:cubicBezTo>
                <a:moveTo>
                  <a:pt x="104" y="54"/>
                </a:moveTo>
                <a:cubicBezTo>
                  <a:pt x="103" y="54"/>
                  <a:pt x="101" y="52"/>
                  <a:pt x="101" y="51"/>
                </a:cubicBezTo>
                <a:cubicBezTo>
                  <a:pt x="101" y="49"/>
                  <a:pt x="103" y="48"/>
                  <a:pt x="104" y="48"/>
                </a:cubicBezTo>
                <a:cubicBezTo>
                  <a:pt x="106" y="48"/>
                  <a:pt x="107" y="49"/>
                  <a:pt x="107" y="51"/>
                </a:cubicBezTo>
                <a:cubicBezTo>
                  <a:pt x="107" y="52"/>
                  <a:pt x="106" y="54"/>
                  <a:pt x="104" y="54"/>
                </a:cubicBezTo>
                <a:moveTo>
                  <a:pt x="104" y="69"/>
                </a:moveTo>
                <a:cubicBezTo>
                  <a:pt x="102" y="69"/>
                  <a:pt x="101" y="68"/>
                  <a:pt x="101" y="66"/>
                </a:cubicBezTo>
                <a:cubicBezTo>
                  <a:pt x="101" y="64"/>
                  <a:pt x="102" y="63"/>
                  <a:pt x="104" y="63"/>
                </a:cubicBezTo>
                <a:cubicBezTo>
                  <a:pt x="106" y="63"/>
                  <a:pt x="107" y="64"/>
                  <a:pt x="107" y="66"/>
                </a:cubicBezTo>
                <a:cubicBezTo>
                  <a:pt x="107" y="68"/>
                  <a:pt x="106" y="69"/>
                  <a:pt x="104" y="69"/>
                </a:cubicBezTo>
                <a:moveTo>
                  <a:pt x="96" y="61"/>
                </a:moveTo>
                <a:cubicBezTo>
                  <a:pt x="95" y="61"/>
                  <a:pt x="93" y="60"/>
                  <a:pt x="93" y="58"/>
                </a:cubicBezTo>
                <a:cubicBezTo>
                  <a:pt x="93" y="57"/>
                  <a:pt x="95" y="55"/>
                  <a:pt x="96" y="55"/>
                </a:cubicBezTo>
                <a:cubicBezTo>
                  <a:pt x="98" y="55"/>
                  <a:pt x="99" y="57"/>
                  <a:pt x="99" y="58"/>
                </a:cubicBezTo>
                <a:cubicBezTo>
                  <a:pt x="99" y="60"/>
                  <a:pt x="98" y="61"/>
                  <a:pt x="96" y="61"/>
                </a:cubicBezTo>
                <a:moveTo>
                  <a:pt x="89" y="82"/>
                </a:moveTo>
                <a:cubicBezTo>
                  <a:pt x="85" y="82"/>
                  <a:pt x="83" y="79"/>
                  <a:pt x="83" y="76"/>
                </a:cubicBezTo>
                <a:cubicBezTo>
                  <a:pt x="83" y="72"/>
                  <a:pt x="85" y="69"/>
                  <a:pt x="89" y="69"/>
                </a:cubicBezTo>
                <a:cubicBezTo>
                  <a:pt x="93" y="69"/>
                  <a:pt x="96" y="72"/>
                  <a:pt x="96" y="76"/>
                </a:cubicBezTo>
                <a:cubicBezTo>
                  <a:pt x="96" y="79"/>
                  <a:pt x="93" y="82"/>
                  <a:pt x="89" y="82"/>
                </a:cubicBezTo>
                <a:moveTo>
                  <a:pt x="75" y="65"/>
                </a:moveTo>
                <a:cubicBezTo>
                  <a:pt x="72" y="65"/>
                  <a:pt x="69" y="62"/>
                  <a:pt x="69" y="59"/>
                </a:cubicBezTo>
                <a:cubicBezTo>
                  <a:pt x="69" y="55"/>
                  <a:pt x="72" y="53"/>
                  <a:pt x="75" y="53"/>
                </a:cubicBezTo>
                <a:cubicBezTo>
                  <a:pt x="79" y="53"/>
                  <a:pt x="82" y="55"/>
                  <a:pt x="82" y="59"/>
                </a:cubicBezTo>
                <a:cubicBezTo>
                  <a:pt x="82" y="62"/>
                  <a:pt x="79" y="65"/>
                  <a:pt x="75" y="65"/>
                </a:cubicBezTo>
                <a:moveTo>
                  <a:pt x="60" y="84"/>
                </a:moveTo>
                <a:cubicBezTo>
                  <a:pt x="56" y="84"/>
                  <a:pt x="52" y="80"/>
                  <a:pt x="52" y="76"/>
                </a:cubicBezTo>
                <a:cubicBezTo>
                  <a:pt x="52" y="71"/>
                  <a:pt x="56" y="67"/>
                  <a:pt x="60" y="67"/>
                </a:cubicBezTo>
                <a:cubicBezTo>
                  <a:pt x="65" y="67"/>
                  <a:pt x="69" y="71"/>
                  <a:pt x="69" y="76"/>
                </a:cubicBezTo>
                <a:cubicBezTo>
                  <a:pt x="69" y="80"/>
                  <a:pt x="65" y="84"/>
                  <a:pt x="60" y="84"/>
                </a:cubicBezTo>
                <a:moveTo>
                  <a:pt x="46" y="65"/>
                </a:moveTo>
                <a:cubicBezTo>
                  <a:pt x="42" y="65"/>
                  <a:pt x="39" y="62"/>
                  <a:pt x="39" y="58"/>
                </a:cubicBezTo>
                <a:cubicBezTo>
                  <a:pt x="39" y="54"/>
                  <a:pt x="42" y="51"/>
                  <a:pt x="46" y="51"/>
                </a:cubicBezTo>
                <a:cubicBezTo>
                  <a:pt x="50" y="51"/>
                  <a:pt x="53" y="54"/>
                  <a:pt x="53" y="58"/>
                </a:cubicBezTo>
                <a:cubicBezTo>
                  <a:pt x="53" y="62"/>
                  <a:pt x="50" y="65"/>
                  <a:pt x="46" y="65"/>
                </a:cubicBezTo>
                <a:moveTo>
                  <a:pt x="116" y="54"/>
                </a:moveTo>
                <a:cubicBezTo>
                  <a:pt x="114" y="51"/>
                  <a:pt x="112" y="47"/>
                  <a:pt x="109" y="45"/>
                </a:cubicBezTo>
                <a:cubicBezTo>
                  <a:pt x="110" y="44"/>
                  <a:pt x="110" y="44"/>
                  <a:pt x="110" y="44"/>
                </a:cubicBezTo>
                <a:cubicBezTo>
                  <a:pt x="105" y="40"/>
                  <a:pt x="97" y="41"/>
                  <a:pt x="97" y="41"/>
                </a:cubicBezTo>
                <a:cubicBezTo>
                  <a:pt x="96" y="42"/>
                  <a:pt x="96" y="42"/>
                  <a:pt x="96" y="42"/>
                </a:cubicBezTo>
                <a:cubicBezTo>
                  <a:pt x="90" y="44"/>
                  <a:pt x="90" y="49"/>
                  <a:pt x="75" y="49"/>
                </a:cubicBezTo>
                <a:cubicBezTo>
                  <a:pt x="60" y="49"/>
                  <a:pt x="61" y="44"/>
                  <a:pt x="55" y="42"/>
                </a:cubicBezTo>
                <a:cubicBezTo>
                  <a:pt x="54" y="41"/>
                  <a:pt x="54" y="41"/>
                  <a:pt x="54" y="41"/>
                </a:cubicBezTo>
                <a:cubicBezTo>
                  <a:pt x="54" y="41"/>
                  <a:pt x="46" y="40"/>
                  <a:pt x="41" y="44"/>
                </a:cubicBezTo>
                <a:cubicBezTo>
                  <a:pt x="41" y="45"/>
                  <a:pt x="41" y="45"/>
                  <a:pt x="41" y="45"/>
                </a:cubicBezTo>
                <a:cubicBezTo>
                  <a:pt x="38" y="47"/>
                  <a:pt x="37" y="51"/>
                  <a:pt x="35" y="54"/>
                </a:cubicBezTo>
                <a:cubicBezTo>
                  <a:pt x="32" y="61"/>
                  <a:pt x="27" y="80"/>
                  <a:pt x="28" y="94"/>
                </a:cubicBezTo>
                <a:cubicBezTo>
                  <a:pt x="29" y="105"/>
                  <a:pt x="31" y="107"/>
                  <a:pt x="36" y="107"/>
                </a:cubicBezTo>
                <a:cubicBezTo>
                  <a:pt x="41" y="108"/>
                  <a:pt x="49" y="98"/>
                  <a:pt x="55" y="93"/>
                </a:cubicBezTo>
                <a:cubicBezTo>
                  <a:pt x="62" y="88"/>
                  <a:pt x="89" y="88"/>
                  <a:pt x="96" y="93"/>
                </a:cubicBezTo>
                <a:cubicBezTo>
                  <a:pt x="102" y="98"/>
                  <a:pt x="109" y="108"/>
                  <a:pt x="114" y="107"/>
                </a:cubicBezTo>
                <a:cubicBezTo>
                  <a:pt x="120" y="107"/>
                  <a:pt x="121" y="105"/>
                  <a:pt x="122" y="94"/>
                </a:cubicBezTo>
                <a:cubicBezTo>
                  <a:pt x="124" y="80"/>
                  <a:pt x="119" y="61"/>
                  <a:pt x="116" y="54"/>
                </a:cubicBezTo>
                <a:moveTo>
                  <a:pt x="75" y="140"/>
                </a:moveTo>
                <a:cubicBezTo>
                  <a:pt x="39" y="140"/>
                  <a:pt x="10" y="111"/>
                  <a:pt x="10" y="75"/>
                </a:cubicBezTo>
                <a:cubicBezTo>
                  <a:pt x="10" y="39"/>
                  <a:pt x="39" y="9"/>
                  <a:pt x="75" y="9"/>
                </a:cubicBezTo>
                <a:cubicBezTo>
                  <a:pt x="111" y="9"/>
                  <a:pt x="141" y="39"/>
                  <a:pt x="141" y="75"/>
                </a:cubicBezTo>
                <a:cubicBezTo>
                  <a:pt x="141" y="111"/>
                  <a:pt x="111" y="140"/>
                  <a:pt x="75" y="140"/>
                </a:cubicBezTo>
                <a:moveTo>
                  <a:pt x="75" y="0"/>
                </a:moveTo>
                <a:cubicBezTo>
                  <a:pt x="34" y="0"/>
                  <a:pt x="0" y="33"/>
                  <a:pt x="0" y="75"/>
                </a:cubicBezTo>
                <a:cubicBezTo>
                  <a:pt x="0" y="116"/>
                  <a:pt x="34" y="149"/>
                  <a:pt x="75" y="149"/>
                </a:cubicBezTo>
                <a:cubicBezTo>
                  <a:pt x="117" y="149"/>
                  <a:pt x="150" y="116"/>
                  <a:pt x="150" y="75"/>
                </a:cubicBezTo>
                <a:cubicBezTo>
                  <a:pt x="150" y="33"/>
                  <a:pt x="117" y="0"/>
                  <a:pt x="75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12" name="Freeform 15"/>
          <p:cNvSpPr>
            <a:spLocks noEditPoints="1"/>
          </p:cNvSpPr>
          <p:nvPr/>
        </p:nvSpPr>
        <p:spPr bwMode="black">
          <a:xfrm>
            <a:off x="7274476" y="2583246"/>
            <a:ext cx="306801" cy="304337"/>
          </a:xfrm>
          <a:custGeom>
            <a:avLst/>
            <a:gdLst>
              <a:gd name="T0" fmla="*/ 43 w 150"/>
              <a:gd name="T1" fmla="*/ 69 h 149"/>
              <a:gd name="T2" fmla="*/ 106 w 150"/>
              <a:gd name="T3" fmla="*/ 69 h 149"/>
              <a:gd name="T4" fmla="*/ 106 w 150"/>
              <a:gd name="T5" fmla="*/ 80 h 149"/>
              <a:gd name="T6" fmla="*/ 43 w 150"/>
              <a:gd name="T7" fmla="*/ 80 h 149"/>
              <a:gd name="T8" fmla="*/ 43 w 150"/>
              <a:gd name="T9" fmla="*/ 69 h 149"/>
              <a:gd name="T10" fmla="*/ 150 w 150"/>
              <a:gd name="T11" fmla="*/ 75 h 149"/>
              <a:gd name="T12" fmla="*/ 75 w 150"/>
              <a:gd name="T13" fmla="*/ 0 h 149"/>
              <a:gd name="T14" fmla="*/ 0 w 150"/>
              <a:gd name="T15" fmla="*/ 75 h 149"/>
              <a:gd name="T16" fmla="*/ 75 w 150"/>
              <a:gd name="T17" fmla="*/ 149 h 149"/>
              <a:gd name="T18" fmla="*/ 150 w 150"/>
              <a:gd name="T19" fmla="*/ 75 h 149"/>
              <a:gd name="T20" fmla="*/ 140 w 150"/>
              <a:gd name="T21" fmla="*/ 75 h 149"/>
              <a:gd name="T22" fmla="*/ 75 w 150"/>
              <a:gd name="T23" fmla="*/ 140 h 149"/>
              <a:gd name="T24" fmla="*/ 9 w 150"/>
              <a:gd name="T25" fmla="*/ 75 h 149"/>
              <a:gd name="T26" fmla="*/ 75 w 150"/>
              <a:gd name="T27" fmla="*/ 9 h 149"/>
              <a:gd name="T28" fmla="*/ 140 w 150"/>
              <a:gd name="T29" fmla="*/ 75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50" h="149">
                <a:moveTo>
                  <a:pt x="43" y="69"/>
                </a:moveTo>
                <a:cubicBezTo>
                  <a:pt x="106" y="69"/>
                  <a:pt x="106" y="69"/>
                  <a:pt x="106" y="69"/>
                </a:cubicBezTo>
                <a:cubicBezTo>
                  <a:pt x="106" y="80"/>
                  <a:pt x="106" y="80"/>
                  <a:pt x="106" y="80"/>
                </a:cubicBezTo>
                <a:cubicBezTo>
                  <a:pt x="43" y="80"/>
                  <a:pt x="43" y="80"/>
                  <a:pt x="43" y="80"/>
                </a:cubicBezTo>
                <a:lnTo>
                  <a:pt x="43" y="69"/>
                </a:lnTo>
                <a:close/>
                <a:moveTo>
                  <a:pt x="150" y="75"/>
                </a:moveTo>
                <a:cubicBezTo>
                  <a:pt x="150" y="33"/>
                  <a:pt x="116" y="0"/>
                  <a:pt x="75" y="0"/>
                </a:cubicBezTo>
                <a:cubicBezTo>
                  <a:pt x="34" y="0"/>
                  <a:pt x="0" y="33"/>
                  <a:pt x="0" y="75"/>
                </a:cubicBezTo>
                <a:cubicBezTo>
                  <a:pt x="0" y="116"/>
                  <a:pt x="34" y="149"/>
                  <a:pt x="75" y="149"/>
                </a:cubicBezTo>
                <a:cubicBezTo>
                  <a:pt x="116" y="149"/>
                  <a:pt x="150" y="116"/>
                  <a:pt x="150" y="75"/>
                </a:cubicBezTo>
                <a:close/>
                <a:moveTo>
                  <a:pt x="140" y="75"/>
                </a:moveTo>
                <a:cubicBezTo>
                  <a:pt x="140" y="111"/>
                  <a:pt x="111" y="140"/>
                  <a:pt x="75" y="140"/>
                </a:cubicBezTo>
                <a:cubicBezTo>
                  <a:pt x="39" y="140"/>
                  <a:pt x="9" y="111"/>
                  <a:pt x="9" y="75"/>
                </a:cubicBezTo>
                <a:cubicBezTo>
                  <a:pt x="9" y="38"/>
                  <a:pt x="39" y="9"/>
                  <a:pt x="75" y="9"/>
                </a:cubicBezTo>
                <a:cubicBezTo>
                  <a:pt x="111" y="9"/>
                  <a:pt x="140" y="38"/>
                  <a:pt x="140" y="7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13" name="Freeform 16"/>
          <p:cNvSpPr>
            <a:spLocks noEditPoints="1"/>
          </p:cNvSpPr>
          <p:nvPr/>
        </p:nvSpPr>
        <p:spPr bwMode="black">
          <a:xfrm>
            <a:off x="7948492" y="3250562"/>
            <a:ext cx="305569" cy="306801"/>
          </a:xfrm>
          <a:custGeom>
            <a:avLst/>
            <a:gdLst>
              <a:gd name="T0" fmla="*/ 68 w 150"/>
              <a:gd name="T1" fmla="*/ 43 h 150"/>
              <a:gd name="T2" fmla="*/ 48 w 150"/>
              <a:gd name="T3" fmla="*/ 40 h 150"/>
              <a:gd name="T4" fmla="*/ 44 w 150"/>
              <a:gd name="T5" fmla="*/ 60 h 150"/>
              <a:gd name="T6" fmla="*/ 68 w 150"/>
              <a:gd name="T7" fmla="*/ 43 h 150"/>
              <a:gd name="T8" fmla="*/ 90 w 150"/>
              <a:gd name="T9" fmla="*/ 83 h 150"/>
              <a:gd name="T10" fmla="*/ 93 w 150"/>
              <a:gd name="T11" fmla="*/ 80 h 150"/>
              <a:gd name="T12" fmla="*/ 90 w 150"/>
              <a:gd name="T13" fmla="*/ 76 h 150"/>
              <a:gd name="T14" fmla="*/ 79 w 150"/>
              <a:gd name="T15" fmla="*/ 76 h 150"/>
              <a:gd name="T16" fmla="*/ 79 w 150"/>
              <a:gd name="T17" fmla="*/ 63 h 150"/>
              <a:gd name="T18" fmla="*/ 76 w 150"/>
              <a:gd name="T19" fmla="*/ 59 h 150"/>
              <a:gd name="T20" fmla="*/ 72 w 150"/>
              <a:gd name="T21" fmla="*/ 63 h 150"/>
              <a:gd name="T22" fmla="*/ 72 w 150"/>
              <a:gd name="T23" fmla="*/ 80 h 150"/>
              <a:gd name="T24" fmla="*/ 76 w 150"/>
              <a:gd name="T25" fmla="*/ 83 h 150"/>
              <a:gd name="T26" fmla="*/ 90 w 150"/>
              <a:gd name="T27" fmla="*/ 83 h 150"/>
              <a:gd name="T28" fmla="*/ 76 w 150"/>
              <a:gd name="T29" fmla="*/ 54 h 150"/>
              <a:gd name="T30" fmla="*/ 101 w 150"/>
              <a:gd name="T31" fmla="*/ 80 h 150"/>
              <a:gd name="T32" fmla="*/ 76 w 150"/>
              <a:gd name="T33" fmla="*/ 105 h 150"/>
              <a:gd name="T34" fmla="*/ 50 w 150"/>
              <a:gd name="T35" fmla="*/ 80 h 150"/>
              <a:gd name="T36" fmla="*/ 76 w 150"/>
              <a:gd name="T37" fmla="*/ 54 h 150"/>
              <a:gd name="T38" fmla="*/ 76 w 150"/>
              <a:gd name="T39" fmla="*/ 112 h 150"/>
              <a:gd name="T40" fmla="*/ 108 w 150"/>
              <a:gd name="T41" fmla="*/ 80 h 150"/>
              <a:gd name="T42" fmla="*/ 76 w 150"/>
              <a:gd name="T43" fmla="*/ 47 h 150"/>
              <a:gd name="T44" fmla="*/ 43 w 150"/>
              <a:gd name="T45" fmla="*/ 80 h 150"/>
              <a:gd name="T46" fmla="*/ 76 w 150"/>
              <a:gd name="T47" fmla="*/ 112 h 150"/>
              <a:gd name="T48" fmla="*/ 82 w 150"/>
              <a:gd name="T49" fmla="*/ 43 h 150"/>
              <a:gd name="T50" fmla="*/ 101 w 150"/>
              <a:gd name="T51" fmla="*/ 40 h 150"/>
              <a:gd name="T52" fmla="*/ 106 w 150"/>
              <a:gd name="T53" fmla="*/ 58 h 150"/>
              <a:gd name="T54" fmla="*/ 82 w 150"/>
              <a:gd name="T55" fmla="*/ 43 h 150"/>
              <a:gd name="T56" fmla="*/ 75 w 150"/>
              <a:gd name="T57" fmla="*/ 10 h 150"/>
              <a:gd name="T58" fmla="*/ 9 w 150"/>
              <a:gd name="T59" fmla="*/ 75 h 150"/>
              <a:gd name="T60" fmla="*/ 75 w 150"/>
              <a:gd name="T61" fmla="*/ 140 h 150"/>
              <a:gd name="T62" fmla="*/ 140 w 150"/>
              <a:gd name="T63" fmla="*/ 75 h 150"/>
              <a:gd name="T64" fmla="*/ 75 w 150"/>
              <a:gd name="T65" fmla="*/ 10 h 150"/>
              <a:gd name="T66" fmla="*/ 75 w 150"/>
              <a:gd name="T67" fmla="*/ 0 h 150"/>
              <a:gd name="T68" fmla="*/ 150 w 150"/>
              <a:gd name="T69" fmla="*/ 75 h 150"/>
              <a:gd name="T70" fmla="*/ 75 w 150"/>
              <a:gd name="T71" fmla="*/ 150 h 150"/>
              <a:gd name="T72" fmla="*/ 0 w 150"/>
              <a:gd name="T73" fmla="*/ 75 h 150"/>
              <a:gd name="T74" fmla="*/ 75 w 150"/>
              <a:gd name="T75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50" h="150">
                <a:moveTo>
                  <a:pt x="68" y="43"/>
                </a:moveTo>
                <a:cubicBezTo>
                  <a:pt x="64" y="37"/>
                  <a:pt x="57" y="34"/>
                  <a:pt x="48" y="40"/>
                </a:cubicBezTo>
                <a:cubicBezTo>
                  <a:pt x="40" y="45"/>
                  <a:pt x="40" y="53"/>
                  <a:pt x="44" y="60"/>
                </a:cubicBezTo>
                <a:cubicBezTo>
                  <a:pt x="50" y="51"/>
                  <a:pt x="58" y="45"/>
                  <a:pt x="68" y="43"/>
                </a:cubicBezTo>
                <a:moveTo>
                  <a:pt x="90" y="83"/>
                </a:moveTo>
                <a:cubicBezTo>
                  <a:pt x="92" y="83"/>
                  <a:pt x="93" y="82"/>
                  <a:pt x="93" y="80"/>
                </a:cubicBezTo>
                <a:cubicBezTo>
                  <a:pt x="93" y="78"/>
                  <a:pt x="92" y="76"/>
                  <a:pt x="90" y="76"/>
                </a:cubicBezTo>
                <a:cubicBezTo>
                  <a:pt x="79" y="76"/>
                  <a:pt x="79" y="76"/>
                  <a:pt x="79" y="76"/>
                </a:cubicBezTo>
                <a:cubicBezTo>
                  <a:pt x="79" y="63"/>
                  <a:pt x="79" y="63"/>
                  <a:pt x="79" y="63"/>
                </a:cubicBezTo>
                <a:cubicBezTo>
                  <a:pt x="79" y="61"/>
                  <a:pt x="78" y="59"/>
                  <a:pt x="76" y="59"/>
                </a:cubicBezTo>
                <a:cubicBezTo>
                  <a:pt x="74" y="59"/>
                  <a:pt x="72" y="61"/>
                  <a:pt x="72" y="63"/>
                </a:cubicBezTo>
                <a:cubicBezTo>
                  <a:pt x="72" y="80"/>
                  <a:pt x="72" y="80"/>
                  <a:pt x="72" y="80"/>
                </a:cubicBezTo>
                <a:cubicBezTo>
                  <a:pt x="72" y="82"/>
                  <a:pt x="74" y="83"/>
                  <a:pt x="76" y="83"/>
                </a:cubicBezTo>
                <a:lnTo>
                  <a:pt x="90" y="83"/>
                </a:lnTo>
                <a:close/>
                <a:moveTo>
                  <a:pt x="76" y="54"/>
                </a:moveTo>
                <a:cubicBezTo>
                  <a:pt x="90" y="54"/>
                  <a:pt x="101" y="66"/>
                  <a:pt x="101" y="80"/>
                </a:cubicBezTo>
                <a:cubicBezTo>
                  <a:pt x="101" y="94"/>
                  <a:pt x="90" y="105"/>
                  <a:pt x="76" y="105"/>
                </a:cubicBezTo>
                <a:cubicBezTo>
                  <a:pt x="62" y="105"/>
                  <a:pt x="50" y="94"/>
                  <a:pt x="50" y="80"/>
                </a:cubicBezTo>
                <a:cubicBezTo>
                  <a:pt x="50" y="66"/>
                  <a:pt x="62" y="54"/>
                  <a:pt x="76" y="54"/>
                </a:cubicBezTo>
                <a:moveTo>
                  <a:pt x="76" y="112"/>
                </a:moveTo>
                <a:cubicBezTo>
                  <a:pt x="94" y="112"/>
                  <a:pt x="108" y="98"/>
                  <a:pt x="108" y="80"/>
                </a:cubicBezTo>
                <a:cubicBezTo>
                  <a:pt x="108" y="62"/>
                  <a:pt x="94" y="47"/>
                  <a:pt x="76" y="47"/>
                </a:cubicBezTo>
                <a:cubicBezTo>
                  <a:pt x="58" y="47"/>
                  <a:pt x="43" y="62"/>
                  <a:pt x="43" y="80"/>
                </a:cubicBezTo>
                <a:cubicBezTo>
                  <a:pt x="43" y="98"/>
                  <a:pt x="58" y="112"/>
                  <a:pt x="76" y="112"/>
                </a:cubicBezTo>
                <a:moveTo>
                  <a:pt x="82" y="43"/>
                </a:moveTo>
                <a:cubicBezTo>
                  <a:pt x="86" y="37"/>
                  <a:pt x="93" y="34"/>
                  <a:pt x="101" y="40"/>
                </a:cubicBezTo>
                <a:cubicBezTo>
                  <a:pt x="109" y="45"/>
                  <a:pt x="110" y="52"/>
                  <a:pt x="106" y="58"/>
                </a:cubicBezTo>
                <a:cubicBezTo>
                  <a:pt x="101" y="50"/>
                  <a:pt x="92" y="44"/>
                  <a:pt x="82" y="43"/>
                </a:cubicBezTo>
                <a:moveTo>
                  <a:pt x="75" y="10"/>
                </a:moveTo>
                <a:cubicBezTo>
                  <a:pt x="39" y="10"/>
                  <a:pt x="9" y="39"/>
                  <a:pt x="9" y="75"/>
                </a:cubicBezTo>
                <a:cubicBezTo>
                  <a:pt x="9" y="111"/>
                  <a:pt x="39" y="140"/>
                  <a:pt x="75" y="140"/>
                </a:cubicBezTo>
                <a:cubicBezTo>
                  <a:pt x="111" y="140"/>
                  <a:pt x="140" y="111"/>
                  <a:pt x="140" y="75"/>
                </a:cubicBezTo>
                <a:cubicBezTo>
                  <a:pt x="140" y="39"/>
                  <a:pt x="111" y="10"/>
                  <a:pt x="75" y="10"/>
                </a:cubicBezTo>
                <a:moveTo>
                  <a:pt x="75" y="0"/>
                </a:moveTo>
                <a:cubicBezTo>
                  <a:pt x="116" y="0"/>
                  <a:pt x="150" y="34"/>
                  <a:pt x="150" y="75"/>
                </a:cubicBezTo>
                <a:cubicBezTo>
                  <a:pt x="150" y="116"/>
                  <a:pt x="116" y="150"/>
                  <a:pt x="75" y="150"/>
                </a:cubicBezTo>
                <a:cubicBezTo>
                  <a:pt x="33" y="150"/>
                  <a:pt x="0" y="116"/>
                  <a:pt x="0" y="75"/>
                </a:cubicBezTo>
                <a:cubicBezTo>
                  <a:pt x="0" y="34"/>
                  <a:pt x="33" y="0"/>
                  <a:pt x="75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14" name="Freeform 17"/>
          <p:cNvSpPr>
            <a:spLocks noEditPoints="1"/>
          </p:cNvSpPr>
          <p:nvPr/>
        </p:nvSpPr>
        <p:spPr bwMode="black">
          <a:xfrm>
            <a:off x="7274476" y="3255478"/>
            <a:ext cx="306801" cy="306801"/>
          </a:xfrm>
          <a:custGeom>
            <a:avLst/>
            <a:gdLst>
              <a:gd name="T0" fmla="*/ 85 w 150"/>
              <a:gd name="T1" fmla="*/ 94 h 150"/>
              <a:gd name="T2" fmla="*/ 79 w 150"/>
              <a:gd name="T3" fmla="*/ 93 h 150"/>
              <a:gd name="T4" fmla="*/ 79 w 150"/>
              <a:gd name="T5" fmla="*/ 93 h 150"/>
              <a:gd name="T6" fmla="*/ 79 w 150"/>
              <a:gd name="T7" fmla="*/ 87 h 150"/>
              <a:gd name="T8" fmla="*/ 79 w 150"/>
              <a:gd name="T9" fmla="*/ 87 h 150"/>
              <a:gd name="T10" fmla="*/ 88 w 150"/>
              <a:gd name="T11" fmla="*/ 88 h 150"/>
              <a:gd name="T12" fmla="*/ 89 w 150"/>
              <a:gd name="T13" fmla="*/ 85 h 150"/>
              <a:gd name="T14" fmla="*/ 80 w 150"/>
              <a:gd name="T15" fmla="*/ 83 h 150"/>
              <a:gd name="T16" fmla="*/ 79 w 150"/>
              <a:gd name="T17" fmla="*/ 83 h 150"/>
              <a:gd name="T18" fmla="*/ 79 w 150"/>
              <a:gd name="T19" fmla="*/ 68 h 150"/>
              <a:gd name="T20" fmla="*/ 94 w 150"/>
              <a:gd name="T21" fmla="*/ 68 h 150"/>
              <a:gd name="T22" fmla="*/ 94 w 150"/>
              <a:gd name="T23" fmla="*/ 73 h 150"/>
              <a:gd name="T24" fmla="*/ 85 w 150"/>
              <a:gd name="T25" fmla="*/ 73 h 150"/>
              <a:gd name="T26" fmla="*/ 85 w 150"/>
              <a:gd name="T27" fmla="*/ 77 h 150"/>
              <a:gd name="T28" fmla="*/ 93 w 150"/>
              <a:gd name="T29" fmla="*/ 79 h 150"/>
              <a:gd name="T30" fmla="*/ 95 w 150"/>
              <a:gd name="T31" fmla="*/ 85 h 150"/>
              <a:gd name="T32" fmla="*/ 93 w 150"/>
              <a:gd name="T33" fmla="*/ 91 h 150"/>
              <a:gd name="T34" fmla="*/ 85 w 150"/>
              <a:gd name="T35" fmla="*/ 94 h 150"/>
              <a:gd name="T36" fmla="*/ 75 w 150"/>
              <a:gd name="T37" fmla="*/ 88 h 150"/>
              <a:gd name="T38" fmla="*/ 65 w 150"/>
              <a:gd name="T39" fmla="*/ 88 h 150"/>
              <a:gd name="T40" fmla="*/ 69 w 150"/>
              <a:gd name="T41" fmla="*/ 84 h 150"/>
              <a:gd name="T42" fmla="*/ 75 w 150"/>
              <a:gd name="T43" fmla="*/ 75 h 150"/>
              <a:gd name="T44" fmla="*/ 73 w 150"/>
              <a:gd name="T45" fmla="*/ 69 h 150"/>
              <a:gd name="T46" fmla="*/ 66 w 150"/>
              <a:gd name="T47" fmla="*/ 67 h 150"/>
              <a:gd name="T48" fmla="*/ 59 w 150"/>
              <a:gd name="T49" fmla="*/ 69 h 150"/>
              <a:gd name="T50" fmla="*/ 58 w 150"/>
              <a:gd name="T51" fmla="*/ 70 h 150"/>
              <a:gd name="T52" fmla="*/ 58 w 150"/>
              <a:gd name="T53" fmla="*/ 76 h 150"/>
              <a:gd name="T54" fmla="*/ 59 w 150"/>
              <a:gd name="T55" fmla="*/ 75 h 150"/>
              <a:gd name="T56" fmla="*/ 65 w 150"/>
              <a:gd name="T57" fmla="*/ 73 h 150"/>
              <a:gd name="T58" fmla="*/ 68 w 150"/>
              <a:gd name="T59" fmla="*/ 76 h 150"/>
              <a:gd name="T60" fmla="*/ 67 w 150"/>
              <a:gd name="T61" fmla="*/ 78 h 150"/>
              <a:gd name="T62" fmla="*/ 64 w 150"/>
              <a:gd name="T63" fmla="*/ 82 h 150"/>
              <a:gd name="T64" fmla="*/ 57 w 150"/>
              <a:gd name="T65" fmla="*/ 89 h 150"/>
              <a:gd name="T66" fmla="*/ 57 w 150"/>
              <a:gd name="T67" fmla="*/ 94 h 150"/>
              <a:gd name="T68" fmla="*/ 75 w 150"/>
              <a:gd name="T69" fmla="*/ 94 h 150"/>
              <a:gd name="T70" fmla="*/ 75 w 150"/>
              <a:gd name="T71" fmla="*/ 88 h 150"/>
              <a:gd name="T72" fmla="*/ 107 w 150"/>
              <a:gd name="T73" fmla="*/ 62 h 150"/>
              <a:gd name="T74" fmla="*/ 45 w 150"/>
              <a:gd name="T75" fmla="*/ 62 h 150"/>
              <a:gd name="T76" fmla="*/ 45 w 150"/>
              <a:gd name="T77" fmla="*/ 99 h 150"/>
              <a:gd name="T78" fmla="*/ 46 w 150"/>
              <a:gd name="T79" fmla="*/ 100 h 150"/>
              <a:gd name="T80" fmla="*/ 107 w 150"/>
              <a:gd name="T81" fmla="*/ 100 h 150"/>
              <a:gd name="T82" fmla="*/ 107 w 150"/>
              <a:gd name="T83" fmla="*/ 99 h 150"/>
              <a:gd name="T84" fmla="*/ 107 w 150"/>
              <a:gd name="T85" fmla="*/ 62 h 150"/>
              <a:gd name="T86" fmla="*/ 112 w 150"/>
              <a:gd name="T87" fmla="*/ 43 h 150"/>
              <a:gd name="T88" fmla="*/ 116 w 150"/>
              <a:gd name="T89" fmla="*/ 47 h 150"/>
              <a:gd name="T90" fmla="*/ 116 w 150"/>
              <a:gd name="T91" fmla="*/ 105 h 150"/>
              <a:gd name="T92" fmla="*/ 112 w 150"/>
              <a:gd name="T93" fmla="*/ 109 h 150"/>
              <a:gd name="T94" fmla="*/ 40 w 150"/>
              <a:gd name="T95" fmla="*/ 109 h 150"/>
              <a:gd name="T96" fmla="*/ 36 w 150"/>
              <a:gd name="T97" fmla="*/ 105 h 150"/>
              <a:gd name="T98" fmla="*/ 36 w 150"/>
              <a:gd name="T99" fmla="*/ 47 h 150"/>
              <a:gd name="T100" fmla="*/ 40 w 150"/>
              <a:gd name="T101" fmla="*/ 43 h 150"/>
              <a:gd name="T102" fmla="*/ 112 w 150"/>
              <a:gd name="T103" fmla="*/ 43 h 150"/>
              <a:gd name="T104" fmla="*/ 75 w 150"/>
              <a:gd name="T105" fmla="*/ 10 h 150"/>
              <a:gd name="T106" fmla="*/ 140 w 150"/>
              <a:gd name="T107" fmla="*/ 75 h 150"/>
              <a:gd name="T108" fmla="*/ 75 w 150"/>
              <a:gd name="T109" fmla="*/ 140 h 150"/>
              <a:gd name="T110" fmla="*/ 9 w 150"/>
              <a:gd name="T111" fmla="*/ 75 h 150"/>
              <a:gd name="T112" fmla="*/ 75 w 150"/>
              <a:gd name="T113" fmla="*/ 10 h 150"/>
              <a:gd name="T114" fmla="*/ 75 w 150"/>
              <a:gd name="T115" fmla="*/ 0 h 150"/>
              <a:gd name="T116" fmla="*/ 0 w 150"/>
              <a:gd name="T117" fmla="*/ 75 h 150"/>
              <a:gd name="T118" fmla="*/ 75 w 150"/>
              <a:gd name="T119" fmla="*/ 150 h 150"/>
              <a:gd name="T120" fmla="*/ 150 w 150"/>
              <a:gd name="T121" fmla="*/ 75 h 150"/>
              <a:gd name="T122" fmla="*/ 75 w 150"/>
              <a:gd name="T123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50" h="150">
                <a:moveTo>
                  <a:pt x="85" y="94"/>
                </a:moveTo>
                <a:cubicBezTo>
                  <a:pt x="83" y="94"/>
                  <a:pt x="81" y="94"/>
                  <a:pt x="79" y="93"/>
                </a:cubicBezTo>
                <a:cubicBezTo>
                  <a:pt x="79" y="93"/>
                  <a:pt x="79" y="93"/>
                  <a:pt x="79" y="93"/>
                </a:cubicBezTo>
                <a:cubicBezTo>
                  <a:pt x="79" y="87"/>
                  <a:pt x="79" y="87"/>
                  <a:pt x="79" y="87"/>
                </a:cubicBezTo>
                <a:cubicBezTo>
                  <a:pt x="79" y="87"/>
                  <a:pt x="79" y="87"/>
                  <a:pt x="79" y="87"/>
                </a:cubicBezTo>
                <a:cubicBezTo>
                  <a:pt x="82" y="89"/>
                  <a:pt x="86" y="89"/>
                  <a:pt x="88" y="88"/>
                </a:cubicBezTo>
                <a:cubicBezTo>
                  <a:pt x="88" y="87"/>
                  <a:pt x="89" y="86"/>
                  <a:pt x="89" y="85"/>
                </a:cubicBezTo>
                <a:cubicBezTo>
                  <a:pt x="89" y="84"/>
                  <a:pt x="88" y="82"/>
                  <a:pt x="80" y="83"/>
                </a:cubicBezTo>
                <a:cubicBezTo>
                  <a:pt x="79" y="83"/>
                  <a:pt x="79" y="83"/>
                  <a:pt x="79" y="83"/>
                </a:cubicBezTo>
                <a:cubicBezTo>
                  <a:pt x="79" y="68"/>
                  <a:pt x="79" y="68"/>
                  <a:pt x="79" y="68"/>
                </a:cubicBezTo>
                <a:cubicBezTo>
                  <a:pt x="94" y="68"/>
                  <a:pt x="94" y="68"/>
                  <a:pt x="94" y="68"/>
                </a:cubicBezTo>
                <a:cubicBezTo>
                  <a:pt x="94" y="73"/>
                  <a:pt x="94" y="73"/>
                  <a:pt x="94" y="73"/>
                </a:cubicBezTo>
                <a:cubicBezTo>
                  <a:pt x="85" y="73"/>
                  <a:pt x="85" y="73"/>
                  <a:pt x="85" y="73"/>
                </a:cubicBezTo>
                <a:cubicBezTo>
                  <a:pt x="85" y="77"/>
                  <a:pt x="85" y="77"/>
                  <a:pt x="85" y="77"/>
                </a:cubicBezTo>
                <a:cubicBezTo>
                  <a:pt x="89" y="77"/>
                  <a:pt x="91" y="78"/>
                  <a:pt x="93" y="79"/>
                </a:cubicBezTo>
                <a:cubicBezTo>
                  <a:pt x="94" y="81"/>
                  <a:pt x="95" y="83"/>
                  <a:pt x="95" y="85"/>
                </a:cubicBezTo>
                <a:cubicBezTo>
                  <a:pt x="95" y="87"/>
                  <a:pt x="94" y="90"/>
                  <a:pt x="93" y="91"/>
                </a:cubicBezTo>
                <a:cubicBezTo>
                  <a:pt x="91" y="93"/>
                  <a:pt x="88" y="94"/>
                  <a:pt x="85" y="94"/>
                </a:cubicBezTo>
                <a:moveTo>
                  <a:pt x="75" y="88"/>
                </a:moveTo>
                <a:cubicBezTo>
                  <a:pt x="65" y="88"/>
                  <a:pt x="65" y="88"/>
                  <a:pt x="65" y="88"/>
                </a:cubicBezTo>
                <a:cubicBezTo>
                  <a:pt x="69" y="84"/>
                  <a:pt x="69" y="84"/>
                  <a:pt x="69" y="84"/>
                </a:cubicBezTo>
                <a:cubicBezTo>
                  <a:pt x="73" y="81"/>
                  <a:pt x="75" y="78"/>
                  <a:pt x="75" y="75"/>
                </a:cubicBezTo>
                <a:cubicBezTo>
                  <a:pt x="75" y="73"/>
                  <a:pt x="74" y="71"/>
                  <a:pt x="73" y="69"/>
                </a:cubicBezTo>
                <a:cubicBezTo>
                  <a:pt x="71" y="68"/>
                  <a:pt x="69" y="67"/>
                  <a:pt x="66" y="67"/>
                </a:cubicBezTo>
                <a:cubicBezTo>
                  <a:pt x="63" y="67"/>
                  <a:pt x="61" y="68"/>
                  <a:pt x="59" y="69"/>
                </a:cubicBezTo>
                <a:cubicBezTo>
                  <a:pt x="58" y="70"/>
                  <a:pt x="58" y="70"/>
                  <a:pt x="58" y="70"/>
                </a:cubicBezTo>
                <a:cubicBezTo>
                  <a:pt x="58" y="76"/>
                  <a:pt x="58" y="76"/>
                  <a:pt x="58" y="76"/>
                </a:cubicBezTo>
                <a:cubicBezTo>
                  <a:pt x="59" y="75"/>
                  <a:pt x="59" y="75"/>
                  <a:pt x="59" y="75"/>
                </a:cubicBezTo>
                <a:cubicBezTo>
                  <a:pt x="61" y="73"/>
                  <a:pt x="63" y="73"/>
                  <a:pt x="65" y="73"/>
                </a:cubicBezTo>
                <a:cubicBezTo>
                  <a:pt x="67" y="73"/>
                  <a:pt x="68" y="74"/>
                  <a:pt x="68" y="76"/>
                </a:cubicBezTo>
                <a:cubicBezTo>
                  <a:pt x="68" y="76"/>
                  <a:pt x="68" y="77"/>
                  <a:pt x="67" y="78"/>
                </a:cubicBezTo>
                <a:cubicBezTo>
                  <a:pt x="67" y="79"/>
                  <a:pt x="66" y="80"/>
                  <a:pt x="64" y="82"/>
                </a:cubicBezTo>
                <a:cubicBezTo>
                  <a:pt x="57" y="89"/>
                  <a:pt x="57" y="89"/>
                  <a:pt x="57" y="89"/>
                </a:cubicBezTo>
                <a:cubicBezTo>
                  <a:pt x="57" y="94"/>
                  <a:pt x="57" y="94"/>
                  <a:pt x="57" y="94"/>
                </a:cubicBezTo>
                <a:cubicBezTo>
                  <a:pt x="75" y="94"/>
                  <a:pt x="75" y="94"/>
                  <a:pt x="75" y="94"/>
                </a:cubicBezTo>
                <a:lnTo>
                  <a:pt x="75" y="88"/>
                </a:lnTo>
                <a:close/>
                <a:moveTo>
                  <a:pt x="107" y="62"/>
                </a:moveTo>
                <a:cubicBezTo>
                  <a:pt x="45" y="62"/>
                  <a:pt x="45" y="62"/>
                  <a:pt x="45" y="62"/>
                </a:cubicBezTo>
                <a:cubicBezTo>
                  <a:pt x="45" y="99"/>
                  <a:pt x="45" y="99"/>
                  <a:pt x="45" y="99"/>
                </a:cubicBezTo>
                <a:cubicBezTo>
                  <a:pt x="45" y="100"/>
                  <a:pt x="46" y="100"/>
                  <a:pt x="46" y="100"/>
                </a:cubicBezTo>
                <a:cubicBezTo>
                  <a:pt x="107" y="100"/>
                  <a:pt x="107" y="100"/>
                  <a:pt x="107" y="100"/>
                </a:cubicBezTo>
                <a:cubicBezTo>
                  <a:pt x="107" y="100"/>
                  <a:pt x="107" y="100"/>
                  <a:pt x="107" y="99"/>
                </a:cubicBezTo>
                <a:lnTo>
                  <a:pt x="107" y="62"/>
                </a:lnTo>
                <a:close/>
                <a:moveTo>
                  <a:pt x="112" y="43"/>
                </a:moveTo>
                <a:cubicBezTo>
                  <a:pt x="114" y="43"/>
                  <a:pt x="116" y="45"/>
                  <a:pt x="116" y="47"/>
                </a:cubicBezTo>
                <a:cubicBezTo>
                  <a:pt x="116" y="105"/>
                  <a:pt x="116" y="105"/>
                  <a:pt x="116" y="105"/>
                </a:cubicBezTo>
                <a:cubicBezTo>
                  <a:pt x="116" y="107"/>
                  <a:pt x="114" y="109"/>
                  <a:pt x="112" y="109"/>
                </a:cubicBezTo>
                <a:cubicBezTo>
                  <a:pt x="40" y="109"/>
                  <a:pt x="40" y="109"/>
                  <a:pt x="40" y="109"/>
                </a:cubicBezTo>
                <a:cubicBezTo>
                  <a:pt x="38" y="109"/>
                  <a:pt x="36" y="107"/>
                  <a:pt x="36" y="105"/>
                </a:cubicBezTo>
                <a:cubicBezTo>
                  <a:pt x="36" y="47"/>
                  <a:pt x="36" y="47"/>
                  <a:pt x="36" y="47"/>
                </a:cubicBezTo>
                <a:cubicBezTo>
                  <a:pt x="36" y="45"/>
                  <a:pt x="38" y="43"/>
                  <a:pt x="40" y="43"/>
                </a:cubicBezTo>
                <a:cubicBezTo>
                  <a:pt x="112" y="43"/>
                  <a:pt x="112" y="43"/>
                  <a:pt x="112" y="43"/>
                </a:cubicBezTo>
                <a:moveTo>
                  <a:pt x="75" y="10"/>
                </a:moveTo>
                <a:cubicBezTo>
                  <a:pt x="111" y="10"/>
                  <a:pt x="140" y="39"/>
                  <a:pt x="140" y="75"/>
                </a:cubicBezTo>
                <a:cubicBezTo>
                  <a:pt x="140" y="111"/>
                  <a:pt x="111" y="140"/>
                  <a:pt x="75" y="140"/>
                </a:cubicBezTo>
                <a:cubicBezTo>
                  <a:pt x="39" y="140"/>
                  <a:pt x="9" y="111"/>
                  <a:pt x="9" y="75"/>
                </a:cubicBezTo>
                <a:cubicBezTo>
                  <a:pt x="9" y="39"/>
                  <a:pt x="39" y="10"/>
                  <a:pt x="75" y="10"/>
                </a:cubicBezTo>
                <a:moveTo>
                  <a:pt x="75" y="0"/>
                </a:moveTo>
                <a:cubicBezTo>
                  <a:pt x="33" y="0"/>
                  <a:pt x="0" y="34"/>
                  <a:pt x="0" y="75"/>
                </a:cubicBezTo>
                <a:cubicBezTo>
                  <a:pt x="0" y="116"/>
                  <a:pt x="33" y="150"/>
                  <a:pt x="75" y="150"/>
                </a:cubicBezTo>
                <a:cubicBezTo>
                  <a:pt x="116" y="150"/>
                  <a:pt x="150" y="116"/>
                  <a:pt x="150" y="75"/>
                </a:cubicBezTo>
                <a:cubicBezTo>
                  <a:pt x="150" y="34"/>
                  <a:pt x="116" y="0"/>
                  <a:pt x="75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15" name="Freeform 18"/>
          <p:cNvSpPr>
            <a:spLocks noEditPoints="1"/>
          </p:cNvSpPr>
          <p:nvPr/>
        </p:nvSpPr>
        <p:spPr bwMode="black">
          <a:xfrm>
            <a:off x="5918442" y="3250562"/>
            <a:ext cx="325283" cy="306801"/>
          </a:xfrm>
          <a:custGeom>
            <a:avLst/>
            <a:gdLst>
              <a:gd name="T0" fmla="*/ 96 w 160"/>
              <a:gd name="T1" fmla="*/ 76 h 150"/>
              <a:gd name="T2" fmla="*/ 89 w 160"/>
              <a:gd name="T3" fmla="*/ 72 h 150"/>
              <a:gd name="T4" fmla="*/ 94 w 160"/>
              <a:gd name="T5" fmla="*/ 66 h 150"/>
              <a:gd name="T6" fmla="*/ 101 w 160"/>
              <a:gd name="T7" fmla="*/ 71 h 150"/>
              <a:gd name="T8" fmla="*/ 101 w 160"/>
              <a:gd name="T9" fmla="*/ 86 h 150"/>
              <a:gd name="T10" fmla="*/ 94 w 160"/>
              <a:gd name="T11" fmla="*/ 91 h 150"/>
              <a:gd name="T12" fmla="*/ 89 w 160"/>
              <a:gd name="T13" fmla="*/ 85 h 150"/>
              <a:gd name="T14" fmla="*/ 96 w 160"/>
              <a:gd name="T15" fmla="*/ 81 h 150"/>
              <a:gd name="T16" fmla="*/ 101 w 160"/>
              <a:gd name="T17" fmla="*/ 86 h 150"/>
              <a:gd name="T18" fmla="*/ 96 w 160"/>
              <a:gd name="T19" fmla="*/ 105 h 150"/>
              <a:gd name="T20" fmla="*/ 89 w 160"/>
              <a:gd name="T21" fmla="*/ 100 h 150"/>
              <a:gd name="T22" fmla="*/ 94 w 160"/>
              <a:gd name="T23" fmla="*/ 95 h 150"/>
              <a:gd name="T24" fmla="*/ 101 w 160"/>
              <a:gd name="T25" fmla="*/ 100 h 150"/>
              <a:gd name="T26" fmla="*/ 81 w 160"/>
              <a:gd name="T27" fmla="*/ 76 h 150"/>
              <a:gd name="T28" fmla="*/ 74 w 160"/>
              <a:gd name="T29" fmla="*/ 72 h 150"/>
              <a:gd name="T30" fmla="*/ 79 w 160"/>
              <a:gd name="T31" fmla="*/ 66 h 150"/>
              <a:gd name="T32" fmla="*/ 86 w 160"/>
              <a:gd name="T33" fmla="*/ 71 h 150"/>
              <a:gd name="T34" fmla="*/ 86 w 160"/>
              <a:gd name="T35" fmla="*/ 86 h 150"/>
              <a:gd name="T36" fmla="*/ 79 w 160"/>
              <a:gd name="T37" fmla="*/ 91 h 150"/>
              <a:gd name="T38" fmla="*/ 74 w 160"/>
              <a:gd name="T39" fmla="*/ 85 h 150"/>
              <a:gd name="T40" fmla="*/ 81 w 160"/>
              <a:gd name="T41" fmla="*/ 81 h 150"/>
              <a:gd name="T42" fmla="*/ 86 w 160"/>
              <a:gd name="T43" fmla="*/ 86 h 150"/>
              <a:gd name="T44" fmla="*/ 81 w 160"/>
              <a:gd name="T45" fmla="*/ 105 h 150"/>
              <a:gd name="T46" fmla="*/ 74 w 160"/>
              <a:gd name="T47" fmla="*/ 100 h 150"/>
              <a:gd name="T48" fmla="*/ 79 w 160"/>
              <a:gd name="T49" fmla="*/ 95 h 150"/>
              <a:gd name="T50" fmla="*/ 86 w 160"/>
              <a:gd name="T51" fmla="*/ 100 h 150"/>
              <a:gd name="T52" fmla="*/ 66 w 160"/>
              <a:gd name="T53" fmla="*/ 76 h 150"/>
              <a:gd name="T54" fmla="*/ 59 w 160"/>
              <a:gd name="T55" fmla="*/ 72 h 150"/>
              <a:gd name="T56" fmla="*/ 64 w 160"/>
              <a:gd name="T57" fmla="*/ 66 h 150"/>
              <a:gd name="T58" fmla="*/ 71 w 160"/>
              <a:gd name="T59" fmla="*/ 71 h 150"/>
              <a:gd name="T60" fmla="*/ 71 w 160"/>
              <a:gd name="T61" fmla="*/ 86 h 150"/>
              <a:gd name="T62" fmla="*/ 64 w 160"/>
              <a:gd name="T63" fmla="*/ 91 h 150"/>
              <a:gd name="T64" fmla="*/ 59 w 160"/>
              <a:gd name="T65" fmla="*/ 85 h 150"/>
              <a:gd name="T66" fmla="*/ 66 w 160"/>
              <a:gd name="T67" fmla="*/ 81 h 150"/>
              <a:gd name="T68" fmla="*/ 71 w 160"/>
              <a:gd name="T69" fmla="*/ 86 h 150"/>
              <a:gd name="T70" fmla="*/ 66 w 160"/>
              <a:gd name="T71" fmla="*/ 105 h 150"/>
              <a:gd name="T72" fmla="*/ 59 w 160"/>
              <a:gd name="T73" fmla="*/ 100 h 150"/>
              <a:gd name="T74" fmla="*/ 64 w 160"/>
              <a:gd name="T75" fmla="*/ 95 h 150"/>
              <a:gd name="T76" fmla="*/ 71 w 160"/>
              <a:gd name="T77" fmla="*/ 100 h 150"/>
              <a:gd name="T78" fmla="*/ 64 w 160"/>
              <a:gd name="T79" fmla="*/ 46 h 150"/>
              <a:gd name="T80" fmla="*/ 100 w 160"/>
              <a:gd name="T81" fmla="*/ 50 h 150"/>
              <a:gd name="T82" fmla="*/ 96 w 160"/>
              <a:gd name="T83" fmla="*/ 59 h 150"/>
              <a:gd name="T84" fmla="*/ 60 w 160"/>
              <a:gd name="T85" fmla="*/ 55 h 150"/>
              <a:gd name="T86" fmla="*/ 59 w 160"/>
              <a:gd name="T87" fmla="*/ 39 h 150"/>
              <a:gd name="T88" fmla="*/ 54 w 160"/>
              <a:gd name="T89" fmla="*/ 106 h 150"/>
              <a:gd name="T90" fmla="*/ 101 w 160"/>
              <a:gd name="T91" fmla="*/ 111 h 150"/>
              <a:gd name="T92" fmla="*/ 106 w 160"/>
              <a:gd name="T93" fmla="*/ 44 h 150"/>
              <a:gd name="T94" fmla="*/ 59 w 160"/>
              <a:gd name="T95" fmla="*/ 39 h 150"/>
              <a:gd name="T96" fmla="*/ 15 w 160"/>
              <a:gd name="T97" fmla="*/ 66 h 150"/>
              <a:gd name="T98" fmla="*/ 71 w 160"/>
              <a:gd name="T99" fmla="*/ 140 h 150"/>
              <a:gd name="T100" fmla="*/ 145 w 160"/>
              <a:gd name="T101" fmla="*/ 84 h 150"/>
              <a:gd name="T102" fmla="*/ 89 w 160"/>
              <a:gd name="T103" fmla="*/ 10 h 150"/>
              <a:gd name="T104" fmla="*/ 80 w 160"/>
              <a:gd name="T105" fmla="*/ 0 h 150"/>
              <a:gd name="T106" fmla="*/ 154 w 160"/>
              <a:gd name="T107" fmla="*/ 85 h 150"/>
              <a:gd name="T108" fmla="*/ 70 w 160"/>
              <a:gd name="T109" fmla="*/ 149 h 150"/>
              <a:gd name="T110" fmla="*/ 80 w 160"/>
              <a:gd name="T111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60" h="150">
                <a:moveTo>
                  <a:pt x="101" y="72"/>
                </a:moveTo>
                <a:cubicBezTo>
                  <a:pt x="101" y="74"/>
                  <a:pt x="99" y="76"/>
                  <a:pt x="96" y="76"/>
                </a:cubicBezTo>
                <a:cubicBezTo>
                  <a:pt x="94" y="76"/>
                  <a:pt x="94" y="76"/>
                  <a:pt x="94" y="76"/>
                </a:cubicBezTo>
                <a:cubicBezTo>
                  <a:pt x="91" y="76"/>
                  <a:pt x="89" y="74"/>
                  <a:pt x="89" y="72"/>
                </a:cubicBezTo>
                <a:cubicBezTo>
                  <a:pt x="89" y="71"/>
                  <a:pt x="89" y="71"/>
                  <a:pt x="89" y="71"/>
                </a:cubicBezTo>
                <a:cubicBezTo>
                  <a:pt x="89" y="68"/>
                  <a:pt x="91" y="66"/>
                  <a:pt x="94" y="66"/>
                </a:cubicBezTo>
                <a:cubicBezTo>
                  <a:pt x="96" y="66"/>
                  <a:pt x="96" y="66"/>
                  <a:pt x="96" y="66"/>
                </a:cubicBezTo>
                <a:cubicBezTo>
                  <a:pt x="99" y="66"/>
                  <a:pt x="101" y="68"/>
                  <a:pt x="101" y="71"/>
                </a:cubicBezTo>
                <a:lnTo>
                  <a:pt x="101" y="72"/>
                </a:lnTo>
                <a:close/>
                <a:moveTo>
                  <a:pt x="101" y="86"/>
                </a:moveTo>
                <a:cubicBezTo>
                  <a:pt x="101" y="89"/>
                  <a:pt x="99" y="91"/>
                  <a:pt x="96" y="91"/>
                </a:cubicBezTo>
                <a:cubicBezTo>
                  <a:pt x="94" y="91"/>
                  <a:pt x="94" y="91"/>
                  <a:pt x="94" y="91"/>
                </a:cubicBezTo>
                <a:cubicBezTo>
                  <a:pt x="91" y="91"/>
                  <a:pt x="89" y="89"/>
                  <a:pt x="89" y="86"/>
                </a:cubicBezTo>
                <a:cubicBezTo>
                  <a:pt x="89" y="85"/>
                  <a:pt x="89" y="85"/>
                  <a:pt x="89" y="85"/>
                </a:cubicBezTo>
                <a:cubicBezTo>
                  <a:pt x="89" y="83"/>
                  <a:pt x="91" y="81"/>
                  <a:pt x="94" y="81"/>
                </a:cubicBezTo>
                <a:cubicBezTo>
                  <a:pt x="96" y="81"/>
                  <a:pt x="96" y="81"/>
                  <a:pt x="96" y="81"/>
                </a:cubicBezTo>
                <a:cubicBezTo>
                  <a:pt x="99" y="81"/>
                  <a:pt x="101" y="83"/>
                  <a:pt x="101" y="85"/>
                </a:cubicBezTo>
                <a:lnTo>
                  <a:pt x="101" y="86"/>
                </a:lnTo>
                <a:close/>
                <a:moveTo>
                  <a:pt x="101" y="100"/>
                </a:moveTo>
                <a:cubicBezTo>
                  <a:pt x="101" y="103"/>
                  <a:pt x="99" y="105"/>
                  <a:pt x="96" y="105"/>
                </a:cubicBezTo>
                <a:cubicBezTo>
                  <a:pt x="94" y="105"/>
                  <a:pt x="94" y="105"/>
                  <a:pt x="94" y="105"/>
                </a:cubicBezTo>
                <a:cubicBezTo>
                  <a:pt x="91" y="105"/>
                  <a:pt x="89" y="103"/>
                  <a:pt x="89" y="100"/>
                </a:cubicBezTo>
                <a:cubicBezTo>
                  <a:pt x="89" y="100"/>
                  <a:pt x="89" y="100"/>
                  <a:pt x="89" y="100"/>
                </a:cubicBezTo>
                <a:cubicBezTo>
                  <a:pt x="89" y="97"/>
                  <a:pt x="91" y="95"/>
                  <a:pt x="94" y="95"/>
                </a:cubicBezTo>
                <a:cubicBezTo>
                  <a:pt x="96" y="95"/>
                  <a:pt x="96" y="95"/>
                  <a:pt x="96" y="95"/>
                </a:cubicBezTo>
                <a:cubicBezTo>
                  <a:pt x="99" y="95"/>
                  <a:pt x="101" y="97"/>
                  <a:pt x="101" y="100"/>
                </a:cubicBezTo>
                <a:close/>
                <a:moveTo>
                  <a:pt x="86" y="72"/>
                </a:moveTo>
                <a:cubicBezTo>
                  <a:pt x="86" y="74"/>
                  <a:pt x="84" y="76"/>
                  <a:pt x="81" y="76"/>
                </a:cubicBezTo>
                <a:cubicBezTo>
                  <a:pt x="79" y="76"/>
                  <a:pt x="79" y="76"/>
                  <a:pt x="79" y="76"/>
                </a:cubicBezTo>
                <a:cubicBezTo>
                  <a:pt x="76" y="76"/>
                  <a:pt x="74" y="74"/>
                  <a:pt x="74" y="72"/>
                </a:cubicBezTo>
                <a:cubicBezTo>
                  <a:pt x="74" y="71"/>
                  <a:pt x="74" y="71"/>
                  <a:pt x="74" y="71"/>
                </a:cubicBezTo>
                <a:cubicBezTo>
                  <a:pt x="74" y="68"/>
                  <a:pt x="76" y="66"/>
                  <a:pt x="79" y="66"/>
                </a:cubicBezTo>
                <a:cubicBezTo>
                  <a:pt x="81" y="66"/>
                  <a:pt x="81" y="66"/>
                  <a:pt x="81" y="66"/>
                </a:cubicBezTo>
                <a:cubicBezTo>
                  <a:pt x="84" y="66"/>
                  <a:pt x="86" y="68"/>
                  <a:pt x="86" y="71"/>
                </a:cubicBezTo>
                <a:lnTo>
                  <a:pt x="86" y="72"/>
                </a:lnTo>
                <a:close/>
                <a:moveTo>
                  <a:pt x="86" y="86"/>
                </a:moveTo>
                <a:cubicBezTo>
                  <a:pt x="86" y="89"/>
                  <a:pt x="84" y="91"/>
                  <a:pt x="81" y="91"/>
                </a:cubicBezTo>
                <a:cubicBezTo>
                  <a:pt x="79" y="91"/>
                  <a:pt x="79" y="91"/>
                  <a:pt x="79" y="91"/>
                </a:cubicBezTo>
                <a:cubicBezTo>
                  <a:pt x="76" y="91"/>
                  <a:pt x="74" y="89"/>
                  <a:pt x="74" y="86"/>
                </a:cubicBezTo>
                <a:cubicBezTo>
                  <a:pt x="74" y="85"/>
                  <a:pt x="74" y="85"/>
                  <a:pt x="74" y="85"/>
                </a:cubicBezTo>
                <a:cubicBezTo>
                  <a:pt x="74" y="83"/>
                  <a:pt x="76" y="81"/>
                  <a:pt x="79" y="81"/>
                </a:cubicBezTo>
                <a:cubicBezTo>
                  <a:pt x="81" y="81"/>
                  <a:pt x="81" y="81"/>
                  <a:pt x="81" y="81"/>
                </a:cubicBezTo>
                <a:cubicBezTo>
                  <a:pt x="84" y="81"/>
                  <a:pt x="86" y="83"/>
                  <a:pt x="86" y="85"/>
                </a:cubicBezTo>
                <a:lnTo>
                  <a:pt x="86" y="86"/>
                </a:lnTo>
                <a:close/>
                <a:moveTo>
                  <a:pt x="86" y="100"/>
                </a:moveTo>
                <a:cubicBezTo>
                  <a:pt x="86" y="103"/>
                  <a:pt x="84" y="105"/>
                  <a:pt x="81" y="105"/>
                </a:cubicBezTo>
                <a:cubicBezTo>
                  <a:pt x="79" y="105"/>
                  <a:pt x="79" y="105"/>
                  <a:pt x="79" y="105"/>
                </a:cubicBezTo>
                <a:cubicBezTo>
                  <a:pt x="76" y="105"/>
                  <a:pt x="74" y="103"/>
                  <a:pt x="74" y="100"/>
                </a:cubicBezTo>
                <a:cubicBezTo>
                  <a:pt x="74" y="100"/>
                  <a:pt x="74" y="100"/>
                  <a:pt x="74" y="100"/>
                </a:cubicBezTo>
                <a:cubicBezTo>
                  <a:pt x="74" y="97"/>
                  <a:pt x="76" y="95"/>
                  <a:pt x="79" y="95"/>
                </a:cubicBezTo>
                <a:cubicBezTo>
                  <a:pt x="81" y="95"/>
                  <a:pt x="81" y="95"/>
                  <a:pt x="81" y="95"/>
                </a:cubicBezTo>
                <a:cubicBezTo>
                  <a:pt x="84" y="95"/>
                  <a:pt x="86" y="97"/>
                  <a:pt x="86" y="100"/>
                </a:cubicBezTo>
                <a:close/>
                <a:moveTo>
                  <a:pt x="71" y="72"/>
                </a:moveTo>
                <a:cubicBezTo>
                  <a:pt x="71" y="74"/>
                  <a:pt x="69" y="76"/>
                  <a:pt x="66" y="76"/>
                </a:cubicBezTo>
                <a:cubicBezTo>
                  <a:pt x="64" y="76"/>
                  <a:pt x="64" y="76"/>
                  <a:pt x="64" y="76"/>
                </a:cubicBezTo>
                <a:cubicBezTo>
                  <a:pt x="61" y="76"/>
                  <a:pt x="59" y="74"/>
                  <a:pt x="59" y="72"/>
                </a:cubicBezTo>
                <a:cubicBezTo>
                  <a:pt x="59" y="71"/>
                  <a:pt x="59" y="71"/>
                  <a:pt x="59" y="71"/>
                </a:cubicBezTo>
                <a:cubicBezTo>
                  <a:pt x="59" y="68"/>
                  <a:pt x="61" y="66"/>
                  <a:pt x="64" y="66"/>
                </a:cubicBezTo>
                <a:cubicBezTo>
                  <a:pt x="66" y="66"/>
                  <a:pt x="66" y="66"/>
                  <a:pt x="66" y="66"/>
                </a:cubicBezTo>
                <a:cubicBezTo>
                  <a:pt x="69" y="66"/>
                  <a:pt x="71" y="68"/>
                  <a:pt x="71" y="71"/>
                </a:cubicBezTo>
                <a:lnTo>
                  <a:pt x="71" y="72"/>
                </a:lnTo>
                <a:close/>
                <a:moveTo>
                  <a:pt x="71" y="86"/>
                </a:moveTo>
                <a:cubicBezTo>
                  <a:pt x="71" y="89"/>
                  <a:pt x="69" y="91"/>
                  <a:pt x="66" y="91"/>
                </a:cubicBezTo>
                <a:cubicBezTo>
                  <a:pt x="64" y="91"/>
                  <a:pt x="64" y="91"/>
                  <a:pt x="64" y="91"/>
                </a:cubicBezTo>
                <a:cubicBezTo>
                  <a:pt x="61" y="91"/>
                  <a:pt x="59" y="89"/>
                  <a:pt x="59" y="86"/>
                </a:cubicBezTo>
                <a:cubicBezTo>
                  <a:pt x="59" y="85"/>
                  <a:pt x="59" y="85"/>
                  <a:pt x="59" y="85"/>
                </a:cubicBezTo>
                <a:cubicBezTo>
                  <a:pt x="59" y="83"/>
                  <a:pt x="61" y="81"/>
                  <a:pt x="64" y="81"/>
                </a:cubicBezTo>
                <a:cubicBezTo>
                  <a:pt x="66" y="81"/>
                  <a:pt x="66" y="81"/>
                  <a:pt x="66" y="81"/>
                </a:cubicBezTo>
                <a:cubicBezTo>
                  <a:pt x="69" y="81"/>
                  <a:pt x="71" y="83"/>
                  <a:pt x="71" y="85"/>
                </a:cubicBezTo>
                <a:lnTo>
                  <a:pt x="71" y="86"/>
                </a:lnTo>
                <a:close/>
                <a:moveTo>
                  <a:pt x="71" y="100"/>
                </a:moveTo>
                <a:cubicBezTo>
                  <a:pt x="71" y="103"/>
                  <a:pt x="69" y="105"/>
                  <a:pt x="66" y="105"/>
                </a:cubicBezTo>
                <a:cubicBezTo>
                  <a:pt x="64" y="105"/>
                  <a:pt x="64" y="105"/>
                  <a:pt x="64" y="105"/>
                </a:cubicBezTo>
                <a:cubicBezTo>
                  <a:pt x="61" y="105"/>
                  <a:pt x="59" y="103"/>
                  <a:pt x="59" y="100"/>
                </a:cubicBezTo>
                <a:cubicBezTo>
                  <a:pt x="59" y="100"/>
                  <a:pt x="59" y="100"/>
                  <a:pt x="59" y="100"/>
                </a:cubicBezTo>
                <a:cubicBezTo>
                  <a:pt x="59" y="97"/>
                  <a:pt x="61" y="95"/>
                  <a:pt x="64" y="95"/>
                </a:cubicBezTo>
                <a:cubicBezTo>
                  <a:pt x="66" y="95"/>
                  <a:pt x="66" y="95"/>
                  <a:pt x="66" y="95"/>
                </a:cubicBezTo>
                <a:cubicBezTo>
                  <a:pt x="69" y="95"/>
                  <a:pt x="71" y="97"/>
                  <a:pt x="71" y="100"/>
                </a:cubicBezTo>
                <a:close/>
                <a:moveTo>
                  <a:pt x="60" y="50"/>
                </a:moveTo>
                <a:cubicBezTo>
                  <a:pt x="60" y="48"/>
                  <a:pt x="62" y="46"/>
                  <a:pt x="64" y="46"/>
                </a:cubicBezTo>
                <a:cubicBezTo>
                  <a:pt x="96" y="46"/>
                  <a:pt x="96" y="46"/>
                  <a:pt x="96" y="46"/>
                </a:cubicBezTo>
                <a:cubicBezTo>
                  <a:pt x="98" y="46"/>
                  <a:pt x="100" y="48"/>
                  <a:pt x="100" y="50"/>
                </a:cubicBezTo>
                <a:cubicBezTo>
                  <a:pt x="100" y="55"/>
                  <a:pt x="100" y="55"/>
                  <a:pt x="100" y="55"/>
                </a:cubicBezTo>
                <a:cubicBezTo>
                  <a:pt x="100" y="57"/>
                  <a:pt x="98" y="59"/>
                  <a:pt x="96" y="59"/>
                </a:cubicBezTo>
                <a:cubicBezTo>
                  <a:pt x="64" y="59"/>
                  <a:pt x="64" y="59"/>
                  <a:pt x="64" y="59"/>
                </a:cubicBezTo>
                <a:cubicBezTo>
                  <a:pt x="62" y="59"/>
                  <a:pt x="60" y="57"/>
                  <a:pt x="60" y="55"/>
                </a:cubicBezTo>
                <a:lnTo>
                  <a:pt x="60" y="50"/>
                </a:lnTo>
                <a:close/>
                <a:moveTo>
                  <a:pt x="59" y="39"/>
                </a:moveTo>
                <a:cubicBezTo>
                  <a:pt x="56" y="39"/>
                  <a:pt x="54" y="41"/>
                  <a:pt x="54" y="44"/>
                </a:cubicBezTo>
                <a:cubicBezTo>
                  <a:pt x="54" y="106"/>
                  <a:pt x="54" y="106"/>
                  <a:pt x="54" y="106"/>
                </a:cubicBezTo>
                <a:cubicBezTo>
                  <a:pt x="54" y="109"/>
                  <a:pt x="56" y="111"/>
                  <a:pt x="59" y="111"/>
                </a:cubicBezTo>
                <a:cubicBezTo>
                  <a:pt x="101" y="111"/>
                  <a:pt x="101" y="111"/>
                  <a:pt x="101" y="111"/>
                </a:cubicBezTo>
                <a:cubicBezTo>
                  <a:pt x="104" y="111"/>
                  <a:pt x="106" y="109"/>
                  <a:pt x="106" y="106"/>
                </a:cubicBezTo>
                <a:cubicBezTo>
                  <a:pt x="106" y="44"/>
                  <a:pt x="106" y="44"/>
                  <a:pt x="106" y="44"/>
                </a:cubicBezTo>
                <a:cubicBezTo>
                  <a:pt x="106" y="41"/>
                  <a:pt x="104" y="39"/>
                  <a:pt x="101" y="39"/>
                </a:cubicBezTo>
                <a:lnTo>
                  <a:pt x="59" y="39"/>
                </a:lnTo>
                <a:close/>
                <a:moveTo>
                  <a:pt x="80" y="10"/>
                </a:moveTo>
                <a:cubicBezTo>
                  <a:pt x="47" y="10"/>
                  <a:pt x="20" y="34"/>
                  <a:pt x="15" y="66"/>
                </a:cubicBezTo>
                <a:cubicBezTo>
                  <a:pt x="13" y="84"/>
                  <a:pt x="17" y="101"/>
                  <a:pt x="28" y="115"/>
                </a:cubicBezTo>
                <a:cubicBezTo>
                  <a:pt x="39" y="128"/>
                  <a:pt x="54" y="137"/>
                  <a:pt x="71" y="140"/>
                </a:cubicBezTo>
                <a:cubicBezTo>
                  <a:pt x="74" y="140"/>
                  <a:pt x="77" y="140"/>
                  <a:pt x="80" y="140"/>
                </a:cubicBezTo>
                <a:cubicBezTo>
                  <a:pt x="113" y="140"/>
                  <a:pt x="140" y="116"/>
                  <a:pt x="145" y="84"/>
                </a:cubicBezTo>
                <a:cubicBezTo>
                  <a:pt x="147" y="66"/>
                  <a:pt x="143" y="49"/>
                  <a:pt x="132" y="35"/>
                </a:cubicBezTo>
                <a:cubicBezTo>
                  <a:pt x="121" y="21"/>
                  <a:pt x="106" y="13"/>
                  <a:pt x="89" y="10"/>
                </a:cubicBezTo>
                <a:cubicBezTo>
                  <a:pt x="86" y="10"/>
                  <a:pt x="83" y="10"/>
                  <a:pt x="80" y="10"/>
                </a:cubicBezTo>
                <a:moveTo>
                  <a:pt x="80" y="0"/>
                </a:moveTo>
                <a:cubicBezTo>
                  <a:pt x="83" y="0"/>
                  <a:pt x="87" y="0"/>
                  <a:pt x="90" y="1"/>
                </a:cubicBezTo>
                <a:cubicBezTo>
                  <a:pt x="131" y="6"/>
                  <a:pt x="160" y="44"/>
                  <a:pt x="154" y="85"/>
                </a:cubicBezTo>
                <a:cubicBezTo>
                  <a:pt x="149" y="123"/>
                  <a:pt x="117" y="150"/>
                  <a:pt x="80" y="150"/>
                </a:cubicBezTo>
                <a:cubicBezTo>
                  <a:pt x="77" y="150"/>
                  <a:pt x="73" y="150"/>
                  <a:pt x="70" y="149"/>
                </a:cubicBezTo>
                <a:cubicBezTo>
                  <a:pt x="29" y="144"/>
                  <a:pt x="0" y="106"/>
                  <a:pt x="6" y="65"/>
                </a:cubicBezTo>
                <a:cubicBezTo>
                  <a:pt x="11" y="27"/>
                  <a:pt x="43" y="0"/>
                  <a:pt x="80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16" name="Freeform 19"/>
          <p:cNvSpPr>
            <a:spLocks noEditPoints="1"/>
          </p:cNvSpPr>
          <p:nvPr/>
        </p:nvSpPr>
        <p:spPr bwMode="black">
          <a:xfrm>
            <a:off x="5254896" y="3250562"/>
            <a:ext cx="305569" cy="306801"/>
          </a:xfrm>
          <a:custGeom>
            <a:avLst/>
            <a:gdLst>
              <a:gd name="T0" fmla="*/ 82 w 150"/>
              <a:gd name="T1" fmla="*/ 43 h 150"/>
              <a:gd name="T2" fmla="*/ 80 w 150"/>
              <a:gd name="T3" fmla="*/ 47 h 150"/>
              <a:gd name="T4" fmla="*/ 75 w 150"/>
              <a:gd name="T5" fmla="*/ 49 h 150"/>
              <a:gd name="T6" fmla="*/ 69 w 150"/>
              <a:gd name="T7" fmla="*/ 47 h 150"/>
              <a:gd name="T8" fmla="*/ 67 w 150"/>
              <a:gd name="T9" fmla="*/ 43 h 150"/>
              <a:gd name="T10" fmla="*/ 69 w 150"/>
              <a:gd name="T11" fmla="*/ 38 h 150"/>
              <a:gd name="T12" fmla="*/ 75 w 150"/>
              <a:gd name="T13" fmla="*/ 36 h 150"/>
              <a:gd name="T14" fmla="*/ 80 w 150"/>
              <a:gd name="T15" fmla="*/ 38 h 150"/>
              <a:gd name="T16" fmla="*/ 82 w 150"/>
              <a:gd name="T17" fmla="*/ 43 h 150"/>
              <a:gd name="T18" fmla="*/ 68 w 150"/>
              <a:gd name="T19" fmla="*/ 114 h 150"/>
              <a:gd name="T20" fmla="*/ 81 w 150"/>
              <a:gd name="T21" fmla="*/ 114 h 150"/>
              <a:gd name="T22" fmla="*/ 81 w 150"/>
              <a:gd name="T23" fmla="*/ 60 h 150"/>
              <a:gd name="T24" fmla="*/ 68 w 150"/>
              <a:gd name="T25" fmla="*/ 60 h 150"/>
              <a:gd name="T26" fmla="*/ 68 w 150"/>
              <a:gd name="T27" fmla="*/ 114 h 150"/>
              <a:gd name="T28" fmla="*/ 150 w 150"/>
              <a:gd name="T29" fmla="*/ 75 h 150"/>
              <a:gd name="T30" fmla="*/ 75 w 150"/>
              <a:gd name="T31" fmla="*/ 0 h 150"/>
              <a:gd name="T32" fmla="*/ 0 w 150"/>
              <a:gd name="T33" fmla="*/ 75 h 150"/>
              <a:gd name="T34" fmla="*/ 75 w 150"/>
              <a:gd name="T35" fmla="*/ 150 h 150"/>
              <a:gd name="T36" fmla="*/ 150 w 150"/>
              <a:gd name="T37" fmla="*/ 75 h 150"/>
              <a:gd name="T38" fmla="*/ 140 w 150"/>
              <a:gd name="T39" fmla="*/ 75 h 150"/>
              <a:gd name="T40" fmla="*/ 75 w 150"/>
              <a:gd name="T41" fmla="*/ 140 h 150"/>
              <a:gd name="T42" fmla="*/ 9 w 150"/>
              <a:gd name="T43" fmla="*/ 75 h 150"/>
              <a:gd name="T44" fmla="*/ 75 w 150"/>
              <a:gd name="T45" fmla="*/ 10 h 150"/>
              <a:gd name="T46" fmla="*/ 140 w 150"/>
              <a:gd name="T47" fmla="*/ 75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50" h="150">
                <a:moveTo>
                  <a:pt x="82" y="43"/>
                </a:moveTo>
                <a:cubicBezTo>
                  <a:pt x="82" y="44"/>
                  <a:pt x="81" y="46"/>
                  <a:pt x="80" y="47"/>
                </a:cubicBezTo>
                <a:cubicBezTo>
                  <a:pt x="79" y="48"/>
                  <a:pt x="77" y="49"/>
                  <a:pt x="75" y="49"/>
                </a:cubicBezTo>
                <a:cubicBezTo>
                  <a:pt x="73" y="49"/>
                  <a:pt x="71" y="48"/>
                  <a:pt x="69" y="47"/>
                </a:cubicBezTo>
                <a:cubicBezTo>
                  <a:pt x="68" y="46"/>
                  <a:pt x="67" y="44"/>
                  <a:pt x="67" y="43"/>
                </a:cubicBezTo>
                <a:cubicBezTo>
                  <a:pt x="67" y="41"/>
                  <a:pt x="68" y="39"/>
                  <a:pt x="69" y="38"/>
                </a:cubicBezTo>
                <a:cubicBezTo>
                  <a:pt x="71" y="37"/>
                  <a:pt x="73" y="36"/>
                  <a:pt x="75" y="36"/>
                </a:cubicBezTo>
                <a:cubicBezTo>
                  <a:pt x="77" y="36"/>
                  <a:pt x="79" y="37"/>
                  <a:pt x="80" y="38"/>
                </a:cubicBezTo>
                <a:cubicBezTo>
                  <a:pt x="81" y="39"/>
                  <a:pt x="82" y="41"/>
                  <a:pt x="82" y="43"/>
                </a:cubicBezTo>
                <a:moveTo>
                  <a:pt x="68" y="114"/>
                </a:moveTo>
                <a:cubicBezTo>
                  <a:pt x="81" y="114"/>
                  <a:pt x="81" y="114"/>
                  <a:pt x="81" y="114"/>
                </a:cubicBezTo>
                <a:cubicBezTo>
                  <a:pt x="81" y="60"/>
                  <a:pt x="81" y="60"/>
                  <a:pt x="81" y="60"/>
                </a:cubicBezTo>
                <a:cubicBezTo>
                  <a:pt x="68" y="60"/>
                  <a:pt x="68" y="60"/>
                  <a:pt x="68" y="60"/>
                </a:cubicBezTo>
                <a:lnTo>
                  <a:pt x="68" y="114"/>
                </a:lnTo>
                <a:close/>
                <a:moveTo>
                  <a:pt x="150" y="75"/>
                </a:moveTo>
                <a:cubicBezTo>
                  <a:pt x="150" y="34"/>
                  <a:pt x="116" y="0"/>
                  <a:pt x="75" y="0"/>
                </a:cubicBezTo>
                <a:cubicBezTo>
                  <a:pt x="33" y="0"/>
                  <a:pt x="0" y="34"/>
                  <a:pt x="0" y="75"/>
                </a:cubicBezTo>
                <a:cubicBezTo>
                  <a:pt x="0" y="116"/>
                  <a:pt x="33" y="150"/>
                  <a:pt x="75" y="150"/>
                </a:cubicBezTo>
                <a:cubicBezTo>
                  <a:pt x="116" y="150"/>
                  <a:pt x="150" y="116"/>
                  <a:pt x="150" y="75"/>
                </a:cubicBezTo>
                <a:close/>
                <a:moveTo>
                  <a:pt x="140" y="75"/>
                </a:moveTo>
                <a:cubicBezTo>
                  <a:pt x="140" y="111"/>
                  <a:pt x="111" y="140"/>
                  <a:pt x="75" y="140"/>
                </a:cubicBezTo>
                <a:cubicBezTo>
                  <a:pt x="39" y="140"/>
                  <a:pt x="9" y="111"/>
                  <a:pt x="9" y="75"/>
                </a:cubicBezTo>
                <a:cubicBezTo>
                  <a:pt x="9" y="39"/>
                  <a:pt x="39" y="10"/>
                  <a:pt x="75" y="10"/>
                </a:cubicBezTo>
                <a:cubicBezTo>
                  <a:pt x="111" y="10"/>
                  <a:pt x="140" y="39"/>
                  <a:pt x="140" y="7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17" name="Freeform 20"/>
          <p:cNvSpPr>
            <a:spLocks noEditPoints="1"/>
          </p:cNvSpPr>
          <p:nvPr/>
        </p:nvSpPr>
        <p:spPr bwMode="black">
          <a:xfrm>
            <a:off x="4581498" y="3250562"/>
            <a:ext cx="305569" cy="306801"/>
          </a:xfrm>
          <a:custGeom>
            <a:avLst/>
            <a:gdLst>
              <a:gd name="T0" fmla="*/ 89 w 150"/>
              <a:gd name="T1" fmla="*/ 79 h 150"/>
              <a:gd name="T2" fmla="*/ 93 w 150"/>
              <a:gd name="T3" fmla="*/ 75 h 150"/>
              <a:gd name="T4" fmla="*/ 89 w 150"/>
              <a:gd name="T5" fmla="*/ 72 h 150"/>
              <a:gd name="T6" fmla="*/ 79 w 150"/>
              <a:gd name="T7" fmla="*/ 72 h 150"/>
              <a:gd name="T8" fmla="*/ 79 w 150"/>
              <a:gd name="T9" fmla="*/ 58 h 150"/>
              <a:gd name="T10" fmla="*/ 75 w 150"/>
              <a:gd name="T11" fmla="*/ 55 h 150"/>
              <a:gd name="T12" fmla="*/ 72 w 150"/>
              <a:gd name="T13" fmla="*/ 58 h 150"/>
              <a:gd name="T14" fmla="*/ 72 w 150"/>
              <a:gd name="T15" fmla="*/ 75 h 150"/>
              <a:gd name="T16" fmla="*/ 75 w 150"/>
              <a:gd name="T17" fmla="*/ 79 h 150"/>
              <a:gd name="T18" fmla="*/ 89 w 150"/>
              <a:gd name="T19" fmla="*/ 79 h 150"/>
              <a:gd name="T20" fmla="*/ 75 w 150"/>
              <a:gd name="T21" fmla="*/ 50 h 150"/>
              <a:gd name="T22" fmla="*/ 101 w 150"/>
              <a:gd name="T23" fmla="*/ 75 h 150"/>
              <a:gd name="T24" fmla="*/ 75 w 150"/>
              <a:gd name="T25" fmla="*/ 101 h 150"/>
              <a:gd name="T26" fmla="*/ 50 w 150"/>
              <a:gd name="T27" fmla="*/ 75 h 150"/>
              <a:gd name="T28" fmla="*/ 75 w 150"/>
              <a:gd name="T29" fmla="*/ 50 h 150"/>
              <a:gd name="T30" fmla="*/ 75 w 150"/>
              <a:gd name="T31" fmla="*/ 108 h 150"/>
              <a:gd name="T32" fmla="*/ 108 w 150"/>
              <a:gd name="T33" fmla="*/ 75 h 150"/>
              <a:gd name="T34" fmla="*/ 75 w 150"/>
              <a:gd name="T35" fmla="*/ 42 h 150"/>
              <a:gd name="T36" fmla="*/ 43 w 150"/>
              <a:gd name="T37" fmla="*/ 75 h 150"/>
              <a:gd name="T38" fmla="*/ 75 w 150"/>
              <a:gd name="T39" fmla="*/ 108 h 150"/>
              <a:gd name="T40" fmla="*/ 75 w 150"/>
              <a:gd name="T41" fmla="*/ 10 h 150"/>
              <a:gd name="T42" fmla="*/ 10 w 150"/>
              <a:gd name="T43" fmla="*/ 75 h 150"/>
              <a:gd name="T44" fmla="*/ 75 w 150"/>
              <a:gd name="T45" fmla="*/ 140 h 150"/>
              <a:gd name="T46" fmla="*/ 141 w 150"/>
              <a:gd name="T47" fmla="*/ 75 h 150"/>
              <a:gd name="T48" fmla="*/ 75 w 150"/>
              <a:gd name="T49" fmla="*/ 10 h 150"/>
              <a:gd name="T50" fmla="*/ 75 w 150"/>
              <a:gd name="T51" fmla="*/ 0 h 150"/>
              <a:gd name="T52" fmla="*/ 150 w 150"/>
              <a:gd name="T53" fmla="*/ 75 h 150"/>
              <a:gd name="T54" fmla="*/ 75 w 150"/>
              <a:gd name="T55" fmla="*/ 150 h 150"/>
              <a:gd name="T56" fmla="*/ 0 w 150"/>
              <a:gd name="T57" fmla="*/ 75 h 150"/>
              <a:gd name="T58" fmla="*/ 75 w 150"/>
              <a:gd name="T59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50" h="150">
                <a:moveTo>
                  <a:pt x="89" y="79"/>
                </a:moveTo>
                <a:cubicBezTo>
                  <a:pt x="91" y="79"/>
                  <a:pt x="93" y="77"/>
                  <a:pt x="93" y="75"/>
                </a:cubicBezTo>
                <a:cubicBezTo>
                  <a:pt x="93" y="73"/>
                  <a:pt x="91" y="72"/>
                  <a:pt x="89" y="72"/>
                </a:cubicBezTo>
                <a:cubicBezTo>
                  <a:pt x="79" y="72"/>
                  <a:pt x="79" y="72"/>
                  <a:pt x="79" y="72"/>
                </a:cubicBezTo>
                <a:cubicBezTo>
                  <a:pt x="79" y="58"/>
                  <a:pt x="79" y="58"/>
                  <a:pt x="79" y="58"/>
                </a:cubicBezTo>
                <a:cubicBezTo>
                  <a:pt x="79" y="56"/>
                  <a:pt x="77" y="55"/>
                  <a:pt x="75" y="55"/>
                </a:cubicBezTo>
                <a:cubicBezTo>
                  <a:pt x="73" y="55"/>
                  <a:pt x="72" y="56"/>
                  <a:pt x="72" y="58"/>
                </a:cubicBezTo>
                <a:cubicBezTo>
                  <a:pt x="72" y="75"/>
                  <a:pt x="72" y="75"/>
                  <a:pt x="72" y="75"/>
                </a:cubicBezTo>
                <a:cubicBezTo>
                  <a:pt x="72" y="77"/>
                  <a:pt x="73" y="79"/>
                  <a:pt x="75" y="79"/>
                </a:cubicBezTo>
                <a:lnTo>
                  <a:pt x="89" y="79"/>
                </a:lnTo>
                <a:close/>
                <a:moveTo>
                  <a:pt x="75" y="50"/>
                </a:moveTo>
                <a:cubicBezTo>
                  <a:pt x="89" y="50"/>
                  <a:pt x="101" y="61"/>
                  <a:pt x="101" y="75"/>
                </a:cubicBezTo>
                <a:cubicBezTo>
                  <a:pt x="101" y="89"/>
                  <a:pt x="89" y="101"/>
                  <a:pt x="75" y="101"/>
                </a:cubicBezTo>
                <a:cubicBezTo>
                  <a:pt x="61" y="101"/>
                  <a:pt x="50" y="89"/>
                  <a:pt x="50" y="75"/>
                </a:cubicBezTo>
                <a:cubicBezTo>
                  <a:pt x="50" y="61"/>
                  <a:pt x="61" y="50"/>
                  <a:pt x="75" y="50"/>
                </a:cubicBezTo>
                <a:moveTo>
                  <a:pt x="75" y="108"/>
                </a:moveTo>
                <a:cubicBezTo>
                  <a:pt x="93" y="108"/>
                  <a:pt x="108" y="93"/>
                  <a:pt x="108" y="75"/>
                </a:cubicBezTo>
                <a:cubicBezTo>
                  <a:pt x="108" y="57"/>
                  <a:pt x="93" y="42"/>
                  <a:pt x="75" y="42"/>
                </a:cubicBezTo>
                <a:cubicBezTo>
                  <a:pt x="57" y="42"/>
                  <a:pt x="43" y="57"/>
                  <a:pt x="43" y="75"/>
                </a:cubicBezTo>
                <a:cubicBezTo>
                  <a:pt x="43" y="93"/>
                  <a:pt x="57" y="108"/>
                  <a:pt x="75" y="108"/>
                </a:cubicBezTo>
                <a:moveTo>
                  <a:pt x="75" y="10"/>
                </a:moveTo>
                <a:cubicBezTo>
                  <a:pt x="39" y="10"/>
                  <a:pt x="10" y="39"/>
                  <a:pt x="10" y="75"/>
                </a:cubicBezTo>
                <a:cubicBezTo>
                  <a:pt x="10" y="111"/>
                  <a:pt x="39" y="140"/>
                  <a:pt x="75" y="140"/>
                </a:cubicBezTo>
                <a:cubicBezTo>
                  <a:pt x="111" y="140"/>
                  <a:pt x="141" y="111"/>
                  <a:pt x="141" y="75"/>
                </a:cubicBezTo>
                <a:cubicBezTo>
                  <a:pt x="141" y="39"/>
                  <a:pt x="111" y="10"/>
                  <a:pt x="75" y="10"/>
                </a:cubicBezTo>
                <a:moveTo>
                  <a:pt x="75" y="0"/>
                </a:moveTo>
                <a:cubicBezTo>
                  <a:pt x="117" y="0"/>
                  <a:pt x="150" y="34"/>
                  <a:pt x="150" y="75"/>
                </a:cubicBezTo>
                <a:cubicBezTo>
                  <a:pt x="150" y="116"/>
                  <a:pt x="117" y="150"/>
                  <a:pt x="75" y="150"/>
                </a:cubicBezTo>
                <a:cubicBezTo>
                  <a:pt x="34" y="150"/>
                  <a:pt x="0" y="116"/>
                  <a:pt x="0" y="75"/>
                </a:cubicBezTo>
                <a:cubicBezTo>
                  <a:pt x="0" y="34"/>
                  <a:pt x="34" y="0"/>
                  <a:pt x="75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18" name="Freeform 21"/>
          <p:cNvSpPr>
            <a:spLocks noEditPoints="1"/>
          </p:cNvSpPr>
          <p:nvPr/>
        </p:nvSpPr>
        <p:spPr bwMode="black">
          <a:xfrm>
            <a:off x="3898859" y="3250562"/>
            <a:ext cx="324052" cy="306801"/>
          </a:xfrm>
          <a:custGeom>
            <a:avLst/>
            <a:gdLst>
              <a:gd name="T0" fmla="*/ 64 w 159"/>
              <a:gd name="T1" fmla="*/ 65 h 150"/>
              <a:gd name="T2" fmla="*/ 75 w 159"/>
              <a:gd name="T3" fmla="*/ 54 h 150"/>
              <a:gd name="T4" fmla="*/ 64 w 159"/>
              <a:gd name="T5" fmla="*/ 43 h 150"/>
              <a:gd name="T6" fmla="*/ 53 w 159"/>
              <a:gd name="T7" fmla="*/ 54 h 150"/>
              <a:gd name="T8" fmla="*/ 64 w 159"/>
              <a:gd name="T9" fmla="*/ 65 h 150"/>
              <a:gd name="T10" fmla="*/ 87 w 159"/>
              <a:gd name="T11" fmla="*/ 65 h 150"/>
              <a:gd name="T12" fmla="*/ 98 w 159"/>
              <a:gd name="T13" fmla="*/ 54 h 150"/>
              <a:gd name="T14" fmla="*/ 87 w 159"/>
              <a:gd name="T15" fmla="*/ 43 h 150"/>
              <a:gd name="T16" fmla="*/ 76 w 159"/>
              <a:gd name="T17" fmla="*/ 54 h 150"/>
              <a:gd name="T18" fmla="*/ 87 w 159"/>
              <a:gd name="T19" fmla="*/ 65 h 150"/>
              <a:gd name="T20" fmla="*/ 45 w 159"/>
              <a:gd name="T21" fmla="*/ 68 h 150"/>
              <a:gd name="T22" fmla="*/ 42 w 159"/>
              <a:gd name="T23" fmla="*/ 70 h 150"/>
              <a:gd name="T24" fmla="*/ 42 w 159"/>
              <a:gd name="T25" fmla="*/ 81 h 150"/>
              <a:gd name="T26" fmla="*/ 45 w 159"/>
              <a:gd name="T27" fmla="*/ 84 h 150"/>
              <a:gd name="T28" fmla="*/ 47 w 159"/>
              <a:gd name="T29" fmla="*/ 81 h 150"/>
              <a:gd name="T30" fmla="*/ 47 w 159"/>
              <a:gd name="T31" fmla="*/ 70 h 150"/>
              <a:gd name="T32" fmla="*/ 45 w 159"/>
              <a:gd name="T33" fmla="*/ 68 h 150"/>
              <a:gd name="T34" fmla="*/ 117 w 159"/>
              <a:gd name="T35" fmla="*/ 66 h 150"/>
              <a:gd name="T36" fmla="*/ 117 w 159"/>
              <a:gd name="T37" fmla="*/ 99 h 150"/>
              <a:gd name="T38" fmla="*/ 115 w 159"/>
              <a:gd name="T39" fmla="*/ 100 h 150"/>
              <a:gd name="T40" fmla="*/ 107 w 159"/>
              <a:gd name="T41" fmla="*/ 94 h 150"/>
              <a:gd name="T42" fmla="*/ 106 w 159"/>
              <a:gd name="T43" fmla="*/ 92 h 150"/>
              <a:gd name="T44" fmla="*/ 102 w 159"/>
              <a:gd name="T45" fmla="*/ 92 h 150"/>
              <a:gd name="T46" fmla="*/ 102 w 159"/>
              <a:gd name="T47" fmla="*/ 99 h 150"/>
              <a:gd name="T48" fmla="*/ 99 w 159"/>
              <a:gd name="T49" fmla="*/ 102 h 150"/>
              <a:gd name="T50" fmla="*/ 53 w 159"/>
              <a:gd name="T51" fmla="*/ 102 h 150"/>
              <a:gd name="T52" fmla="*/ 50 w 159"/>
              <a:gd name="T53" fmla="*/ 98 h 150"/>
              <a:gd name="T54" fmla="*/ 50 w 159"/>
              <a:gd name="T55" fmla="*/ 70 h 150"/>
              <a:gd name="T56" fmla="*/ 53 w 159"/>
              <a:gd name="T57" fmla="*/ 66 h 150"/>
              <a:gd name="T58" fmla="*/ 99 w 159"/>
              <a:gd name="T59" fmla="*/ 66 h 150"/>
              <a:gd name="T60" fmla="*/ 102 w 159"/>
              <a:gd name="T61" fmla="*/ 70 h 150"/>
              <a:gd name="T62" fmla="*/ 102 w 159"/>
              <a:gd name="T63" fmla="*/ 73 h 150"/>
              <a:gd name="T64" fmla="*/ 106 w 159"/>
              <a:gd name="T65" fmla="*/ 73 h 150"/>
              <a:gd name="T66" fmla="*/ 107 w 159"/>
              <a:gd name="T67" fmla="*/ 72 h 150"/>
              <a:gd name="T68" fmla="*/ 115 w 159"/>
              <a:gd name="T69" fmla="*/ 65 h 150"/>
              <a:gd name="T70" fmla="*/ 117 w 159"/>
              <a:gd name="T71" fmla="*/ 66 h 150"/>
              <a:gd name="T72" fmla="*/ 79 w 159"/>
              <a:gd name="T73" fmla="*/ 10 h 150"/>
              <a:gd name="T74" fmla="*/ 15 w 159"/>
              <a:gd name="T75" fmla="*/ 66 h 150"/>
              <a:gd name="T76" fmla="*/ 27 w 159"/>
              <a:gd name="T77" fmla="*/ 115 h 150"/>
              <a:gd name="T78" fmla="*/ 71 w 159"/>
              <a:gd name="T79" fmla="*/ 140 h 150"/>
              <a:gd name="T80" fmla="*/ 80 w 159"/>
              <a:gd name="T81" fmla="*/ 140 h 150"/>
              <a:gd name="T82" fmla="*/ 144 w 159"/>
              <a:gd name="T83" fmla="*/ 84 h 150"/>
              <a:gd name="T84" fmla="*/ 88 w 159"/>
              <a:gd name="T85" fmla="*/ 10 h 150"/>
              <a:gd name="T86" fmla="*/ 79 w 159"/>
              <a:gd name="T87" fmla="*/ 10 h 150"/>
              <a:gd name="T88" fmla="*/ 79 w 159"/>
              <a:gd name="T89" fmla="*/ 0 h 150"/>
              <a:gd name="T90" fmla="*/ 89 w 159"/>
              <a:gd name="T91" fmla="*/ 1 h 150"/>
              <a:gd name="T92" fmla="*/ 154 w 159"/>
              <a:gd name="T93" fmla="*/ 85 h 150"/>
              <a:gd name="T94" fmla="*/ 80 w 159"/>
              <a:gd name="T95" fmla="*/ 150 h 150"/>
              <a:gd name="T96" fmla="*/ 69 w 159"/>
              <a:gd name="T97" fmla="*/ 149 h 150"/>
              <a:gd name="T98" fmla="*/ 5 w 159"/>
              <a:gd name="T99" fmla="*/ 65 h 150"/>
              <a:gd name="T100" fmla="*/ 79 w 159"/>
              <a:gd name="T101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59" h="150">
                <a:moveTo>
                  <a:pt x="64" y="65"/>
                </a:moveTo>
                <a:cubicBezTo>
                  <a:pt x="70" y="65"/>
                  <a:pt x="75" y="60"/>
                  <a:pt x="75" y="54"/>
                </a:cubicBezTo>
                <a:cubicBezTo>
                  <a:pt x="75" y="48"/>
                  <a:pt x="70" y="43"/>
                  <a:pt x="64" y="43"/>
                </a:cubicBezTo>
                <a:cubicBezTo>
                  <a:pt x="58" y="43"/>
                  <a:pt x="53" y="48"/>
                  <a:pt x="53" y="54"/>
                </a:cubicBezTo>
                <a:cubicBezTo>
                  <a:pt x="53" y="60"/>
                  <a:pt x="58" y="65"/>
                  <a:pt x="64" y="65"/>
                </a:cubicBezTo>
                <a:moveTo>
                  <a:pt x="87" y="65"/>
                </a:moveTo>
                <a:cubicBezTo>
                  <a:pt x="93" y="65"/>
                  <a:pt x="98" y="60"/>
                  <a:pt x="98" y="54"/>
                </a:cubicBezTo>
                <a:cubicBezTo>
                  <a:pt x="98" y="48"/>
                  <a:pt x="93" y="43"/>
                  <a:pt x="87" y="43"/>
                </a:cubicBezTo>
                <a:cubicBezTo>
                  <a:pt x="81" y="43"/>
                  <a:pt x="76" y="48"/>
                  <a:pt x="76" y="54"/>
                </a:cubicBezTo>
                <a:cubicBezTo>
                  <a:pt x="76" y="60"/>
                  <a:pt x="81" y="65"/>
                  <a:pt x="87" y="65"/>
                </a:cubicBezTo>
                <a:moveTo>
                  <a:pt x="45" y="68"/>
                </a:moveTo>
                <a:cubicBezTo>
                  <a:pt x="43" y="68"/>
                  <a:pt x="42" y="69"/>
                  <a:pt x="42" y="70"/>
                </a:cubicBezTo>
                <a:cubicBezTo>
                  <a:pt x="42" y="81"/>
                  <a:pt x="42" y="81"/>
                  <a:pt x="42" y="81"/>
                </a:cubicBezTo>
                <a:cubicBezTo>
                  <a:pt x="42" y="82"/>
                  <a:pt x="43" y="84"/>
                  <a:pt x="45" y="84"/>
                </a:cubicBezTo>
                <a:cubicBezTo>
                  <a:pt x="46" y="84"/>
                  <a:pt x="47" y="82"/>
                  <a:pt x="47" y="81"/>
                </a:cubicBezTo>
                <a:cubicBezTo>
                  <a:pt x="47" y="70"/>
                  <a:pt x="47" y="70"/>
                  <a:pt x="47" y="70"/>
                </a:cubicBezTo>
                <a:cubicBezTo>
                  <a:pt x="47" y="69"/>
                  <a:pt x="46" y="68"/>
                  <a:pt x="45" y="68"/>
                </a:cubicBezTo>
                <a:moveTo>
                  <a:pt x="117" y="66"/>
                </a:moveTo>
                <a:cubicBezTo>
                  <a:pt x="117" y="99"/>
                  <a:pt x="117" y="99"/>
                  <a:pt x="117" y="99"/>
                </a:cubicBezTo>
                <a:cubicBezTo>
                  <a:pt x="117" y="101"/>
                  <a:pt x="116" y="101"/>
                  <a:pt x="115" y="100"/>
                </a:cubicBezTo>
                <a:cubicBezTo>
                  <a:pt x="107" y="94"/>
                  <a:pt x="107" y="94"/>
                  <a:pt x="107" y="94"/>
                </a:cubicBezTo>
                <a:cubicBezTo>
                  <a:pt x="106" y="93"/>
                  <a:pt x="106" y="93"/>
                  <a:pt x="106" y="92"/>
                </a:cubicBezTo>
                <a:cubicBezTo>
                  <a:pt x="102" y="92"/>
                  <a:pt x="102" y="92"/>
                  <a:pt x="102" y="92"/>
                </a:cubicBezTo>
                <a:cubicBezTo>
                  <a:pt x="102" y="99"/>
                  <a:pt x="102" y="99"/>
                  <a:pt x="102" y="99"/>
                </a:cubicBezTo>
                <a:cubicBezTo>
                  <a:pt x="102" y="101"/>
                  <a:pt x="101" y="102"/>
                  <a:pt x="99" y="102"/>
                </a:cubicBezTo>
                <a:cubicBezTo>
                  <a:pt x="53" y="102"/>
                  <a:pt x="53" y="102"/>
                  <a:pt x="53" y="102"/>
                </a:cubicBezTo>
                <a:cubicBezTo>
                  <a:pt x="51" y="102"/>
                  <a:pt x="50" y="100"/>
                  <a:pt x="50" y="98"/>
                </a:cubicBezTo>
                <a:cubicBezTo>
                  <a:pt x="50" y="70"/>
                  <a:pt x="50" y="70"/>
                  <a:pt x="50" y="70"/>
                </a:cubicBezTo>
                <a:cubicBezTo>
                  <a:pt x="50" y="68"/>
                  <a:pt x="51" y="66"/>
                  <a:pt x="53" y="66"/>
                </a:cubicBezTo>
                <a:cubicBezTo>
                  <a:pt x="99" y="66"/>
                  <a:pt x="99" y="66"/>
                  <a:pt x="99" y="66"/>
                </a:cubicBezTo>
                <a:cubicBezTo>
                  <a:pt x="101" y="66"/>
                  <a:pt x="102" y="68"/>
                  <a:pt x="102" y="70"/>
                </a:cubicBezTo>
                <a:cubicBezTo>
                  <a:pt x="102" y="73"/>
                  <a:pt x="102" y="73"/>
                  <a:pt x="102" y="73"/>
                </a:cubicBezTo>
                <a:cubicBezTo>
                  <a:pt x="106" y="73"/>
                  <a:pt x="106" y="73"/>
                  <a:pt x="106" y="73"/>
                </a:cubicBezTo>
                <a:cubicBezTo>
                  <a:pt x="106" y="73"/>
                  <a:pt x="107" y="72"/>
                  <a:pt x="107" y="72"/>
                </a:cubicBezTo>
                <a:cubicBezTo>
                  <a:pt x="115" y="65"/>
                  <a:pt x="115" y="65"/>
                  <a:pt x="115" y="65"/>
                </a:cubicBezTo>
                <a:cubicBezTo>
                  <a:pt x="116" y="64"/>
                  <a:pt x="117" y="65"/>
                  <a:pt x="117" y="66"/>
                </a:cubicBezTo>
                <a:moveTo>
                  <a:pt x="79" y="10"/>
                </a:moveTo>
                <a:cubicBezTo>
                  <a:pt x="47" y="10"/>
                  <a:pt x="19" y="34"/>
                  <a:pt x="15" y="66"/>
                </a:cubicBezTo>
                <a:cubicBezTo>
                  <a:pt x="12" y="84"/>
                  <a:pt x="17" y="101"/>
                  <a:pt x="27" y="115"/>
                </a:cubicBezTo>
                <a:cubicBezTo>
                  <a:pt x="38" y="129"/>
                  <a:pt x="53" y="138"/>
                  <a:pt x="71" y="140"/>
                </a:cubicBezTo>
                <a:cubicBezTo>
                  <a:pt x="74" y="140"/>
                  <a:pt x="77" y="140"/>
                  <a:pt x="80" y="140"/>
                </a:cubicBezTo>
                <a:cubicBezTo>
                  <a:pt x="112" y="140"/>
                  <a:pt x="140" y="116"/>
                  <a:pt x="144" y="84"/>
                </a:cubicBezTo>
                <a:cubicBezTo>
                  <a:pt x="149" y="48"/>
                  <a:pt x="124" y="15"/>
                  <a:pt x="88" y="10"/>
                </a:cubicBezTo>
                <a:cubicBezTo>
                  <a:pt x="85" y="10"/>
                  <a:pt x="82" y="10"/>
                  <a:pt x="79" y="10"/>
                </a:cubicBezTo>
                <a:moveTo>
                  <a:pt x="79" y="0"/>
                </a:moveTo>
                <a:cubicBezTo>
                  <a:pt x="83" y="0"/>
                  <a:pt x="86" y="0"/>
                  <a:pt x="89" y="1"/>
                </a:cubicBezTo>
                <a:cubicBezTo>
                  <a:pt x="130" y="6"/>
                  <a:pt x="159" y="44"/>
                  <a:pt x="154" y="85"/>
                </a:cubicBezTo>
                <a:cubicBezTo>
                  <a:pt x="149" y="123"/>
                  <a:pt x="116" y="150"/>
                  <a:pt x="80" y="150"/>
                </a:cubicBezTo>
                <a:cubicBezTo>
                  <a:pt x="76" y="150"/>
                  <a:pt x="73" y="150"/>
                  <a:pt x="69" y="149"/>
                </a:cubicBezTo>
                <a:cubicBezTo>
                  <a:pt x="28" y="144"/>
                  <a:pt x="0" y="106"/>
                  <a:pt x="5" y="65"/>
                </a:cubicBezTo>
                <a:cubicBezTo>
                  <a:pt x="10" y="28"/>
                  <a:pt x="42" y="0"/>
                  <a:pt x="79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19" name="Freeform 22"/>
          <p:cNvSpPr>
            <a:spLocks noEditPoints="1"/>
          </p:cNvSpPr>
          <p:nvPr/>
        </p:nvSpPr>
        <p:spPr bwMode="black">
          <a:xfrm>
            <a:off x="2561300" y="3250560"/>
            <a:ext cx="305569" cy="306801"/>
          </a:xfrm>
          <a:custGeom>
            <a:avLst/>
            <a:gdLst>
              <a:gd name="T0" fmla="*/ 89 w 150"/>
              <a:gd name="T1" fmla="*/ 78 h 150"/>
              <a:gd name="T2" fmla="*/ 75 w 150"/>
              <a:gd name="T3" fmla="*/ 64 h 150"/>
              <a:gd name="T4" fmla="*/ 61 w 150"/>
              <a:gd name="T5" fmla="*/ 78 h 150"/>
              <a:gd name="T6" fmla="*/ 75 w 150"/>
              <a:gd name="T7" fmla="*/ 92 h 150"/>
              <a:gd name="T8" fmla="*/ 89 w 150"/>
              <a:gd name="T9" fmla="*/ 78 h 150"/>
              <a:gd name="T10" fmla="*/ 54 w 150"/>
              <a:gd name="T11" fmla="*/ 63 h 150"/>
              <a:gd name="T12" fmla="*/ 51 w 150"/>
              <a:gd name="T13" fmla="*/ 60 h 150"/>
              <a:gd name="T14" fmla="*/ 48 w 150"/>
              <a:gd name="T15" fmla="*/ 63 h 150"/>
              <a:gd name="T16" fmla="*/ 51 w 150"/>
              <a:gd name="T17" fmla="*/ 66 h 150"/>
              <a:gd name="T18" fmla="*/ 54 w 150"/>
              <a:gd name="T19" fmla="*/ 63 h 150"/>
              <a:gd name="T20" fmla="*/ 111 w 150"/>
              <a:gd name="T21" fmla="*/ 61 h 150"/>
              <a:gd name="T22" fmla="*/ 111 w 150"/>
              <a:gd name="T23" fmla="*/ 92 h 150"/>
              <a:gd name="T24" fmla="*/ 102 w 150"/>
              <a:gd name="T25" fmla="*/ 100 h 150"/>
              <a:gd name="T26" fmla="*/ 48 w 150"/>
              <a:gd name="T27" fmla="*/ 100 h 150"/>
              <a:gd name="T28" fmla="*/ 39 w 150"/>
              <a:gd name="T29" fmla="*/ 92 h 150"/>
              <a:gd name="T30" fmla="*/ 39 w 150"/>
              <a:gd name="T31" fmla="*/ 61 h 150"/>
              <a:gd name="T32" fmla="*/ 48 w 150"/>
              <a:gd name="T33" fmla="*/ 52 h 150"/>
              <a:gd name="T34" fmla="*/ 60 w 150"/>
              <a:gd name="T35" fmla="*/ 52 h 150"/>
              <a:gd name="T36" fmla="*/ 62 w 150"/>
              <a:gd name="T37" fmla="*/ 48 h 150"/>
              <a:gd name="T38" fmla="*/ 69 w 150"/>
              <a:gd name="T39" fmla="*/ 43 h 150"/>
              <a:gd name="T40" fmla="*/ 81 w 150"/>
              <a:gd name="T41" fmla="*/ 43 h 150"/>
              <a:gd name="T42" fmla="*/ 88 w 150"/>
              <a:gd name="T43" fmla="*/ 48 h 150"/>
              <a:gd name="T44" fmla="*/ 90 w 150"/>
              <a:gd name="T45" fmla="*/ 52 h 150"/>
              <a:gd name="T46" fmla="*/ 102 w 150"/>
              <a:gd name="T47" fmla="*/ 52 h 150"/>
              <a:gd name="T48" fmla="*/ 111 w 150"/>
              <a:gd name="T49" fmla="*/ 61 h 150"/>
              <a:gd name="T50" fmla="*/ 84 w 150"/>
              <a:gd name="T51" fmla="*/ 78 h 150"/>
              <a:gd name="T52" fmla="*/ 75 w 150"/>
              <a:gd name="T53" fmla="*/ 87 h 150"/>
              <a:gd name="T54" fmla="*/ 66 w 150"/>
              <a:gd name="T55" fmla="*/ 78 h 150"/>
              <a:gd name="T56" fmla="*/ 75 w 150"/>
              <a:gd name="T57" fmla="*/ 69 h 150"/>
              <a:gd name="T58" fmla="*/ 84 w 150"/>
              <a:gd name="T59" fmla="*/ 78 h 150"/>
              <a:gd name="T60" fmla="*/ 75 w 150"/>
              <a:gd name="T61" fmla="*/ 10 h 150"/>
              <a:gd name="T62" fmla="*/ 10 w 150"/>
              <a:gd name="T63" fmla="*/ 75 h 150"/>
              <a:gd name="T64" fmla="*/ 75 w 150"/>
              <a:gd name="T65" fmla="*/ 140 h 150"/>
              <a:gd name="T66" fmla="*/ 140 w 150"/>
              <a:gd name="T67" fmla="*/ 75 h 150"/>
              <a:gd name="T68" fmla="*/ 75 w 150"/>
              <a:gd name="T69" fmla="*/ 10 h 150"/>
              <a:gd name="T70" fmla="*/ 75 w 150"/>
              <a:gd name="T71" fmla="*/ 0 h 150"/>
              <a:gd name="T72" fmla="*/ 150 w 150"/>
              <a:gd name="T73" fmla="*/ 75 h 150"/>
              <a:gd name="T74" fmla="*/ 75 w 150"/>
              <a:gd name="T75" fmla="*/ 150 h 150"/>
              <a:gd name="T76" fmla="*/ 0 w 150"/>
              <a:gd name="T77" fmla="*/ 75 h 150"/>
              <a:gd name="T78" fmla="*/ 75 w 150"/>
              <a:gd name="T79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50" h="150">
                <a:moveTo>
                  <a:pt x="89" y="78"/>
                </a:moveTo>
                <a:cubicBezTo>
                  <a:pt x="89" y="71"/>
                  <a:pt x="83" y="64"/>
                  <a:pt x="75" y="64"/>
                </a:cubicBezTo>
                <a:cubicBezTo>
                  <a:pt x="67" y="64"/>
                  <a:pt x="61" y="71"/>
                  <a:pt x="61" y="78"/>
                </a:cubicBezTo>
                <a:cubicBezTo>
                  <a:pt x="61" y="86"/>
                  <a:pt x="67" y="92"/>
                  <a:pt x="75" y="92"/>
                </a:cubicBezTo>
                <a:cubicBezTo>
                  <a:pt x="83" y="92"/>
                  <a:pt x="89" y="86"/>
                  <a:pt x="89" y="78"/>
                </a:cubicBezTo>
                <a:moveTo>
                  <a:pt x="54" y="63"/>
                </a:moveTo>
                <a:cubicBezTo>
                  <a:pt x="54" y="61"/>
                  <a:pt x="52" y="60"/>
                  <a:pt x="51" y="60"/>
                </a:cubicBezTo>
                <a:cubicBezTo>
                  <a:pt x="49" y="60"/>
                  <a:pt x="48" y="61"/>
                  <a:pt x="48" y="63"/>
                </a:cubicBezTo>
                <a:cubicBezTo>
                  <a:pt x="48" y="65"/>
                  <a:pt x="49" y="66"/>
                  <a:pt x="51" y="66"/>
                </a:cubicBezTo>
                <a:cubicBezTo>
                  <a:pt x="52" y="66"/>
                  <a:pt x="54" y="65"/>
                  <a:pt x="54" y="63"/>
                </a:cubicBezTo>
                <a:moveTo>
                  <a:pt x="111" y="61"/>
                </a:moveTo>
                <a:cubicBezTo>
                  <a:pt x="111" y="92"/>
                  <a:pt x="111" y="92"/>
                  <a:pt x="111" y="92"/>
                </a:cubicBezTo>
                <a:cubicBezTo>
                  <a:pt x="111" y="96"/>
                  <a:pt x="107" y="100"/>
                  <a:pt x="102" y="100"/>
                </a:cubicBezTo>
                <a:cubicBezTo>
                  <a:pt x="48" y="100"/>
                  <a:pt x="48" y="100"/>
                  <a:pt x="48" y="100"/>
                </a:cubicBezTo>
                <a:cubicBezTo>
                  <a:pt x="43" y="100"/>
                  <a:pt x="39" y="96"/>
                  <a:pt x="39" y="92"/>
                </a:cubicBezTo>
                <a:cubicBezTo>
                  <a:pt x="39" y="61"/>
                  <a:pt x="39" y="61"/>
                  <a:pt x="39" y="61"/>
                </a:cubicBezTo>
                <a:cubicBezTo>
                  <a:pt x="39" y="56"/>
                  <a:pt x="43" y="52"/>
                  <a:pt x="48" y="52"/>
                </a:cubicBezTo>
                <a:cubicBezTo>
                  <a:pt x="60" y="52"/>
                  <a:pt x="60" y="52"/>
                  <a:pt x="60" y="52"/>
                </a:cubicBezTo>
                <a:cubicBezTo>
                  <a:pt x="62" y="48"/>
                  <a:pt x="62" y="48"/>
                  <a:pt x="62" y="48"/>
                </a:cubicBezTo>
                <a:cubicBezTo>
                  <a:pt x="63" y="45"/>
                  <a:pt x="66" y="43"/>
                  <a:pt x="69" y="43"/>
                </a:cubicBezTo>
                <a:cubicBezTo>
                  <a:pt x="81" y="43"/>
                  <a:pt x="81" y="43"/>
                  <a:pt x="81" y="43"/>
                </a:cubicBezTo>
                <a:cubicBezTo>
                  <a:pt x="84" y="43"/>
                  <a:pt x="87" y="45"/>
                  <a:pt x="88" y="48"/>
                </a:cubicBezTo>
                <a:cubicBezTo>
                  <a:pt x="90" y="52"/>
                  <a:pt x="90" y="52"/>
                  <a:pt x="90" y="52"/>
                </a:cubicBezTo>
                <a:cubicBezTo>
                  <a:pt x="102" y="52"/>
                  <a:pt x="102" y="52"/>
                  <a:pt x="102" y="52"/>
                </a:cubicBezTo>
                <a:cubicBezTo>
                  <a:pt x="107" y="52"/>
                  <a:pt x="111" y="56"/>
                  <a:pt x="111" y="61"/>
                </a:cubicBezTo>
                <a:moveTo>
                  <a:pt x="84" y="78"/>
                </a:moveTo>
                <a:cubicBezTo>
                  <a:pt x="84" y="83"/>
                  <a:pt x="80" y="87"/>
                  <a:pt x="75" y="87"/>
                </a:cubicBezTo>
                <a:cubicBezTo>
                  <a:pt x="70" y="87"/>
                  <a:pt x="66" y="83"/>
                  <a:pt x="66" y="78"/>
                </a:cubicBezTo>
                <a:cubicBezTo>
                  <a:pt x="66" y="73"/>
                  <a:pt x="70" y="69"/>
                  <a:pt x="75" y="69"/>
                </a:cubicBezTo>
                <a:cubicBezTo>
                  <a:pt x="80" y="69"/>
                  <a:pt x="84" y="73"/>
                  <a:pt x="84" y="78"/>
                </a:cubicBezTo>
                <a:moveTo>
                  <a:pt x="75" y="10"/>
                </a:moveTo>
                <a:cubicBezTo>
                  <a:pt x="39" y="10"/>
                  <a:pt x="10" y="39"/>
                  <a:pt x="10" y="75"/>
                </a:cubicBezTo>
                <a:cubicBezTo>
                  <a:pt x="10" y="111"/>
                  <a:pt x="39" y="140"/>
                  <a:pt x="75" y="140"/>
                </a:cubicBezTo>
                <a:cubicBezTo>
                  <a:pt x="111" y="140"/>
                  <a:pt x="140" y="111"/>
                  <a:pt x="140" y="75"/>
                </a:cubicBezTo>
                <a:cubicBezTo>
                  <a:pt x="140" y="39"/>
                  <a:pt x="111" y="10"/>
                  <a:pt x="75" y="10"/>
                </a:cubicBezTo>
                <a:moveTo>
                  <a:pt x="75" y="0"/>
                </a:moveTo>
                <a:cubicBezTo>
                  <a:pt x="116" y="0"/>
                  <a:pt x="150" y="34"/>
                  <a:pt x="150" y="75"/>
                </a:cubicBezTo>
                <a:cubicBezTo>
                  <a:pt x="150" y="116"/>
                  <a:pt x="116" y="150"/>
                  <a:pt x="75" y="150"/>
                </a:cubicBezTo>
                <a:cubicBezTo>
                  <a:pt x="34" y="150"/>
                  <a:pt x="0" y="116"/>
                  <a:pt x="0" y="75"/>
                </a:cubicBezTo>
                <a:cubicBezTo>
                  <a:pt x="0" y="34"/>
                  <a:pt x="34" y="0"/>
                  <a:pt x="75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20" name="Freeform 23"/>
          <p:cNvSpPr>
            <a:spLocks noEditPoints="1"/>
          </p:cNvSpPr>
          <p:nvPr/>
        </p:nvSpPr>
        <p:spPr bwMode="black">
          <a:xfrm>
            <a:off x="1887901" y="3250560"/>
            <a:ext cx="305569" cy="306801"/>
          </a:xfrm>
          <a:custGeom>
            <a:avLst/>
            <a:gdLst>
              <a:gd name="T0" fmla="*/ 108 w 150"/>
              <a:gd name="T1" fmla="*/ 104 h 150"/>
              <a:gd name="T2" fmla="*/ 42 w 150"/>
              <a:gd name="T3" fmla="*/ 104 h 150"/>
              <a:gd name="T4" fmla="*/ 38 w 150"/>
              <a:gd name="T5" fmla="*/ 100 h 150"/>
              <a:gd name="T6" fmla="*/ 38 w 150"/>
              <a:gd name="T7" fmla="*/ 50 h 150"/>
              <a:gd name="T8" fmla="*/ 42 w 150"/>
              <a:gd name="T9" fmla="*/ 46 h 150"/>
              <a:gd name="T10" fmla="*/ 108 w 150"/>
              <a:gd name="T11" fmla="*/ 46 h 150"/>
              <a:gd name="T12" fmla="*/ 112 w 150"/>
              <a:gd name="T13" fmla="*/ 50 h 150"/>
              <a:gd name="T14" fmla="*/ 112 w 150"/>
              <a:gd name="T15" fmla="*/ 100 h 150"/>
              <a:gd name="T16" fmla="*/ 108 w 150"/>
              <a:gd name="T17" fmla="*/ 104 h 150"/>
              <a:gd name="T18" fmla="*/ 45 w 150"/>
              <a:gd name="T19" fmla="*/ 96 h 150"/>
              <a:gd name="T20" fmla="*/ 105 w 150"/>
              <a:gd name="T21" fmla="*/ 96 h 150"/>
              <a:gd name="T22" fmla="*/ 105 w 150"/>
              <a:gd name="T23" fmla="*/ 62 h 150"/>
              <a:gd name="T24" fmla="*/ 77 w 150"/>
              <a:gd name="T25" fmla="*/ 84 h 150"/>
              <a:gd name="T26" fmla="*/ 72 w 150"/>
              <a:gd name="T27" fmla="*/ 84 h 150"/>
              <a:gd name="T28" fmla="*/ 45 w 150"/>
              <a:gd name="T29" fmla="*/ 63 h 150"/>
              <a:gd name="T30" fmla="*/ 45 w 150"/>
              <a:gd name="T31" fmla="*/ 96 h 150"/>
              <a:gd name="T32" fmla="*/ 46 w 150"/>
              <a:gd name="T33" fmla="*/ 54 h 150"/>
              <a:gd name="T34" fmla="*/ 74 w 150"/>
              <a:gd name="T35" fmla="*/ 76 h 150"/>
              <a:gd name="T36" fmla="*/ 103 w 150"/>
              <a:gd name="T37" fmla="*/ 54 h 150"/>
              <a:gd name="T38" fmla="*/ 46 w 150"/>
              <a:gd name="T39" fmla="*/ 54 h 150"/>
              <a:gd name="T40" fmla="*/ 75 w 150"/>
              <a:gd name="T41" fmla="*/ 10 h 150"/>
              <a:gd name="T42" fmla="*/ 10 w 150"/>
              <a:gd name="T43" fmla="*/ 75 h 150"/>
              <a:gd name="T44" fmla="*/ 75 w 150"/>
              <a:gd name="T45" fmla="*/ 140 h 150"/>
              <a:gd name="T46" fmla="*/ 140 w 150"/>
              <a:gd name="T47" fmla="*/ 75 h 150"/>
              <a:gd name="T48" fmla="*/ 75 w 150"/>
              <a:gd name="T49" fmla="*/ 10 h 150"/>
              <a:gd name="T50" fmla="*/ 75 w 150"/>
              <a:gd name="T51" fmla="*/ 0 h 150"/>
              <a:gd name="T52" fmla="*/ 150 w 150"/>
              <a:gd name="T53" fmla="*/ 75 h 150"/>
              <a:gd name="T54" fmla="*/ 75 w 150"/>
              <a:gd name="T55" fmla="*/ 150 h 150"/>
              <a:gd name="T56" fmla="*/ 0 w 150"/>
              <a:gd name="T57" fmla="*/ 75 h 150"/>
              <a:gd name="T58" fmla="*/ 75 w 150"/>
              <a:gd name="T59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50" h="150">
                <a:moveTo>
                  <a:pt x="108" y="104"/>
                </a:moveTo>
                <a:cubicBezTo>
                  <a:pt x="42" y="104"/>
                  <a:pt x="42" y="104"/>
                  <a:pt x="42" y="104"/>
                </a:cubicBezTo>
                <a:cubicBezTo>
                  <a:pt x="39" y="104"/>
                  <a:pt x="38" y="102"/>
                  <a:pt x="38" y="100"/>
                </a:cubicBezTo>
                <a:cubicBezTo>
                  <a:pt x="38" y="50"/>
                  <a:pt x="38" y="50"/>
                  <a:pt x="38" y="50"/>
                </a:cubicBezTo>
                <a:cubicBezTo>
                  <a:pt x="38" y="48"/>
                  <a:pt x="39" y="46"/>
                  <a:pt x="42" y="46"/>
                </a:cubicBezTo>
                <a:cubicBezTo>
                  <a:pt x="108" y="46"/>
                  <a:pt x="108" y="46"/>
                  <a:pt x="108" y="46"/>
                </a:cubicBezTo>
                <a:cubicBezTo>
                  <a:pt x="111" y="46"/>
                  <a:pt x="112" y="48"/>
                  <a:pt x="112" y="50"/>
                </a:cubicBezTo>
                <a:cubicBezTo>
                  <a:pt x="112" y="100"/>
                  <a:pt x="112" y="100"/>
                  <a:pt x="112" y="100"/>
                </a:cubicBezTo>
                <a:cubicBezTo>
                  <a:pt x="112" y="102"/>
                  <a:pt x="111" y="104"/>
                  <a:pt x="108" y="104"/>
                </a:cubicBezTo>
                <a:close/>
                <a:moveTo>
                  <a:pt x="45" y="96"/>
                </a:moveTo>
                <a:cubicBezTo>
                  <a:pt x="105" y="96"/>
                  <a:pt x="105" y="96"/>
                  <a:pt x="105" y="96"/>
                </a:cubicBezTo>
                <a:cubicBezTo>
                  <a:pt x="105" y="62"/>
                  <a:pt x="105" y="62"/>
                  <a:pt x="105" y="62"/>
                </a:cubicBezTo>
                <a:cubicBezTo>
                  <a:pt x="77" y="84"/>
                  <a:pt x="77" y="84"/>
                  <a:pt x="77" y="84"/>
                </a:cubicBezTo>
                <a:cubicBezTo>
                  <a:pt x="75" y="85"/>
                  <a:pt x="73" y="85"/>
                  <a:pt x="72" y="84"/>
                </a:cubicBezTo>
                <a:cubicBezTo>
                  <a:pt x="45" y="63"/>
                  <a:pt x="45" y="63"/>
                  <a:pt x="45" y="63"/>
                </a:cubicBezTo>
                <a:lnTo>
                  <a:pt x="45" y="96"/>
                </a:lnTo>
                <a:close/>
                <a:moveTo>
                  <a:pt x="46" y="54"/>
                </a:moveTo>
                <a:cubicBezTo>
                  <a:pt x="74" y="76"/>
                  <a:pt x="74" y="76"/>
                  <a:pt x="74" y="76"/>
                </a:cubicBezTo>
                <a:cubicBezTo>
                  <a:pt x="103" y="54"/>
                  <a:pt x="103" y="54"/>
                  <a:pt x="103" y="54"/>
                </a:cubicBezTo>
                <a:lnTo>
                  <a:pt x="46" y="54"/>
                </a:lnTo>
                <a:close/>
                <a:moveTo>
                  <a:pt x="75" y="10"/>
                </a:moveTo>
                <a:cubicBezTo>
                  <a:pt x="39" y="10"/>
                  <a:pt x="10" y="39"/>
                  <a:pt x="10" y="75"/>
                </a:cubicBezTo>
                <a:cubicBezTo>
                  <a:pt x="10" y="111"/>
                  <a:pt x="39" y="140"/>
                  <a:pt x="75" y="140"/>
                </a:cubicBezTo>
                <a:cubicBezTo>
                  <a:pt x="111" y="140"/>
                  <a:pt x="140" y="111"/>
                  <a:pt x="140" y="75"/>
                </a:cubicBezTo>
                <a:cubicBezTo>
                  <a:pt x="140" y="39"/>
                  <a:pt x="111" y="10"/>
                  <a:pt x="75" y="10"/>
                </a:cubicBezTo>
                <a:moveTo>
                  <a:pt x="75" y="0"/>
                </a:moveTo>
                <a:cubicBezTo>
                  <a:pt x="116" y="0"/>
                  <a:pt x="150" y="34"/>
                  <a:pt x="150" y="75"/>
                </a:cubicBezTo>
                <a:cubicBezTo>
                  <a:pt x="150" y="116"/>
                  <a:pt x="116" y="150"/>
                  <a:pt x="75" y="150"/>
                </a:cubicBezTo>
                <a:cubicBezTo>
                  <a:pt x="34" y="150"/>
                  <a:pt x="0" y="116"/>
                  <a:pt x="0" y="75"/>
                </a:cubicBezTo>
                <a:cubicBezTo>
                  <a:pt x="0" y="34"/>
                  <a:pt x="34" y="0"/>
                  <a:pt x="75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21" name="Freeform 24"/>
          <p:cNvSpPr>
            <a:spLocks noEditPoints="1"/>
          </p:cNvSpPr>
          <p:nvPr/>
        </p:nvSpPr>
        <p:spPr bwMode="black">
          <a:xfrm>
            <a:off x="1887901" y="3924638"/>
            <a:ext cx="305569" cy="305570"/>
          </a:xfrm>
          <a:custGeom>
            <a:avLst/>
            <a:gdLst>
              <a:gd name="T0" fmla="*/ 96 w 150"/>
              <a:gd name="T1" fmla="*/ 54 h 150"/>
              <a:gd name="T2" fmla="*/ 96 w 150"/>
              <a:gd name="T3" fmla="*/ 96 h 150"/>
              <a:gd name="T4" fmla="*/ 69 w 150"/>
              <a:gd name="T5" fmla="*/ 75 h 150"/>
              <a:gd name="T6" fmla="*/ 96 w 150"/>
              <a:gd name="T7" fmla="*/ 54 h 150"/>
              <a:gd name="T8" fmla="*/ 54 w 150"/>
              <a:gd name="T9" fmla="*/ 94 h 150"/>
              <a:gd name="T10" fmla="*/ 63 w 150"/>
              <a:gd name="T11" fmla="*/ 94 h 150"/>
              <a:gd name="T12" fmla="*/ 63 w 150"/>
              <a:gd name="T13" fmla="*/ 56 h 150"/>
              <a:gd name="T14" fmla="*/ 54 w 150"/>
              <a:gd name="T15" fmla="*/ 56 h 150"/>
              <a:gd name="T16" fmla="*/ 54 w 150"/>
              <a:gd name="T17" fmla="*/ 94 h 150"/>
              <a:gd name="T18" fmla="*/ 150 w 150"/>
              <a:gd name="T19" fmla="*/ 75 h 150"/>
              <a:gd name="T20" fmla="*/ 75 w 150"/>
              <a:gd name="T21" fmla="*/ 0 h 150"/>
              <a:gd name="T22" fmla="*/ 0 w 150"/>
              <a:gd name="T23" fmla="*/ 75 h 150"/>
              <a:gd name="T24" fmla="*/ 75 w 150"/>
              <a:gd name="T25" fmla="*/ 150 h 150"/>
              <a:gd name="T26" fmla="*/ 150 w 150"/>
              <a:gd name="T27" fmla="*/ 75 h 150"/>
              <a:gd name="T28" fmla="*/ 141 w 150"/>
              <a:gd name="T29" fmla="*/ 75 h 150"/>
              <a:gd name="T30" fmla="*/ 75 w 150"/>
              <a:gd name="T31" fmla="*/ 140 h 150"/>
              <a:gd name="T32" fmla="*/ 10 w 150"/>
              <a:gd name="T33" fmla="*/ 75 h 150"/>
              <a:gd name="T34" fmla="*/ 75 w 150"/>
              <a:gd name="T35" fmla="*/ 10 h 150"/>
              <a:gd name="T36" fmla="*/ 141 w 150"/>
              <a:gd name="T37" fmla="*/ 75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50" h="150">
                <a:moveTo>
                  <a:pt x="96" y="54"/>
                </a:moveTo>
                <a:cubicBezTo>
                  <a:pt x="96" y="96"/>
                  <a:pt x="96" y="96"/>
                  <a:pt x="96" y="96"/>
                </a:cubicBezTo>
                <a:cubicBezTo>
                  <a:pt x="69" y="75"/>
                  <a:pt x="69" y="75"/>
                  <a:pt x="69" y="75"/>
                </a:cubicBezTo>
                <a:lnTo>
                  <a:pt x="96" y="54"/>
                </a:lnTo>
                <a:close/>
                <a:moveTo>
                  <a:pt x="54" y="94"/>
                </a:moveTo>
                <a:cubicBezTo>
                  <a:pt x="63" y="94"/>
                  <a:pt x="63" y="94"/>
                  <a:pt x="63" y="94"/>
                </a:cubicBezTo>
                <a:cubicBezTo>
                  <a:pt x="63" y="56"/>
                  <a:pt x="63" y="56"/>
                  <a:pt x="63" y="56"/>
                </a:cubicBezTo>
                <a:cubicBezTo>
                  <a:pt x="54" y="56"/>
                  <a:pt x="54" y="56"/>
                  <a:pt x="54" y="56"/>
                </a:cubicBezTo>
                <a:lnTo>
                  <a:pt x="54" y="94"/>
                </a:lnTo>
                <a:close/>
                <a:moveTo>
                  <a:pt x="150" y="75"/>
                </a:moveTo>
                <a:cubicBezTo>
                  <a:pt x="150" y="34"/>
                  <a:pt x="116" y="0"/>
                  <a:pt x="75" y="0"/>
                </a:cubicBezTo>
                <a:cubicBezTo>
                  <a:pt x="34" y="0"/>
                  <a:pt x="0" y="34"/>
                  <a:pt x="0" y="75"/>
                </a:cubicBezTo>
                <a:cubicBezTo>
                  <a:pt x="0" y="116"/>
                  <a:pt x="34" y="150"/>
                  <a:pt x="75" y="150"/>
                </a:cubicBezTo>
                <a:cubicBezTo>
                  <a:pt x="116" y="150"/>
                  <a:pt x="150" y="116"/>
                  <a:pt x="150" y="75"/>
                </a:cubicBezTo>
                <a:close/>
                <a:moveTo>
                  <a:pt x="141" y="75"/>
                </a:moveTo>
                <a:cubicBezTo>
                  <a:pt x="141" y="111"/>
                  <a:pt x="111" y="140"/>
                  <a:pt x="75" y="140"/>
                </a:cubicBezTo>
                <a:cubicBezTo>
                  <a:pt x="39" y="140"/>
                  <a:pt x="10" y="111"/>
                  <a:pt x="10" y="75"/>
                </a:cubicBezTo>
                <a:cubicBezTo>
                  <a:pt x="10" y="39"/>
                  <a:pt x="39" y="10"/>
                  <a:pt x="75" y="10"/>
                </a:cubicBezTo>
                <a:cubicBezTo>
                  <a:pt x="111" y="10"/>
                  <a:pt x="141" y="39"/>
                  <a:pt x="141" y="7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22" name="Freeform 25"/>
          <p:cNvSpPr>
            <a:spLocks noEditPoints="1"/>
          </p:cNvSpPr>
          <p:nvPr/>
        </p:nvSpPr>
        <p:spPr bwMode="black">
          <a:xfrm>
            <a:off x="2561300" y="3924638"/>
            <a:ext cx="305569" cy="305570"/>
          </a:xfrm>
          <a:custGeom>
            <a:avLst/>
            <a:gdLst>
              <a:gd name="T0" fmla="*/ 50 w 150"/>
              <a:gd name="T1" fmla="*/ 75 h 150"/>
              <a:gd name="T2" fmla="*/ 90 w 150"/>
              <a:gd name="T3" fmla="*/ 45 h 150"/>
              <a:gd name="T4" fmla="*/ 90 w 150"/>
              <a:gd name="T5" fmla="*/ 105 h 150"/>
              <a:gd name="T6" fmla="*/ 50 w 150"/>
              <a:gd name="T7" fmla="*/ 75 h 150"/>
              <a:gd name="T8" fmla="*/ 75 w 150"/>
              <a:gd name="T9" fmla="*/ 140 h 150"/>
              <a:gd name="T10" fmla="*/ 10 w 150"/>
              <a:gd name="T11" fmla="*/ 75 h 150"/>
              <a:gd name="T12" fmla="*/ 75 w 150"/>
              <a:gd name="T13" fmla="*/ 10 h 150"/>
              <a:gd name="T14" fmla="*/ 140 w 150"/>
              <a:gd name="T15" fmla="*/ 75 h 150"/>
              <a:gd name="T16" fmla="*/ 75 w 150"/>
              <a:gd name="T17" fmla="*/ 140 h 150"/>
              <a:gd name="T18" fmla="*/ 75 w 150"/>
              <a:gd name="T19" fmla="*/ 150 h 150"/>
              <a:gd name="T20" fmla="*/ 150 w 150"/>
              <a:gd name="T21" fmla="*/ 75 h 150"/>
              <a:gd name="T22" fmla="*/ 75 w 150"/>
              <a:gd name="T23" fmla="*/ 0 h 150"/>
              <a:gd name="T24" fmla="*/ 0 w 150"/>
              <a:gd name="T25" fmla="*/ 75 h 150"/>
              <a:gd name="T26" fmla="*/ 75 w 150"/>
              <a:gd name="T27" fmla="*/ 15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50" h="150">
                <a:moveTo>
                  <a:pt x="50" y="75"/>
                </a:moveTo>
                <a:cubicBezTo>
                  <a:pt x="90" y="45"/>
                  <a:pt x="90" y="45"/>
                  <a:pt x="90" y="45"/>
                </a:cubicBezTo>
                <a:cubicBezTo>
                  <a:pt x="90" y="105"/>
                  <a:pt x="90" y="105"/>
                  <a:pt x="90" y="105"/>
                </a:cubicBezTo>
                <a:lnTo>
                  <a:pt x="50" y="75"/>
                </a:lnTo>
                <a:close/>
                <a:moveTo>
                  <a:pt x="75" y="140"/>
                </a:moveTo>
                <a:cubicBezTo>
                  <a:pt x="39" y="140"/>
                  <a:pt x="10" y="111"/>
                  <a:pt x="10" y="75"/>
                </a:cubicBezTo>
                <a:cubicBezTo>
                  <a:pt x="10" y="39"/>
                  <a:pt x="39" y="10"/>
                  <a:pt x="75" y="10"/>
                </a:cubicBezTo>
                <a:cubicBezTo>
                  <a:pt x="111" y="10"/>
                  <a:pt x="140" y="39"/>
                  <a:pt x="140" y="75"/>
                </a:cubicBezTo>
                <a:cubicBezTo>
                  <a:pt x="140" y="111"/>
                  <a:pt x="111" y="140"/>
                  <a:pt x="75" y="140"/>
                </a:cubicBezTo>
                <a:moveTo>
                  <a:pt x="75" y="150"/>
                </a:moveTo>
                <a:cubicBezTo>
                  <a:pt x="116" y="150"/>
                  <a:pt x="150" y="116"/>
                  <a:pt x="150" y="75"/>
                </a:cubicBezTo>
                <a:cubicBezTo>
                  <a:pt x="150" y="34"/>
                  <a:pt x="116" y="0"/>
                  <a:pt x="75" y="0"/>
                </a:cubicBezTo>
                <a:cubicBezTo>
                  <a:pt x="34" y="0"/>
                  <a:pt x="0" y="34"/>
                  <a:pt x="0" y="75"/>
                </a:cubicBezTo>
                <a:cubicBezTo>
                  <a:pt x="0" y="116"/>
                  <a:pt x="34" y="150"/>
                  <a:pt x="75" y="15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23" name="Freeform 26"/>
          <p:cNvSpPr>
            <a:spLocks noEditPoints="1"/>
          </p:cNvSpPr>
          <p:nvPr/>
        </p:nvSpPr>
        <p:spPr bwMode="black">
          <a:xfrm>
            <a:off x="3230391" y="3920325"/>
            <a:ext cx="314195" cy="314194"/>
          </a:xfrm>
          <a:custGeom>
            <a:avLst/>
            <a:gdLst>
              <a:gd name="T0" fmla="*/ 52 w 154"/>
              <a:gd name="T1" fmla="*/ 58 h 154"/>
              <a:gd name="T2" fmla="*/ 70 w 154"/>
              <a:gd name="T3" fmla="*/ 47 h 154"/>
              <a:gd name="T4" fmla="*/ 57 w 154"/>
              <a:gd name="T5" fmla="*/ 64 h 154"/>
              <a:gd name="T6" fmla="*/ 102 w 154"/>
              <a:gd name="T7" fmla="*/ 92 h 154"/>
              <a:gd name="T8" fmla="*/ 85 w 154"/>
              <a:gd name="T9" fmla="*/ 108 h 154"/>
              <a:gd name="T10" fmla="*/ 92 w 154"/>
              <a:gd name="T11" fmla="*/ 91 h 154"/>
              <a:gd name="T12" fmla="*/ 102 w 154"/>
              <a:gd name="T13" fmla="*/ 92 h 154"/>
              <a:gd name="T14" fmla="*/ 82 w 154"/>
              <a:gd name="T15" fmla="*/ 81 h 154"/>
              <a:gd name="T16" fmla="*/ 89 w 154"/>
              <a:gd name="T17" fmla="*/ 89 h 154"/>
              <a:gd name="T18" fmla="*/ 79 w 154"/>
              <a:gd name="T19" fmla="*/ 105 h 154"/>
              <a:gd name="T20" fmla="*/ 53 w 154"/>
              <a:gd name="T21" fmla="*/ 100 h 154"/>
              <a:gd name="T22" fmla="*/ 72 w 154"/>
              <a:gd name="T23" fmla="*/ 83 h 154"/>
              <a:gd name="T24" fmla="*/ 75 w 154"/>
              <a:gd name="T25" fmla="*/ 108 h 154"/>
              <a:gd name="T26" fmla="*/ 53 w 154"/>
              <a:gd name="T27" fmla="*/ 100 h 154"/>
              <a:gd name="T28" fmla="*/ 70 w 154"/>
              <a:gd name="T29" fmla="*/ 79 h 154"/>
              <a:gd name="T30" fmla="*/ 52 w 154"/>
              <a:gd name="T31" fmla="*/ 90 h 154"/>
              <a:gd name="T32" fmla="*/ 65 w 154"/>
              <a:gd name="T33" fmla="*/ 73 h 154"/>
              <a:gd name="T34" fmla="*/ 75 w 154"/>
              <a:gd name="T35" fmla="*/ 70 h 154"/>
              <a:gd name="T36" fmla="*/ 66 w 154"/>
              <a:gd name="T37" fmla="*/ 69 h 154"/>
              <a:gd name="T38" fmla="*/ 73 w 154"/>
              <a:gd name="T39" fmla="*/ 49 h 154"/>
              <a:gd name="T40" fmla="*/ 75 w 154"/>
              <a:gd name="T41" fmla="*/ 70 h 154"/>
              <a:gd name="T42" fmla="*/ 79 w 154"/>
              <a:gd name="T43" fmla="*/ 70 h 154"/>
              <a:gd name="T44" fmla="*/ 82 w 154"/>
              <a:gd name="T45" fmla="*/ 44 h 154"/>
              <a:gd name="T46" fmla="*/ 101 w 154"/>
              <a:gd name="T47" fmla="*/ 58 h 154"/>
              <a:gd name="T48" fmla="*/ 101 w 154"/>
              <a:gd name="T49" fmla="*/ 62 h 154"/>
              <a:gd name="T50" fmla="*/ 93 w 154"/>
              <a:gd name="T51" fmla="*/ 80 h 154"/>
              <a:gd name="T52" fmla="*/ 83 w 154"/>
              <a:gd name="T53" fmla="*/ 78 h 154"/>
              <a:gd name="T54" fmla="*/ 101 w 154"/>
              <a:gd name="T55" fmla="*/ 62 h 154"/>
              <a:gd name="T56" fmla="*/ 109 w 154"/>
              <a:gd name="T57" fmla="*/ 92 h 154"/>
              <a:gd name="T58" fmla="*/ 97 w 154"/>
              <a:gd name="T59" fmla="*/ 81 h 154"/>
              <a:gd name="T60" fmla="*/ 108 w 154"/>
              <a:gd name="T61" fmla="*/ 53 h 154"/>
              <a:gd name="T62" fmla="*/ 73 w 154"/>
              <a:gd name="T63" fmla="*/ 39 h 154"/>
              <a:gd name="T64" fmla="*/ 45 w 154"/>
              <a:gd name="T65" fmla="*/ 62 h 154"/>
              <a:gd name="T66" fmla="*/ 57 w 154"/>
              <a:gd name="T67" fmla="*/ 72 h 154"/>
              <a:gd name="T68" fmla="*/ 46 w 154"/>
              <a:gd name="T69" fmla="*/ 100 h 154"/>
              <a:gd name="T70" fmla="*/ 81 w 154"/>
              <a:gd name="T71" fmla="*/ 115 h 154"/>
              <a:gd name="T72" fmla="*/ 77 w 154"/>
              <a:gd name="T73" fmla="*/ 0 h 154"/>
              <a:gd name="T74" fmla="*/ 77 w 154"/>
              <a:gd name="T75" fmla="*/ 154 h 154"/>
              <a:gd name="T76" fmla="*/ 77 w 154"/>
              <a:gd name="T77" fmla="*/ 0 h 154"/>
              <a:gd name="T78" fmla="*/ 143 w 154"/>
              <a:gd name="T79" fmla="*/ 77 h 154"/>
              <a:gd name="T80" fmla="*/ 11 w 154"/>
              <a:gd name="T81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54" h="154">
                <a:moveTo>
                  <a:pt x="52" y="62"/>
                </a:moveTo>
                <a:cubicBezTo>
                  <a:pt x="50" y="61"/>
                  <a:pt x="50" y="59"/>
                  <a:pt x="52" y="58"/>
                </a:cubicBezTo>
                <a:cubicBezTo>
                  <a:pt x="69" y="46"/>
                  <a:pt x="69" y="46"/>
                  <a:pt x="69" y="46"/>
                </a:cubicBezTo>
                <a:cubicBezTo>
                  <a:pt x="70" y="45"/>
                  <a:pt x="71" y="46"/>
                  <a:pt x="70" y="47"/>
                </a:cubicBezTo>
                <a:cubicBezTo>
                  <a:pt x="62" y="63"/>
                  <a:pt x="62" y="63"/>
                  <a:pt x="62" y="63"/>
                </a:cubicBezTo>
                <a:cubicBezTo>
                  <a:pt x="61" y="65"/>
                  <a:pt x="59" y="65"/>
                  <a:pt x="57" y="64"/>
                </a:cubicBezTo>
                <a:lnTo>
                  <a:pt x="52" y="62"/>
                </a:lnTo>
                <a:close/>
                <a:moveTo>
                  <a:pt x="102" y="92"/>
                </a:moveTo>
                <a:cubicBezTo>
                  <a:pt x="104" y="93"/>
                  <a:pt x="104" y="94"/>
                  <a:pt x="102" y="95"/>
                </a:cubicBezTo>
                <a:cubicBezTo>
                  <a:pt x="85" y="108"/>
                  <a:pt x="85" y="108"/>
                  <a:pt x="85" y="108"/>
                </a:cubicBezTo>
                <a:cubicBezTo>
                  <a:pt x="83" y="109"/>
                  <a:pt x="83" y="108"/>
                  <a:pt x="83" y="107"/>
                </a:cubicBezTo>
                <a:cubicBezTo>
                  <a:pt x="92" y="91"/>
                  <a:pt x="92" y="91"/>
                  <a:pt x="92" y="91"/>
                </a:cubicBezTo>
                <a:cubicBezTo>
                  <a:pt x="93" y="89"/>
                  <a:pt x="95" y="88"/>
                  <a:pt x="96" y="89"/>
                </a:cubicBezTo>
                <a:lnTo>
                  <a:pt x="102" y="92"/>
                </a:lnTo>
                <a:close/>
                <a:moveTo>
                  <a:pt x="79" y="83"/>
                </a:moveTo>
                <a:cubicBezTo>
                  <a:pt x="79" y="81"/>
                  <a:pt x="80" y="81"/>
                  <a:pt x="82" y="81"/>
                </a:cubicBezTo>
                <a:cubicBezTo>
                  <a:pt x="87" y="84"/>
                  <a:pt x="87" y="84"/>
                  <a:pt x="87" y="84"/>
                </a:cubicBezTo>
                <a:cubicBezTo>
                  <a:pt x="89" y="85"/>
                  <a:pt x="89" y="87"/>
                  <a:pt x="89" y="89"/>
                </a:cubicBezTo>
                <a:cubicBezTo>
                  <a:pt x="80" y="105"/>
                  <a:pt x="80" y="105"/>
                  <a:pt x="80" y="105"/>
                </a:cubicBezTo>
                <a:cubicBezTo>
                  <a:pt x="79" y="107"/>
                  <a:pt x="79" y="107"/>
                  <a:pt x="79" y="105"/>
                </a:cubicBezTo>
                <a:lnTo>
                  <a:pt x="79" y="83"/>
                </a:lnTo>
                <a:close/>
                <a:moveTo>
                  <a:pt x="53" y="100"/>
                </a:moveTo>
                <a:cubicBezTo>
                  <a:pt x="51" y="99"/>
                  <a:pt x="51" y="97"/>
                  <a:pt x="52" y="96"/>
                </a:cubicBezTo>
                <a:cubicBezTo>
                  <a:pt x="72" y="83"/>
                  <a:pt x="72" y="83"/>
                  <a:pt x="72" y="83"/>
                </a:cubicBezTo>
                <a:cubicBezTo>
                  <a:pt x="74" y="82"/>
                  <a:pt x="75" y="82"/>
                  <a:pt x="75" y="84"/>
                </a:cubicBezTo>
                <a:cubicBezTo>
                  <a:pt x="75" y="108"/>
                  <a:pt x="75" y="108"/>
                  <a:pt x="75" y="108"/>
                </a:cubicBezTo>
                <a:cubicBezTo>
                  <a:pt x="75" y="110"/>
                  <a:pt x="73" y="111"/>
                  <a:pt x="72" y="110"/>
                </a:cubicBezTo>
                <a:lnTo>
                  <a:pt x="53" y="100"/>
                </a:lnTo>
                <a:close/>
                <a:moveTo>
                  <a:pt x="70" y="76"/>
                </a:moveTo>
                <a:cubicBezTo>
                  <a:pt x="72" y="76"/>
                  <a:pt x="72" y="78"/>
                  <a:pt x="70" y="79"/>
                </a:cubicBezTo>
                <a:cubicBezTo>
                  <a:pt x="53" y="91"/>
                  <a:pt x="53" y="91"/>
                  <a:pt x="53" y="91"/>
                </a:cubicBezTo>
                <a:cubicBezTo>
                  <a:pt x="51" y="92"/>
                  <a:pt x="51" y="92"/>
                  <a:pt x="52" y="90"/>
                </a:cubicBezTo>
                <a:cubicBezTo>
                  <a:pt x="60" y="74"/>
                  <a:pt x="60" y="74"/>
                  <a:pt x="60" y="74"/>
                </a:cubicBezTo>
                <a:cubicBezTo>
                  <a:pt x="61" y="72"/>
                  <a:pt x="63" y="72"/>
                  <a:pt x="65" y="73"/>
                </a:cubicBezTo>
                <a:lnTo>
                  <a:pt x="70" y="76"/>
                </a:lnTo>
                <a:close/>
                <a:moveTo>
                  <a:pt x="75" y="70"/>
                </a:moveTo>
                <a:cubicBezTo>
                  <a:pt x="75" y="72"/>
                  <a:pt x="74" y="73"/>
                  <a:pt x="72" y="72"/>
                </a:cubicBezTo>
                <a:cubicBezTo>
                  <a:pt x="66" y="69"/>
                  <a:pt x="66" y="69"/>
                  <a:pt x="66" y="69"/>
                </a:cubicBezTo>
                <a:cubicBezTo>
                  <a:pt x="65" y="68"/>
                  <a:pt x="64" y="66"/>
                  <a:pt x="65" y="65"/>
                </a:cubicBezTo>
                <a:cubicBezTo>
                  <a:pt x="73" y="49"/>
                  <a:pt x="73" y="49"/>
                  <a:pt x="73" y="49"/>
                </a:cubicBezTo>
                <a:cubicBezTo>
                  <a:pt x="74" y="47"/>
                  <a:pt x="75" y="47"/>
                  <a:pt x="75" y="49"/>
                </a:cubicBezTo>
                <a:lnTo>
                  <a:pt x="75" y="70"/>
                </a:lnTo>
                <a:close/>
                <a:moveTo>
                  <a:pt x="81" y="71"/>
                </a:moveTo>
                <a:cubicBezTo>
                  <a:pt x="80" y="72"/>
                  <a:pt x="79" y="72"/>
                  <a:pt x="79" y="70"/>
                </a:cubicBezTo>
                <a:cubicBezTo>
                  <a:pt x="79" y="46"/>
                  <a:pt x="79" y="46"/>
                  <a:pt x="79" y="46"/>
                </a:cubicBezTo>
                <a:cubicBezTo>
                  <a:pt x="79" y="44"/>
                  <a:pt x="80" y="43"/>
                  <a:pt x="82" y="44"/>
                </a:cubicBezTo>
                <a:cubicBezTo>
                  <a:pt x="101" y="54"/>
                  <a:pt x="101" y="54"/>
                  <a:pt x="101" y="54"/>
                </a:cubicBezTo>
                <a:cubicBezTo>
                  <a:pt x="102" y="55"/>
                  <a:pt x="102" y="57"/>
                  <a:pt x="101" y="58"/>
                </a:cubicBezTo>
                <a:lnTo>
                  <a:pt x="81" y="71"/>
                </a:lnTo>
                <a:close/>
                <a:moveTo>
                  <a:pt x="101" y="62"/>
                </a:moveTo>
                <a:cubicBezTo>
                  <a:pt x="102" y="61"/>
                  <a:pt x="103" y="62"/>
                  <a:pt x="102" y="63"/>
                </a:cubicBezTo>
                <a:cubicBezTo>
                  <a:pt x="93" y="80"/>
                  <a:pt x="93" y="80"/>
                  <a:pt x="93" y="80"/>
                </a:cubicBezTo>
                <a:cubicBezTo>
                  <a:pt x="93" y="81"/>
                  <a:pt x="91" y="82"/>
                  <a:pt x="89" y="81"/>
                </a:cubicBezTo>
                <a:cubicBezTo>
                  <a:pt x="83" y="78"/>
                  <a:pt x="83" y="78"/>
                  <a:pt x="83" y="78"/>
                </a:cubicBezTo>
                <a:cubicBezTo>
                  <a:pt x="82" y="77"/>
                  <a:pt x="82" y="76"/>
                  <a:pt x="83" y="75"/>
                </a:cubicBezTo>
                <a:lnTo>
                  <a:pt x="101" y="62"/>
                </a:lnTo>
                <a:close/>
                <a:moveTo>
                  <a:pt x="110" y="95"/>
                </a:moveTo>
                <a:cubicBezTo>
                  <a:pt x="111" y="94"/>
                  <a:pt x="111" y="92"/>
                  <a:pt x="109" y="92"/>
                </a:cubicBezTo>
                <a:cubicBezTo>
                  <a:pt x="98" y="86"/>
                  <a:pt x="98" y="86"/>
                  <a:pt x="98" y="86"/>
                </a:cubicBezTo>
                <a:cubicBezTo>
                  <a:pt x="97" y="85"/>
                  <a:pt x="96" y="83"/>
                  <a:pt x="97" y="81"/>
                </a:cubicBezTo>
                <a:cubicBezTo>
                  <a:pt x="109" y="58"/>
                  <a:pt x="109" y="58"/>
                  <a:pt x="109" y="58"/>
                </a:cubicBezTo>
                <a:cubicBezTo>
                  <a:pt x="110" y="56"/>
                  <a:pt x="109" y="54"/>
                  <a:pt x="108" y="53"/>
                </a:cubicBezTo>
                <a:cubicBezTo>
                  <a:pt x="79" y="38"/>
                  <a:pt x="79" y="38"/>
                  <a:pt x="79" y="38"/>
                </a:cubicBezTo>
                <a:cubicBezTo>
                  <a:pt x="77" y="37"/>
                  <a:pt x="75" y="38"/>
                  <a:pt x="73" y="39"/>
                </a:cubicBezTo>
                <a:cubicBezTo>
                  <a:pt x="44" y="59"/>
                  <a:pt x="44" y="59"/>
                  <a:pt x="44" y="59"/>
                </a:cubicBezTo>
                <a:cubicBezTo>
                  <a:pt x="43" y="60"/>
                  <a:pt x="43" y="61"/>
                  <a:pt x="45" y="62"/>
                </a:cubicBezTo>
                <a:cubicBezTo>
                  <a:pt x="55" y="68"/>
                  <a:pt x="55" y="68"/>
                  <a:pt x="55" y="68"/>
                </a:cubicBezTo>
                <a:cubicBezTo>
                  <a:pt x="57" y="69"/>
                  <a:pt x="58" y="71"/>
                  <a:pt x="57" y="72"/>
                </a:cubicBezTo>
                <a:cubicBezTo>
                  <a:pt x="44" y="96"/>
                  <a:pt x="44" y="96"/>
                  <a:pt x="44" y="96"/>
                </a:cubicBezTo>
                <a:cubicBezTo>
                  <a:pt x="44" y="98"/>
                  <a:pt x="44" y="100"/>
                  <a:pt x="46" y="100"/>
                </a:cubicBezTo>
                <a:cubicBezTo>
                  <a:pt x="75" y="116"/>
                  <a:pt x="75" y="116"/>
                  <a:pt x="75" y="116"/>
                </a:cubicBezTo>
                <a:cubicBezTo>
                  <a:pt x="77" y="117"/>
                  <a:pt x="79" y="116"/>
                  <a:pt x="81" y="115"/>
                </a:cubicBezTo>
                <a:lnTo>
                  <a:pt x="110" y="95"/>
                </a:lnTo>
                <a:close/>
                <a:moveTo>
                  <a:pt x="77" y="0"/>
                </a:moveTo>
                <a:cubicBezTo>
                  <a:pt x="35" y="0"/>
                  <a:pt x="0" y="35"/>
                  <a:pt x="0" y="77"/>
                </a:cubicBezTo>
                <a:cubicBezTo>
                  <a:pt x="0" y="119"/>
                  <a:pt x="35" y="154"/>
                  <a:pt x="77" y="154"/>
                </a:cubicBezTo>
                <a:cubicBezTo>
                  <a:pt x="119" y="154"/>
                  <a:pt x="154" y="119"/>
                  <a:pt x="154" y="77"/>
                </a:cubicBezTo>
                <a:cubicBezTo>
                  <a:pt x="154" y="35"/>
                  <a:pt x="119" y="0"/>
                  <a:pt x="77" y="0"/>
                </a:cubicBezTo>
                <a:moveTo>
                  <a:pt x="77" y="11"/>
                </a:moveTo>
                <a:cubicBezTo>
                  <a:pt x="114" y="11"/>
                  <a:pt x="143" y="40"/>
                  <a:pt x="143" y="77"/>
                </a:cubicBezTo>
                <a:cubicBezTo>
                  <a:pt x="143" y="114"/>
                  <a:pt x="114" y="143"/>
                  <a:pt x="77" y="143"/>
                </a:cubicBezTo>
                <a:cubicBezTo>
                  <a:pt x="40" y="143"/>
                  <a:pt x="11" y="114"/>
                  <a:pt x="11" y="77"/>
                </a:cubicBezTo>
                <a:cubicBezTo>
                  <a:pt x="11" y="40"/>
                  <a:pt x="40" y="11"/>
                  <a:pt x="77" y="11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24" name="Freeform 27"/>
          <p:cNvSpPr>
            <a:spLocks noEditPoints="1"/>
          </p:cNvSpPr>
          <p:nvPr/>
        </p:nvSpPr>
        <p:spPr bwMode="black">
          <a:xfrm>
            <a:off x="3907481" y="3924642"/>
            <a:ext cx="306801" cy="305570"/>
          </a:xfrm>
          <a:custGeom>
            <a:avLst/>
            <a:gdLst>
              <a:gd name="T0" fmla="*/ 98 w 150"/>
              <a:gd name="T1" fmla="*/ 75 h 150"/>
              <a:gd name="T2" fmla="*/ 72 w 150"/>
              <a:gd name="T3" fmla="*/ 95 h 150"/>
              <a:gd name="T4" fmla="*/ 72 w 150"/>
              <a:gd name="T5" fmla="*/ 55 h 150"/>
              <a:gd name="T6" fmla="*/ 98 w 150"/>
              <a:gd name="T7" fmla="*/ 75 h 150"/>
              <a:gd name="T8" fmla="*/ 39 w 150"/>
              <a:gd name="T9" fmla="*/ 55 h 150"/>
              <a:gd name="T10" fmla="*/ 39 w 150"/>
              <a:gd name="T11" fmla="*/ 95 h 150"/>
              <a:gd name="T12" fmla="*/ 65 w 150"/>
              <a:gd name="T13" fmla="*/ 75 h 150"/>
              <a:gd name="T14" fmla="*/ 39 w 150"/>
              <a:gd name="T15" fmla="*/ 55 h 150"/>
              <a:gd name="T16" fmla="*/ 111 w 150"/>
              <a:gd name="T17" fmla="*/ 57 h 150"/>
              <a:gd name="T18" fmla="*/ 103 w 150"/>
              <a:gd name="T19" fmla="*/ 57 h 150"/>
              <a:gd name="T20" fmla="*/ 103 w 150"/>
              <a:gd name="T21" fmla="*/ 93 h 150"/>
              <a:gd name="T22" fmla="*/ 111 w 150"/>
              <a:gd name="T23" fmla="*/ 93 h 150"/>
              <a:gd name="T24" fmla="*/ 111 w 150"/>
              <a:gd name="T25" fmla="*/ 57 h 150"/>
              <a:gd name="T26" fmla="*/ 150 w 150"/>
              <a:gd name="T27" fmla="*/ 75 h 150"/>
              <a:gd name="T28" fmla="*/ 75 w 150"/>
              <a:gd name="T29" fmla="*/ 0 h 150"/>
              <a:gd name="T30" fmla="*/ 0 w 150"/>
              <a:gd name="T31" fmla="*/ 75 h 150"/>
              <a:gd name="T32" fmla="*/ 75 w 150"/>
              <a:gd name="T33" fmla="*/ 150 h 150"/>
              <a:gd name="T34" fmla="*/ 150 w 150"/>
              <a:gd name="T35" fmla="*/ 75 h 150"/>
              <a:gd name="T36" fmla="*/ 141 w 150"/>
              <a:gd name="T37" fmla="*/ 75 h 150"/>
              <a:gd name="T38" fmla="*/ 75 w 150"/>
              <a:gd name="T39" fmla="*/ 140 h 150"/>
              <a:gd name="T40" fmla="*/ 10 w 150"/>
              <a:gd name="T41" fmla="*/ 75 h 150"/>
              <a:gd name="T42" fmla="*/ 75 w 150"/>
              <a:gd name="T43" fmla="*/ 10 h 150"/>
              <a:gd name="T44" fmla="*/ 141 w 150"/>
              <a:gd name="T45" fmla="*/ 75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150" h="150">
                <a:moveTo>
                  <a:pt x="98" y="75"/>
                </a:moveTo>
                <a:cubicBezTo>
                  <a:pt x="72" y="95"/>
                  <a:pt x="72" y="95"/>
                  <a:pt x="72" y="95"/>
                </a:cubicBezTo>
                <a:cubicBezTo>
                  <a:pt x="72" y="55"/>
                  <a:pt x="72" y="55"/>
                  <a:pt x="72" y="55"/>
                </a:cubicBezTo>
                <a:lnTo>
                  <a:pt x="98" y="75"/>
                </a:lnTo>
                <a:close/>
                <a:moveTo>
                  <a:pt x="39" y="55"/>
                </a:moveTo>
                <a:cubicBezTo>
                  <a:pt x="39" y="95"/>
                  <a:pt x="39" y="95"/>
                  <a:pt x="39" y="95"/>
                </a:cubicBezTo>
                <a:cubicBezTo>
                  <a:pt x="65" y="75"/>
                  <a:pt x="65" y="75"/>
                  <a:pt x="65" y="75"/>
                </a:cubicBezTo>
                <a:lnTo>
                  <a:pt x="39" y="55"/>
                </a:lnTo>
                <a:close/>
                <a:moveTo>
                  <a:pt x="111" y="57"/>
                </a:moveTo>
                <a:cubicBezTo>
                  <a:pt x="103" y="57"/>
                  <a:pt x="103" y="57"/>
                  <a:pt x="103" y="57"/>
                </a:cubicBezTo>
                <a:cubicBezTo>
                  <a:pt x="103" y="93"/>
                  <a:pt x="103" y="93"/>
                  <a:pt x="103" y="93"/>
                </a:cubicBezTo>
                <a:cubicBezTo>
                  <a:pt x="111" y="93"/>
                  <a:pt x="111" y="93"/>
                  <a:pt x="111" y="93"/>
                </a:cubicBezTo>
                <a:lnTo>
                  <a:pt x="111" y="57"/>
                </a:lnTo>
                <a:close/>
                <a:moveTo>
                  <a:pt x="150" y="75"/>
                </a:moveTo>
                <a:cubicBezTo>
                  <a:pt x="150" y="34"/>
                  <a:pt x="117" y="0"/>
                  <a:pt x="75" y="0"/>
                </a:cubicBezTo>
                <a:cubicBezTo>
                  <a:pt x="34" y="0"/>
                  <a:pt x="0" y="34"/>
                  <a:pt x="0" y="75"/>
                </a:cubicBezTo>
                <a:cubicBezTo>
                  <a:pt x="0" y="116"/>
                  <a:pt x="34" y="150"/>
                  <a:pt x="75" y="150"/>
                </a:cubicBezTo>
                <a:cubicBezTo>
                  <a:pt x="117" y="150"/>
                  <a:pt x="150" y="116"/>
                  <a:pt x="150" y="75"/>
                </a:cubicBezTo>
                <a:close/>
                <a:moveTo>
                  <a:pt x="141" y="75"/>
                </a:moveTo>
                <a:cubicBezTo>
                  <a:pt x="141" y="111"/>
                  <a:pt x="111" y="140"/>
                  <a:pt x="75" y="140"/>
                </a:cubicBezTo>
                <a:cubicBezTo>
                  <a:pt x="39" y="140"/>
                  <a:pt x="10" y="111"/>
                  <a:pt x="10" y="75"/>
                </a:cubicBezTo>
                <a:cubicBezTo>
                  <a:pt x="10" y="39"/>
                  <a:pt x="39" y="10"/>
                  <a:pt x="75" y="10"/>
                </a:cubicBezTo>
                <a:cubicBezTo>
                  <a:pt x="111" y="10"/>
                  <a:pt x="141" y="39"/>
                  <a:pt x="141" y="7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25" name="Freeform 28"/>
          <p:cNvSpPr>
            <a:spLocks noEditPoints="1"/>
          </p:cNvSpPr>
          <p:nvPr/>
        </p:nvSpPr>
        <p:spPr bwMode="black">
          <a:xfrm>
            <a:off x="4581498" y="3924642"/>
            <a:ext cx="305569" cy="305570"/>
          </a:xfrm>
          <a:custGeom>
            <a:avLst/>
            <a:gdLst>
              <a:gd name="T0" fmla="*/ 79 w 150"/>
              <a:gd name="T1" fmla="*/ 55 h 150"/>
              <a:gd name="T2" fmla="*/ 79 w 150"/>
              <a:gd name="T3" fmla="*/ 95 h 150"/>
              <a:gd name="T4" fmla="*/ 53 w 150"/>
              <a:gd name="T5" fmla="*/ 75 h 150"/>
              <a:gd name="T6" fmla="*/ 79 w 150"/>
              <a:gd name="T7" fmla="*/ 55 h 150"/>
              <a:gd name="T8" fmla="*/ 85 w 150"/>
              <a:gd name="T9" fmla="*/ 75 h 150"/>
              <a:gd name="T10" fmla="*/ 111 w 150"/>
              <a:gd name="T11" fmla="*/ 95 h 150"/>
              <a:gd name="T12" fmla="*/ 111 w 150"/>
              <a:gd name="T13" fmla="*/ 55 h 150"/>
              <a:gd name="T14" fmla="*/ 85 w 150"/>
              <a:gd name="T15" fmla="*/ 75 h 150"/>
              <a:gd name="T16" fmla="*/ 39 w 150"/>
              <a:gd name="T17" fmla="*/ 93 h 150"/>
              <a:gd name="T18" fmla="*/ 48 w 150"/>
              <a:gd name="T19" fmla="*/ 93 h 150"/>
              <a:gd name="T20" fmla="*/ 48 w 150"/>
              <a:gd name="T21" fmla="*/ 57 h 150"/>
              <a:gd name="T22" fmla="*/ 39 w 150"/>
              <a:gd name="T23" fmla="*/ 57 h 150"/>
              <a:gd name="T24" fmla="*/ 39 w 150"/>
              <a:gd name="T25" fmla="*/ 93 h 150"/>
              <a:gd name="T26" fmla="*/ 150 w 150"/>
              <a:gd name="T27" fmla="*/ 75 h 150"/>
              <a:gd name="T28" fmla="*/ 75 w 150"/>
              <a:gd name="T29" fmla="*/ 0 h 150"/>
              <a:gd name="T30" fmla="*/ 0 w 150"/>
              <a:gd name="T31" fmla="*/ 75 h 150"/>
              <a:gd name="T32" fmla="*/ 75 w 150"/>
              <a:gd name="T33" fmla="*/ 150 h 150"/>
              <a:gd name="T34" fmla="*/ 150 w 150"/>
              <a:gd name="T35" fmla="*/ 75 h 150"/>
              <a:gd name="T36" fmla="*/ 141 w 150"/>
              <a:gd name="T37" fmla="*/ 75 h 150"/>
              <a:gd name="T38" fmla="*/ 75 w 150"/>
              <a:gd name="T39" fmla="*/ 140 h 150"/>
              <a:gd name="T40" fmla="*/ 10 w 150"/>
              <a:gd name="T41" fmla="*/ 75 h 150"/>
              <a:gd name="T42" fmla="*/ 75 w 150"/>
              <a:gd name="T43" fmla="*/ 10 h 150"/>
              <a:gd name="T44" fmla="*/ 141 w 150"/>
              <a:gd name="T45" fmla="*/ 75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150" h="150">
                <a:moveTo>
                  <a:pt x="79" y="55"/>
                </a:moveTo>
                <a:cubicBezTo>
                  <a:pt x="79" y="95"/>
                  <a:pt x="79" y="95"/>
                  <a:pt x="79" y="95"/>
                </a:cubicBezTo>
                <a:cubicBezTo>
                  <a:pt x="53" y="75"/>
                  <a:pt x="53" y="75"/>
                  <a:pt x="53" y="75"/>
                </a:cubicBezTo>
                <a:lnTo>
                  <a:pt x="79" y="55"/>
                </a:lnTo>
                <a:close/>
                <a:moveTo>
                  <a:pt x="85" y="75"/>
                </a:moveTo>
                <a:cubicBezTo>
                  <a:pt x="111" y="95"/>
                  <a:pt x="111" y="95"/>
                  <a:pt x="111" y="95"/>
                </a:cubicBezTo>
                <a:cubicBezTo>
                  <a:pt x="111" y="55"/>
                  <a:pt x="111" y="55"/>
                  <a:pt x="111" y="55"/>
                </a:cubicBezTo>
                <a:lnTo>
                  <a:pt x="85" y="75"/>
                </a:lnTo>
                <a:close/>
                <a:moveTo>
                  <a:pt x="39" y="93"/>
                </a:moveTo>
                <a:cubicBezTo>
                  <a:pt x="48" y="93"/>
                  <a:pt x="48" y="93"/>
                  <a:pt x="48" y="93"/>
                </a:cubicBezTo>
                <a:cubicBezTo>
                  <a:pt x="48" y="57"/>
                  <a:pt x="48" y="57"/>
                  <a:pt x="48" y="57"/>
                </a:cubicBezTo>
                <a:cubicBezTo>
                  <a:pt x="39" y="57"/>
                  <a:pt x="39" y="57"/>
                  <a:pt x="39" y="57"/>
                </a:cubicBezTo>
                <a:lnTo>
                  <a:pt x="39" y="93"/>
                </a:lnTo>
                <a:close/>
                <a:moveTo>
                  <a:pt x="150" y="75"/>
                </a:moveTo>
                <a:cubicBezTo>
                  <a:pt x="150" y="34"/>
                  <a:pt x="117" y="0"/>
                  <a:pt x="75" y="0"/>
                </a:cubicBezTo>
                <a:cubicBezTo>
                  <a:pt x="34" y="0"/>
                  <a:pt x="0" y="34"/>
                  <a:pt x="0" y="75"/>
                </a:cubicBezTo>
                <a:cubicBezTo>
                  <a:pt x="0" y="116"/>
                  <a:pt x="34" y="150"/>
                  <a:pt x="75" y="150"/>
                </a:cubicBezTo>
                <a:cubicBezTo>
                  <a:pt x="117" y="150"/>
                  <a:pt x="150" y="116"/>
                  <a:pt x="150" y="75"/>
                </a:cubicBezTo>
                <a:close/>
                <a:moveTo>
                  <a:pt x="141" y="75"/>
                </a:moveTo>
                <a:cubicBezTo>
                  <a:pt x="141" y="111"/>
                  <a:pt x="111" y="140"/>
                  <a:pt x="75" y="140"/>
                </a:cubicBezTo>
                <a:cubicBezTo>
                  <a:pt x="39" y="140"/>
                  <a:pt x="10" y="111"/>
                  <a:pt x="10" y="75"/>
                </a:cubicBezTo>
                <a:cubicBezTo>
                  <a:pt x="10" y="39"/>
                  <a:pt x="39" y="10"/>
                  <a:pt x="75" y="10"/>
                </a:cubicBezTo>
                <a:cubicBezTo>
                  <a:pt x="111" y="10"/>
                  <a:pt x="141" y="39"/>
                  <a:pt x="141" y="7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26" name="Freeform 29"/>
          <p:cNvSpPr>
            <a:spLocks noEditPoints="1"/>
          </p:cNvSpPr>
          <p:nvPr/>
        </p:nvSpPr>
        <p:spPr bwMode="black">
          <a:xfrm>
            <a:off x="5254896" y="3924642"/>
            <a:ext cx="305569" cy="305570"/>
          </a:xfrm>
          <a:custGeom>
            <a:avLst/>
            <a:gdLst>
              <a:gd name="T0" fmla="*/ 94 w 150"/>
              <a:gd name="T1" fmla="*/ 94 h 150"/>
              <a:gd name="T2" fmla="*/ 55 w 150"/>
              <a:gd name="T3" fmla="*/ 94 h 150"/>
              <a:gd name="T4" fmla="*/ 55 w 150"/>
              <a:gd name="T5" fmla="*/ 56 h 150"/>
              <a:gd name="T6" fmla="*/ 94 w 150"/>
              <a:gd name="T7" fmla="*/ 56 h 150"/>
              <a:gd name="T8" fmla="*/ 94 w 150"/>
              <a:gd name="T9" fmla="*/ 94 h 150"/>
              <a:gd name="T10" fmla="*/ 150 w 150"/>
              <a:gd name="T11" fmla="*/ 75 h 150"/>
              <a:gd name="T12" fmla="*/ 75 w 150"/>
              <a:gd name="T13" fmla="*/ 0 h 150"/>
              <a:gd name="T14" fmla="*/ 0 w 150"/>
              <a:gd name="T15" fmla="*/ 75 h 150"/>
              <a:gd name="T16" fmla="*/ 75 w 150"/>
              <a:gd name="T17" fmla="*/ 150 h 150"/>
              <a:gd name="T18" fmla="*/ 150 w 150"/>
              <a:gd name="T19" fmla="*/ 75 h 150"/>
              <a:gd name="T20" fmla="*/ 140 w 150"/>
              <a:gd name="T21" fmla="*/ 75 h 150"/>
              <a:gd name="T22" fmla="*/ 75 w 150"/>
              <a:gd name="T23" fmla="*/ 140 h 150"/>
              <a:gd name="T24" fmla="*/ 9 w 150"/>
              <a:gd name="T25" fmla="*/ 75 h 150"/>
              <a:gd name="T26" fmla="*/ 75 w 150"/>
              <a:gd name="T27" fmla="*/ 10 h 150"/>
              <a:gd name="T28" fmla="*/ 140 w 150"/>
              <a:gd name="T29" fmla="*/ 75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50" h="150">
                <a:moveTo>
                  <a:pt x="94" y="94"/>
                </a:moveTo>
                <a:cubicBezTo>
                  <a:pt x="55" y="94"/>
                  <a:pt x="55" y="94"/>
                  <a:pt x="55" y="94"/>
                </a:cubicBezTo>
                <a:cubicBezTo>
                  <a:pt x="55" y="56"/>
                  <a:pt x="55" y="56"/>
                  <a:pt x="55" y="56"/>
                </a:cubicBezTo>
                <a:cubicBezTo>
                  <a:pt x="94" y="56"/>
                  <a:pt x="94" y="56"/>
                  <a:pt x="94" y="56"/>
                </a:cubicBezTo>
                <a:lnTo>
                  <a:pt x="94" y="94"/>
                </a:lnTo>
                <a:close/>
                <a:moveTo>
                  <a:pt x="150" y="75"/>
                </a:moveTo>
                <a:cubicBezTo>
                  <a:pt x="150" y="34"/>
                  <a:pt x="116" y="0"/>
                  <a:pt x="75" y="0"/>
                </a:cubicBezTo>
                <a:cubicBezTo>
                  <a:pt x="33" y="0"/>
                  <a:pt x="0" y="34"/>
                  <a:pt x="0" y="75"/>
                </a:cubicBezTo>
                <a:cubicBezTo>
                  <a:pt x="0" y="116"/>
                  <a:pt x="33" y="150"/>
                  <a:pt x="75" y="150"/>
                </a:cubicBezTo>
                <a:cubicBezTo>
                  <a:pt x="116" y="150"/>
                  <a:pt x="150" y="116"/>
                  <a:pt x="150" y="75"/>
                </a:cubicBezTo>
                <a:close/>
                <a:moveTo>
                  <a:pt x="140" y="75"/>
                </a:moveTo>
                <a:cubicBezTo>
                  <a:pt x="140" y="111"/>
                  <a:pt x="111" y="140"/>
                  <a:pt x="75" y="140"/>
                </a:cubicBezTo>
                <a:cubicBezTo>
                  <a:pt x="39" y="140"/>
                  <a:pt x="9" y="111"/>
                  <a:pt x="9" y="75"/>
                </a:cubicBezTo>
                <a:cubicBezTo>
                  <a:pt x="9" y="39"/>
                  <a:pt x="39" y="10"/>
                  <a:pt x="75" y="10"/>
                </a:cubicBezTo>
                <a:cubicBezTo>
                  <a:pt x="111" y="10"/>
                  <a:pt x="140" y="39"/>
                  <a:pt x="140" y="7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27" name="Freeform 30"/>
          <p:cNvSpPr>
            <a:spLocks noEditPoints="1"/>
          </p:cNvSpPr>
          <p:nvPr/>
        </p:nvSpPr>
        <p:spPr bwMode="black">
          <a:xfrm>
            <a:off x="5923984" y="3920325"/>
            <a:ext cx="314195" cy="314194"/>
          </a:xfrm>
          <a:custGeom>
            <a:avLst/>
            <a:gdLst>
              <a:gd name="T0" fmla="*/ 37 w 154"/>
              <a:gd name="T1" fmla="*/ 77 h 154"/>
              <a:gd name="T2" fmla="*/ 77 w 154"/>
              <a:gd name="T3" fmla="*/ 49 h 154"/>
              <a:gd name="T4" fmla="*/ 117 w 154"/>
              <a:gd name="T5" fmla="*/ 77 h 154"/>
              <a:gd name="T6" fmla="*/ 77 w 154"/>
              <a:gd name="T7" fmla="*/ 105 h 154"/>
              <a:gd name="T8" fmla="*/ 37 w 154"/>
              <a:gd name="T9" fmla="*/ 77 h 154"/>
              <a:gd name="T10" fmla="*/ 97 w 154"/>
              <a:gd name="T11" fmla="*/ 77 h 154"/>
              <a:gd name="T12" fmla="*/ 77 w 154"/>
              <a:gd name="T13" fmla="*/ 57 h 154"/>
              <a:gd name="T14" fmla="*/ 57 w 154"/>
              <a:gd name="T15" fmla="*/ 77 h 154"/>
              <a:gd name="T16" fmla="*/ 77 w 154"/>
              <a:gd name="T17" fmla="*/ 97 h 154"/>
              <a:gd name="T18" fmla="*/ 97 w 154"/>
              <a:gd name="T19" fmla="*/ 77 h 154"/>
              <a:gd name="T20" fmla="*/ 89 w 154"/>
              <a:gd name="T21" fmla="*/ 77 h 154"/>
              <a:gd name="T22" fmla="*/ 77 w 154"/>
              <a:gd name="T23" fmla="*/ 65 h 154"/>
              <a:gd name="T24" fmla="*/ 65 w 154"/>
              <a:gd name="T25" fmla="*/ 77 h 154"/>
              <a:gd name="T26" fmla="*/ 77 w 154"/>
              <a:gd name="T27" fmla="*/ 89 h 154"/>
              <a:gd name="T28" fmla="*/ 89 w 154"/>
              <a:gd name="T29" fmla="*/ 77 h 154"/>
              <a:gd name="T30" fmla="*/ 77 w 154"/>
              <a:gd name="T31" fmla="*/ 10 h 154"/>
              <a:gd name="T32" fmla="*/ 144 w 154"/>
              <a:gd name="T33" fmla="*/ 77 h 154"/>
              <a:gd name="T34" fmla="*/ 77 w 154"/>
              <a:gd name="T35" fmla="*/ 144 h 154"/>
              <a:gd name="T36" fmla="*/ 10 w 154"/>
              <a:gd name="T37" fmla="*/ 77 h 154"/>
              <a:gd name="T38" fmla="*/ 77 w 154"/>
              <a:gd name="T39" fmla="*/ 10 h 154"/>
              <a:gd name="T40" fmla="*/ 77 w 154"/>
              <a:gd name="T41" fmla="*/ 0 h 154"/>
              <a:gd name="T42" fmla="*/ 0 w 154"/>
              <a:gd name="T43" fmla="*/ 77 h 154"/>
              <a:gd name="T44" fmla="*/ 77 w 154"/>
              <a:gd name="T45" fmla="*/ 154 h 154"/>
              <a:gd name="T46" fmla="*/ 154 w 154"/>
              <a:gd name="T47" fmla="*/ 77 h 154"/>
              <a:gd name="T48" fmla="*/ 77 w 154"/>
              <a:gd name="T49" fmla="*/ 0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54" h="154">
                <a:moveTo>
                  <a:pt x="37" y="77"/>
                </a:moveTo>
                <a:cubicBezTo>
                  <a:pt x="37" y="77"/>
                  <a:pt x="52" y="49"/>
                  <a:pt x="77" y="49"/>
                </a:cubicBezTo>
                <a:cubicBezTo>
                  <a:pt x="102" y="49"/>
                  <a:pt x="117" y="77"/>
                  <a:pt x="117" y="77"/>
                </a:cubicBezTo>
                <a:cubicBezTo>
                  <a:pt x="117" y="77"/>
                  <a:pt x="102" y="105"/>
                  <a:pt x="77" y="105"/>
                </a:cubicBezTo>
                <a:cubicBezTo>
                  <a:pt x="52" y="105"/>
                  <a:pt x="37" y="77"/>
                  <a:pt x="37" y="77"/>
                </a:cubicBezTo>
                <a:moveTo>
                  <a:pt x="97" y="77"/>
                </a:moveTo>
                <a:cubicBezTo>
                  <a:pt x="97" y="66"/>
                  <a:pt x="88" y="57"/>
                  <a:pt x="77" y="57"/>
                </a:cubicBezTo>
                <a:cubicBezTo>
                  <a:pt x="66" y="57"/>
                  <a:pt x="57" y="66"/>
                  <a:pt x="57" y="77"/>
                </a:cubicBezTo>
                <a:cubicBezTo>
                  <a:pt x="57" y="88"/>
                  <a:pt x="66" y="97"/>
                  <a:pt x="77" y="97"/>
                </a:cubicBezTo>
                <a:cubicBezTo>
                  <a:pt x="88" y="97"/>
                  <a:pt x="97" y="88"/>
                  <a:pt x="97" y="77"/>
                </a:cubicBezTo>
                <a:moveTo>
                  <a:pt x="89" y="77"/>
                </a:moveTo>
                <a:cubicBezTo>
                  <a:pt x="89" y="71"/>
                  <a:pt x="83" y="65"/>
                  <a:pt x="77" y="65"/>
                </a:cubicBezTo>
                <a:cubicBezTo>
                  <a:pt x="70" y="65"/>
                  <a:pt x="65" y="71"/>
                  <a:pt x="65" y="77"/>
                </a:cubicBezTo>
                <a:cubicBezTo>
                  <a:pt x="65" y="84"/>
                  <a:pt x="70" y="89"/>
                  <a:pt x="77" y="89"/>
                </a:cubicBezTo>
                <a:cubicBezTo>
                  <a:pt x="83" y="89"/>
                  <a:pt x="89" y="84"/>
                  <a:pt x="89" y="77"/>
                </a:cubicBezTo>
                <a:moveTo>
                  <a:pt x="77" y="10"/>
                </a:moveTo>
                <a:cubicBezTo>
                  <a:pt x="114" y="10"/>
                  <a:pt x="144" y="40"/>
                  <a:pt x="144" y="77"/>
                </a:cubicBezTo>
                <a:cubicBezTo>
                  <a:pt x="144" y="114"/>
                  <a:pt x="114" y="144"/>
                  <a:pt x="77" y="144"/>
                </a:cubicBezTo>
                <a:cubicBezTo>
                  <a:pt x="40" y="144"/>
                  <a:pt x="10" y="114"/>
                  <a:pt x="10" y="77"/>
                </a:cubicBezTo>
                <a:cubicBezTo>
                  <a:pt x="10" y="40"/>
                  <a:pt x="40" y="10"/>
                  <a:pt x="77" y="10"/>
                </a:cubicBezTo>
                <a:moveTo>
                  <a:pt x="77" y="0"/>
                </a:moveTo>
                <a:cubicBezTo>
                  <a:pt x="34" y="0"/>
                  <a:pt x="0" y="35"/>
                  <a:pt x="0" y="77"/>
                </a:cubicBezTo>
                <a:cubicBezTo>
                  <a:pt x="0" y="120"/>
                  <a:pt x="34" y="154"/>
                  <a:pt x="77" y="154"/>
                </a:cubicBezTo>
                <a:cubicBezTo>
                  <a:pt x="119" y="154"/>
                  <a:pt x="154" y="120"/>
                  <a:pt x="154" y="77"/>
                </a:cubicBezTo>
                <a:cubicBezTo>
                  <a:pt x="154" y="35"/>
                  <a:pt x="119" y="0"/>
                  <a:pt x="77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28" name="Freeform 31"/>
          <p:cNvSpPr>
            <a:spLocks noEditPoints="1"/>
          </p:cNvSpPr>
          <p:nvPr/>
        </p:nvSpPr>
        <p:spPr bwMode="black">
          <a:xfrm>
            <a:off x="6601694" y="3924023"/>
            <a:ext cx="305569" cy="306801"/>
          </a:xfrm>
          <a:custGeom>
            <a:avLst/>
            <a:gdLst>
              <a:gd name="T0" fmla="*/ 69 w 150"/>
              <a:gd name="T1" fmla="*/ 54 h 150"/>
              <a:gd name="T2" fmla="*/ 69 w 150"/>
              <a:gd name="T3" fmla="*/ 96 h 150"/>
              <a:gd name="T4" fmla="*/ 41 w 150"/>
              <a:gd name="T5" fmla="*/ 75 h 150"/>
              <a:gd name="T6" fmla="*/ 69 w 150"/>
              <a:gd name="T7" fmla="*/ 54 h 150"/>
              <a:gd name="T8" fmla="*/ 75 w 150"/>
              <a:gd name="T9" fmla="*/ 75 h 150"/>
              <a:gd name="T10" fmla="*/ 102 w 150"/>
              <a:gd name="T11" fmla="*/ 96 h 150"/>
              <a:gd name="T12" fmla="*/ 102 w 150"/>
              <a:gd name="T13" fmla="*/ 54 h 150"/>
              <a:gd name="T14" fmla="*/ 75 w 150"/>
              <a:gd name="T15" fmla="*/ 75 h 150"/>
              <a:gd name="T16" fmla="*/ 150 w 150"/>
              <a:gd name="T17" fmla="*/ 75 h 150"/>
              <a:gd name="T18" fmla="*/ 75 w 150"/>
              <a:gd name="T19" fmla="*/ 0 h 150"/>
              <a:gd name="T20" fmla="*/ 0 w 150"/>
              <a:gd name="T21" fmla="*/ 75 h 150"/>
              <a:gd name="T22" fmla="*/ 75 w 150"/>
              <a:gd name="T23" fmla="*/ 150 h 150"/>
              <a:gd name="T24" fmla="*/ 150 w 150"/>
              <a:gd name="T25" fmla="*/ 75 h 150"/>
              <a:gd name="T26" fmla="*/ 141 w 150"/>
              <a:gd name="T27" fmla="*/ 75 h 150"/>
              <a:gd name="T28" fmla="*/ 75 w 150"/>
              <a:gd name="T29" fmla="*/ 140 h 150"/>
              <a:gd name="T30" fmla="*/ 10 w 150"/>
              <a:gd name="T31" fmla="*/ 75 h 150"/>
              <a:gd name="T32" fmla="*/ 75 w 150"/>
              <a:gd name="T33" fmla="*/ 10 h 150"/>
              <a:gd name="T34" fmla="*/ 141 w 150"/>
              <a:gd name="T35" fmla="*/ 75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50" h="150">
                <a:moveTo>
                  <a:pt x="69" y="54"/>
                </a:moveTo>
                <a:cubicBezTo>
                  <a:pt x="69" y="96"/>
                  <a:pt x="69" y="96"/>
                  <a:pt x="69" y="96"/>
                </a:cubicBezTo>
                <a:cubicBezTo>
                  <a:pt x="41" y="75"/>
                  <a:pt x="41" y="75"/>
                  <a:pt x="41" y="75"/>
                </a:cubicBezTo>
                <a:lnTo>
                  <a:pt x="69" y="54"/>
                </a:lnTo>
                <a:close/>
                <a:moveTo>
                  <a:pt x="75" y="75"/>
                </a:moveTo>
                <a:cubicBezTo>
                  <a:pt x="102" y="96"/>
                  <a:pt x="102" y="96"/>
                  <a:pt x="102" y="96"/>
                </a:cubicBezTo>
                <a:cubicBezTo>
                  <a:pt x="102" y="54"/>
                  <a:pt x="102" y="54"/>
                  <a:pt x="102" y="54"/>
                </a:cubicBezTo>
                <a:lnTo>
                  <a:pt x="75" y="75"/>
                </a:lnTo>
                <a:close/>
                <a:moveTo>
                  <a:pt x="150" y="75"/>
                </a:moveTo>
                <a:cubicBezTo>
                  <a:pt x="150" y="34"/>
                  <a:pt x="117" y="0"/>
                  <a:pt x="75" y="0"/>
                </a:cubicBezTo>
                <a:cubicBezTo>
                  <a:pt x="34" y="0"/>
                  <a:pt x="0" y="34"/>
                  <a:pt x="0" y="75"/>
                </a:cubicBezTo>
                <a:cubicBezTo>
                  <a:pt x="0" y="116"/>
                  <a:pt x="34" y="150"/>
                  <a:pt x="75" y="150"/>
                </a:cubicBezTo>
                <a:cubicBezTo>
                  <a:pt x="117" y="150"/>
                  <a:pt x="150" y="116"/>
                  <a:pt x="150" y="75"/>
                </a:cubicBezTo>
                <a:close/>
                <a:moveTo>
                  <a:pt x="141" y="75"/>
                </a:moveTo>
                <a:cubicBezTo>
                  <a:pt x="141" y="111"/>
                  <a:pt x="111" y="140"/>
                  <a:pt x="75" y="140"/>
                </a:cubicBezTo>
                <a:cubicBezTo>
                  <a:pt x="39" y="140"/>
                  <a:pt x="10" y="111"/>
                  <a:pt x="10" y="75"/>
                </a:cubicBezTo>
                <a:cubicBezTo>
                  <a:pt x="10" y="39"/>
                  <a:pt x="39" y="10"/>
                  <a:pt x="75" y="10"/>
                </a:cubicBezTo>
                <a:cubicBezTo>
                  <a:pt x="111" y="10"/>
                  <a:pt x="141" y="39"/>
                  <a:pt x="141" y="7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29" name="Freeform 32"/>
          <p:cNvSpPr>
            <a:spLocks noEditPoints="1"/>
          </p:cNvSpPr>
          <p:nvPr/>
        </p:nvSpPr>
        <p:spPr bwMode="black">
          <a:xfrm>
            <a:off x="7251683" y="3926478"/>
            <a:ext cx="352390" cy="311730"/>
          </a:xfrm>
          <a:custGeom>
            <a:avLst/>
            <a:gdLst>
              <a:gd name="T0" fmla="*/ 87 w 173"/>
              <a:gd name="T1" fmla="*/ 85 h 153"/>
              <a:gd name="T2" fmla="*/ 116 w 173"/>
              <a:gd name="T3" fmla="*/ 102 h 153"/>
              <a:gd name="T4" fmla="*/ 111 w 173"/>
              <a:gd name="T5" fmla="*/ 106 h 153"/>
              <a:gd name="T6" fmla="*/ 62 w 173"/>
              <a:gd name="T7" fmla="*/ 95 h 153"/>
              <a:gd name="T8" fmla="*/ 74 w 173"/>
              <a:gd name="T9" fmla="*/ 47 h 153"/>
              <a:gd name="T10" fmla="*/ 92 w 173"/>
              <a:gd name="T11" fmla="*/ 41 h 153"/>
              <a:gd name="T12" fmla="*/ 87 w 173"/>
              <a:gd name="T13" fmla="*/ 85 h 153"/>
              <a:gd name="T14" fmla="*/ 87 w 173"/>
              <a:gd name="T15" fmla="*/ 0 h 153"/>
              <a:gd name="T16" fmla="*/ 148 w 173"/>
              <a:gd name="T17" fmla="*/ 30 h 153"/>
              <a:gd name="T18" fmla="*/ 133 w 173"/>
              <a:gd name="T19" fmla="*/ 138 h 153"/>
              <a:gd name="T20" fmla="*/ 87 w 173"/>
              <a:gd name="T21" fmla="*/ 153 h 153"/>
              <a:gd name="T22" fmla="*/ 26 w 173"/>
              <a:gd name="T23" fmla="*/ 123 h 153"/>
              <a:gd name="T24" fmla="*/ 40 w 173"/>
              <a:gd name="T25" fmla="*/ 16 h 153"/>
              <a:gd name="T26" fmla="*/ 87 w 173"/>
              <a:gd name="T27" fmla="*/ 0 h 153"/>
              <a:gd name="T28" fmla="*/ 87 w 173"/>
              <a:gd name="T29" fmla="*/ 10 h 153"/>
              <a:gd name="T30" fmla="*/ 46 w 173"/>
              <a:gd name="T31" fmla="*/ 24 h 153"/>
              <a:gd name="T32" fmla="*/ 34 w 173"/>
              <a:gd name="T33" fmla="*/ 117 h 153"/>
              <a:gd name="T34" fmla="*/ 87 w 173"/>
              <a:gd name="T35" fmla="*/ 143 h 153"/>
              <a:gd name="T36" fmla="*/ 127 w 173"/>
              <a:gd name="T37" fmla="*/ 130 h 153"/>
              <a:gd name="T38" fmla="*/ 140 w 173"/>
              <a:gd name="T39" fmla="*/ 36 h 153"/>
              <a:gd name="T40" fmla="*/ 87 w 173"/>
              <a:gd name="T41" fmla="*/ 10 h 153"/>
              <a:gd name="T42" fmla="*/ 87 w 173"/>
              <a:gd name="T43" fmla="*/ 0 h 153"/>
              <a:gd name="T44" fmla="*/ 87 w 173"/>
              <a:gd name="T45" fmla="*/ 10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173" h="153">
                <a:moveTo>
                  <a:pt x="87" y="85"/>
                </a:moveTo>
                <a:cubicBezTo>
                  <a:pt x="94" y="96"/>
                  <a:pt x="105" y="102"/>
                  <a:pt x="116" y="102"/>
                </a:cubicBezTo>
                <a:cubicBezTo>
                  <a:pt x="115" y="104"/>
                  <a:pt x="113" y="105"/>
                  <a:pt x="111" y="106"/>
                </a:cubicBezTo>
                <a:cubicBezTo>
                  <a:pt x="94" y="117"/>
                  <a:pt x="73" y="112"/>
                  <a:pt x="62" y="95"/>
                </a:cubicBezTo>
                <a:cubicBezTo>
                  <a:pt x="52" y="78"/>
                  <a:pt x="57" y="57"/>
                  <a:pt x="74" y="47"/>
                </a:cubicBezTo>
                <a:cubicBezTo>
                  <a:pt x="79" y="43"/>
                  <a:pt x="86" y="41"/>
                  <a:pt x="92" y="41"/>
                </a:cubicBezTo>
                <a:cubicBezTo>
                  <a:pt x="81" y="53"/>
                  <a:pt x="78" y="71"/>
                  <a:pt x="87" y="85"/>
                </a:cubicBezTo>
                <a:moveTo>
                  <a:pt x="87" y="0"/>
                </a:moveTo>
                <a:cubicBezTo>
                  <a:pt x="110" y="0"/>
                  <a:pt x="133" y="10"/>
                  <a:pt x="148" y="30"/>
                </a:cubicBezTo>
                <a:cubicBezTo>
                  <a:pt x="173" y="64"/>
                  <a:pt x="167" y="112"/>
                  <a:pt x="133" y="138"/>
                </a:cubicBezTo>
                <a:cubicBezTo>
                  <a:pt x="119" y="148"/>
                  <a:pt x="103" y="153"/>
                  <a:pt x="87" y="153"/>
                </a:cubicBezTo>
                <a:cubicBezTo>
                  <a:pt x="64" y="153"/>
                  <a:pt x="41" y="143"/>
                  <a:pt x="26" y="123"/>
                </a:cubicBezTo>
                <a:cubicBezTo>
                  <a:pt x="0" y="89"/>
                  <a:pt x="6" y="41"/>
                  <a:pt x="40" y="16"/>
                </a:cubicBezTo>
                <a:cubicBezTo>
                  <a:pt x="54" y="5"/>
                  <a:pt x="70" y="0"/>
                  <a:pt x="87" y="0"/>
                </a:cubicBezTo>
                <a:moveTo>
                  <a:pt x="87" y="10"/>
                </a:moveTo>
                <a:cubicBezTo>
                  <a:pt x="72" y="10"/>
                  <a:pt x="58" y="15"/>
                  <a:pt x="46" y="24"/>
                </a:cubicBezTo>
                <a:cubicBezTo>
                  <a:pt x="17" y="46"/>
                  <a:pt x="11" y="88"/>
                  <a:pt x="34" y="117"/>
                </a:cubicBezTo>
                <a:cubicBezTo>
                  <a:pt x="46" y="134"/>
                  <a:pt x="66" y="143"/>
                  <a:pt x="87" y="143"/>
                </a:cubicBezTo>
                <a:cubicBezTo>
                  <a:pt x="101" y="143"/>
                  <a:pt x="115" y="138"/>
                  <a:pt x="127" y="130"/>
                </a:cubicBezTo>
                <a:cubicBezTo>
                  <a:pt x="156" y="107"/>
                  <a:pt x="162" y="65"/>
                  <a:pt x="140" y="36"/>
                </a:cubicBezTo>
                <a:cubicBezTo>
                  <a:pt x="127" y="19"/>
                  <a:pt x="108" y="10"/>
                  <a:pt x="87" y="10"/>
                </a:cubicBezTo>
                <a:cubicBezTo>
                  <a:pt x="87" y="0"/>
                  <a:pt x="87" y="0"/>
                  <a:pt x="87" y="0"/>
                </a:cubicBezTo>
                <a:lnTo>
                  <a:pt x="87" y="1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30" name="Freeform 33"/>
          <p:cNvSpPr>
            <a:spLocks noEditPoints="1"/>
          </p:cNvSpPr>
          <p:nvPr/>
        </p:nvSpPr>
        <p:spPr bwMode="black">
          <a:xfrm>
            <a:off x="7270165" y="4598705"/>
            <a:ext cx="315426" cy="314194"/>
          </a:xfrm>
          <a:custGeom>
            <a:avLst/>
            <a:gdLst>
              <a:gd name="T0" fmla="*/ 98 w 155"/>
              <a:gd name="T1" fmla="*/ 69 h 154"/>
              <a:gd name="T2" fmla="*/ 91 w 155"/>
              <a:gd name="T3" fmla="*/ 82 h 154"/>
              <a:gd name="T4" fmla="*/ 86 w 155"/>
              <a:gd name="T5" fmla="*/ 93 h 154"/>
              <a:gd name="T6" fmla="*/ 86 w 155"/>
              <a:gd name="T7" fmla="*/ 95 h 154"/>
              <a:gd name="T8" fmla="*/ 84 w 155"/>
              <a:gd name="T9" fmla="*/ 97 h 154"/>
              <a:gd name="T10" fmla="*/ 71 w 155"/>
              <a:gd name="T11" fmla="*/ 97 h 154"/>
              <a:gd name="T12" fmla="*/ 69 w 155"/>
              <a:gd name="T13" fmla="*/ 95 h 154"/>
              <a:gd name="T14" fmla="*/ 69 w 155"/>
              <a:gd name="T15" fmla="*/ 93 h 154"/>
              <a:gd name="T16" fmla="*/ 64 w 155"/>
              <a:gd name="T17" fmla="*/ 82 h 154"/>
              <a:gd name="T18" fmla="*/ 58 w 155"/>
              <a:gd name="T19" fmla="*/ 69 h 154"/>
              <a:gd name="T20" fmla="*/ 58 w 155"/>
              <a:gd name="T21" fmla="*/ 69 h 154"/>
              <a:gd name="T22" fmla="*/ 57 w 155"/>
              <a:gd name="T23" fmla="*/ 67 h 154"/>
              <a:gd name="T24" fmla="*/ 57 w 155"/>
              <a:gd name="T25" fmla="*/ 67 h 154"/>
              <a:gd name="T26" fmla="*/ 57 w 155"/>
              <a:gd name="T27" fmla="*/ 65 h 154"/>
              <a:gd name="T28" fmla="*/ 78 w 155"/>
              <a:gd name="T29" fmla="*/ 45 h 154"/>
              <a:gd name="T30" fmla="*/ 98 w 155"/>
              <a:gd name="T31" fmla="*/ 65 h 154"/>
              <a:gd name="T32" fmla="*/ 98 w 155"/>
              <a:gd name="T33" fmla="*/ 67 h 154"/>
              <a:gd name="T34" fmla="*/ 98 w 155"/>
              <a:gd name="T35" fmla="*/ 67 h 154"/>
              <a:gd name="T36" fmla="*/ 98 w 155"/>
              <a:gd name="T37" fmla="*/ 69 h 154"/>
              <a:gd name="T38" fmla="*/ 98 w 155"/>
              <a:gd name="T39" fmla="*/ 69 h 154"/>
              <a:gd name="T40" fmla="*/ 86 w 155"/>
              <a:gd name="T41" fmla="*/ 105 h 154"/>
              <a:gd name="T42" fmla="*/ 85 w 155"/>
              <a:gd name="T43" fmla="*/ 102 h 154"/>
              <a:gd name="T44" fmla="*/ 84 w 155"/>
              <a:gd name="T45" fmla="*/ 101 h 154"/>
              <a:gd name="T46" fmla="*/ 71 w 155"/>
              <a:gd name="T47" fmla="*/ 101 h 154"/>
              <a:gd name="T48" fmla="*/ 70 w 155"/>
              <a:gd name="T49" fmla="*/ 102 h 154"/>
              <a:gd name="T50" fmla="*/ 69 w 155"/>
              <a:gd name="T51" fmla="*/ 105 h 154"/>
              <a:gd name="T52" fmla="*/ 69 w 155"/>
              <a:gd name="T53" fmla="*/ 106 h 154"/>
              <a:gd name="T54" fmla="*/ 69 w 155"/>
              <a:gd name="T55" fmla="*/ 107 h 154"/>
              <a:gd name="T56" fmla="*/ 69 w 155"/>
              <a:gd name="T57" fmla="*/ 108 h 154"/>
              <a:gd name="T58" fmla="*/ 70 w 155"/>
              <a:gd name="T59" fmla="*/ 110 h 154"/>
              <a:gd name="T60" fmla="*/ 71 w 155"/>
              <a:gd name="T61" fmla="*/ 111 h 154"/>
              <a:gd name="T62" fmla="*/ 72 w 155"/>
              <a:gd name="T63" fmla="*/ 111 h 154"/>
              <a:gd name="T64" fmla="*/ 73 w 155"/>
              <a:gd name="T65" fmla="*/ 114 h 154"/>
              <a:gd name="T66" fmla="*/ 74 w 155"/>
              <a:gd name="T67" fmla="*/ 114 h 154"/>
              <a:gd name="T68" fmla="*/ 81 w 155"/>
              <a:gd name="T69" fmla="*/ 114 h 154"/>
              <a:gd name="T70" fmla="*/ 82 w 155"/>
              <a:gd name="T71" fmla="*/ 114 h 154"/>
              <a:gd name="T72" fmla="*/ 83 w 155"/>
              <a:gd name="T73" fmla="*/ 111 h 154"/>
              <a:gd name="T74" fmla="*/ 84 w 155"/>
              <a:gd name="T75" fmla="*/ 111 h 154"/>
              <a:gd name="T76" fmla="*/ 85 w 155"/>
              <a:gd name="T77" fmla="*/ 110 h 154"/>
              <a:gd name="T78" fmla="*/ 86 w 155"/>
              <a:gd name="T79" fmla="*/ 108 h 154"/>
              <a:gd name="T80" fmla="*/ 86 w 155"/>
              <a:gd name="T81" fmla="*/ 107 h 154"/>
              <a:gd name="T82" fmla="*/ 86 w 155"/>
              <a:gd name="T83" fmla="*/ 106 h 154"/>
              <a:gd name="T84" fmla="*/ 86 w 155"/>
              <a:gd name="T85" fmla="*/ 105 h 154"/>
              <a:gd name="T86" fmla="*/ 78 w 155"/>
              <a:gd name="T87" fmla="*/ 10 h 154"/>
              <a:gd name="T88" fmla="*/ 145 w 155"/>
              <a:gd name="T89" fmla="*/ 77 h 154"/>
              <a:gd name="T90" fmla="*/ 125 w 155"/>
              <a:gd name="T91" fmla="*/ 124 h 154"/>
              <a:gd name="T92" fmla="*/ 78 w 155"/>
              <a:gd name="T93" fmla="*/ 144 h 154"/>
              <a:gd name="T94" fmla="*/ 78 w 155"/>
              <a:gd name="T95" fmla="*/ 144 h 154"/>
              <a:gd name="T96" fmla="*/ 11 w 155"/>
              <a:gd name="T97" fmla="*/ 78 h 154"/>
              <a:gd name="T98" fmla="*/ 30 w 155"/>
              <a:gd name="T99" fmla="*/ 30 h 154"/>
              <a:gd name="T100" fmla="*/ 77 w 155"/>
              <a:gd name="T101" fmla="*/ 10 h 154"/>
              <a:gd name="T102" fmla="*/ 78 w 155"/>
              <a:gd name="T103" fmla="*/ 10 h 154"/>
              <a:gd name="T104" fmla="*/ 78 w 155"/>
              <a:gd name="T105" fmla="*/ 10 h 154"/>
              <a:gd name="T106" fmla="*/ 78 w 155"/>
              <a:gd name="T107" fmla="*/ 0 h 154"/>
              <a:gd name="T108" fmla="*/ 77 w 155"/>
              <a:gd name="T109" fmla="*/ 0 h 154"/>
              <a:gd name="T110" fmla="*/ 1 w 155"/>
              <a:gd name="T111" fmla="*/ 78 h 154"/>
              <a:gd name="T112" fmla="*/ 78 w 155"/>
              <a:gd name="T113" fmla="*/ 154 h 154"/>
              <a:gd name="T114" fmla="*/ 78 w 155"/>
              <a:gd name="T115" fmla="*/ 154 h 154"/>
              <a:gd name="T116" fmla="*/ 154 w 155"/>
              <a:gd name="T117" fmla="*/ 76 h 154"/>
              <a:gd name="T118" fmla="*/ 78 w 155"/>
              <a:gd name="T119" fmla="*/ 0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55" h="154">
                <a:moveTo>
                  <a:pt x="98" y="69"/>
                </a:moveTo>
                <a:cubicBezTo>
                  <a:pt x="97" y="72"/>
                  <a:pt x="95" y="76"/>
                  <a:pt x="91" y="82"/>
                </a:cubicBezTo>
                <a:cubicBezTo>
                  <a:pt x="87" y="88"/>
                  <a:pt x="86" y="89"/>
                  <a:pt x="86" y="93"/>
                </a:cubicBezTo>
                <a:cubicBezTo>
                  <a:pt x="86" y="95"/>
                  <a:pt x="86" y="95"/>
                  <a:pt x="86" y="95"/>
                </a:cubicBezTo>
                <a:cubicBezTo>
                  <a:pt x="86" y="96"/>
                  <a:pt x="85" y="97"/>
                  <a:pt x="84" y="97"/>
                </a:cubicBezTo>
                <a:cubicBezTo>
                  <a:pt x="71" y="97"/>
                  <a:pt x="71" y="97"/>
                  <a:pt x="71" y="97"/>
                </a:cubicBezTo>
                <a:cubicBezTo>
                  <a:pt x="70" y="97"/>
                  <a:pt x="69" y="96"/>
                  <a:pt x="69" y="95"/>
                </a:cubicBezTo>
                <a:cubicBezTo>
                  <a:pt x="69" y="93"/>
                  <a:pt x="69" y="93"/>
                  <a:pt x="69" y="93"/>
                </a:cubicBezTo>
                <a:cubicBezTo>
                  <a:pt x="69" y="90"/>
                  <a:pt x="68" y="88"/>
                  <a:pt x="64" y="82"/>
                </a:cubicBezTo>
                <a:cubicBezTo>
                  <a:pt x="60" y="76"/>
                  <a:pt x="58" y="72"/>
                  <a:pt x="58" y="69"/>
                </a:cubicBezTo>
                <a:cubicBezTo>
                  <a:pt x="58" y="69"/>
                  <a:pt x="58" y="69"/>
                  <a:pt x="58" y="69"/>
                </a:cubicBezTo>
                <a:cubicBezTo>
                  <a:pt x="57" y="68"/>
                  <a:pt x="57" y="68"/>
                  <a:pt x="57" y="67"/>
                </a:cubicBezTo>
                <a:cubicBezTo>
                  <a:pt x="57" y="67"/>
                  <a:pt x="57" y="67"/>
                  <a:pt x="57" y="67"/>
                </a:cubicBezTo>
                <a:cubicBezTo>
                  <a:pt x="57" y="66"/>
                  <a:pt x="57" y="65"/>
                  <a:pt x="57" y="65"/>
                </a:cubicBezTo>
                <a:cubicBezTo>
                  <a:pt x="57" y="54"/>
                  <a:pt x="66" y="45"/>
                  <a:pt x="78" y="45"/>
                </a:cubicBezTo>
                <a:cubicBezTo>
                  <a:pt x="89" y="45"/>
                  <a:pt x="98" y="54"/>
                  <a:pt x="98" y="65"/>
                </a:cubicBezTo>
                <a:cubicBezTo>
                  <a:pt x="98" y="65"/>
                  <a:pt x="98" y="66"/>
                  <a:pt x="98" y="67"/>
                </a:cubicBezTo>
                <a:cubicBezTo>
                  <a:pt x="98" y="67"/>
                  <a:pt x="98" y="67"/>
                  <a:pt x="98" y="67"/>
                </a:cubicBezTo>
                <a:cubicBezTo>
                  <a:pt x="98" y="68"/>
                  <a:pt x="98" y="69"/>
                  <a:pt x="98" y="69"/>
                </a:cubicBezTo>
                <a:cubicBezTo>
                  <a:pt x="98" y="69"/>
                  <a:pt x="98" y="69"/>
                  <a:pt x="98" y="69"/>
                </a:cubicBezTo>
                <a:moveTo>
                  <a:pt x="86" y="105"/>
                </a:moveTo>
                <a:cubicBezTo>
                  <a:pt x="86" y="103"/>
                  <a:pt x="85" y="102"/>
                  <a:pt x="85" y="102"/>
                </a:cubicBezTo>
                <a:cubicBezTo>
                  <a:pt x="85" y="102"/>
                  <a:pt x="84" y="101"/>
                  <a:pt x="84" y="101"/>
                </a:cubicBezTo>
                <a:cubicBezTo>
                  <a:pt x="71" y="101"/>
                  <a:pt x="71" y="101"/>
                  <a:pt x="71" y="101"/>
                </a:cubicBezTo>
                <a:cubicBezTo>
                  <a:pt x="71" y="101"/>
                  <a:pt x="70" y="102"/>
                  <a:pt x="70" y="102"/>
                </a:cubicBezTo>
                <a:cubicBezTo>
                  <a:pt x="70" y="102"/>
                  <a:pt x="69" y="103"/>
                  <a:pt x="69" y="105"/>
                </a:cubicBezTo>
                <a:cubicBezTo>
                  <a:pt x="69" y="105"/>
                  <a:pt x="69" y="106"/>
                  <a:pt x="69" y="106"/>
                </a:cubicBezTo>
                <a:cubicBezTo>
                  <a:pt x="69" y="106"/>
                  <a:pt x="69" y="107"/>
                  <a:pt x="69" y="107"/>
                </a:cubicBezTo>
                <a:cubicBezTo>
                  <a:pt x="69" y="107"/>
                  <a:pt x="69" y="107"/>
                  <a:pt x="69" y="108"/>
                </a:cubicBezTo>
                <a:cubicBezTo>
                  <a:pt x="69" y="110"/>
                  <a:pt x="70" y="110"/>
                  <a:pt x="70" y="110"/>
                </a:cubicBezTo>
                <a:cubicBezTo>
                  <a:pt x="70" y="110"/>
                  <a:pt x="71" y="111"/>
                  <a:pt x="71" y="111"/>
                </a:cubicBezTo>
                <a:cubicBezTo>
                  <a:pt x="71" y="111"/>
                  <a:pt x="72" y="111"/>
                  <a:pt x="72" y="111"/>
                </a:cubicBezTo>
                <a:cubicBezTo>
                  <a:pt x="73" y="114"/>
                  <a:pt x="73" y="114"/>
                  <a:pt x="73" y="114"/>
                </a:cubicBezTo>
                <a:cubicBezTo>
                  <a:pt x="73" y="114"/>
                  <a:pt x="74" y="114"/>
                  <a:pt x="74" y="114"/>
                </a:cubicBezTo>
                <a:cubicBezTo>
                  <a:pt x="81" y="114"/>
                  <a:pt x="81" y="114"/>
                  <a:pt x="81" y="114"/>
                </a:cubicBezTo>
                <a:cubicBezTo>
                  <a:pt x="81" y="114"/>
                  <a:pt x="82" y="114"/>
                  <a:pt x="82" y="114"/>
                </a:cubicBezTo>
                <a:cubicBezTo>
                  <a:pt x="83" y="111"/>
                  <a:pt x="83" y="111"/>
                  <a:pt x="83" y="111"/>
                </a:cubicBezTo>
                <a:cubicBezTo>
                  <a:pt x="84" y="111"/>
                  <a:pt x="84" y="111"/>
                  <a:pt x="84" y="111"/>
                </a:cubicBezTo>
                <a:cubicBezTo>
                  <a:pt x="84" y="111"/>
                  <a:pt x="85" y="110"/>
                  <a:pt x="85" y="110"/>
                </a:cubicBezTo>
                <a:cubicBezTo>
                  <a:pt x="85" y="110"/>
                  <a:pt x="86" y="110"/>
                  <a:pt x="86" y="108"/>
                </a:cubicBezTo>
                <a:cubicBezTo>
                  <a:pt x="86" y="107"/>
                  <a:pt x="86" y="107"/>
                  <a:pt x="86" y="107"/>
                </a:cubicBezTo>
                <a:cubicBezTo>
                  <a:pt x="86" y="107"/>
                  <a:pt x="86" y="106"/>
                  <a:pt x="86" y="106"/>
                </a:cubicBezTo>
                <a:cubicBezTo>
                  <a:pt x="86" y="106"/>
                  <a:pt x="86" y="105"/>
                  <a:pt x="86" y="105"/>
                </a:cubicBezTo>
                <a:moveTo>
                  <a:pt x="78" y="10"/>
                </a:moveTo>
                <a:cubicBezTo>
                  <a:pt x="114" y="10"/>
                  <a:pt x="144" y="40"/>
                  <a:pt x="145" y="77"/>
                </a:cubicBezTo>
                <a:cubicBezTo>
                  <a:pt x="145" y="94"/>
                  <a:pt x="138" y="111"/>
                  <a:pt x="125" y="124"/>
                </a:cubicBezTo>
                <a:cubicBezTo>
                  <a:pt x="113" y="137"/>
                  <a:pt x="96" y="144"/>
                  <a:pt x="78" y="144"/>
                </a:cubicBezTo>
                <a:cubicBezTo>
                  <a:pt x="78" y="144"/>
                  <a:pt x="78" y="144"/>
                  <a:pt x="78" y="144"/>
                </a:cubicBezTo>
                <a:cubicBezTo>
                  <a:pt x="41" y="144"/>
                  <a:pt x="11" y="115"/>
                  <a:pt x="11" y="78"/>
                </a:cubicBezTo>
                <a:cubicBezTo>
                  <a:pt x="10" y="60"/>
                  <a:pt x="17" y="43"/>
                  <a:pt x="30" y="30"/>
                </a:cubicBezTo>
                <a:cubicBezTo>
                  <a:pt x="42" y="18"/>
                  <a:pt x="59" y="10"/>
                  <a:pt x="77" y="10"/>
                </a:cubicBezTo>
                <a:cubicBezTo>
                  <a:pt x="78" y="10"/>
                  <a:pt x="78" y="10"/>
                  <a:pt x="78" y="10"/>
                </a:cubicBezTo>
                <a:cubicBezTo>
                  <a:pt x="78" y="10"/>
                  <a:pt x="78" y="10"/>
                  <a:pt x="78" y="10"/>
                </a:cubicBezTo>
                <a:moveTo>
                  <a:pt x="78" y="0"/>
                </a:moveTo>
                <a:cubicBezTo>
                  <a:pt x="77" y="0"/>
                  <a:pt x="77" y="0"/>
                  <a:pt x="77" y="0"/>
                </a:cubicBezTo>
                <a:cubicBezTo>
                  <a:pt x="34" y="1"/>
                  <a:pt x="0" y="36"/>
                  <a:pt x="1" y="78"/>
                </a:cubicBezTo>
                <a:cubicBezTo>
                  <a:pt x="1" y="120"/>
                  <a:pt x="36" y="154"/>
                  <a:pt x="78" y="154"/>
                </a:cubicBezTo>
                <a:cubicBezTo>
                  <a:pt x="78" y="154"/>
                  <a:pt x="78" y="154"/>
                  <a:pt x="78" y="154"/>
                </a:cubicBezTo>
                <a:cubicBezTo>
                  <a:pt x="121" y="154"/>
                  <a:pt x="155" y="119"/>
                  <a:pt x="154" y="76"/>
                </a:cubicBezTo>
                <a:cubicBezTo>
                  <a:pt x="154" y="34"/>
                  <a:pt x="120" y="0"/>
                  <a:pt x="78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31" name="Freeform 34"/>
          <p:cNvSpPr>
            <a:spLocks noEditPoints="1"/>
          </p:cNvSpPr>
          <p:nvPr/>
        </p:nvSpPr>
        <p:spPr bwMode="black">
          <a:xfrm>
            <a:off x="5254896" y="4598104"/>
            <a:ext cx="305569" cy="305570"/>
          </a:xfrm>
          <a:custGeom>
            <a:avLst/>
            <a:gdLst>
              <a:gd name="T0" fmla="*/ 73 w 150"/>
              <a:gd name="T1" fmla="*/ 117 h 150"/>
              <a:gd name="T2" fmla="*/ 43 w 150"/>
              <a:gd name="T3" fmla="*/ 84 h 150"/>
              <a:gd name="T4" fmla="*/ 78 w 150"/>
              <a:gd name="T5" fmla="*/ 49 h 150"/>
              <a:gd name="T6" fmla="*/ 79 w 150"/>
              <a:gd name="T7" fmla="*/ 49 h 150"/>
              <a:gd name="T8" fmla="*/ 79 w 150"/>
              <a:gd name="T9" fmla="*/ 34 h 150"/>
              <a:gd name="T10" fmla="*/ 106 w 150"/>
              <a:gd name="T11" fmla="*/ 57 h 150"/>
              <a:gd name="T12" fmla="*/ 79 w 150"/>
              <a:gd name="T13" fmla="*/ 81 h 150"/>
              <a:gd name="T14" fmla="*/ 79 w 150"/>
              <a:gd name="T15" fmla="*/ 65 h 150"/>
              <a:gd name="T16" fmla="*/ 53 w 150"/>
              <a:gd name="T17" fmla="*/ 90 h 150"/>
              <a:gd name="T18" fmla="*/ 73 w 150"/>
              <a:gd name="T19" fmla="*/ 115 h 150"/>
              <a:gd name="T20" fmla="*/ 73 w 150"/>
              <a:gd name="T21" fmla="*/ 117 h 150"/>
              <a:gd name="T22" fmla="*/ 150 w 150"/>
              <a:gd name="T23" fmla="*/ 75 h 150"/>
              <a:gd name="T24" fmla="*/ 75 w 150"/>
              <a:gd name="T25" fmla="*/ 0 h 150"/>
              <a:gd name="T26" fmla="*/ 0 w 150"/>
              <a:gd name="T27" fmla="*/ 75 h 150"/>
              <a:gd name="T28" fmla="*/ 75 w 150"/>
              <a:gd name="T29" fmla="*/ 150 h 150"/>
              <a:gd name="T30" fmla="*/ 150 w 150"/>
              <a:gd name="T31" fmla="*/ 75 h 150"/>
              <a:gd name="T32" fmla="*/ 140 w 150"/>
              <a:gd name="T33" fmla="*/ 75 h 150"/>
              <a:gd name="T34" fmla="*/ 75 w 150"/>
              <a:gd name="T35" fmla="*/ 141 h 150"/>
              <a:gd name="T36" fmla="*/ 9 w 150"/>
              <a:gd name="T37" fmla="*/ 75 h 150"/>
              <a:gd name="T38" fmla="*/ 75 w 150"/>
              <a:gd name="T39" fmla="*/ 10 h 150"/>
              <a:gd name="T40" fmla="*/ 140 w 150"/>
              <a:gd name="T41" fmla="*/ 75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50" h="150">
                <a:moveTo>
                  <a:pt x="73" y="117"/>
                </a:moveTo>
                <a:cubicBezTo>
                  <a:pt x="57" y="115"/>
                  <a:pt x="43" y="101"/>
                  <a:pt x="43" y="84"/>
                </a:cubicBezTo>
                <a:cubicBezTo>
                  <a:pt x="43" y="65"/>
                  <a:pt x="60" y="49"/>
                  <a:pt x="78" y="49"/>
                </a:cubicBezTo>
                <a:cubicBezTo>
                  <a:pt x="78" y="49"/>
                  <a:pt x="78" y="49"/>
                  <a:pt x="79" y="49"/>
                </a:cubicBezTo>
                <a:cubicBezTo>
                  <a:pt x="79" y="34"/>
                  <a:pt x="79" y="34"/>
                  <a:pt x="79" y="34"/>
                </a:cubicBezTo>
                <a:cubicBezTo>
                  <a:pt x="106" y="57"/>
                  <a:pt x="106" y="57"/>
                  <a:pt x="106" y="57"/>
                </a:cubicBezTo>
                <a:cubicBezTo>
                  <a:pt x="79" y="81"/>
                  <a:pt x="79" y="81"/>
                  <a:pt x="79" y="81"/>
                </a:cubicBezTo>
                <a:cubicBezTo>
                  <a:pt x="79" y="65"/>
                  <a:pt x="79" y="65"/>
                  <a:pt x="79" y="65"/>
                </a:cubicBezTo>
                <a:cubicBezTo>
                  <a:pt x="64" y="66"/>
                  <a:pt x="53" y="76"/>
                  <a:pt x="53" y="90"/>
                </a:cubicBezTo>
                <a:cubicBezTo>
                  <a:pt x="53" y="102"/>
                  <a:pt x="61" y="112"/>
                  <a:pt x="73" y="115"/>
                </a:cubicBezTo>
                <a:lnTo>
                  <a:pt x="73" y="117"/>
                </a:lnTo>
                <a:close/>
                <a:moveTo>
                  <a:pt x="150" y="75"/>
                </a:moveTo>
                <a:cubicBezTo>
                  <a:pt x="150" y="34"/>
                  <a:pt x="116" y="0"/>
                  <a:pt x="75" y="0"/>
                </a:cubicBezTo>
                <a:cubicBezTo>
                  <a:pt x="33" y="0"/>
                  <a:pt x="0" y="34"/>
                  <a:pt x="0" y="75"/>
                </a:cubicBezTo>
                <a:cubicBezTo>
                  <a:pt x="0" y="117"/>
                  <a:pt x="33" y="150"/>
                  <a:pt x="75" y="150"/>
                </a:cubicBezTo>
                <a:cubicBezTo>
                  <a:pt x="116" y="150"/>
                  <a:pt x="150" y="117"/>
                  <a:pt x="150" y="75"/>
                </a:cubicBezTo>
                <a:close/>
                <a:moveTo>
                  <a:pt x="140" y="75"/>
                </a:moveTo>
                <a:cubicBezTo>
                  <a:pt x="140" y="112"/>
                  <a:pt x="111" y="141"/>
                  <a:pt x="75" y="141"/>
                </a:cubicBezTo>
                <a:cubicBezTo>
                  <a:pt x="39" y="141"/>
                  <a:pt x="9" y="112"/>
                  <a:pt x="9" y="75"/>
                </a:cubicBezTo>
                <a:cubicBezTo>
                  <a:pt x="9" y="39"/>
                  <a:pt x="39" y="10"/>
                  <a:pt x="75" y="10"/>
                </a:cubicBezTo>
                <a:cubicBezTo>
                  <a:pt x="111" y="10"/>
                  <a:pt x="140" y="39"/>
                  <a:pt x="140" y="7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32" name="Freeform 35"/>
          <p:cNvSpPr>
            <a:spLocks noEditPoints="1"/>
          </p:cNvSpPr>
          <p:nvPr/>
        </p:nvSpPr>
        <p:spPr bwMode="black">
          <a:xfrm>
            <a:off x="3234701" y="4598104"/>
            <a:ext cx="305569" cy="305570"/>
          </a:xfrm>
          <a:custGeom>
            <a:avLst/>
            <a:gdLst>
              <a:gd name="T0" fmla="*/ 109 w 150"/>
              <a:gd name="T1" fmla="*/ 75 h 150"/>
              <a:gd name="T2" fmla="*/ 82 w 150"/>
              <a:gd name="T3" fmla="*/ 96 h 150"/>
              <a:gd name="T4" fmla="*/ 82 w 150"/>
              <a:gd name="T5" fmla="*/ 55 h 150"/>
              <a:gd name="T6" fmla="*/ 109 w 150"/>
              <a:gd name="T7" fmla="*/ 75 h 150"/>
              <a:gd name="T8" fmla="*/ 48 w 150"/>
              <a:gd name="T9" fmla="*/ 55 h 150"/>
              <a:gd name="T10" fmla="*/ 48 w 150"/>
              <a:gd name="T11" fmla="*/ 96 h 150"/>
              <a:gd name="T12" fmla="*/ 76 w 150"/>
              <a:gd name="T13" fmla="*/ 75 h 150"/>
              <a:gd name="T14" fmla="*/ 48 w 150"/>
              <a:gd name="T15" fmla="*/ 55 h 150"/>
              <a:gd name="T16" fmla="*/ 75 w 150"/>
              <a:gd name="T17" fmla="*/ 150 h 150"/>
              <a:gd name="T18" fmla="*/ 0 w 150"/>
              <a:gd name="T19" fmla="*/ 75 h 150"/>
              <a:gd name="T20" fmla="*/ 75 w 150"/>
              <a:gd name="T21" fmla="*/ 0 h 150"/>
              <a:gd name="T22" fmla="*/ 150 w 150"/>
              <a:gd name="T23" fmla="*/ 75 h 150"/>
              <a:gd name="T24" fmla="*/ 75 w 150"/>
              <a:gd name="T25" fmla="*/ 150 h 150"/>
              <a:gd name="T26" fmla="*/ 75 w 150"/>
              <a:gd name="T27" fmla="*/ 10 h 150"/>
              <a:gd name="T28" fmla="*/ 10 w 150"/>
              <a:gd name="T29" fmla="*/ 75 h 150"/>
              <a:gd name="T30" fmla="*/ 75 w 150"/>
              <a:gd name="T31" fmla="*/ 141 h 150"/>
              <a:gd name="T32" fmla="*/ 141 w 150"/>
              <a:gd name="T33" fmla="*/ 75 h 150"/>
              <a:gd name="T34" fmla="*/ 75 w 150"/>
              <a:gd name="T35" fmla="*/ 1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50" h="150">
                <a:moveTo>
                  <a:pt x="109" y="75"/>
                </a:moveTo>
                <a:cubicBezTo>
                  <a:pt x="82" y="96"/>
                  <a:pt x="82" y="96"/>
                  <a:pt x="82" y="96"/>
                </a:cubicBezTo>
                <a:cubicBezTo>
                  <a:pt x="82" y="55"/>
                  <a:pt x="82" y="55"/>
                  <a:pt x="82" y="55"/>
                </a:cubicBezTo>
                <a:lnTo>
                  <a:pt x="109" y="75"/>
                </a:lnTo>
                <a:close/>
                <a:moveTo>
                  <a:pt x="48" y="55"/>
                </a:moveTo>
                <a:cubicBezTo>
                  <a:pt x="48" y="96"/>
                  <a:pt x="48" y="96"/>
                  <a:pt x="48" y="96"/>
                </a:cubicBezTo>
                <a:cubicBezTo>
                  <a:pt x="76" y="75"/>
                  <a:pt x="76" y="75"/>
                  <a:pt x="76" y="75"/>
                </a:cubicBezTo>
                <a:lnTo>
                  <a:pt x="48" y="55"/>
                </a:lnTo>
                <a:close/>
                <a:moveTo>
                  <a:pt x="75" y="150"/>
                </a:moveTo>
                <a:cubicBezTo>
                  <a:pt x="34" y="150"/>
                  <a:pt x="0" y="117"/>
                  <a:pt x="0" y="75"/>
                </a:cubicBezTo>
                <a:cubicBezTo>
                  <a:pt x="0" y="34"/>
                  <a:pt x="34" y="0"/>
                  <a:pt x="75" y="0"/>
                </a:cubicBezTo>
                <a:cubicBezTo>
                  <a:pt x="117" y="0"/>
                  <a:pt x="150" y="34"/>
                  <a:pt x="150" y="75"/>
                </a:cubicBezTo>
                <a:cubicBezTo>
                  <a:pt x="150" y="117"/>
                  <a:pt x="117" y="150"/>
                  <a:pt x="75" y="150"/>
                </a:cubicBezTo>
                <a:close/>
                <a:moveTo>
                  <a:pt x="75" y="10"/>
                </a:moveTo>
                <a:cubicBezTo>
                  <a:pt x="39" y="10"/>
                  <a:pt x="10" y="39"/>
                  <a:pt x="10" y="75"/>
                </a:cubicBezTo>
                <a:cubicBezTo>
                  <a:pt x="10" y="112"/>
                  <a:pt x="39" y="141"/>
                  <a:pt x="75" y="141"/>
                </a:cubicBezTo>
                <a:cubicBezTo>
                  <a:pt x="111" y="141"/>
                  <a:pt x="141" y="112"/>
                  <a:pt x="141" y="75"/>
                </a:cubicBezTo>
                <a:cubicBezTo>
                  <a:pt x="141" y="39"/>
                  <a:pt x="111" y="10"/>
                  <a:pt x="75" y="1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33" name="Freeform 36"/>
          <p:cNvSpPr>
            <a:spLocks noEditPoints="1"/>
          </p:cNvSpPr>
          <p:nvPr/>
        </p:nvSpPr>
        <p:spPr bwMode="black">
          <a:xfrm>
            <a:off x="2562534" y="4597485"/>
            <a:ext cx="303105" cy="306801"/>
          </a:xfrm>
          <a:custGeom>
            <a:avLst/>
            <a:gdLst>
              <a:gd name="T0" fmla="*/ 82 w 149"/>
              <a:gd name="T1" fmla="*/ 41 h 150"/>
              <a:gd name="T2" fmla="*/ 80 w 149"/>
              <a:gd name="T3" fmla="*/ 87 h 150"/>
              <a:gd name="T4" fmla="*/ 68 w 149"/>
              <a:gd name="T5" fmla="*/ 87 h 150"/>
              <a:gd name="T6" fmla="*/ 67 w 149"/>
              <a:gd name="T7" fmla="*/ 41 h 150"/>
              <a:gd name="T8" fmla="*/ 82 w 149"/>
              <a:gd name="T9" fmla="*/ 41 h 150"/>
              <a:gd name="T10" fmla="*/ 83 w 149"/>
              <a:gd name="T11" fmla="*/ 102 h 150"/>
              <a:gd name="T12" fmla="*/ 81 w 149"/>
              <a:gd name="T13" fmla="*/ 107 h 150"/>
              <a:gd name="T14" fmla="*/ 75 w 149"/>
              <a:gd name="T15" fmla="*/ 109 h 150"/>
              <a:gd name="T16" fmla="*/ 68 w 149"/>
              <a:gd name="T17" fmla="*/ 107 h 150"/>
              <a:gd name="T18" fmla="*/ 66 w 149"/>
              <a:gd name="T19" fmla="*/ 102 h 150"/>
              <a:gd name="T20" fmla="*/ 68 w 149"/>
              <a:gd name="T21" fmla="*/ 96 h 150"/>
              <a:gd name="T22" fmla="*/ 75 w 149"/>
              <a:gd name="T23" fmla="*/ 94 h 150"/>
              <a:gd name="T24" fmla="*/ 81 w 149"/>
              <a:gd name="T25" fmla="*/ 96 h 150"/>
              <a:gd name="T26" fmla="*/ 83 w 149"/>
              <a:gd name="T27" fmla="*/ 102 h 150"/>
              <a:gd name="T28" fmla="*/ 74 w 149"/>
              <a:gd name="T29" fmla="*/ 10 h 150"/>
              <a:gd name="T30" fmla="*/ 9 w 149"/>
              <a:gd name="T31" fmla="*/ 75 h 150"/>
              <a:gd name="T32" fmla="*/ 74 w 149"/>
              <a:gd name="T33" fmla="*/ 140 h 150"/>
              <a:gd name="T34" fmla="*/ 140 w 149"/>
              <a:gd name="T35" fmla="*/ 75 h 150"/>
              <a:gd name="T36" fmla="*/ 74 w 149"/>
              <a:gd name="T37" fmla="*/ 10 h 150"/>
              <a:gd name="T38" fmla="*/ 74 w 149"/>
              <a:gd name="T39" fmla="*/ 0 h 150"/>
              <a:gd name="T40" fmla="*/ 149 w 149"/>
              <a:gd name="T41" fmla="*/ 75 h 150"/>
              <a:gd name="T42" fmla="*/ 74 w 149"/>
              <a:gd name="T43" fmla="*/ 150 h 150"/>
              <a:gd name="T44" fmla="*/ 0 w 149"/>
              <a:gd name="T45" fmla="*/ 75 h 150"/>
              <a:gd name="T46" fmla="*/ 74 w 149"/>
              <a:gd name="T47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49" h="150">
                <a:moveTo>
                  <a:pt x="82" y="41"/>
                </a:moveTo>
                <a:cubicBezTo>
                  <a:pt x="80" y="87"/>
                  <a:pt x="80" y="87"/>
                  <a:pt x="80" y="87"/>
                </a:cubicBezTo>
                <a:cubicBezTo>
                  <a:pt x="68" y="87"/>
                  <a:pt x="68" y="87"/>
                  <a:pt x="68" y="87"/>
                </a:cubicBezTo>
                <a:cubicBezTo>
                  <a:pt x="67" y="41"/>
                  <a:pt x="67" y="41"/>
                  <a:pt x="67" y="41"/>
                </a:cubicBezTo>
                <a:lnTo>
                  <a:pt x="82" y="41"/>
                </a:lnTo>
                <a:close/>
                <a:moveTo>
                  <a:pt x="83" y="102"/>
                </a:moveTo>
                <a:cubicBezTo>
                  <a:pt x="83" y="104"/>
                  <a:pt x="82" y="106"/>
                  <a:pt x="81" y="107"/>
                </a:cubicBezTo>
                <a:cubicBezTo>
                  <a:pt x="79" y="109"/>
                  <a:pt x="77" y="109"/>
                  <a:pt x="75" y="109"/>
                </a:cubicBezTo>
                <a:cubicBezTo>
                  <a:pt x="72" y="109"/>
                  <a:pt x="70" y="109"/>
                  <a:pt x="68" y="107"/>
                </a:cubicBezTo>
                <a:cubicBezTo>
                  <a:pt x="67" y="105"/>
                  <a:pt x="66" y="104"/>
                  <a:pt x="66" y="102"/>
                </a:cubicBezTo>
                <a:cubicBezTo>
                  <a:pt x="66" y="99"/>
                  <a:pt x="67" y="97"/>
                  <a:pt x="68" y="96"/>
                </a:cubicBezTo>
                <a:cubicBezTo>
                  <a:pt x="70" y="94"/>
                  <a:pt x="72" y="94"/>
                  <a:pt x="75" y="94"/>
                </a:cubicBezTo>
                <a:cubicBezTo>
                  <a:pt x="77" y="94"/>
                  <a:pt x="79" y="94"/>
                  <a:pt x="81" y="96"/>
                </a:cubicBezTo>
                <a:cubicBezTo>
                  <a:pt x="82" y="97"/>
                  <a:pt x="83" y="99"/>
                  <a:pt x="83" y="102"/>
                </a:cubicBezTo>
                <a:moveTo>
                  <a:pt x="74" y="10"/>
                </a:moveTo>
                <a:cubicBezTo>
                  <a:pt x="38" y="10"/>
                  <a:pt x="9" y="39"/>
                  <a:pt x="9" y="75"/>
                </a:cubicBezTo>
                <a:cubicBezTo>
                  <a:pt x="9" y="111"/>
                  <a:pt x="38" y="140"/>
                  <a:pt x="74" y="140"/>
                </a:cubicBezTo>
                <a:cubicBezTo>
                  <a:pt x="111" y="140"/>
                  <a:pt x="140" y="111"/>
                  <a:pt x="140" y="75"/>
                </a:cubicBezTo>
                <a:cubicBezTo>
                  <a:pt x="140" y="39"/>
                  <a:pt x="111" y="10"/>
                  <a:pt x="74" y="10"/>
                </a:cubicBezTo>
                <a:moveTo>
                  <a:pt x="74" y="0"/>
                </a:moveTo>
                <a:cubicBezTo>
                  <a:pt x="116" y="0"/>
                  <a:pt x="149" y="34"/>
                  <a:pt x="149" y="75"/>
                </a:cubicBezTo>
                <a:cubicBezTo>
                  <a:pt x="149" y="116"/>
                  <a:pt x="116" y="150"/>
                  <a:pt x="74" y="150"/>
                </a:cubicBezTo>
                <a:cubicBezTo>
                  <a:pt x="33" y="150"/>
                  <a:pt x="0" y="116"/>
                  <a:pt x="0" y="75"/>
                </a:cubicBezTo>
                <a:cubicBezTo>
                  <a:pt x="0" y="34"/>
                  <a:pt x="33" y="0"/>
                  <a:pt x="74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34" name="Freeform 37"/>
          <p:cNvSpPr>
            <a:spLocks noEditPoints="1"/>
          </p:cNvSpPr>
          <p:nvPr/>
        </p:nvSpPr>
        <p:spPr bwMode="black">
          <a:xfrm>
            <a:off x="1887901" y="4598102"/>
            <a:ext cx="305569" cy="305570"/>
          </a:xfrm>
          <a:custGeom>
            <a:avLst/>
            <a:gdLst>
              <a:gd name="T0" fmla="*/ 55 w 150"/>
              <a:gd name="T1" fmla="*/ 46 h 150"/>
              <a:gd name="T2" fmla="*/ 67 w 150"/>
              <a:gd name="T3" fmla="*/ 46 h 150"/>
              <a:gd name="T4" fmla="*/ 67 w 150"/>
              <a:gd name="T5" fmla="*/ 105 h 150"/>
              <a:gd name="T6" fmla="*/ 55 w 150"/>
              <a:gd name="T7" fmla="*/ 105 h 150"/>
              <a:gd name="T8" fmla="*/ 55 w 150"/>
              <a:gd name="T9" fmla="*/ 46 h 150"/>
              <a:gd name="T10" fmla="*/ 83 w 150"/>
              <a:gd name="T11" fmla="*/ 105 h 150"/>
              <a:gd name="T12" fmla="*/ 95 w 150"/>
              <a:gd name="T13" fmla="*/ 105 h 150"/>
              <a:gd name="T14" fmla="*/ 95 w 150"/>
              <a:gd name="T15" fmla="*/ 46 h 150"/>
              <a:gd name="T16" fmla="*/ 83 w 150"/>
              <a:gd name="T17" fmla="*/ 46 h 150"/>
              <a:gd name="T18" fmla="*/ 83 w 150"/>
              <a:gd name="T19" fmla="*/ 105 h 150"/>
              <a:gd name="T20" fmla="*/ 150 w 150"/>
              <a:gd name="T21" fmla="*/ 75 h 150"/>
              <a:gd name="T22" fmla="*/ 75 w 150"/>
              <a:gd name="T23" fmla="*/ 0 h 150"/>
              <a:gd name="T24" fmla="*/ 0 w 150"/>
              <a:gd name="T25" fmla="*/ 75 h 150"/>
              <a:gd name="T26" fmla="*/ 75 w 150"/>
              <a:gd name="T27" fmla="*/ 150 h 150"/>
              <a:gd name="T28" fmla="*/ 150 w 150"/>
              <a:gd name="T29" fmla="*/ 75 h 150"/>
              <a:gd name="T30" fmla="*/ 141 w 150"/>
              <a:gd name="T31" fmla="*/ 75 h 150"/>
              <a:gd name="T32" fmla="*/ 75 w 150"/>
              <a:gd name="T33" fmla="*/ 141 h 150"/>
              <a:gd name="T34" fmla="*/ 10 w 150"/>
              <a:gd name="T35" fmla="*/ 75 h 150"/>
              <a:gd name="T36" fmla="*/ 75 w 150"/>
              <a:gd name="T37" fmla="*/ 10 h 150"/>
              <a:gd name="T38" fmla="*/ 141 w 150"/>
              <a:gd name="T39" fmla="*/ 75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50" h="150">
                <a:moveTo>
                  <a:pt x="55" y="46"/>
                </a:moveTo>
                <a:cubicBezTo>
                  <a:pt x="67" y="46"/>
                  <a:pt x="67" y="46"/>
                  <a:pt x="67" y="46"/>
                </a:cubicBezTo>
                <a:cubicBezTo>
                  <a:pt x="67" y="105"/>
                  <a:pt x="67" y="105"/>
                  <a:pt x="67" y="105"/>
                </a:cubicBezTo>
                <a:cubicBezTo>
                  <a:pt x="55" y="105"/>
                  <a:pt x="55" y="105"/>
                  <a:pt x="55" y="105"/>
                </a:cubicBezTo>
                <a:lnTo>
                  <a:pt x="55" y="46"/>
                </a:lnTo>
                <a:close/>
                <a:moveTo>
                  <a:pt x="83" y="105"/>
                </a:moveTo>
                <a:cubicBezTo>
                  <a:pt x="95" y="105"/>
                  <a:pt x="95" y="105"/>
                  <a:pt x="95" y="105"/>
                </a:cubicBezTo>
                <a:cubicBezTo>
                  <a:pt x="95" y="46"/>
                  <a:pt x="95" y="46"/>
                  <a:pt x="95" y="46"/>
                </a:cubicBezTo>
                <a:cubicBezTo>
                  <a:pt x="83" y="46"/>
                  <a:pt x="83" y="46"/>
                  <a:pt x="83" y="46"/>
                </a:cubicBezTo>
                <a:lnTo>
                  <a:pt x="83" y="105"/>
                </a:lnTo>
                <a:close/>
                <a:moveTo>
                  <a:pt x="150" y="75"/>
                </a:moveTo>
                <a:cubicBezTo>
                  <a:pt x="150" y="34"/>
                  <a:pt x="116" y="0"/>
                  <a:pt x="75" y="0"/>
                </a:cubicBezTo>
                <a:cubicBezTo>
                  <a:pt x="34" y="0"/>
                  <a:pt x="0" y="34"/>
                  <a:pt x="0" y="75"/>
                </a:cubicBezTo>
                <a:cubicBezTo>
                  <a:pt x="0" y="117"/>
                  <a:pt x="34" y="150"/>
                  <a:pt x="75" y="150"/>
                </a:cubicBezTo>
                <a:cubicBezTo>
                  <a:pt x="116" y="150"/>
                  <a:pt x="150" y="117"/>
                  <a:pt x="150" y="75"/>
                </a:cubicBezTo>
                <a:close/>
                <a:moveTo>
                  <a:pt x="141" y="75"/>
                </a:moveTo>
                <a:cubicBezTo>
                  <a:pt x="141" y="112"/>
                  <a:pt x="111" y="141"/>
                  <a:pt x="75" y="141"/>
                </a:cubicBezTo>
                <a:cubicBezTo>
                  <a:pt x="39" y="141"/>
                  <a:pt x="10" y="112"/>
                  <a:pt x="10" y="75"/>
                </a:cubicBezTo>
                <a:cubicBezTo>
                  <a:pt x="10" y="39"/>
                  <a:pt x="39" y="10"/>
                  <a:pt x="75" y="10"/>
                </a:cubicBezTo>
                <a:cubicBezTo>
                  <a:pt x="111" y="10"/>
                  <a:pt x="141" y="39"/>
                  <a:pt x="141" y="7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35" name="Freeform 38"/>
          <p:cNvSpPr>
            <a:spLocks noEditPoints="1"/>
          </p:cNvSpPr>
          <p:nvPr/>
        </p:nvSpPr>
        <p:spPr bwMode="black">
          <a:xfrm>
            <a:off x="1887901" y="5271563"/>
            <a:ext cx="305569" cy="305570"/>
          </a:xfrm>
          <a:custGeom>
            <a:avLst/>
            <a:gdLst>
              <a:gd name="T0" fmla="*/ 80 w 150"/>
              <a:gd name="T1" fmla="*/ 84 h 150"/>
              <a:gd name="T2" fmla="*/ 73 w 150"/>
              <a:gd name="T3" fmla="*/ 77 h 150"/>
              <a:gd name="T4" fmla="*/ 66 w 150"/>
              <a:gd name="T5" fmla="*/ 70 h 150"/>
              <a:gd name="T6" fmla="*/ 67 w 150"/>
              <a:gd name="T7" fmla="*/ 69 h 150"/>
              <a:gd name="T8" fmla="*/ 69 w 150"/>
              <a:gd name="T9" fmla="*/ 64 h 150"/>
              <a:gd name="T10" fmla="*/ 78 w 150"/>
              <a:gd name="T11" fmla="*/ 72 h 150"/>
              <a:gd name="T12" fmla="*/ 85 w 150"/>
              <a:gd name="T13" fmla="*/ 80 h 150"/>
              <a:gd name="T14" fmla="*/ 80 w 150"/>
              <a:gd name="T15" fmla="*/ 84 h 150"/>
              <a:gd name="T16" fmla="*/ 82 w 150"/>
              <a:gd name="T17" fmla="*/ 84 h 150"/>
              <a:gd name="T18" fmla="*/ 82 w 150"/>
              <a:gd name="T19" fmla="*/ 71 h 150"/>
              <a:gd name="T20" fmla="*/ 79 w 150"/>
              <a:gd name="T21" fmla="*/ 68 h 150"/>
              <a:gd name="T22" fmla="*/ 66 w 150"/>
              <a:gd name="T23" fmla="*/ 68 h 150"/>
              <a:gd name="T24" fmla="*/ 65 w 150"/>
              <a:gd name="T25" fmla="*/ 70 h 150"/>
              <a:gd name="T26" fmla="*/ 80 w 150"/>
              <a:gd name="T27" fmla="*/ 85 h 150"/>
              <a:gd name="T28" fmla="*/ 82 w 150"/>
              <a:gd name="T29" fmla="*/ 84 h 150"/>
              <a:gd name="T30" fmla="*/ 86 w 150"/>
              <a:gd name="T31" fmla="*/ 49 h 150"/>
              <a:gd name="T32" fmla="*/ 52 w 150"/>
              <a:gd name="T33" fmla="*/ 82 h 150"/>
              <a:gd name="T34" fmla="*/ 49 w 150"/>
              <a:gd name="T35" fmla="*/ 101 h 150"/>
              <a:gd name="T36" fmla="*/ 68 w 150"/>
              <a:gd name="T37" fmla="*/ 97 h 150"/>
              <a:gd name="T38" fmla="*/ 101 w 150"/>
              <a:gd name="T39" fmla="*/ 64 h 150"/>
              <a:gd name="T40" fmla="*/ 86 w 150"/>
              <a:gd name="T41" fmla="*/ 49 h 150"/>
              <a:gd name="T42" fmla="*/ 150 w 150"/>
              <a:gd name="T43" fmla="*/ 75 h 150"/>
              <a:gd name="T44" fmla="*/ 75 w 150"/>
              <a:gd name="T45" fmla="*/ 0 h 150"/>
              <a:gd name="T46" fmla="*/ 0 w 150"/>
              <a:gd name="T47" fmla="*/ 75 h 150"/>
              <a:gd name="T48" fmla="*/ 75 w 150"/>
              <a:gd name="T49" fmla="*/ 150 h 150"/>
              <a:gd name="T50" fmla="*/ 150 w 150"/>
              <a:gd name="T51" fmla="*/ 75 h 150"/>
              <a:gd name="T52" fmla="*/ 141 w 150"/>
              <a:gd name="T53" fmla="*/ 75 h 150"/>
              <a:gd name="T54" fmla="*/ 75 w 150"/>
              <a:gd name="T55" fmla="*/ 140 h 150"/>
              <a:gd name="T56" fmla="*/ 10 w 150"/>
              <a:gd name="T57" fmla="*/ 75 h 150"/>
              <a:gd name="T58" fmla="*/ 75 w 150"/>
              <a:gd name="T59" fmla="*/ 9 h 150"/>
              <a:gd name="T60" fmla="*/ 141 w 150"/>
              <a:gd name="T61" fmla="*/ 75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50" h="150">
                <a:moveTo>
                  <a:pt x="80" y="84"/>
                </a:moveTo>
                <a:cubicBezTo>
                  <a:pt x="80" y="84"/>
                  <a:pt x="77" y="81"/>
                  <a:pt x="73" y="77"/>
                </a:cubicBezTo>
                <a:cubicBezTo>
                  <a:pt x="68" y="71"/>
                  <a:pt x="67" y="70"/>
                  <a:pt x="66" y="70"/>
                </a:cubicBezTo>
                <a:cubicBezTo>
                  <a:pt x="67" y="69"/>
                  <a:pt x="67" y="69"/>
                  <a:pt x="67" y="69"/>
                </a:cubicBezTo>
                <a:cubicBezTo>
                  <a:pt x="69" y="64"/>
                  <a:pt x="69" y="64"/>
                  <a:pt x="69" y="64"/>
                </a:cubicBezTo>
                <a:cubicBezTo>
                  <a:pt x="70" y="64"/>
                  <a:pt x="71" y="65"/>
                  <a:pt x="78" y="72"/>
                </a:cubicBezTo>
                <a:cubicBezTo>
                  <a:pt x="82" y="76"/>
                  <a:pt x="85" y="80"/>
                  <a:pt x="85" y="80"/>
                </a:cubicBezTo>
                <a:lnTo>
                  <a:pt x="80" y="84"/>
                </a:lnTo>
                <a:close/>
                <a:moveTo>
                  <a:pt x="82" y="84"/>
                </a:moveTo>
                <a:cubicBezTo>
                  <a:pt x="88" y="78"/>
                  <a:pt x="85" y="75"/>
                  <a:pt x="82" y="71"/>
                </a:cubicBezTo>
                <a:cubicBezTo>
                  <a:pt x="79" y="68"/>
                  <a:pt x="79" y="68"/>
                  <a:pt x="79" y="68"/>
                </a:cubicBezTo>
                <a:cubicBezTo>
                  <a:pt x="75" y="65"/>
                  <a:pt x="73" y="61"/>
                  <a:pt x="66" y="68"/>
                </a:cubicBezTo>
                <a:cubicBezTo>
                  <a:pt x="66" y="69"/>
                  <a:pt x="65" y="69"/>
                  <a:pt x="65" y="70"/>
                </a:cubicBezTo>
                <a:cubicBezTo>
                  <a:pt x="80" y="85"/>
                  <a:pt x="80" y="85"/>
                  <a:pt x="80" y="85"/>
                </a:cubicBezTo>
                <a:cubicBezTo>
                  <a:pt x="81" y="85"/>
                  <a:pt x="81" y="84"/>
                  <a:pt x="82" y="84"/>
                </a:cubicBezTo>
                <a:moveTo>
                  <a:pt x="86" y="49"/>
                </a:moveTo>
                <a:cubicBezTo>
                  <a:pt x="52" y="82"/>
                  <a:pt x="52" y="82"/>
                  <a:pt x="52" y="82"/>
                </a:cubicBezTo>
                <a:cubicBezTo>
                  <a:pt x="49" y="101"/>
                  <a:pt x="49" y="101"/>
                  <a:pt x="49" y="101"/>
                </a:cubicBezTo>
                <a:cubicBezTo>
                  <a:pt x="68" y="97"/>
                  <a:pt x="68" y="97"/>
                  <a:pt x="68" y="97"/>
                </a:cubicBezTo>
                <a:cubicBezTo>
                  <a:pt x="101" y="64"/>
                  <a:pt x="101" y="64"/>
                  <a:pt x="101" y="64"/>
                </a:cubicBezTo>
                <a:lnTo>
                  <a:pt x="86" y="49"/>
                </a:lnTo>
                <a:close/>
                <a:moveTo>
                  <a:pt x="150" y="75"/>
                </a:moveTo>
                <a:cubicBezTo>
                  <a:pt x="150" y="33"/>
                  <a:pt x="116" y="0"/>
                  <a:pt x="75" y="0"/>
                </a:cubicBezTo>
                <a:cubicBezTo>
                  <a:pt x="34" y="0"/>
                  <a:pt x="0" y="33"/>
                  <a:pt x="0" y="75"/>
                </a:cubicBezTo>
                <a:cubicBezTo>
                  <a:pt x="0" y="116"/>
                  <a:pt x="34" y="150"/>
                  <a:pt x="75" y="150"/>
                </a:cubicBezTo>
                <a:cubicBezTo>
                  <a:pt x="116" y="150"/>
                  <a:pt x="150" y="116"/>
                  <a:pt x="150" y="75"/>
                </a:cubicBezTo>
                <a:close/>
                <a:moveTo>
                  <a:pt x="141" y="75"/>
                </a:moveTo>
                <a:cubicBezTo>
                  <a:pt x="141" y="111"/>
                  <a:pt x="111" y="140"/>
                  <a:pt x="75" y="140"/>
                </a:cubicBezTo>
                <a:cubicBezTo>
                  <a:pt x="39" y="140"/>
                  <a:pt x="10" y="111"/>
                  <a:pt x="10" y="75"/>
                </a:cubicBezTo>
                <a:cubicBezTo>
                  <a:pt x="10" y="38"/>
                  <a:pt x="39" y="9"/>
                  <a:pt x="75" y="9"/>
                </a:cubicBezTo>
                <a:cubicBezTo>
                  <a:pt x="111" y="9"/>
                  <a:pt x="141" y="38"/>
                  <a:pt x="141" y="7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36" name="Freeform 39"/>
          <p:cNvSpPr>
            <a:spLocks noEditPoints="1"/>
          </p:cNvSpPr>
          <p:nvPr/>
        </p:nvSpPr>
        <p:spPr bwMode="black">
          <a:xfrm>
            <a:off x="3907481" y="5271565"/>
            <a:ext cx="306801" cy="305570"/>
          </a:xfrm>
          <a:custGeom>
            <a:avLst/>
            <a:gdLst>
              <a:gd name="T0" fmla="*/ 99 w 150"/>
              <a:gd name="T1" fmla="*/ 107 h 150"/>
              <a:gd name="T2" fmla="*/ 75 w 150"/>
              <a:gd name="T3" fmla="*/ 90 h 150"/>
              <a:gd name="T4" fmla="*/ 51 w 150"/>
              <a:gd name="T5" fmla="*/ 107 h 150"/>
              <a:gd name="T6" fmla="*/ 60 w 150"/>
              <a:gd name="T7" fmla="*/ 79 h 150"/>
              <a:gd name="T8" fmla="*/ 36 w 150"/>
              <a:gd name="T9" fmla="*/ 62 h 150"/>
              <a:gd name="T10" fmla="*/ 66 w 150"/>
              <a:gd name="T11" fmla="*/ 62 h 150"/>
              <a:gd name="T12" fmla="*/ 75 w 150"/>
              <a:gd name="T13" fmla="*/ 33 h 150"/>
              <a:gd name="T14" fmla="*/ 85 w 150"/>
              <a:gd name="T15" fmla="*/ 62 h 150"/>
              <a:gd name="T16" fmla="*/ 114 w 150"/>
              <a:gd name="T17" fmla="*/ 62 h 150"/>
              <a:gd name="T18" fmla="*/ 90 w 150"/>
              <a:gd name="T19" fmla="*/ 79 h 150"/>
              <a:gd name="T20" fmla="*/ 99 w 150"/>
              <a:gd name="T21" fmla="*/ 107 h 150"/>
              <a:gd name="T22" fmla="*/ 150 w 150"/>
              <a:gd name="T23" fmla="*/ 75 h 150"/>
              <a:gd name="T24" fmla="*/ 75 w 150"/>
              <a:gd name="T25" fmla="*/ 0 h 150"/>
              <a:gd name="T26" fmla="*/ 0 w 150"/>
              <a:gd name="T27" fmla="*/ 75 h 150"/>
              <a:gd name="T28" fmla="*/ 75 w 150"/>
              <a:gd name="T29" fmla="*/ 150 h 150"/>
              <a:gd name="T30" fmla="*/ 150 w 150"/>
              <a:gd name="T31" fmla="*/ 75 h 150"/>
              <a:gd name="T32" fmla="*/ 141 w 150"/>
              <a:gd name="T33" fmla="*/ 75 h 150"/>
              <a:gd name="T34" fmla="*/ 75 w 150"/>
              <a:gd name="T35" fmla="*/ 140 h 150"/>
              <a:gd name="T36" fmla="*/ 10 w 150"/>
              <a:gd name="T37" fmla="*/ 75 h 150"/>
              <a:gd name="T38" fmla="*/ 75 w 150"/>
              <a:gd name="T39" fmla="*/ 9 h 150"/>
              <a:gd name="T40" fmla="*/ 141 w 150"/>
              <a:gd name="T41" fmla="*/ 75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50" h="150">
                <a:moveTo>
                  <a:pt x="99" y="107"/>
                </a:moveTo>
                <a:cubicBezTo>
                  <a:pt x="75" y="90"/>
                  <a:pt x="75" y="90"/>
                  <a:pt x="75" y="90"/>
                </a:cubicBezTo>
                <a:cubicBezTo>
                  <a:pt x="51" y="107"/>
                  <a:pt x="51" y="107"/>
                  <a:pt x="51" y="107"/>
                </a:cubicBezTo>
                <a:cubicBezTo>
                  <a:pt x="60" y="79"/>
                  <a:pt x="60" y="79"/>
                  <a:pt x="60" y="79"/>
                </a:cubicBezTo>
                <a:cubicBezTo>
                  <a:pt x="36" y="62"/>
                  <a:pt x="36" y="62"/>
                  <a:pt x="36" y="62"/>
                </a:cubicBezTo>
                <a:cubicBezTo>
                  <a:pt x="66" y="62"/>
                  <a:pt x="66" y="62"/>
                  <a:pt x="66" y="62"/>
                </a:cubicBezTo>
                <a:cubicBezTo>
                  <a:pt x="75" y="33"/>
                  <a:pt x="75" y="33"/>
                  <a:pt x="75" y="33"/>
                </a:cubicBezTo>
                <a:cubicBezTo>
                  <a:pt x="85" y="62"/>
                  <a:pt x="85" y="62"/>
                  <a:pt x="85" y="62"/>
                </a:cubicBezTo>
                <a:cubicBezTo>
                  <a:pt x="114" y="62"/>
                  <a:pt x="114" y="62"/>
                  <a:pt x="114" y="62"/>
                </a:cubicBezTo>
                <a:cubicBezTo>
                  <a:pt x="90" y="79"/>
                  <a:pt x="90" y="79"/>
                  <a:pt x="90" y="79"/>
                </a:cubicBezTo>
                <a:lnTo>
                  <a:pt x="99" y="107"/>
                </a:lnTo>
                <a:close/>
                <a:moveTo>
                  <a:pt x="150" y="75"/>
                </a:moveTo>
                <a:cubicBezTo>
                  <a:pt x="150" y="33"/>
                  <a:pt x="117" y="0"/>
                  <a:pt x="75" y="0"/>
                </a:cubicBezTo>
                <a:cubicBezTo>
                  <a:pt x="34" y="0"/>
                  <a:pt x="0" y="33"/>
                  <a:pt x="0" y="75"/>
                </a:cubicBezTo>
                <a:cubicBezTo>
                  <a:pt x="0" y="116"/>
                  <a:pt x="34" y="150"/>
                  <a:pt x="75" y="150"/>
                </a:cubicBezTo>
                <a:cubicBezTo>
                  <a:pt x="117" y="150"/>
                  <a:pt x="150" y="116"/>
                  <a:pt x="150" y="75"/>
                </a:cubicBezTo>
                <a:close/>
                <a:moveTo>
                  <a:pt x="141" y="75"/>
                </a:moveTo>
                <a:cubicBezTo>
                  <a:pt x="141" y="111"/>
                  <a:pt x="111" y="140"/>
                  <a:pt x="75" y="140"/>
                </a:cubicBezTo>
                <a:cubicBezTo>
                  <a:pt x="39" y="140"/>
                  <a:pt x="10" y="111"/>
                  <a:pt x="10" y="75"/>
                </a:cubicBezTo>
                <a:cubicBezTo>
                  <a:pt x="10" y="38"/>
                  <a:pt x="39" y="9"/>
                  <a:pt x="75" y="9"/>
                </a:cubicBezTo>
                <a:cubicBezTo>
                  <a:pt x="111" y="9"/>
                  <a:pt x="141" y="38"/>
                  <a:pt x="141" y="7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37" name="Freeform 40"/>
          <p:cNvSpPr>
            <a:spLocks noEditPoints="1"/>
          </p:cNvSpPr>
          <p:nvPr/>
        </p:nvSpPr>
        <p:spPr bwMode="black">
          <a:xfrm>
            <a:off x="4581498" y="5271565"/>
            <a:ext cx="305569" cy="305570"/>
          </a:xfrm>
          <a:custGeom>
            <a:avLst/>
            <a:gdLst>
              <a:gd name="T0" fmla="*/ 99 w 150"/>
              <a:gd name="T1" fmla="*/ 106 h 150"/>
              <a:gd name="T2" fmla="*/ 75 w 150"/>
              <a:gd name="T3" fmla="*/ 83 h 150"/>
              <a:gd name="T4" fmla="*/ 52 w 150"/>
              <a:gd name="T5" fmla="*/ 106 h 150"/>
              <a:gd name="T6" fmla="*/ 44 w 150"/>
              <a:gd name="T7" fmla="*/ 98 h 150"/>
              <a:gd name="T8" fmla="*/ 67 w 150"/>
              <a:gd name="T9" fmla="*/ 75 h 150"/>
              <a:gd name="T10" fmla="*/ 44 w 150"/>
              <a:gd name="T11" fmla="*/ 51 h 150"/>
              <a:gd name="T12" fmla="*/ 52 w 150"/>
              <a:gd name="T13" fmla="*/ 43 h 150"/>
              <a:gd name="T14" fmla="*/ 75 w 150"/>
              <a:gd name="T15" fmla="*/ 66 h 150"/>
              <a:gd name="T16" fmla="*/ 98 w 150"/>
              <a:gd name="T17" fmla="*/ 43 h 150"/>
              <a:gd name="T18" fmla="*/ 107 w 150"/>
              <a:gd name="T19" fmla="*/ 52 h 150"/>
              <a:gd name="T20" fmla="*/ 84 w 150"/>
              <a:gd name="T21" fmla="*/ 75 h 150"/>
              <a:gd name="T22" fmla="*/ 107 w 150"/>
              <a:gd name="T23" fmla="*/ 98 h 150"/>
              <a:gd name="T24" fmla="*/ 99 w 150"/>
              <a:gd name="T25" fmla="*/ 106 h 150"/>
              <a:gd name="T26" fmla="*/ 150 w 150"/>
              <a:gd name="T27" fmla="*/ 75 h 150"/>
              <a:gd name="T28" fmla="*/ 75 w 150"/>
              <a:gd name="T29" fmla="*/ 0 h 150"/>
              <a:gd name="T30" fmla="*/ 0 w 150"/>
              <a:gd name="T31" fmla="*/ 75 h 150"/>
              <a:gd name="T32" fmla="*/ 75 w 150"/>
              <a:gd name="T33" fmla="*/ 150 h 150"/>
              <a:gd name="T34" fmla="*/ 150 w 150"/>
              <a:gd name="T35" fmla="*/ 75 h 150"/>
              <a:gd name="T36" fmla="*/ 141 w 150"/>
              <a:gd name="T37" fmla="*/ 75 h 150"/>
              <a:gd name="T38" fmla="*/ 75 w 150"/>
              <a:gd name="T39" fmla="*/ 140 h 150"/>
              <a:gd name="T40" fmla="*/ 10 w 150"/>
              <a:gd name="T41" fmla="*/ 75 h 150"/>
              <a:gd name="T42" fmla="*/ 75 w 150"/>
              <a:gd name="T43" fmla="*/ 9 h 150"/>
              <a:gd name="T44" fmla="*/ 141 w 150"/>
              <a:gd name="T45" fmla="*/ 75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150" h="150">
                <a:moveTo>
                  <a:pt x="99" y="106"/>
                </a:moveTo>
                <a:cubicBezTo>
                  <a:pt x="75" y="83"/>
                  <a:pt x="75" y="83"/>
                  <a:pt x="75" y="83"/>
                </a:cubicBezTo>
                <a:cubicBezTo>
                  <a:pt x="52" y="106"/>
                  <a:pt x="52" y="106"/>
                  <a:pt x="52" y="106"/>
                </a:cubicBezTo>
                <a:cubicBezTo>
                  <a:pt x="44" y="98"/>
                  <a:pt x="44" y="98"/>
                  <a:pt x="44" y="98"/>
                </a:cubicBezTo>
                <a:cubicBezTo>
                  <a:pt x="67" y="75"/>
                  <a:pt x="67" y="75"/>
                  <a:pt x="67" y="75"/>
                </a:cubicBezTo>
                <a:cubicBezTo>
                  <a:pt x="44" y="51"/>
                  <a:pt x="44" y="51"/>
                  <a:pt x="44" y="51"/>
                </a:cubicBezTo>
                <a:cubicBezTo>
                  <a:pt x="52" y="43"/>
                  <a:pt x="52" y="43"/>
                  <a:pt x="52" y="43"/>
                </a:cubicBezTo>
                <a:cubicBezTo>
                  <a:pt x="75" y="66"/>
                  <a:pt x="75" y="66"/>
                  <a:pt x="75" y="66"/>
                </a:cubicBezTo>
                <a:cubicBezTo>
                  <a:pt x="98" y="43"/>
                  <a:pt x="98" y="43"/>
                  <a:pt x="98" y="43"/>
                </a:cubicBezTo>
                <a:cubicBezTo>
                  <a:pt x="107" y="52"/>
                  <a:pt x="107" y="52"/>
                  <a:pt x="107" y="52"/>
                </a:cubicBezTo>
                <a:cubicBezTo>
                  <a:pt x="84" y="75"/>
                  <a:pt x="84" y="75"/>
                  <a:pt x="84" y="75"/>
                </a:cubicBezTo>
                <a:cubicBezTo>
                  <a:pt x="107" y="98"/>
                  <a:pt x="107" y="98"/>
                  <a:pt x="107" y="98"/>
                </a:cubicBezTo>
                <a:lnTo>
                  <a:pt x="99" y="106"/>
                </a:lnTo>
                <a:close/>
                <a:moveTo>
                  <a:pt x="150" y="75"/>
                </a:moveTo>
                <a:cubicBezTo>
                  <a:pt x="150" y="33"/>
                  <a:pt x="117" y="0"/>
                  <a:pt x="75" y="0"/>
                </a:cubicBezTo>
                <a:cubicBezTo>
                  <a:pt x="34" y="0"/>
                  <a:pt x="0" y="33"/>
                  <a:pt x="0" y="75"/>
                </a:cubicBezTo>
                <a:cubicBezTo>
                  <a:pt x="0" y="116"/>
                  <a:pt x="34" y="150"/>
                  <a:pt x="75" y="150"/>
                </a:cubicBezTo>
                <a:cubicBezTo>
                  <a:pt x="117" y="150"/>
                  <a:pt x="150" y="116"/>
                  <a:pt x="150" y="75"/>
                </a:cubicBezTo>
                <a:close/>
                <a:moveTo>
                  <a:pt x="141" y="75"/>
                </a:moveTo>
                <a:cubicBezTo>
                  <a:pt x="141" y="111"/>
                  <a:pt x="111" y="140"/>
                  <a:pt x="75" y="140"/>
                </a:cubicBezTo>
                <a:cubicBezTo>
                  <a:pt x="39" y="140"/>
                  <a:pt x="10" y="111"/>
                  <a:pt x="10" y="75"/>
                </a:cubicBezTo>
                <a:cubicBezTo>
                  <a:pt x="10" y="38"/>
                  <a:pt x="39" y="9"/>
                  <a:pt x="75" y="9"/>
                </a:cubicBezTo>
                <a:cubicBezTo>
                  <a:pt x="111" y="9"/>
                  <a:pt x="141" y="38"/>
                  <a:pt x="141" y="7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38" name="Freeform 41"/>
          <p:cNvSpPr>
            <a:spLocks noEditPoints="1"/>
          </p:cNvSpPr>
          <p:nvPr/>
        </p:nvSpPr>
        <p:spPr bwMode="black">
          <a:xfrm>
            <a:off x="7270782" y="5282641"/>
            <a:ext cx="314195" cy="293249"/>
          </a:xfrm>
          <a:custGeom>
            <a:avLst/>
            <a:gdLst>
              <a:gd name="T0" fmla="*/ 111 w 154"/>
              <a:gd name="T1" fmla="*/ 62 h 144"/>
              <a:gd name="T2" fmla="*/ 111 w 154"/>
              <a:gd name="T3" fmla="*/ 61 h 144"/>
              <a:gd name="T4" fmla="*/ 102 w 154"/>
              <a:gd name="T5" fmla="*/ 42 h 144"/>
              <a:gd name="T6" fmla="*/ 98 w 154"/>
              <a:gd name="T7" fmla="*/ 39 h 144"/>
              <a:gd name="T8" fmla="*/ 55 w 154"/>
              <a:gd name="T9" fmla="*/ 39 h 144"/>
              <a:gd name="T10" fmla="*/ 52 w 154"/>
              <a:gd name="T11" fmla="*/ 42 h 144"/>
              <a:gd name="T12" fmla="*/ 43 w 154"/>
              <a:gd name="T13" fmla="*/ 62 h 144"/>
              <a:gd name="T14" fmla="*/ 39 w 154"/>
              <a:gd name="T15" fmla="*/ 67 h 144"/>
              <a:gd name="T16" fmla="*/ 39 w 154"/>
              <a:gd name="T17" fmla="*/ 84 h 144"/>
              <a:gd name="T18" fmla="*/ 45 w 154"/>
              <a:gd name="T19" fmla="*/ 89 h 144"/>
              <a:gd name="T20" fmla="*/ 49 w 154"/>
              <a:gd name="T21" fmla="*/ 89 h 144"/>
              <a:gd name="T22" fmla="*/ 49 w 154"/>
              <a:gd name="T23" fmla="*/ 95 h 144"/>
              <a:gd name="T24" fmla="*/ 54 w 154"/>
              <a:gd name="T25" fmla="*/ 100 h 144"/>
              <a:gd name="T26" fmla="*/ 59 w 154"/>
              <a:gd name="T27" fmla="*/ 95 h 144"/>
              <a:gd name="T28" fmla="*/ 59 w 154"/>
              <a:gd name="T29" fmla="*/ 89 h 144"/>
              <a:gd name="T30" fmla="*/ 96 w 154"/>
              <a:gd name="T31" fmla="*/ 89 h 144"/>
              <a:gd name="T32" fmla="*/ 96 w 154"/>
              <a:gd name="T33" fmla="*/ 95 h 144"/>
              <a:gd name="T34" fmla="*/ 100 w 154"/>
              <a:gd name="T35" fmla="*/ 100 h 144"/>
              <a:gd name="T36" fmla="*/ 105 w 154"/>
              <a:gd name="T37" fmla="*/ 95 h 144"/>
              <a:gd name="T38" fmla="*/ 105 w 154"/>
              <a:gd name="T39" fmla="*/ 89 h 144"/>
              <a:gd name="T40" fmla="*/ 109 w 154"/>
              <a:gd name="T41" fmla="*/ 89 h 144"/>
              <a:gd name="T42" fmla="*/ 115 w 154"/>
              <a:gd name="T43" fmla="*/ 84 h 144"/>
              <a:gd name="T44" fmla="*/ 115 w 154"/>
              <a:gd name="T45" fmla="*/ 67 h 144"/>
              <a:gd name="T46" fmla="*/ 111 w 154"/>
              <a:gd name="T47" fmla="*/ 62 h 144"/>
              <a:gd name="T48" fmla="*/ 58 w 154"/>
              <a:gd name="T49" fmla="*/ 47 h 144"/>
              <a:gd name="T50" fmla="*/ 96 w 154"/>
              <a:gd name="T51" fmla="*/ 47 h 144"/>
              <a:gd name="T52" fmla="*/ 102 w 154"/>
              <a:gd name="T53" fmla="*/ 59 h 144"/>
              <a:gd name="T54" fmla="*/ 52 w 154"/>
              <a:gd name="T55" fmla="*/ 59 h 144"/>
              <a:gd name="T56" fmla="*/ 58 w 154"/>
              <a:gd name="T57" fmla="*/ 47 h 144"/>
              <a:gd name="T58" fmla="*/ 53 w 154"/>
              <a:gd name="T59" fmla="*/ 78 h 144"/>
              <a:gd name="T60" fmla="*/ 48 w 154"/>
              <a:gd name="T61" fmla="*/ 72 h 144"/>
              <a:gd name="T62" fmla="*/ 53 w 154"/>
              <a:gd name="T63" fmla="*/ 67 h 144"/>
              <a:gd name="T64" fmla="*/ 59 w 154"/>
              <a:gd name="T65" fmla="*/ 72 h 144"/>
              <a:gd name="T66" fmla="*/ 53 w 154"/>
              <a:gd name="T67" fmla="*/ 78 h 144"/>
              <a:gd name="T68" fmla="*/ 101 w 154"/>
              <a:gd name="T69" fmla="*/ 78 h 144"/>
              <a:gd name="T70" fmla="*/ 95 w 154"/>
              <a:gd name="T71" fmla="*/ 72 h 144"/>
              <a:gd name="T72" fmla="*/ 101 w 154"/>
              <a:gd name="T73" fmla="*/ 67 h 144"/>
              <a:gd name="T74" fmla="*/ 106 w 154"/>
              <a:gd name="T75" fmla="*/ 72 h 144"/>
              <a:gd name="T76" fmla="*/ 101 w 154"/>
              <a:gd name="T77" fmla="*/ 78 h 144"/>
              <a:gd name="T78" fmla="*/ 77 w 154"/>
              <a:gd name="T79" fmla="*/ 9 h 144"/>
              <a:gd name="T80" fmla="*/ 15 w 154"/>
              <a:gd name="T81" fmla="*/ 63 h 144"/>
              <a:gd name="T82" fmla="*/ 27 w 154"/>
              <a:gd name="T83" fmla="*/ 109 h 144"/>
              <a:gd name="T84" fmla="*/ 69 w 154"/>
              <a:gd name="T85" fmla="*/ 133 h 144"/>
              <a:gd name="T86" fmla="*/ 77 w 154"/>
              <a:gd name="T87" fmla="*/ 134 h 144"/>
              <a:gd name="T88" fmla="*/ 139 w 154"/>
              <a:gd name="T89" fmla="*/ 80 h 144"/>
              <a:gd name="T90" fmla="*/ 127 w 154"/>
              <a:gd name="T91" fmla="*/ 34 h 144"/>
              <a:gd name="T92" fmla="*/ 85 w 154"/>
              <a:gd name="T93" fmla="*/ 10 h 144"/>
              <a:gd name="T94" fmla="*/ 77 w 154"/>
              <a:gd name="T95" fmla="*/ 9 h 144"/>
              <a:gd name="T96" fmla="*/ 77 w 154"/>
              <a:gd name="T97" fmla="*/ 0 h 144"/>
              <a:gd name="T98" fmla="*/ 86 w 154"/>
              <a:gd name="T99" fmla="*/ 0 h 144"/>
              <a:gd name="T100" fmla="*/ 148 w 154"/>
              <a:gd name="T101" fmla="*/ 81 h 144"/>
              <a:gd name="T102" fmla="*/ 77 w 154"/>
              <a:gd name="T103" fmla="*/ 144 h 144"/>
              <a:gd name="T104" fmla="*/ 67 w 154"/>
              <a:gd name="T105" fmla="*/ 143 h 144"/>
              <a:gd name="T106" fmla="*/ 6 w 154"/>
              <a:gd name="T107" fmla="*/ 62 h 144"/>
              <a:gd name="T108" fmla="*/ 77 w 154"/>
              <a:gd name="T109" fmla="*/ 0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54" h="144">
                <a:moveTo>
                  <a:pt x="111" y="62"/>
                </a:moveTo>
                <a:cubicBezTo>
                  <a:pt x="111" y="62"/>
                  <a:pt x="111" y="61"/>
                  <a:pt x="111" y="61"/>
                </a:cubicBezTo>
                <a:cubicBezTo>
                  <a:pt x="102" y="42"/>
                  <a:pt x="102" y="42"/>
                  <a:pt x="102" y="42"/>
                </a:cubicBezTo>
                <a:cubicBezTo>
                  <a:pt x="101" y="40"/>
                  <a:pt x="100" y="39"/>
                  <a:pt x="98" y="39"/>
                </a:cubicBezTo>
                <a:cubicBezTo>
                  <a:pt x="55" y="39"/>
                  <a:pt x="55" y="39"/>
                  <a:pt x="55" y="39"/>
                </a:cubicBezTo>
                <a:cubicBezTo>
                  <a:pt x="54" y="39"/>
                  <a:pt x="52" y="40"/>
                  <a:pt x="52" y="42"/>
                </a:cubicBezTo>
                <a:cubicBezTo>
                  <a:pt x="43" y="62"/>
                  <a:pt x="43" y="62"/>
                  <a:pt x="43" y="62"/>
                </a:cubicBezTo>
                <a:cubicBezTo>
                  <a:pt x="41" y="62"/>
                  <a:pt x="39" y="64"/>
                  <a:pt x="39" y="67"/>
                </a:cubicBezTo>
                <a:cubicBezTo>
                  <a:pt x="39" y="84"/>
                  <a:pt x="39" y="84"/>
                  <a:pt x="39" y="84"/>
                </a:cubicBezTo>
                <a:cubicBezTo>
                  <a:pt x="39" y="87"/>
                  <a:pt x="42" y="89"/>
                  <a:pt x="45" y="89"/>
                </a:cubicBezTo>
                <a:cubicBezTo>
                  <a:pt x="49" y="89"/>
                  <a:pt x="49" y="89"/>
                  <a:pt x="49" y="89"/>
                </a:cubicBezTo>
                <a:cubicBezTo>
                  <a:pt x="49" y="95"/>
                  <a:pt x="49" y="95"/>
                  <a:pt x="49" y="95"/>
                </a:cubicBezTo>
                <a:cubicBezTo>
                  <a:pt x="49" y="98"/>
                  <a:pt x="51" y="100"/>
                  <a:pt x="54" y="100"/>
                </a:cubicBezTo>
                <a:cubicBezTo>
                  <a:pt x="56" y="100"/>
                  <a:pt x="59" y="98"/>
                  <a:pt x="59" y="95"/>
                </a:cubicBezTo>
                <a:cubicBezTo>
                  <a:pt x="59" y="89"/>
                  <a:pt x="59" y="89"/>
                  <a:pt x="59" y="89"/>
                </a:cubicBezTo>
                <a:cubicBezTo>
                  <a:pt x="96" y="89"/>
                  <a:pt x="96" y="89"/>
                  <a:pt x="96" y="89"/>
                </a:cubicBezTo>
                <a:cubicBezTo>
                  <a:pt x="96" y="95"/>
                  <a:pt x="96" y="95"/>
                  <a:pt x="96" y="95"/>
                </a:cubicBezTo>
                <a:cubicBezTo>
                  <a:pt x="96" y="98"/>
                  <a:pt x="98" y="100"/>
                  <a:pt x="100" y="100"/>
                </a:cubicBezTo>
                <a:cubicBezTo>
                  <a:pt x="103" y="100"/>
                  <a:pt x="105" y="98"/>
                  <a:pt x="105" y="95"/>
                </a:cubicBezTo>
                <a:cubicBezTo>
                  <a:pt x="105" y="89"/>
                  <a:pt x="105" y="89"/>
                  <a:pt x="105" y="89"/>
                </a:cubicBezTo>
                <a:cubicBezTo>
                  <a:pt x="109" y="89"/>
                  <a:pt x="109" y="89"/>
                  <a:pt x="109" y="89"/>
                </a:cubicBezTo>
                <a:cubicBezTo>
                  <a:pt x="112" y="89"/>
                  <a:pt x="115" y="87"/>
                  <a:pt x="115" y="84"/>
                </a:cubicBezTo>
                <a:cubicBezTo>
                  <a:pt x="115" y="67"/>
                  <a:pt x="115" y="67"/>
                  <a:pt x="115" y="67"/>
                </a:cubicBezTo>
                <a:cubicBezTo>
                  <a:pt x="115" y="64"/>
                  <a:pt x="113" y="62"/>
                  <a:pt x="111" y="62"/>
                </a:cubicBezTo>
                <a:close/>
                <a:moveTo>
                  <a:pt x="58" y="47"/>
                </a:moveTo>
                <a:cubicBezTo>
                  <a:pt x="96" y="47"/>
                  <a:pt x="96" y="47"/>
                  <a:pt x="96" y="47"/>
                </a:cubicBezTo>
                <a:cubicBezTo>
                  <a:pt x="102" y="59"/>
                  <a:pt x="102" y="59"/>
                  <a:pt x="102" y="59"/>
                </a:cubicBezTo>
                <a:cubicBezTo>
                  <a:pt x="52" y="59"/>
                  <a:pt x="52" y="59"/>
                  <a:pt x="52" y="59"/>
                </a:cubicBezTo>
                <a:lnTo>
                  <a:pt x="58" y="47"/>
                </a:lnTo>
                <a:close/>
                <a:moveTo>
                  <a:pt x="53" y="78"/>
                </a:moveTo>
                <a:cubicBezTo>
                  <a:pt x="51" y="78"/>
                  <a:pt x="48" y="75"/>
                  <a:pt x="48" y="72"/>
                </a:cubicBezTo>
                <a:cubicBezTo>
                  <a:pt x="48" y="69"/>
                  <a:pt x="51" y="67"/>
                  <a:pt x="53" y="67"/>
                </a:cubicBezTo>
                <a:cubicBezTo>
                  <a:pt x="56" y="67"/>
                  <a:pt x="59" y="69"/>
                  <a:pt x="59" y="72"/>
                </a:cubicBezTo>
                <a:cubicBezTo>
                  <a:pt x="59" y="75"/>
                  <a:pt x="56" y="78"/>
                  <a:pt x="53" y="78"/>
                </a:cubicBezTo>
                <a:close/>
                <a:moveTo>
                  <a:pt x="101" y="78"/>
                </a:moveTo>
                <a:cubicBezTo>
                  <a:pt x="98" y="78"/>
                  <a:pt x="95" y="75"/>
                  <a:pt x="95" y="72"/>
                </a:cubicBezTo>
                <a:cubicBezTo>
                  <a:pt x="95" y="69"/>
                  <a:pt x="98" y="67"/>
                  <a:pt x="101" y="67"/>
                </a:cubicBezTo>
                <a:cubicBezTo>
                  <a:pt x="104" y="67"/>
                  <a:pt x="106" y="69"/>
                  <a:pt x="106" y="72"/>
                </a:cubicBezTo>
                <a:cubicBezTo>
                  <a:pt x="106" y="75"/>
                  <a:pt x="104" y="78"/>
                  <a:pt x="101" y="78"/>
                </a:cubicBezTo>
                <a:close/>
                <a:moveTo>
                  <a:pt x="77" y="9"/>
                </a:moveTo>
                <a:cubicBezTo>
                  <a:pt x="46" y="9"/>
                  <a:pt x="19" y="32"/>
                  <a:pt x="15" y="63"/>
                </a:cubicBezTo>
                <a:cubicBezTo>
                  <a:pt x="13" y="80"/>
                  <a:pt x="17" y="96"/>
                  <a:pt x="27" y="109"/>
                </a:cubicBezTo>
                <a:cubicBezTo>
                  <a:pt x="37" y="123"/>
                  <a:pt x="52" y="131"/>
                  <a:pt x="69" y="133"/>
                </a:cubicBezTo>
                <a:cubicBezTo>
                  <a:pt x="71" y="134"/>
                  <a:pt x="74" y="134"/>
                  <a:pt x="77" y="134"/>
                </a:cubicBezTo>
                <a:cubicBezTo>
                  <a:pt x="108" y="134"/>
                  <a:pt x="135" y="111"/>
                  <a:pt x="139" y="80"/>
                </a:cubicBezTo>
                <a:cubicBezTo>
                  <a:pt x="141" y="63"/>
                  <a:pt x="137" y="47"/>
                  <a:pt x="127" y="34"/>
                </a:cubicBezTo>
                <a:cubicBezTo>
                  <a:pt x="116" y="20"/>
                  <a:pt x="102" y="12"/>
                  <a:pt x="85" y="10"/>
                </a:cubicBezTo>
                <a:cubicBezTo>
                  <a:pt x="82" y="9"/>
                  <a:pt x="80" y="9"/>
                  <a:pt x="77" y="9"/>
                </a:cubicBezTo>
                <a:moveTo>
                  <a:pt x="77" y="0"/>
                </a:moveTo>
                <a:cubicBezTo>
                  <a:pt x="80" y="0"/>
                  <a:pt x="83" y="0"/>
                  <a:pt x="86" y="0"/>
                </a:cubicBezTo>
                <a:cubicBezTo>
                  <a:pt x="126" y="6"/>
                  <a:pt x="154" y="42"/>
                  <a:pt x="148" y="81"/>
                </a:cubicBezTo>
                <a:cubicBezTo>
                  <a:pt x="143" y="117"/>
                  <a:pt x="112" y="144"/>
                  <a:pt x="77" y="144"/>
                </a:cubicBezTo>
                <a:cubicBezTo>
                  <a:pt x="74" y="144"/>
                  <a:pt x="71" y="143"/>
                  <a:pt x="67" y="143"/>
                </a:cubicBezTo>
                <a:cubicBezTo>
                  <a:pt x="28" y="138"/>
                  <a:pt x="0" y="101"/>
                  <a:pt x="6" y="62"/>
                </a:cubicBezTo>
                <a:cubicBezTo>
                  <a:pt x="10" y="26"/>
                  <a:pt x="41" y="0"/>
                  <a:pt x="77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39" name="Freeform 42"/>
          <p:cNvSpPr>
            <a:spLocks noEditPoints="1"/>
          </p:cNvSpPr>
          <p:nvPr/>
        </p:nvSpPr>
        <p:spPr bwMode="black">
          <a:xfrm>
            <a:off x="7948492" y="5271565"/>
            <a:ext cx="305569" cy="305570"/>
          </a:xfrm>
          <a:custGeom>
            <a:avLst/>
            <a:gdLst>
              <a:gd name="T0" fmla="*/ 98 w 150"/>
              <a:gd name="T1" fmla="*/ 53 h 150"/>
              <a:gd name="T2" fmla="*/ 98 w 150"/>
              <a:gd name="T3" fmla="*/ 53 h 150"/>
              <a:gd name="T4" fmla="*/ 52 w 150"/>
              <a:gd name="T5" fmla="*/ 53 h 150"/>
              <a:gd name="T6" fmla="*/ 48 w 150"/>
              <a:gd name="T7" fmla="*/ 49 h 150"/>
              <a:gd name="T8" fmla="*/ 52 w 150"/>
              <a:gd name="T9" fmla="*/ 46 h 150"/>
              <a:gd name="T10" fmla="*/ 52 w 150"/>
              <a:gd name="T11" fmla="*/ 46 h 150"/>
              <a:gd name="T12" fmla="*/ 98 w 150"/>
              <a:gd name="T13" fmla="*/ 46 h 150"/>
              <a:gd name="T14" fmla="*/ 102 w 150"/>
              <a:gd name="T15" fmla="*/ 50 h 150"/>
              <a:gd name="T16" fmla="*/ 98 w 150"/>
              <a:gd name="T17" fmla="*/ 53 h 150"/>
              <a:gd name="T18" fmla="*/ 82 w 150"/>
              <a:gd name="T19" fmla="*/ 41 h 150"/>
              <a:gd name="T20" fmla="*/ 80 w 150"/>
              <a:gd name="T21" fmla="*/ 38 h 150"/>
              <a:gd name="T22" fmla="*/ 70 w 150"/>
              <a:gd name="T23" fmla="*/ 38 h 150"/>
              <a:gd name="T24" fmla="*/ 70 w 150"/>
              <a:gd name="T25" fmla="*/ 38 h 150"/>
              <a:gd name="T26" fmla="*/ 67 w 150"/>
              <a:gd name="T27" fmla="*/ 41 h 150"/>
              <a:gd name="T28" fmla="*/ 70 w 150"/>
              <a:gd name="T29" fmla="*/ 43 h 150"/>
              <a:gd name="T30" fmla="*/ 80 w 150"/>
              <a:gd name="T31" fmla="*/ 43 h 150"/>
              <a:gd name="T32" fmla="*/ 80 w 150"/>
              <a:gd name="T33" fmla="*/ 43 h 150"/>
              <a:gd name="T34" fmla="*/ 82 w 150"/>
              <a:gd name="T35" fmla="*/ 41 h 150"/>
              <a:gd name="T36" fmla="*/ 98 w 150"/>
              <a:gd name="T37" fmla="*/ 62 h 150"/>
              <a:gd name="T38" fmla="*/ 96 w 150"/>
              <a:gd name="T39" fmla="*/ 103 h 150"/>
              <a:gd name="T40" fmla="*/ 90 w 150"/>
              <a:gd name="T41" fmla="*/ 109 h 150"/>
              <a:gd name="T42" fmla="*/ 60 w 150"/>
              <a:gd name="T43" fmla="*/ 109 h 150"/>
              <a:gd name="T44" fmla="*/ 54 w 150"/>
              <a:gd name="T45" fmla="*/ 103 h 150"/>
              <a:gd name="T46" fmla="*/ 52 w 150"/>
              <a:gd name="T47" fmla="*/ 62 h 150"/>
              <a:gd name="T48" fmla="*/ 58 w 150"/>
              <a:gd name="T49" fmla="*/ 57 h 150"/>
              <a:gd name="T50" fmla="*/ 92 w 150"/>
              <a:gd name="T51" fmla="*/ 57 h 150"/>
              <a:gd name="T52" fmla="*/ 98 w 150"/>
              <a:gd name="T53" fmla="*/ 62 h 150"/>
              <a:gd name="T54" fmla="*/ 65 w 150"/>
              <a:gd name="T55" fmla="*/ 100 h 150"/>
              <a:gd name="T56" fmla="*/ 64 w 150"/>
              <a:gd name="T57" fmla="*/ 65 h 150"/>
              <a:gd name="T58" fmla="*/ 61 w 150"/>
              <a:gd name="T59" fmla="*/ 63 h 150"/>
              <a:gd name="T60" fmla="*/ 59 w 150"/>
              <a:gd name="T61" fmla="*/ 65 h 150"/>
              <a:gd name="T62" fmla="*/ 60 w 150"/>
              <a:gd name="T63" fmla="*/ 101 h 150"/>
              <a:gd name="T64" fmla="*/ 63 w 150"/>
              <a:gd name="T65" fmla="*/ 103 h 150"/>
              <a:gd name="T66" fmla="*/ 63 w 150"/>
              <a:gd name="T67" fmla="*/ 103 h 150"/>
              <a:gd name="T68" fmla="*/ 65 w 150"/>
              <a:gd name="T69" fmla="*/ 100 h 150"/>
              <a:gd name="T70" fmla="*/ 77 w 150"/>
              <a:gd name="T71" fmla="*/ 65 h 150"/>
              <a:gd name="T72" fmla="*/ 75 w 150"/>
              <a:gd name="T73" fmla="*/ 63 h 150"/>
              <a:gd name="T74" fmla="*/ 75 w 150"/>
              <a:gd name="T75" fmla="*/ 63 h 150"/>
              <a:gd name="T76" fmla="*/ 72 w 150"/>
              <a:gd name="T77" fmla="*/ 65 h 150"/>
              <a:gd name="T78" fmla="*/ 72 w 150"/>
              <a:gd name="T79" fmla="*/ 101 h 150"/>
              <a:gd name="T80" fmla="*/ 75 w 150"/>
              <a:gd name="T81" fmla="*/ 103 h 150"/>
              <a:gd name="T82" fmla="*/ 75 w 150"/>
              <a:gd name="T83" fmla="*/ 103 h 150"/>
              <a:gd name="T84" fmla="*/ 77 w 150"/>
              <a:gd name="T85" fmla="*/ 101 h 150"/>
              <a:gd name="T86" fmla="*/ 77 w 150"/>
              <a:gd name="T87" fmla="*/ 65 h 150"/>
              <a:gd name="T88" fmla="*/ 91 w 150"/>
              <a:gd name="T89" fmla="*/ 65 h 150"/>
              <a:gd name="T90" fmla="*/ 88 w 150"/>
              <a:gd name="T91" fmla="*/ 63 h 150"/>
              <a:gd name="T92" fmla="*/ 86 w 150"/>
              <a:gd name="T93" fmla="*/ 65 h 150"/>
              <a:gd name="T94" fmla="*/ 84 w 150"/>
              <a:gd name="T95" fmla="*/ 100 h 150"/>
              <a:gd name="T96" fmla="*/ 87 w 150"/>
              <a:gd name="T97" fmla="*/ 103 h 150"/>
              <a:gd name="T98" fmla="*/ 87 w 150"/>
              <a:gd name="T99" fmla="*/ 103 h 150"/>
              <a:gd name="T100" fmla="*/ 90 w 150"/>
              <a:gd name="T101" fmla="*/ 101 h 150"/>
              <a:gd name="T102" fmla="*/ 91 w 150"/>
              <a:gd name="T103" fmla="*/ 65 h 150"/>
              <a:gd name="T104" fmla="*/ 75 w 150"/>
              <a:gd name="T105" fmla="*/ 0 h 150"/>
              <a:gd name="T106" fmla="*/ 0 w 150"/>
              <a:gd name="T107" fmla="*/ 75 h 150"/>
              <a:gd name="T108" fmla="*/ 75 w 150"/>
              <a:gd name="T109" fmla="*/ 150 h 150"/>
              <a:gd name="T110" fmla="*/ 150 w 150"/>
              <a:gd name="T111" fmla="*/ 75 h 150"/>
              <a:gd name="T112" fmla="*/ 75 w 150"/>
              <a:gd name="T113" fmla="*/ 0 h 150"/>
              <a:gd name="T114" fmla="*/ 75 w 150"/>
              <a:gd name="T115" fmla="*/ 9 h 150"/>
              <a:gd name="T116" fmla="*/ 140 w 150"/>
              <a:gd name="T117" fmla="*/ 75 h 150"/>
              <a:gd name="T118" fmla="*/ 75 w 150"/>
              <a:gd name="T119" fmla="*/ 140 h 150"/>
              <a:gd name="T120" fmla="*/ 10 w 150"/>
              <a:gd name="T121" fmla="*/ 75 h 150"/>
              <a:gd name="T122" fmla="*/ 75 w 150"/>
              <a:gd name="T123" fmla="*/ 9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50" h="150">
                <a:moveTo>
                  <a:pt x="98" y="53"/>
                </a:moveTo>
                <a:cubicBezTo>
                  <a:pt x="98" y="53"/>
                  <a:pt x="98" y="53"/>
                  <a:pt x="98" y="53"/>
                </a:cubicBezTo>
                <a:cubicBezTo>
                  <a:pt x="52" y="53"/>
                  <a:pt x="52" y="53"/>
                  <a:pt x="52" y="53"/>
                </a:cubicBezTo>
                <a:cubicBezTo>
                  <a:pt x="50" y="53"/>
                  <a:pt x="48" y="52"/>
                  <a:pt x="48" y="49"/>
                </a:cubicBezTo>
                <a:cubicBezTo>
                  <a:pt x="48" y="47"/>
                  <a:pt x="50" y="46"/>
                  <a:pt x="52" y="46"/>
                </a:cubicBezTo>
                <a:cubicBezTo>
                  <a:pt x="52" y="46"/>
                  <a:pt x="52" y="46"/>
                  <a:pt x="52" y="46"/>
                </a:cubicBezTo>
                <a:cubicBezTo>
                  <a:pt x="98" y="46"/>
                  <a:pt x="98" y="46"/>
                  <a:pt x="98" y="46"/>
                </a:cubicBezTo>
                <a:cubicBezTo>
                  <a:pt x="100" y="46"/>
                  <a:pt x="102" y="47"/>
                  <a:pt x="102" y="50"/>
                </a:cubicBezTo>
                <a:cubicBezTo>
                  <a:pt x="102" y="52"/>
                  <a:pt x="100" y="53"/>
                  <a:pt x="98" y="53"/>
                </a:cubicBezTo>
                <a:close/>
                <a:moveTo>
                  <a:pt x="82" y="41"/>
                </a:moveTo>
                <a:cubicBezTo>
                  <a:pt x="82" y="39"/>
                  <a:pt x="81" y="38"/>
                  <a:pt x="80" y="38"/>
                </a:cubicBezTo>
                <a:cubicBezTo>
                  <a:pt x="70" y="38"/>
                  <a:pt x="70" y="38"/>
                  <a:pt x="70" y="38"/>
                </a:cubicBezTo>
                <a:cubicBezTo>
                  <a:pt x="70" y="38"/>
                  <a:pt x="70" y="38"/>
                  <a:pt x="70" y="38"/>
                </a:cubicBezTo>
                <a:cubicBezTo>
                  <a:pt x="68" y="38"/>
                  <a:pt x="67" y="39"/>
                  <a:pt x="67" y="41"/>
                </a:cubicBezTo>
                <a:cubicBezTo>
                  <a:pt x="67" y="42"/>
                  <a:pt x="68" y="43"/>
                  <a:pt x="70" y="43"/>
                </a:cubicBezTo>
                <a:cubicBezTo>
                  <a:pt x="80" y="43"/>
                  <a:pt x="80" y="43"/>
                  <a:pt x="80" y="43"/>
                </a:cubicBezTo>
                <a:cubicBezTo>
                  <a:pt x="80" y="43"/>
                  <a:pt x="80" y="43"/>
                  <a:pt x="80" y="43"/>
                </a:cubicBezTo>
                <a:cubicBezTo>
                  <a:pt x="81" y="43"/>
                  <a:pt x="82" y="42"/>
                  <a:pt x="82" y="41"/>
                </a:cubicBezTo>
                <a:close/>
                <a:moveTo>
                  <a:pt x="98" y="62"/>
                </a:moveTo>
                <a:cubicBezTo>
                  <a:pt x="96" y="103"/>
                  <a:pt x="96" y="103"/>
                  <a:pt x="96" y="103"/>
                </a:cubicBezTo>
                <a:cubicBezTo>
                  <a:pt x="96" y="106"/>
                  <a:pt x="93" y="109"/>
                  <a:pt x="90" y="109"/>
                </a:cubicBezTo>
                <a:cubicBezTo>
                  <a:pt x="60" y="109"/>
                  <a:pt x="60" y="109"/>
                  <a:pt x="60" y="109"/>
                </a:cubicBezTo>
                <a:cubicBezTo>
                  <a:pt x="57" y="109"/>
                  <a:pt x="55" y="106"/>
                  <a:pt x="54" y="103"/>
                </a:cubicBezTo>
                <a:cubicBezTo>
                  <a:pt x="52" y="62"/>
                  <a:pt x="52" y="62"/>
                  <a:pt x="52" y="62"/>
                </a:cubicBezTo>
                <a:cubicBezTo>
                  <a:pt x="52" y="59"/>
                  <a:pt x="55" y="57"/>
                  <a:pt x="58" y="57"/>
                </a:cubicBezTo>
                <a:cubicBezTo>
                  <a:pt x="92" y="57"/>
                  <a:pt x="92" y="57"/>
                  <a:pt x="92" y="57"/>
                </a:cubicBezTo>
                <a:cubicBezTo>
                  <a:pt x="96" y="57"/>
                  <a:pt x="98" y="59"/>
                  <a:pt x="98" y="62"/>
                </a:cubicBezTo>
                <a:close/>
                <a:moveTo>
                  <a:pt x="65" y="100"/>
                </a:moveTo>
                <a:cubicBezTo>
                  <a:pt x="64" y="65"/>
                  <a:pt x="64" y="65"/>
                  <a:pt x="64" y="65"/>
                </a:cubicBezTo>
                <a:cubicBezTo>
                  <a:pt x="64" y="64"/>
                  <a:pt x="63" y="63"/>
                  <a:pt x="61" y="63"/>
                </a:cubicBezTo>
                <a:cubicBezTo>
                  <a:pt x="60" y="63"/>
                  <a:pt x="59" y="64"/>
                  <a:pt x="59" y="65"/>
                </a:cubicBezTo>
                <a:cubicBezTo>
                  <a:pt x="60" y="101"/>
                  <a:pt x="60" y="101"/>
                  <a:pt x="60" y="101"/>
                </a:cubicBezTo>
                <a:cubicBezTo>
                  <a:pt x="60" y="102"/>
                  <a:pt x="61" y="103"/>
                  <a:pt x="63" y="103"/>
                </a:cubicBezTo>
                <a:cubicBezTo>
                  <a:pt x="63" y="103"/>
                  <a:pt x="63" y="103"/>
                  <a:pt x="63" y="103"/>
                </a:cubicBezTo>
                <a:cubicBezTo>
                  <a:pt x="64" y="103"/>
                  <a:pt x="65" y="102"/>
                  <a:pt x="65" y="100"/>
                </a:cubicBezTo>
                <a:close/>
                <a:moveTo>
                  <a:pt x="77" y="65"/>
                </a:moveTo>
                <a:cubicBezTo>
                  <a:pt x="77" y="64"/>
                  <a:pt x="76" y="63"/>
                  <a:pt x="75" y="63"/>
                </a:cubicBezTo>
                <a:cubicBezTo>
                  <a:pt x="75" y="63"/>
                  <a:pt x="75" y="63"/>
                  <a:pt x="75" y="63"/>
                </a:cubicBezTo>
                <a:cubicBezTo>
                  <a:pt x="74" y="63"/>
                  <a:pt x="72" y="64"/>
                  <a:pt x="72" y="65"/>
                </a:cubicBezTo>
                <a:cubicBezTo>
                  <a:pt x="72" y="101"/>
                  <a:pt x="72" y="101"/>
                  <a:pt x="72" y="101"/>
                </a:cubicBezTo>
                <a:cubicBezTo>
                  <a:pt x="72" y="102"/>
                  <a:pt x="73" y="103"/>
                  <a:pt x="75" y="103"/>
                </a:cubicBezTo>
                <a:cubicBezTo>
                  <a:pt x="75" y="103"/>
                  <a:pt x="75" y="103"/>
                  <a:pt x="75" y="103"/>
                </a:cubicBezTo>
                <a:cubicBezTo>
                  <a:pt x="76" y="103"/>
                  <a:pt x="77" y="102"/>
                  <a:pt x="77" y="101"/>
                </a:cubicBezTo>
                <a:lnTo>
                  <a:pt x="77" y="65"/>
                </a:lnTo>
                <a:close/>
                <a:moveTo>
                  <a:pt x="91" y="65"/>
                </a:moveTo>
                <a:cubicBezTo>
                  <a:pt x="91" y="64"/>
                  <a:pt x="90" y="63"/>
                  <a:pt x="88" y="63"/>
                </a:cubicBezTo>
                <a:cubicBezTo>
                  <a:pt x="87" y="63"/>
                  <a:pt x="86" y="64"/>
                  <a:pt x="86" y="65"/>
                </a:cubicBezTo>
                <a:cubicBezTo>
                  <a:pt x="84" y="100"/>
                  <a:pt x="84" y="100"/>
                  <a:pt x="84" y="100"/>
                </a:cubicBezTo>
                <a:cubicBezTo>
                  <a:pt x="84" y="102"/>
                  <a:pt x="86" y="103"/>
                  <a:pt x="87" y="103"/>
                </a:cubicBezTo>
                <a:cubicBezTo>
                  <a:pt x="87" y="103"/>
                  <a:pt x="87" y="103"/>
                  <a:pt x="87" y="103"/>
                </a:cubicBezTo>
                <a:cubicBezTo>
                  <a:pt x="88" y="103"/>
                  <a:pt x="89" y="102"/>
                  <a:pt x="90" y="101"/>
                </a:cubicBezTo>
                <a:lnTo>
                  <a:pt x="91" y="65"/>
                </a:lnTo>
                <a:close/>
                <a:moveTo>
                  <a:pt x="75" y="0"/>
                </a:moveTo>
                <a:cubicBezTo>
                  <a:pt x="34" y="0"/>
                  <a:pt x="0" y="33"/>
                  <a:pt x="0" y="75"/>
                </a:cubicBezTo>
                <a:cubicBezTo>
                  <a:pt x="0" y="116"/>
                  <a:pt x="34" y="150"/>
                  <a:pt x="75" y="150"/>
                </a:cubicBezTo>
                <a:cubicBezTo>
                  <a:pt x="116" y="150"/>
                  <a:pt x="150" y="116"/>
                  <a:pt x="150" y="75"/>
                </a:cubicBezTo>
                <a:cubicBezTo>
                  <a:pt x="150" y="33"/>
                  <a:pt x="116" y="0"/>
                  <a:pt x="75" y="0"/>
                </a:cubicBezTo>
                <a:moveTo>
                  <a:pt x="75" y="9"/>
                </a:moveTo>
                <a:cubicBezTo>
                  <a:pt x="111" y="9"/>
                  <a:pt x="140" y="39"/>
                  <a:pt x="140" y="75"/>
                </a:cubicBezTo>
                <a:cubicBezTo>
                  <a:pt x="140" y="111"/>
                  <a:pt x="111" y="140"/>
                  <a:pt x="75" y="140"/>
                </a:cubicBezTo>
                <a:cubicBezTo>
                  <a:pt x="39" y="140"/>
                  <a:pt x="10" y="111"/>
                  <a:pt x="10" y="75"/>
                </a:cubicBezTo>
                <a:cubicBezTo>
                  <a:pt x="10" y="39"/>
                  <a:pt x="39" y="9"/>
                  <a:pt x="75" y="9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40" name="Freeform 43"/>
          <p:cNvSpPr>
            <a:spLocks noEditPoints="1"/>
          </p:cNvSpPr>
          <p:nvPr/>
        </p:nvSpPr>
        <p:spPr bwMode="black">
          <a:xfrm>
            <a:off x="8591259" y="3923153"/>
            <a:ext cx="352390" cy="312962"/>
          </a:xfrm>
          <a:custGeom>
            <a:avLst/>
            <a:gdLst>
              <a:gd name="T0" fmla="*/ 84 w 173"/>
              <a:gd name="T1" fmla="*/ 81 h 153"/>
              <a:gd name="T2" fmla="*/ 65 w 173"/>
              <a:gd name="T3" fmla="*/ 81 h 153"/>
              <a:gd name="T4" fmla="*/ 59 w 173"/>
              <a:gd name="T5" fmla="*/ 88 h 153"/>
              <a:gd name="T6" fmla="*/ 51 w 173"/>
              <a:gd name="T7" fmla="*/ 88 h 153"/>
              <a:gd name="T8" fmla="*/ 56 w 173"/>
              <a:gd name="T9" fmla="*/ 76 h 153"/>
              <a:gd name="T10" fmla="*/ 51 w 173"/>
              <a:gd name="T11" fmla="*/ 65 h 153"/>
              <a:gd name="T12" fmla="*/ 59 w 173"/>
              <a:gd name="T13" fmla="*/ 65 h 153"/>
              <a:gd name="T14" fmla="*/ 65 w 173"/>
              <a:gd name="T15" fmla="*/ 71 h 153"/>
              <a:gd name="T16" fmla="*/ 84 w 173"/>
              <a:gd name="T17" fmla="*/ 71 h 153"/>
              <a:gd name="T18" fmla="*/ 74 w 173"/>
              <a:gd name="T19" fmla="*/ 39 h 153"/>
              <a:gd name="T20" fmla="*/ 82 w 173"/>
              <a:gd name="T21" fmla="*/ 38 h 153"/>
              <a:gd name="T22" fmla="*/ 103 w 173"/>
              <a:gd name="T23" fmla="*/ 71 h 153"/>
              <a:gd name="T24" fmla="*/ 130 w 173"/>
              <a:gd name="T25" fmla="*/ 71 h 153"/>
              <a:gd name="T26" fmla="*/ 134 w 173"/>
              <a:gd name="T27" fmla="*/ 76 h 153"/>
              <a:gd name="T28" fmla="*/ 130 w 173"/>
              <a:gd name="T29" fmla="*/ 81 h 153"/>
              <a:gd name="T30" fmla="*/ 103 w 173"/>
              <a:gd name="T31" fmla="*/ 81 h 153"/>
              <a:gd name="T32" fmla="*/ 82 w 173"/>
              <a:gd name="T33" fmla="*/ 115 h 153"/>
              <a:gd name="T34" fmla="*/ 74 w 173"/>
              <a:gd name="T35" fmla="*/ 114 h 153"/>
              <a:gd name="T36" fmla="*/ 84 w 173"/>
              <a:gd name="T37" fmla="*/ 81 h 153"/>
              <a:gd name="T38" fmla="*/ 86 w 173"/>
              <a:gd name="T39" fmla="*/ 0 h 153"/>
              <a:gd name="T40" fmla="*/ 148 w 173"/>
              <a:gd name="T41" fmla="*/ 30 h 153"/>
              <a:gd name="T42" fmla="*/ 133 w 173"/>
              <a:gd name="T43" fmla="*/ 138 h 153"/>
              <a:gd name="T44" fmla="*/ 87 w 173"/>
              <a:gd name="T45" fmla="*/ 153 h 153"/>
              <a:gd name="T46" fmla="*/ 25 w 173"/>
              <a:gd name="T47" fmla="*/ 123 h 153"/>
              <a:gd name="T48" fmla="*/ 40 w 173"/>
              <a:gd name="T49" fmla="*/ 15 h 153"/>
              <a:gd name="T50" fmla="*/ 86 w 173"/>
              <a:gd name="T51" fmla="*/ 0 h 153"/>
              <a:gd name="T52" fmla="*/ 86 w 173"/>
              <a:gd name="T53" fmla="*/ 10 h 153"/>
              <a:gd name="T54" fmla="*/ 46 w 173"/>
              <a:gd name="T55" fmla="*/ 24 h 153"/>
              <a:gd name="T56" fmla="*/ 34 w 173"/>
              <a:gd name="T57" fmla="*/ 117 h 153"/>
              <a:gd name="T58" fmla="*/ 87 w 173"/>
              <a:gd name="T59" fmla="*/ 143 h 153"/>
              <a:gd name="T60" fmla="*/ 127 w 173"/>
              <a:gd name="T61" fmla="*/ 130 h 153"/>
              <a:gd name="T62" fmla="*/ 139 w 173"/>
              <a:gd name="T63" fmla="*/ 36 h 153"/>
              <a:gd name="T64" fmla="*/ 86 w 173"/>
              <a:gd name="T65" fmla="*/ 10 h 153"/>
              <a:gd name="T66" fmla="*/ 86 w 173"/>
              <a:gd name="T67" fmla="*/ 0 h 153"/>
              <a:gd name="T68" fmla="*/ 86 w 173"/>
              <a:gd name="T69" fmla="*/ 10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73" h="153">
                <a:moveTo>
                  <a:pt x="84" y="81"/>
                </a:moveTo>
                <a:cubicBezTo>
                  <a:pt x="65" y="81"/>
                  <a:pt x="65" y="81"/>
                  <a:pt x="65" y="81"/>
                </a:cubicBezTo>
                <a:cubicBezTo>
                  <a:pt x="59" y="88"/>
                  <a:pt x="59" y="88"/>
                  <a:pt x="59" y="88"/>
                </a:cubicBezTo>
                <a:cubicBezTo>
                  <a:pt x="51" y="88"/>
                  <a:pt x="51" y="88"/>
                  <a:pt x="51" y="88"/>
                </a:cubicBezTo>
                <a:cubicBezTo>
                  <a:pt x="56" y="76"/>
                  <a:pt x="56" y="76"/>
                  <a:pt x="56" y="76"/>
                </a:cubicBezTo>
                <a:cubicBezTo>
                  <a:pt x="51" y="65"/>
                  <a:pt x="51" y="65"/>
                  <a:pt x="51" y="65"/>
                </a:cubicBezTo>
                <a:cubicBezTo>
                  <a:pt x="59" y="65"/>
                  <a:pt x="59" y="65"/>
                  <a:pt x="59" y="65"/>
                </a:cubicBezTo>
                <a:cubicBezTo>
                  <a:pt x="65" y="71"/>
                  <a:pt x="65" y="71"/>
                  <a:pt x="65" y="71"/>
                </a:cubicBezTo>
                <a:cubicBezTo>
                  <a:pt x="84" y="71"/>
                  <a:pt x="84" y="71"/>
                  <a:pt x="84" y="71"/>
                </a:cubicBezTo>
                <a:cubicBezTo>
                  <a:pt x="74" y="39"/>
                  <a:pt x="74" y="39"/>
                  <a:pt x="74" y="39"/>
                </a:cubicBezTo>
                <a:cubicBezTo>
                  <a:pt x="82" y="38"/>
                  <a:pt x="82" y="38"/>
                  <a:pt x="82" y="38"/>
                </a:cubicBezTo>
                <a:cubicBezTo>
                  <a:pt x="103" y="71"/>
                  <a:pt x="103" y="71"/>
                  <a:pt x="103" y="71"/>
                </a:cubicBezTo>
                <a:cubicBezTo>
                  <a:pt x="130" y="71"/>
                  <a:pt x="130" y="71"/>
                  <a:pt x="130" y="71"/>
                </a:cubicBezTo>
                <a:cubicBezTo>
                  <a:pt x="132" y="71"/>
                  <a:pt x="134" y="74"/>
                  <a:pt x="134" y="76"/>
                </a:cubicBezTo>
                <a:cubicBezTo>
                  <a:pt x="134" y="79"/>
                  <a:pt x="132" y="81"/>
                  <a:pt x="130" y="81"/>
                </a:cubicBezTo>
                <a:cubicBezTo>
                  <a:pt x="103" y="81"/>
                  <a:pt x="103" y="81"/>
                  <a:pt x="103" y="81"/>
                </a:cubicBezTo>
                <a:cubicBezTo>
                  <a:pt x="82" y="115"/>
                  <a:pt x="82" y="115"/>
                  <a:pt x="82" y="115"/>
                </a:cubicBezTo>
                <a:cubicBezTo>
                  <a:pt x="74" y="114"/>
                  <a:pt x="74" y="114"/>
                  <a:pt x="74" y="114"/>
                </a:cubicBezTo>
                <a:lnTo>
                  <a:pt x="84" y="81"/>
                </a:lnTo>
                <a:close/>
                <a:moveTo>
                  <a:pt x="86" y="0"/>
                </a:moveTo>
                <a:cubicBezTo>
                  <a:pt x="110" y="0"/>
                  <a:pt x="132" y="10"/>
                  <a:pt x="148" y="30"/>
                </a:cubicBezTo>
                <a:cubicBezTo>
                  <a:pt x="173" y="64"/>
                  <a:pt x="167" y="112"/>
                  <a:pt x="133" y="138"/>
                </a:cubicBezTo>
                <a:cubicBezTo>
                  <a:pt x="119" y="148"/>
                  <a:pt x="103" y="153"/>
                  <a:pt x="87" y="153"/>
                </a:cubicBezTo>
                <a:cubicBezTo>
                  <a:pt x="63" y="153"/>
                  <a:pt x="41" y="143"/>
                  <a:pt x="25" y="123"/>
                </a:cubicBezTo>
                <a:cubicBezTo>
                  <a:pt x="0" y="89"/>
                  <a:pt x="6" y="41"/>
                  <a:pt x="40" y="15"/>
                </a:cubicBezTo>
                <a:cubicBezTo>
                  <a:pt x="54" y="5"/>
                  <a:pt x="70" y="0"/>
                  <a:pt x="86" y="0"/>
                </a:cubicBezTo>
                <a:moveTo>
                  <a:pt x="86" y="10"/>
                </a:moveTo>
                <a:cubicBezTo>
                  <a:pt x="72" y="10"/>
                  <a:pt x="58" y="15"/>
                  <a:pt x="46" y="24"/>
                </a:cubicBezTo>
                <a:cubicBezTo>
                  <a:pt x="17" y="46"/>
                  <a:pt x="11" y="88"/>
                  <a:pt x="34" y="117"/>
                </a:cubicBezTo>
                <a:cubicBezTo>
                  <a:pt x="46" y="134"/>
                  <a:pt x="66" y="143"/>
                  <a:pt x="87" y="143"/>
                </a:cubicBezTo>
                <a:cubicBezTo>
                  <a:pt x="101" y="143"/>
                  <a:pt x="115" y="138"/>
                  <a:pt x="127" y="130"/>
                </a:cubicBezTo>
                <a:cubicBezTo>
                  <a:pt x="156" y="107"/>
                  <a:pt x="162" y="65"/>
                  <a:pt x="139" y="36"/>
                </a:cubicBezTo>
                <a:cubicBezTo>
                  <a:pt x="127" y="19"/>
                  <a:pt x="107" y="10"/>
                  <a:pt x="86" y="10"/>
                </a:cubicBezTo>
                <a:cubicBezTo>
                  <a:pt x="86" y="0"/>
                  <a:pt x="86" y="0"/>
                  <a:pt x="86" y="0"/>
                </a:cubicBezTo>
                <a:lnTo>
                  <a:pt x="86" y="1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41" name="Freeform 44"/>
          <p:cNvSpPr>
            <a:spLocks noEditPoints="1"/>
          </p:cNvSpPr>
          <p:nvPr/>
        </p:nvSpPr>
        <p:spPr bwMode="black">
          <a:xfrm>
            <a:off x="8609741" y="2577099"/>
            <a:ext cx="315426" cy="306801"/>
          </a:xfrm>
          <a:custGeom>
            <a:avLst/>
            <a:gdLst>
              <a:gd name="T0" fmla="*/ 120 w 155"/>
              <a:gd name="T1" fmla="*/ 50 h 150"/>
              <a:gd name="T2" fmla="*/ 120 w 155"/>
              <a:gd name="T3" fmla="*/ 54 h 150"/>
              <a:gd name="T4" fmla="*/ 117 w 155"/>
              <a:gd name="T5" fmla="*/ 54 h 150"/>
              <a:gd name="T6" fmla="*/ 117 w 155"/>
              <a:gd name="T7" fmla="*/ 54 h 150"/>
              <a:gd name="T8" fmla="*/ 108 w 155"/>
              <a:gd name="T9" fmla="*/ 54 h 150"/>
              <a:gd name="T10" fmla="*/ 101 w 155"/>
              <a:gd name="T11" fmla="*/ 86 h 150"/>
              <a:gd name="T12" fmla="*/ 99 w 155"/>
              <a:gd name="T13" fmla="*/ 96 h 150"/>
              <a:gd name="T14" fmla="*/ 98 w 155"/>
              <a:gd name="T15" fmla="*/ 97 h 150"/>
              <a:gd name="T16" fmla="*/ 100 w 155"/>
              <a:gd name="T17" fmla="*/ 101 h 150"/>
              <a:gd name="T18" fmla="*/ 94 w 155"/>
              <a:gd name="T19" fmla="*/ 107 h 150"/>
              <a:gd name="T20" fmla="*/ 89 w 155"/>
              <a:gd name="T21" fmla="*/ 101 h 150"/>
              <a:gd name="T22" fmla="*/ 90 w 155"/>
              <a:gd name="T23" fmla="*/ 98 h 150"/>
              <a:gd name="T24" fmla="*/ 67 w 155"/>
              <a:gd name="T25" fmla="*/ 98 h 150"/>
              <a:gd name="T26" fmla="*/ 68 w 155"/>
              <a:gd name="T27" fmla="*/ 101 h 150"/>
              <a:gd name="T28" fmla="*/ 63 w 155"/>
              <a:gd name="T29" fmla="*/ 107 h 150"/>
              <a:gd name="T30" fmla="*/ 58 w 155"/>
              <a:gd name="T31" fmla="*/ 101 h 150"/>
              <a:gd name="T32" fmla="*/ 59 w 155"/>
              <a:gd name="T33" fmla="*/ 98 h 150"/>
              <a:gd name="T34" fmla="*/ 55 w 155"/>
              <a:gd name="T35" fmla="*/ 98 h 150"/>
              <a:gd name="T36" fmla="*/ 54 w 155"/>
              <a:gd name="T37" fmla="*/ 98 h 150"/>
              <a:gd name="T38" fmla="*/ 52 w 155"/>
              <a:gd name="T39" fmla="*/ 98 h 150"/>
              <a:gd name="T40" fmla="*/ 52 w 155"/>
              <a:gd name="T41" fmla="*/ 93 h 150"/>
              <a:gd name="T42" fmla="*/ 55 w 155"/>
              <a:gd name="T43" fmla="*/ 93 h 150"/>
              <a:gd name="T44" fmla="*/ 56 w 155"/>
              <a:gd name="T45" fmla="*/ 93 h 150"/>
              <a:gd name="T46" fmla="*/ 94 w 155"/>
              <a:gd name="T47" fmla="*/ 93 h 150"/>
              <a:gd name="T48" fmla="*/ 95 w 155"/>
              <a:gd name="T49" fmla="*/ 88 h 150"/>
              <a:gd name="T50" fmla="*/ 58 w 155"/>
              <a:gd name="T51" fmla="*/ 88 h 150"/>
              <a:gd name="T52" fmla="*/ 58 w 155"/>
              <a:gd name="T53" fmla="*/ 88 h 150"/>
              <a:gd name="T54" fmla="*/ 56 w 155"/>
              <a:gd name="T55" fmla="*/ 88 h 150"/>
              <a:gd name="T56" fmla="*/ 56 w 155"/>
              <a:gd name="T57" fmla="*/ 87 h 150"/>
              <a:gd name="T58" fmla="*/ 56 w 155"/>
              <a:gd name="T59" fmla="*/ 86 h 150"/>
              <a:gd name="T60" fmla="*/ 50 w 155"/>
              <a:gd name="T61" fmla="*/ 61 h 150"/>
              <a:gd name="T62" fmla="*/ 50 w 155"/>
              <a:gd name="T63" fmla="*/ 61 h 150"/>
              <a:gd name="T64" fmla="*/ 50 w 155"/>
              <a:gd name="T65" fmla="*/ 58 h 150"/>
              <a:gd name="T66" fmla="*/ 53 w 155"/>
              <a:gd name="T67" fmla="*/ 58 h 150"/>
              <a:gd name="T68" fmla="*/ 55 w 155"/>
              <a:gd name="T69" fmla="*/ 58 h 150"/>
              <a:gd name="T70" fmla="*/ 103 w 155"/>
              <a:gd name="T71" fmla="*/ 58 h 150"/>
              <a:gd name="T72" fmla="*/ 104 w 155"/>
              <a:gd name="T73" fmla="*/ 50 h 150"/>
              <a:gd name="T74" fmla="*/ 106 w 155"/>
              <a:gd name="T75" fmla="*/ 50 h 150"/>
              <a:gd name="T76" fmla="*/ 107 w 155"/>
              <a:gd name="T77" fmla="*/ 50 h 150"/>
              <a:gd name="T78" fmla="*/ 117 w 155"/>
              <a:gd name="T79" fmla="*/ 50 h 150"/>
              <a:gd name="T80" fmla="*/ 117 w 155"/>
              <a:gd name="T81" fmla="*/ 50 h 150"/>
              <a:gd name="T82" fmla="*/ 120 w 155"/>
              <a:gd name="T83" fmla="*/ 50 h 150"/>
              <a:gd name="T84" fmla="*/ 43 w 155"/>
              <a:gd name="T85" fmla="*/ 6 h 150"/>
              <a:gd name="T86" fmla="*/ 21 w 155"/>
              <a:gd name="T87" fmla="*/ 39 h 150"/>
              <a:gd name="T88" fmla="*/ 7 w 155"/>
              <a:gd name="T89" fmla="*/ 27 h 150"/>
              <a:gd name="T90" fmla="*/ 0 w 155"/>
              <a:gd name="T91" fmla="*/ 35 h 150"/>
              <a:gd name="T92" fmla="*/ 22 w 155"/>
              <a:gd name="T93" fmla="*/ 54 h 150"/>
              <a:gd name="T94" fmla="*/ 52 w 155"/>
              <a:gd name="T95" fmla="*/ 12 h 150"/>
              <a:gd name="T96" fmla="*/ 43 w 155"/>
              <a:gd name="T97" fmla="*/ 6 h 150"/>
              <a:gd name="T98" fmla="*/ 80 w 155"/>
              <a:gd name="T99" fmla="*/ 0 h 150"/>
              <a:gd name="T100" fmla="*/ 74 w 155"/>
              <a:gd name="T101" fmla="*/ 0 h 150"/>
              <a:gd name="T102" fmla="*/ 74 w 155"/>
              <a:gd name="T103" fmla="*/ 10 h 150"/>
              <a:gd name="T104" fmla="*/ 80 w 155"/>
              <a:gd name="T105" fmla="*/ 9 h 150"/>
              <a:gd name="T106" fmla="*/ 145 w 155"/>
              <a:gd name="T107" fmla="*/ 75 h 150"/>
              <a:gd name="T108" fmla="*/ 80 w 155"/>
              <a:gd name="T109" fmla="*/ 140 h 150"/>
              <a:gd name="T110" fmla="*/ 14 w 155"/>
              <a:gd name="T111" fmla="*/ 75 h 150"/>
              <a:gd name="T112" fmla="*/ 14 w 155"/>
              <a:gd name="T113" fmla="*/ 74 h 150"/>
              <a:gd name="T114" fmla="*/ 5 w 155"/>
              <a:gd name="T115" fmla="*/ 74 h 150"/>
              <a:gd name="T116" fmla="*/ 5 w 155"/>
              <a:gd name="T117" fmla="*/ 75 h 150"/>
              <a:gd name="T118" fmla="*/ 80 w 155"/>
              <a:gd name="T119" fmla="*/ 150 h 150"/>
              <a:gd name="T120" fmla="*/ 155 w 155"/>
              <a:gd name="T121" fmla="*/ 75 h 150"/>
              <a:gd name="T122" fmla="*/ 80 w 155"/>
              <a:gd name="T123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55" h="150">
                <a:moveTo>
                  <a:pt x="120" y="50"/>
                </a:moveTo>
                <a:cubicBezTo>
                  <a:pt x="120" y="54"/>
                  <a:pt x="120" y="54"/>
                  <a:pt x="120" y="54"/>
                </a:cubicBezTo>
                <a:cubicBezTo>
                  <a:pt x="117" y="54"/>
                  <a:pt x="117" y="54"/>
                  <a:pt x="117" y="54"/>
                </a:cubicBezTo>
                <a:cubicBezTo>
                  <a:pt x="117" y="54"/>
                  <a:pt x="117" y="54"/>
                  <a:pt x="117" y="54"/>
                </a:cubicBezTo>
                <a:cubicBezTo>
                  <a:pt x="108" y="54"/>
                  <a:pt x="108" y="54"/>
                  <a:pt x="108" y="54"/>
                </a:cubicBezTo>
                <a:cubicBezTo>
                  <a:pt x="101" y="86"/>
                  <a:pt x="101" y="86"/>
                  <a:pt x="101" y="86"/>
                </a:cubicBezTo>
                <a:cubicBezTo>
                  <a:pt x="99" y="96"/>
                  <a:pt x="99" y="96"/>
                  <a:pt x="99" y="96"/>
                </a:cubicBezTo>
                <a:cubicBezTo>
                  <a:pt x="99" y="97"/>
                  <a:pt x="98" y="97"/>
                  <a:pt x="98" y="97"/>
                </a:cubicBezTo>
                <a:cubicBezTo>
                  <a:pt x="99" y="98"/>
                  <a:pt x="100" y="100"/>
                  <a:pt x="100" y="101"/>
                </a:cubicBezTo>
                <a:cubicBezTo>
                  <a:pt x="100" y="104"/>
                  <a:pt x="97" y="107"/>
                  <a:pt x="94" y="107"/>
                </a:cubicBezTo>
                <a:cubicBezTo>
                  <a:pt x="91" y="107"/>
                  <a:pt x="89" y="104"/>
                  <a:pt x="89" y="101"/>
                </a:cubicBezTo>
                <a:cubicBezTo>
                  <a:pt x="89" y="100"/>
                  <a:pt x="89" y="99"/>
                  <a:pt x="90" y="98"/>
                </a:cubicBezTo>
                <a:cubicBezTo>
                  <a:pt x="67" y="98"/>
                  <a:pt x="67" y="98"/>
                  <a:pt x="67" y="98"/>
                </a:cubicBezTo>
                <a:cubicBezTo>
                  <a:pt x="68" y="99"/>
                  <a:pt x="68" y="100"/>
                  <a:pt x="68" y="101"/>
                </a:cubicBezTo>
                <a:cubicBezTo>
                  <a:pt x="68" y="104"/>
                  <a:pt x="66" y="107"/>
                  <a:pt x="63" y="107"/>
                </a:cubicBezTo>
                <a:cubicBezTo>
                  <a:pt x="60" y="107"/>
                  <a:pt x="58" y="104"/>
                  <a:pt x="58" y="101"/>
                </a:cubicBezTo>
                <a:cubicBezTo>
                  <a:pt x="58" y="100"/>
                  <a:pt x="58" y="99"/>
                  <a:pt x="59" y="98"/>
                </a:cubicBezTo>
                <a:cubicBezTo>
                  <a:pt x="55" y="98"/>
                  <a:pt x="55" y="98"/>
                  <a:pt x="55" y="98"/>
                </a:cubicBezTo>
                <a:cubicBezTo>
                  <a:pt x="55" y="98"/>
                  <a:pt x="54" y="98"/>
                  <a:pt x="54" y="98"/>
                </a:cubicBezTo>
                <a:cubicBezTo>
                  <a:pt x="52" y="98"/>
                  <a:pt x="52" y="98"/>
                  <a:pt x="52" y="98"/>
                </a:cubicBezTo>
                <a:cubicBezTo>
                  <a:pt x="52" y="93"/>
                  <a:pt x="52" y="93"/>
                  <a:pt x="52" y="93"/>
                </a:cubicBezTo>
                <a:cubicBezTo>
                  <a:pt x="55" y="93"/>
                  <a:pt x="55" y="93"/>
                  <a:pt x="55" y="93"/>
                </a:cubicBezTo>
                <a:cubicBezTo>
                  <a:pt x="56" y="93"/>
                  <a:pt x="56" y="93"/>
                  <a:pt x="56" y="93"/>
                </a:cubicBezTo>
                <a:cubicBezTo>
                  <a:pt x="94" y="93"/>
                  <a:pt x="94" y="93"/>
                  <a:pt x="94" y="93"/>
                </a:cubicBezTo>
                <a:cubicBezTo>
                  <a:pt x="95" y="88"/>
                  <a:pt x="95" y="88"/>
                  <a:pt x="95" y="88"/>
                </a:cubicBezTo>
                <a:cubicBezTo>
                  <a:pt x="58" y="88"/>
                  <a:pt x="58" y="88"/>
                  <a:pt x="58" y="88"/>
                </a:cubicBezTo>
                <a:cubicBezTo>
                  <a:pt x="58" y="88"/>
                  <a:pt x="58" y="88"/>
                  <a:pt x="58" y="88"/>
                </a:cubicBezTo>
                <a:cubicBezTo>
                  <a:pt x="56" y="88"/>
                  <a:pt x="56" y="88"/>
                  <a:pt x="56" y="88"/>
                </a:cubicBezTo>
                <a:cubicBezTo>
                  <a:pt x="56" y="87"/>
                  <a:pt x="56" y="87"/>
                  <a:pt x="56" y="87"/>
                </a:cubicBezTo>
                <a:cubicBezTo>
                  <a:pt x="56" y="87"/>
                  <a:pt x="56" y="87"/>
                  <a:pt x="56" y="86"/>
                </a:cubicBezTo>
                <a:cubicBezTo>
                  <a:pt x="50" y="61"/>
                  <a:pt x="50" y="61"/>
                  <a:pt x="50" y="61"/>
                </a:cubicBezTo>
                <a:cubicBezTo>
                  <a:pt x="50" y="61"/>
                  <a:pt x="50" y="61"/>
                  <a:pt x="50" y="61"/>
                </a:cubicBezTo>
                <a:cubicBezTo>
                  <a:pt x="50" y="58"/>
                  <a:pt x="50" y="58"/>
                  <a:pt x="50" y="58"/>
                </a:cubicBezTo>
                <a:cubicBezTo>
                  <a:pt x="53" y="58"/>
                  <a:pt x="53" y="58"/>
                  <a:pt x="53" y="58"/>
                </a:cubicBezTo>
                <a:cubicBezTo>
                  <a:pt x="55" y="58"/>
                  <a:pt x="55" y="58"/>
                  <a:pt x="55" y="58"/>
                </a:cubicBezTo>
                <a:cubicBezTo>
                  <a:pt x="103" y="58"/>
                  <a:pt x="103" y="58"/>
                  <a:pt x="103" y="58"/>
                </a:cubicBezTo>
                <a:cubicBezTo>
                  <a:pt x="104" y="50"/>
                  <a:pt x="104" y="50"/>
                  <a:pt x="104" y="50"/>
                </a:cubicBezTo>
                <a:cubicBezTo>
                  <a:pt x="106" y="50"/>
                  <a:pt x="106" y="50"/>
                  <a:pt x="106" y="50"/>
                </a:cubicBezTo>
                <a:cubicBezTo>
                  <a:pt x="107" y="50"/>
                  <a:pt x="107" y="50"/>
                  <a:pt x="107" y="50"/>
                </a:cubicBezTo>
                <a:cubicBezTo>
                  <a:pt x="117" y="50"/>
                  <a:pt x="117" y="50"/>
                  <a:pt x="117" y="50"/>
                </a:cubicBezTo>
                <a:cubicBezTo>
                  <a:pt x="117" y="50"/>
                  <a:pt x="117" y="50"/>
                  <a:pt x="117" y="50"/>
                </a:cubicBezTo>
                <a:lnTo>
                  <a:pt x="120" y="50"/>
                </a:lnTo>
                <a:close/>
                <a:moveTo>
                  <a:pt x="43" y="6"/>
                </a:moveTo>
                <a:cubicBezTo>
                  <a:pt x="21" y="39"/>
                  <a:pt x="21" y="39"/>
                  <a:pt x="21" y="39"/>
                </a:cubicBezTo>
                <a:cubicBezTo>
                  <a:pt x="7" y="27"/>
                  <a:pt x="7" y="27"/>
                  <a:pt x="7" y="27"/>
                </a:cubicBezTo>
                <a:cubicBezTo>
                  <a:pt x="0" y="35"/>
                  <a:pt x="0" y="35"/>
                  <a:pt x="0" y="35"/>
                </a:cubicBezTo>
                <a:cubicBezTo>
                  <a:pt x="22" y="54"/>
                  <a:pt x="22" y="54"/>
                  <a:pt x="22" y="54"/>
                </a:cubicBezTo>
                <a:cubicBezTo>
                  <a:pt x="52" y="12"/>
                  <a:pt x="52" y="12"/>
                  <a:pt x="52" y="12"/>
                </a:cubicBezTo>
                <a:lnTo>
                  <a:pt x="43" y="6"/>
                </a:lnTo>
                <a:close/>
                <a:moveTo>
                  <a:pt x="80" y="0"/>
                </a:moveTo>
                <a:cubicBezTo>
                  <a:pt x="78" y="0"/>
                  <a:pt x="76" y="0"/>
                  <a:pt x="74" y="0"/>
                </a:cubicBezTo>
                <a:cubicBezTo>
                  <a:pt x="74" y="10"/>
                  <a:pt x="74" y="10"/>
                  <a:pt x="74" y="10"/>
                </a:cubicBezTo>
                <a:cubicBezTo>
                  <a:pt x="76" y="10"/>
                  <a:pt x="78" y="9"/>
                  <a:pt x="80" y="9"/>
                </a:cubicBezTo>
                <a:cubicBezTo>
                  <a:pt x="116" y="9"/>
                  <a:pt x="145" y="39"/>
                  <a:pt x="145" y="75"/>
                </a:cubicBezTo>
                <a:cubicBezTo>
                  <a:pt x="145" y="111"/>
                  <a:pt x="116" y="140"/>
                  <a:pt x="80" y="140"/>
                </a:cubicBezTo>
                <a:cubicBezTo>
                  <a:pt x="44" y="140"/>
                  <a:pt x="14" y="111"/>
                  <a:pt x="14" y="75"/>
                </a:cubicBezTo>
                <a:cubicBezTo>
                  <a:pt x="14" y="75"/>
                  <a:pt x="14" y="75"/>
                  <a:pt x="14" y="74"/>
                </a:cubicBezTo>
                <a:cubicBezTo>
                  <a:pt x="5" y="74"/>
                  <a:pt x="5" y="74"/>
                  <a:pt x="5" y="74"/>
                </a:cubicBezTo>
                <a:cubicBezTo>
                  <a:pt x="5" y="75"/>
                  <a:pt x="5" y="75"/>
                  <a:pt x="5" y="75"/>
                </a:cubicBezTo>
                <a:cubicBezTo>
                  <a:pt x="5" y="116"/>
                  <a:pt x="38" y="150"/>
                  <a:pt x="80" y="150"/>
                </a:cubicBezTo>
                <a:cubicBezTo>
                  <a:pt x="121" y="150"/>
                  <a:pt x="155" y="116"/>
                  <a:pt x="155" y="75"/>
                </a:cubicBezTo>
                <a:cubicBezTo>
                  <a:pt x="155" y="34"/>
                  <a:pt x="121" y="0"/>
                  <a:pt x="80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42" name="Freeform 45"/>
          <p:cNvSpPr>
            <a:spLocks noEditPoints="1"/>
          </p:cNvSpPr>
          <p:nvPr/>
        </p:nvSpPr>
        <p:spPr bwMode="black">
          <a:xfrm>
            <a:off x="9291254" y="5267250"/>
            <a:ext cx="330731" cy="314194"/>
          </a:xfrm>
          <a:custGeom>
            <a:avLst/>
            <a:gdLst>
              <a:gd name="T0" fmla="*/ 0 w 154"/>
              <a:gd name="T1" fmla="*/ 77 h 154"/>
              <a:gd name="T2" fmla="*/ 154 w 154"/>
              <a:gd name="T3" fmla="*/ 77 h 154"/>
              <a:gd name="T4" fmla="*/ 77 w 154"/>
              <a:gd name="T5" fmla="*/ 10 h 154"/>
              <a:gd name="T6" fmla="*/ 77 w 154"/>
              <a:gd name="T7" fmla="*/ 144 h 154"/>
              <a:gd name="T8" fmla="*/ 77 w 154"/>
              <a:gd name="T9" fmla="*/ 10 h 154"/>
              <a:gd name="T10" fmla="*/ 92 w 154"/>
              <a:gd name="T11" fmla="*/ 64 h 154"/>
              <a:gd name="T12" fmla="*/ 75 w 154"/>
              <a:gd name="T13" fmla="*/ 47 h 154"/>
              <a:gd name="T14" fmla="*/ 71 w 154"/>
              <a:gd name="T15" fmla="*/ 45 h 154"/>
              <a:gd name="T16" fmla="*/ 49 w 154"/>
              <a:gd name="T17" fmla="*/ 45 h 154"/>
              <a:gd name="T18" fmla="*/ 43 w 154"/>
              <a:gd name="T19" fmla="*/ 101 h 154"/>
              <a:gd name="T20" fmla="*/ 87 w 154"/>
              <a:gd name="T21" fmla="*/ 107 h 154"/>
              <a:gd name="T22" fmla="*/ 93 w 154"/>
              <a:gd name="T23" fmla="*/ 66 h 154"/>
              <a:gd name="T24" fmla="*/ 92 w 154"/>
              <a:gd name="T25" fmla="*/ 64 h 154"/>
              <a:gd name="T26" fmla="*/ 87 w 154"/>
              <a:gd name="T27" fmla="*/ 66 h 154"/>
              <a:gd name="T28" fmla="*/ 71 w 154"/>
              <a:gd name="T29" fmla="*/ 50 h 154"/>
              <a:gd name="T30" fmla="*/ 49 w 154"/>
              <a:gd name="T31" fmla="*/ 101 h 154"/>
              <a:gd name="T32" fmla="*/ 66 w 154"/>
              <a:gd name="T33" fmla="*/ 50 h 154"/>
              <a:gd name="T34" fmla="*/ 71 w 154"/>
              <a:gd name="T35" fmla="*/ 72 h 154"/>
              <a:gd name="T36" fmla="*/ 87 w 154"/>
              <a:gd name="T37" fmla="*/ 101 h 154"/>
              <a:gd name="T38" fmla="*/ 103 w 154"/>
              <a:gd name="T39" fmla="*/ 64 h 154"/>
              <a:gd name="T40" fmla="*/ 98 w 154"/>
              <a:gd name="T41" fmla="*/ 107 h 154"/>
              <a:gd name="T42" fmla="*/ 98 w 154"/>
              <a:gd name="T43" fmla="*/ 102 h 154"/>
              <a:gd name="T44" fmla="*/ 96 w 154"/>
              <a:gd name="T45" fmla="*/ 60 h 154"/>
              <a:gd name="T46" fmla="*/ 80 w 154"/>
              <a:gd name="T47" fmla="*/ 45 h 154"/>
              <a:gd name="T48" fmla="*/ 83 w 154"/>
              <a:gd name="T49" fmla="*/ 45 h 154"/>
              <a:gd name="T50" fmla="*/ 101 w 154"/>
              <a:gd name="T51" fmla="*/ 59 h 154"/>
              <a:gd name="T52" fmla="*/ 114 w 154"/>
              <a:gd name="T53" fmla="*/ 101 h 154"/>
              <a:gd name="T54" fmla="*/ 107 w 154"/>
              <a:gd name="T55" fmla="*/ 107 h 154"/>
              <a:gd name="T56" fmla="*/ 108 w 154"/>
              <a:gd name="T57" fmla="*/ 63 h 154"/>
              <a:gd name="T58" fmla="*/ 93 w 154"/>
              <a:gd name="T59" fmla="*/ 45 h 154"/>
              <a:gd name="T60" fmla="*/ 94 w 154"/>
              <a:gd name="T61" fmla="*/ 45 h 154"/>
              <a:gd name="T62" fmla="*/ 102 w 154"/>
              <a:gd name="T63" fmla="*/ 48 h 154"/>
              <a:gd name="T64" fmla="*/ 114 w 154"/>
              <a:gd name="T65" fmla="*/ 62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54" h="154">
                <a:moveTo>
                  <a:pt x="77" y="0"/>
                </a:moveTo>
                <a:cubicBezTo>
                  <a:pt x="35" y="0"/>
                  <a:pt x="0" y="35"/>
                  <a:pt x="0" y="77"/>
                </a:cubicBezTo>
                <a:cubicBezTo>
                  <a:pt x="0" y="119"/>
                  <a:pt x="35" y="154"/>
                  <a:pt x="77" y="154"/>
                </a:cubicBezTo>
                <a:cubicBezTo>
                  <a:pt x="119" y="154"/>
                  <a:pt x="154" y="119"/>
                  <a:pt x="154" y="77"/>
                </a:cubicBezTo>
                <a:cubicBezTo>
                  <a:pt x="154" y="35"/>
                  <a:pt x="119" y="0"/>
                  <a:pt x="77" y="0"/>
                </a:cubicBezTo>
                <a:close/>
                <a:moveTo>
                  <a:pt x="77" y="10"/>
                </a:moveTo>
                <a:cubicBezTo>
                  <a:pt x="114" y="10"/>
                  <a:pt x="144" y="40"/>
                  <a:pt x="144" y="77"/>
                </a:cubicBezTo>
                <a:cubicBezTo>
                  <a:pt x="144" y="114"/>
                  <a:pt x="114" y="144"/>
                  <a:pt x="77" y="144"/>
                </a:cubicBezTo>
                <a:cubicBezTo>
                  <a:pt x="40" y="144"/>
                  <a:pt x="10" y="114"/>
                  <a:pt x="10" y="77"/>
                </a:cubicBezTo>
                <a:cubicBezTo>
                  <a:pt x="10" y="40"/>
                  <a:pt x="40" y="10"/>
                  <a:pt x="77" y="10"/>
                </a:cubicBezTo>
                <a:close/>
                <a:moveTo>
                  <a:pt x="92" y="64"/>
                </a:moveTo>
                <a:cubicBezTo>
                  <a:pt x="92" y="64"/>
                  <a:pt x="92" y="64"/>
                  <a:pt x="92" y="64"/>
                </a:cubicBezTo>
                <a:cubicBezTo>
                  <a:pt x="92" y="63"/>
                  <a:pt x="91" y="63"/>
                  <a:pt x="91" y="62"/>
                </a:cubicBezTo>
                <a:cubicBezTo>
                  <a:pt x="75" y="47"/>
                  <a:pt x="75" y="47"/>
                  <a:pt x="75" y="47"/>
                </a:cubicBezTo>
                <a:cubicBezTo>
                  <a:pt x="74" y="45"/>
                  <a:pt x="73" y="45"/>
                  <a:pt x="71" y="45"/>
                </a:cubicBezTo>
                <a:cubicBezTo>
                  <a:pt x="71" y="45"/>
                  <a:pt x="71" y="45"/>
                  <a:pt x="71" y="45"/>
                </a:cubicBezTo>
                <a:cubicBezTo>
                  <a:pt x="71" y="45"/>
                  <a:pt x="71" y="45"/>
                  <a:pt x="71" y="45"/>
                </a:cubicBezTo>
                <a:cubicBezTo>
                  <a:pt x="49" y="45"/>
                  <a:pt x="49" y="45"/>
                  <a:pt x="49" y="45"/>
                </a:cubicBezTo>
                <a:cubicBezTo>
                  <a:pt x="46" y="45"/>
                  <a:pt x="43" y="47"/>
                  <a:pt x="43" y="50"/>
                </a:cubicBezTo>
                <a:cubicBezTo>
                  <a:pt x="43" y="101"/>
                  <a:pt x="43" y="101"/>
                  <a:pt x="43" y="101"/>
                </a:cubicBezTo>
                <a:cubicBezTo>
                  <a:pt x="43" y="104"/>
                  <a:pt x="46" y="107"/>
                  <a:pt x="49" y="107"/>
                </a:cubicBezTo>
                <a:cubicBezTo>
                  <a:pt x="87" y="107"/>
                  <a:pt x="87" y="107"/>
                  <a:pt x="87" y="107"/>
                </a:cubicBezTo>
                <a:cubicBezTo>
                  <a:pt x="90" y="107"/>
                  <a:pt x="93" y="104"/>
                  <a:pt x="93" y="101"/>
                </a:cubicBezTo>
                <a:cubicBezTo>
                  <a:pt x="93" y="66"/>
                  <a:pt x="93" y="66"/>
                  <a:pt x="93" y="66"/>
                </a:cubicBezTo>
                <a:cubicBezTo>
                  <a:pt x="93" y="66"/>
                  <a:pt x="92" y="66"/>
                  <a:pt x="92" y="66"/>
                </a:cubicBezTo>
                <a:cubicBezTo>
                  <a:pt x="92" y="65"/>
                  <a:pt x="92" y="65"/>
                  <a:pt x="92" y="64"/>
                </a:cubicBezTo>
                <a:close/>
                <a:moveTo>
                  <a:pt x="71" y="50"/>
                </a:moveTo>
                <a:cubicBezTo>
                  <a:pt x="87" y="66"/>
                  <a:pt x="87" y="66"/>
                  <a:pt x="87" y="66"/>
                </a:cubicBezTo>
                <a:cubicBezTo>
                  <a:pt x="71" y="66"/>
                  <a:pt x="71" y="66"/>
                  <a:pt x="71" y="66"/>
                </a:cubicBezTo>
                <a:lnTo>
                  <a:pt x="71" y="50"/>
                </a:lnTo>
                <a:close/>
                <a:moveTo>
                  <a:pt x="87" y="101"/>
                </a:moveTo>
                <a:cubicBezTo>
                  <a:pt x="49" y="101"/>
                  <a:pt x="49" y="101"/>
                  <a:pt x="49" y="101"/>
                </a:cubicBezTo>
                <a:cubicBezTo>
                  <a:pt x="49" y="50"/>
                  <a:pt x="49" y="50"/>
                  <a:pt x="49" y="50"/>
                </a:cubicBezTo>
                <a:cubicBezTo>
                  <a:pt x="66" y="50"/>
                  <a:pt x="66" y="50"/>
                  <a:pt x="66" y="50"/>
                </a:cubicBezTo>
                <a:cubicBezTo>
                  <a:pt x="66" y="66"/>
                  <a:pt x="66" y="66"/>
                  <a:pt x="66" y="66"/>
                </a:cubicBezTo>
                <a:cubicBezTo>
                  <a:pt x="66" y="69"/>
                  <a:pt x="68" y="72"/>
                  <a:pt x="71" y="72"/>
                </a:cubicBezTo>
                <a:cubicBezTo>
                  <a:pt x="87" y="72"/>
                  <a:pt x="87" y="72"/>
                  <a:pt x="87" y="72"/>
                </a:cubicBezTo>
                <a:lnTo>
                  <a:pt x="87" y="101"/>
                </a:lnTo>
                <a:close/>
                <a:moveTo>
                  <a:pt x="101" y="59"/>
                </a:moveTo>
                <a:cubicBezTo>
                  <a:pt x="102" y="60"/>
                  <a:pt x="103" y="62"/>
                  <a:pt x="103" y="64"/>
                </a:cubicBezTo>
                <a:cubicBezTo>
                  <a:pt x="103" y="101"/>
                  <a:pt x="103" y="101"/>
                  <a:pt x="103" y="101"/>
                </a:cubicBezTo>
                <a:cubicBezTo>
                  <a:pt x="103" y="104"/>
                  <a:pt x="101" y="107"/>
                  <a:pt x="98" y="107"/>
                </a:cubicBezTo>
                <a:cubicBezTo>
                  <a:pt x="96" y="107"/>
                  <a:pt x="96" y="107"/>
                  <a:pt x="96" y="107"/>
                </a:cubicBezTo>
                <a:cubicBezTo>
                  <a:pt x="97" y="105"/>
                  <a:pt x="98" y="104"/>
                  <a:pt x="98" y="102"/>
                </a:cubicBezTo>
                <a:cubicBezTo>
                  <a:pt x="98" y="66"/>
                  <a:pt x="98" y="66"/>
                  <a:pt x="98" y="66"/>
                </a:cubicBezTo>
                <a:cubicBezTo>
                  <a:pt x="98" y="64"/>
                  <a:pt x="97" y="62"/>
                  <a:pt x="96" y="60"/>
                </a:cubicBezTo>
                <a:cubicBezTo>
                  <a:pt x="80" y="45"/>
                  <a:pt x="80" y="45"/>
                  <a:pt x="80" y="45"/>
                </a:cubicBezTo>
                <a:cubicBezTo>
                  <a:pt x="80" y="45"/>
                  <a:pt x="80" y="45"/>
                  <a:pt x="80" y="45"/>
                </a:cubicBezTo>
                <a:cubicBezTo>
                  <a:pt x="82" y="45"/>
                  <a:pt x="82" y="45"/>
                  <a:pt x="82" y="45"/>
                </a:cubicBezTo>
                <a:cubicBezTo>
                  <a:pt x="83" y="45"/>
                  <a:pt x="83" y="45"/>
                  <a:pt x="83" y="45"/>
                </a:cubicBezTo>
                <a:cubicBezTo>
                  <a:pt x="84" y="45"/>
                  <a:pt x="87" y="45"/>
                  <a:pt x="90" y="48"/>
                </a:cubicBezTo>
                <a:lnTo>
                  <a:pt x="101" y="59"/>
                </a:lnTo>
                <a:close/>
                <a:moveTo>
                  <a:pt x="114" y="62"/>
                </a:moveTo>
                <a:cubicBezTo>
                  <a:pt x="114" y="101"/>
                  <a:pt x="114" y="101"/>
                  <a:pt x="114" y="101"/>
                </a:cubicBezTo>
                <a:cubicBezTo>
                  <a:pt x="114" y="104"/>
                  <a:pt x="111" y="107"/>
                  <a:pt x="108" y="107"/>
                </a:cubicBezTo>
                <a:cubicBezTo>
                  <a:pt x="107" y="107"/>
                  <a:pt x="107" y="107"/>
                  <a:pt x="107" y="107"/>
                </a:cubicBezTo>
                <a:cubicBezTo>
                  <a:pt x="108" y="105"/>
                  <a:pt x="108" y="104"/>
                  <a:pt x="108" y="102"/>
                </a:cubicBezTo>
                <a:cubicBezTo>
                  <a:pt x="108" y="63"/>
                  <a:pt x="108" y="63"/>
                  <a:pt x="108" y="63"/>
                </a:cubicBezTo>
                <a:cubicBezTo>
                  <a:pt x="108" y="62"/>
                  <a:pt x="108" y="60"/>
                  <a:pt x="107" y="59"/>
                </a:cubicBezTo>
                <a:cubicBezTo>
                  <a:pt x="93" y="45"/>
                  <a:pt x="93" y="45"/>
                  <a:pt x="93" y="45"/>
                </a:cubicBezTo>
                <a:cubicBezTo>
                  <a:pt x="93" y="45"/>
                  <a:pt x="93" y="45"/>
                  <a:pt x="93" y="45"/>
                </a:cubicBezTo>
                <a:cubicBezTo>
                  <a:pt x="94" y="45"/>
                  <a:pt x="94" y="45"/>
                  <a:pt x="94" y="45"/>
                </a:cubicBezTo>
                <a:cubicBezTo>
                  <a:pt x="95" y="45"/>
                  <a:pt x="95" y="45"/>
                  <a:pt x="95" y="45"/>
                </a:cubicBezTo>
                <a:cubicBezTo>
                  <a:pt x="97" y="45"/>
                  <a:pt x="99" y="45"/>
                  <a:pt x="102" y="48"/>
                </a:cubicBezTo>
                <a:cubicBezTo>
                  <a:pt x="112" y="58"/>
                  <a:pt x="112" y="58"/>
                  <a:pt x="112" y="58"/>
                </a:cubicBezTo>
                <a:cubicBezTo>
                  <a:pt x="113" y="59"/>
                  <a:pt x="114" y="61"/>
                  <a:pt x="114" y="6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43" name="Freeform 46"/>
          <p:cNvSpPr>
            <a:spLocks noEditPoints="1"/>
          </p:cNvSpPr>
          <p:nvPr/>
        </p:nvSpPr>
        <p:spPr bwMode="black">
          <a:xfrm>
            <a:off x="9292551" y="3930182"/>
            <a:ext cx="328138" cy="294480"/>
          </a:xfrm>
          <a:custGeom>
            <a:avLst/>
            <a:gdLst>
              <a:gd name="T0" fmla="*/ 76 w 153"/>
              <a:gd name="T1" fmla="*/ 9 h 144"/>
              <a:gd name="T2" fmla="*/ 76 w 153"/>
              <a:gd name="T3" fmla="*/ 9 h 144"/>
              <a:gd name="T4" fmla="*/ 76 w 153"/>
              <a:gd name="T5" fmla="*/ 9 h 144"/>
              <a:gd name="T6" fmla="*/ 14 w 153"/>
              <a:gd name="T7" fmla="*/ 64 h 144"/>
              <a:gd name="T8" fmla="*/ 27 w 153"/>
              <a:gd name="T9" fmla="*/ 110 h 144"/>
              <a:gd name="T10" fmla="*/ 68 w 153"/>
              <a:gd name="T11" fmla="*/ 134 h 144"/>
              <a:gd name="T12" fmla="*/ 76 w 153"/>
              <a:gd name="T13" fmla="*/ 134 h 144"/>
              <a:gd name="T14" fmla="*/ 138 w 153"/>
              <a:gd name="T15" fmla="*/ 80 h 144"/>
              <a:gd name="T16" fmla="*/ 126 w 153"/>
              <a:gd name="T17" fmla="*/ 34 h 144"/>
              <a:gd name="T18" fmla="*/ 85 w 153"/>
              <a:gd name="T19" fmla="*/ 10 h 144"/>
              <a:gd name="T20" fmla="*/ 76 w 153"/>
              <a:gd name="T21" fmla="*/ 9 h 144"/>
              <a:gd name="T22" fmla="*/ 76 w 153"/>
              <a:gd name="T23" fmla="*/ 0 h 144"/>
              <a:gd name="T24" fmla="*/ 86 w 153"/>
              <a:gd name="T25" fmla="*/ 1 h 144"/>
              <a:gd name="T26" fmla="*/ 148 w 153"/>
              <a:gd name="T27" fmla="*/ 81 h 144"/>
              <a:gd name="T28" fmla="*/ 76 w 153"/>
              <a:gd name="T29" fmla="*/ 144 h 144"/>
              <a:gd name="T30" fmla="*/ 67 w 153"/>
              <a:gd name="T31" fmla="*/ 143 h 144"/>
              <a:gd name="T32" fmla="*/ 5 w 153"/>
              <a:gd name="T33" fmla="*/ 62 h 144"/>
              <a:gd name="T34" fmla="*/ 76 w 153"/>
              <a:gd name="T35" fmla="*/ 0 h 144"/>
              <a:gd name="T36" fmla="*/ 89 w 153"/>
              <a:gd name="T37" fmla="*/ 34 h 144"/>
              <a:gd name="T38" fmla="*/ 82 w 153"/>
              <a:gd name="T39" fmla="*/ 41 h 144"/>
              <a:gd name="T40" fmla="*/ 76 w 153"/>
              <a:gd name="T41" fmla="*/ 34 h 144"/>
              <a:gd name="T42" fmla="*/ 82 w 153"/>
              <a:gd name="T43" fmla="*/ 27 h 144"/>
              <a:gd name="T44" fmla="*/ 89 w 153"/>
              <a:gd name="T45" fmla="*/ 34 h 144"/>
              <a:gd name="T46" fmla="*/ 73 w 153"/>
              <a:gd name="T47" fmla="*/ 39 h 144"/>
              <a:gd name="T48" fmla="*/ 55 w 153"/>
              <a:gd name="T49" fmla="*/ 49 h 144"/>
              <a:gd name="T50" fmla="*/ 54 w 153"/>
              <a:gd name="T51" fmla="*/ 68 h 144"/>
              <a:gd name="T52" fmla="*/ 60 w 153"/>
              <a:gd name="T53" fmla="*/ 68 h 144"/>
              <a:gd name="T54" fmla="*/ 61 w 153"/>
              <a:gd name="T55" fmla="*/ 53 h 144"/>
              <a:gd name="T56" fmla="*/ 68 w 153"/>
              <a:gd name="T57" fmla="*/ 49 h 144"/>
              <a:gd name="T58" fmla="*/ 63 w 153"/>
              <a:gd name="T59" fmla="*/ 64 h 144"/>
              <a:gd name="T60" fmla="*/ 65 w 153"/>
              <a:gd name="T61" fmla="*/ 72 h 144"/>
              <a:gd name="T62" fmla="*/ 53 w 153"/>
              <a:gd name="T63" fmla="*/ 109 h 144"/>
              <a:gd name="T64" fmla="*/ 61 w 153"/>
              <a:gd name="T65" fmla="*/ 111 h 144"/>
              <a:gd name="T66" fmla="*/ 71 w 153"/>
              <a:gd name="T67" fmla="*/ 84 h 144"/>
              <a:gd name="T68" fmla="*/ 74 w 153"/>
              <a:gd name="T69" fmla="*/ 89 h 144"/>
              <a:gd name="T70" fmla="*/ 81 w 153"/>
              <a:gd name="T71" fmla="*/ 111 h 144"/>
              <a:gd name="T72" fmla="*/ 89 w 153"/>
              <a:gd name="T73" fmla="*/ 108 h 144"/>
              <a:gd name="T74" fmla="*/ 82 w 153"/>
              <a:gd name="T75" fmla="*/ 83 h 144"/>
              <a:gd name="T76" fmla="*/ 75 w 153"/>
              <a:gd name="T77" fmla="*/ 72 h 144"/>
              <a:gd name="T78" fmla="*/ 81 w 153"/>
              <a:gd name="T79" fmla="*/ 56 h 144"/>
              <a:gd name="T80" fmla="*/ 83 w 153"/>
              <a:gd name="T81" fmla="*/ 62 h 144"/>
              <a:gd name="T82" fmla="*/ 98 w 153"/>
              <a:gd name="T83" fmla="*/ 68 h 144"/>
              <a:gd name="T84" fmla="*/ 100 w 153"/>
              <a:gd name="T85" fmla="*/ 62 h 144"/>
              <a:gd name="T86" fmla="*/ 88 w 153"/>
              <a:gd name="T87" fmla="*/ 57 h 144"/>
              <a:gd name="T88" fmla="*/ 85 w 153"/>
              <a:gd name="T89" fmla="*/ 44 h 144"/>
              <a:gd name="T90" fmla="*/ 73 w 153"/>
              <a:gd name="T91" fmla="*/ 39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53" h="144">
                <a:moveTo>
                  <a:pt x="76" y="9"/>
                </a:moveTo>
                <a:cubicBezTo>
                  <a:pt x="76" y="9"/>
                  <a:pt x="76" y="9"/>
                  <a:pt x="76" y="9"/>
                </a:cubicBezTo>
                <a:cubicBezTo>
                  <a:pt x="76" y="9"/>
                  <a:pt x="76" y="9"/>
                  <a:pt x="76" y="9"/>
                </a:cubicBezTo>
                <a:cubicBezTo>
                  <a:pt x="45" y="9"/>
                  <a:pt x="19" y="33"/>
                  <a:pt x="14" y="64"/>
                </a:cubicBezTo>
                <a:cubicBezTo>
                  <a:pt x="12" y="80"/>
                  <a:pt x="16" y="97"/>
                  <a:pt x="27" y="110"/>
                </a:cubicBezTo>
                <a:cubicBezTo>
                  <a:pt x="37" y="123"/>
                  <a:pt x="51" y="132"/>
                  <a:pt x="68" y="134"/>
                </a:cubicBezTo>
                <a:cubicBezTo>
                  <a:pt x="71" y="134"/>
                  <a:pt x="74" y="134"/>
                  <a:pt x="76" y="134"/>
                </a:cubicBezTo>
                <a:cubicBezTo>
                  <a:pt x="107" y="134"/>
                  <a:pt x="134" y="111"/>
                  <a:pt x="138" y="80"/>
                </a:cubicBezTo>
                <a:cubicBezTo>
                  <a:pt x="140" y="64"/>
                  <a:pt x="136" y="47"/>
                  <a:pt x="126" y="34"/>
                </a:cubicBezTo>
                <a:cubicBezTo>
                  <a:pt x="116" y="21"/>
                  <a:pt x="101" y="12"/>
                  <a:pt x="85" y="10"/>
                </a:cubicBezTo>
                <a:cubicBezTo>
                  <a:pt x="82" y="10"/>
                  <a:pt x="79" y="9"/>
                  <a:pt x="76" y="9"/>
                </a:cubicBezTo>
                <a:moveTo>
                  <a:pt x="76" y="0"/>
                </a:moveTo>
                <a:cubicBezTo>
                  <a:pt x="79" y="0"/>
                  <a:pt x="83" y="0"/>
                  <a:pt x="86" y="1"/>
                </a:cubicBezTo>
                <a:cubicBezTo>
                  <a:pt x="125" y="6"/>
                  <a:pt x="153" y="42"/>
                  <a:pt x="148" y="81"/>
                </a:cubicBezTo>
                <a:cubicBezTo>
                  <a:pt x="143" y="118"/>
                  <a:pt x="112" y="144"/>
                  <a:pt x="76" y="144"/>
                </a:cubicBezTo>
                <a:cubicBezTo>
                  <a:pt x="73" y="144"/>
                  <a:pt x="70" y="144"/>
                  <a:pt x="67" y="143"/>
                </a:cubicBezTo>
                <a:cubicBezTo>
                  <a:pt x="27" y="138"/>
                  <a:pt x="0" y="102"/>
                  <a:pt x="5" y="62"/>
                </a:cubicBezTo>
                <a:cubicBezTo>
                  <a:pt x="10" y="26"/>
                  <a:pt x="41" y="0"/>
                  <a:pt x="76" y="0"/>
                </a:cubicBezTo>
                <a:moveTo>
                  <a:pt x="89" y="34"/>
                </a:moveTo>
                <a:cubicBezTo>
                  <a:pt x="89" y="38"/>
                  <a:pt x="86" y="41"/>
                  <a:pt x="82" y="41"/>
                </a:cubicBezTo>
                <a:cubicBezTo>
                  <a:pt x="79" y="41"/>
                  <a:pt x="76" y="38"/>
                  <a:pt x="76" y="34"/>
                </a:cubicBezTo>
                <a:cubicBezTo>
                  <a:pt x="76" y="30"/>
                  <a:pt x="79" y="27"/>
                  <a:pt x="82" y="27"/>
                </a:cubicBezTo>
                <a:cubicBezTo>
                  <a:pt x="86" y="27"/>
                  <a:pt x="89" y="30"/>
                  <a:pt x="89" y="34"/>
                </a:cubicBezTo>
                <a:moveTo>
                  <a:pt x="73" y="39"/>
                </a:moveTo>
                <a:cubicBezTo>
                  <a:pt x="55" y="49"/>
                  <a:pt x="55" y="49"/>
                  <a:pt x="55" y="49"/>
                </a:cubicBezTo>
                <a:cubicBezTo>
                  <a:pt x="54" y="68"/>
                  <a:pt x="54" y="68"/>
                  <a:pt x="54" y="68"/>
                </a:cubicBezTo>
                <a:cubicBezTo>
                  <a:pt x="60" y="68"/>
                  <a:pt x="60" y="68"/>
                  <a:pt x="60" y="68"/>
                </a:cubicBezTo>
                <a:cubicBezTo>
                  <a:pt x="61" y="53"/>
                  <a:pt x="61" y="53"/>
                  <a:pt x="61" y="53"/>
                </a:cubicBezTo>
                <a:cubicBezTo>
                  <a:pt x="68" y="49"/>
                  <a:pt x="68" y="49"/>
                  <a:pt x="68" y="49"/>
                </a:cubicBezTo>
                <a:cubicBezTo>
                  <a:pt x="68" y="49"/>
                  <a:pt x="64" y="62"/>
                  <a:pt x="63" y="64"/>
                </a:cubicBezTo>
                <a:cubicBezTo>
                  <a:pt x="63" y="66"/>
                  <a:pt x="64" y="70"/>
                  <a:pt x="65" y="72"/>
                </a:cubicBezTo>
                <a:cubicBezTo>
                  <a:pt x="53" y="109"/>
                  <a:pt x="53" y="109"/>
                  <a:pt x="53" y="109"/>
                </a:cubicBezTo>
                <a:cubicBezTo>
                  <a:pt x="61" y="111"/>
                  <a:pt x="61" y="111"/>
                  <a:pt x="61" y="111"/>
                </a:cubicBezTo>
                <a:cubicBezTo>
                  <a:pt x="71" y="84"/>
                  <a:pt x="71" y="84"/>
                  <a:pt x="71" y="84"/>
                </a:cubicBezTo>
                <a:cubicBezTo>
                  <a:pt x="74" y="89"/>
                  <a:pt x="74" y="89"/>
                  <a:pt x="74" y="89"/>
                </a:cubicBezTo>
                <a:cubicBezTo>
                  <a:pt x="81" y="111"/>
                  <a:pt x="81" y="111"/>
                  <a:pt x="81" y="111"/>
                </a:cubicBezTo>
                <a:cubicBezTo>
                  <a:pt x="89" y="108"/>
                  <a:pt x="89" y="108"/>
                  <a:pt x="89" y="108"/>
                </a:cubicBezTo>
                <a:cubicBezTo>
                  <a:pt x="82" y="83"/>
                  <a:pt x="82" y="83"/>
                  <a:pt x="82" y="83"/>
                </a:cubicBezTo>
                <a:cubicBezTo>
                  <a:pt x="75" y="72"/>
                  <a:pt x="75" y="72"/>
                  <a:pt x="75" y="72"/>
                </a:cubicBezTo>
                <a:cubicBezTo>
                  <a:pt x="81" y="56"/>
                  <a:pt x="81" y="56"/>
                  <a:pt x="81" y="56"/>
                </a:cubicBezTo>
                <a:cubicBezTo>
                  <a:pt x="83" y="62"/>
                  <a:pt x="83" y="62"/>
                  <a:pt x="83" y="62"/>
                </a:cubicBezTo>
                <a:cubicBezTo>
                  <a:pt x="98" y="68"/>
                  <a:pt x="98" y="68"/>
                  <a:pt x="98" y="68"/>
                </a:cubicBezTo>
                <a:cubicBezTo>
                  <a:pt x="100" y="62"/>
                  <a:pt x="100" y="62"/>
                  <a:pt x="100" y="62"/>
                </a:cubicBezTo>
                <a:cubicBezTo>
                  <a:pt x="88" y="57"/>
                  <a:pt x="88" y="57"/>
                  <a:pt x="88" y="57"/>
                </a:cubicBezTo>
                <a:cubicBezTo>
                  <a:pt x="85" y="44"/>
                  <a:pt x="85" y="44"/>
                  <a:pt x="85" y="44"/>
                </a:cubicBezTo>
                <a:lnTo>
                  <a:pt x="73" y="3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44" name="Freeform 47"/>
          <p:cNvSpPr>
            <a:spLocks noEditPoints="1"/>
          </p:cNvSpPr>
          <p:nvPr/>
        </p:nvSpPr>
        <p:spPr bwMode="black">
          <a:xfrm>
            <a:off x="9295792" y="3251178"/>
            <a:ext cx="321652" cy="305570"/>
          </a:xfrm>
          <a:custGeom>
            <a:avLst/>
            <a:gdLst>
              <a:gd name="T0" fmla="*/ 75 w 150"/>
              <a:gd name="T1" fmla="*/ 150 h 150"/>
              <a:gd name="T2" fmla="*/ 0 w 150"/>
              <a:gd name="T3" fmla="*/ 75 h 150"/>
              <a:gd name="T4" fmla="*/ 75 w 150"/>
              <a:gd name="T5" fmla="*/ 0 h 150"/>
              <a:gd name="T6" fmla="*/ 150 w 150"/>
              <a:gd name="T7" fmla="*/ 75 h 150"/>
              <a:gd name="T8" fmla="*/ 75 w 150"/>
              <a:gd name="T9" fmla="*/ 150 h 150"/>
              <a:gd name="T10" fmla="*/ 75 w 150"/>
              <a:gd name="T11" fmla="*/ 9 h 150"/>
              <a:gd name="T12" fmla="*/ 10 w 150"/>
              <a:gd name="T13" fmla="*/ 75 h 150"/>
              <a:gd name="T14" fmla="*/ 75 w 150"/>
              <a:gd name="T15" fmla="*/ 140 h 150"/>
              <a:gd name="T16" fmla="*/ 140 w 150"/>
              <a:gd name="T17" fmla="*/ 75 h 150"/>
              <a:gd name="T18" fmla="*/ 75 w 150"/>
              <a:gd name="T19" fmla="*/ 9 h 150"/>
              <a:gd name="T20" fmla="*/ 47 w 150"/>
              <a:gd name="T21" fmla="*/ 94 h 150"/>
              <a:gd name="T22" fmla="*/ 43 w 150"/>
              <a:gd name="T23" fmla="*/ 98 h 150"/>
              <a:gd name="T24" fmla="*/ 38 w 150"/>
              <a:gd name="T25" fmla="*/ 94 h 150"/>
              <a:gd name="T26" fmla="*/ 43 w 150"/>
              <a:gd name="T27" fmla="*/ 89 h 150"/>
              <a:gd name="T28" fmla="*/ 47 w 150"/>
              <a:gd name="T29" fmla="*/ 94 h 150"/>
              <a:gd name="T30" fmla="*/ 43 w 150"/>
              <a:gd name="T31" fmla="*/ 52 h 150"/>
              <a:gd name="T32" fmla="*/ 38 w 150"/>
              <a:gd name="T33" fmla="*/ 56 h 150"/>
              <a:gd name="T34" fmla="*/ 43 w 150"/>
              <a:gd name="T35" fmla="*/ 61 h 150"/>
              <a:gd name="T36" fmla="*/ 47 w 150"/>
              <a:gd name="T37" fmla="*/ 56 h 150"/>
              <a:gd name="T38" fmla="*/ 43 w 150"/>
              <a:gd name="T39" fmla="*/ 52 h 150"/>
              <a:gd name="T40" fmla="*/ 53 w 150"/>
              <a:gd name="T41" fmla="*/ 98 h 150"/>
              <a:gd name="T42" fmla="*/ 101 w 150"/>
              <a:gd name="T43" fmla="*/ 98 h 150"/>
              <a:gd name="T44" fmla="*/ 101 w 150"/>
              <a:gd name="T45" fmla="*/ 89 h 150"/>
              <a:gd name="T46" fmla="*/ 53 w 150"/>
              <a:gd name="T47" fmla="*/ 89 h 150"/>
              <a:gd name="T48" fmla="*/ 53 w 150"/>
              <a:gd name="T49" fmla="*/ 98 h 150"/>
              <a:gd name="T50" fmla="*/ 108 w 150"/>
              <a:gd name="T51" fmla="*/ 52 h 150"/>
              <a:gd name="T52" fmla="*/ 53 w 150"/>
              <a:gd name="T53" fmla="*/ 52 h 150"/>
              <a:gd name="T54" fmla="*/ 53 w 150"/>
              <a:gd name="T55" fmla="*/ 61 h 150"/>
              <a:gd name="T56" fmla="*/ 108 w 150"/>
              <a:gd name="T57" fmla="*/ 61 h 150"/>
              <a:gd name="T58" fmla="*/ 108 w 150"/>
              <a:gd name="T59" fmla="*/ 52 h 150"/>
              <a:gd name="T60" fmla="*/ 53 w 150"/>
              <a:gd name="T61" fmla="*/ 70 h 150"/>
              <a:gd name="T62" fmla="*/ 53 w 150"/>
              <a:gd name="T63" fmla="*/ 80 h 150"/>
              <a:gd name="T64" fmla="*/ 116 w 150"/>
              <a:gd name="T65" fmla="*/ 80 h 150"/>
              <a:gd name="T66" fmla="*/ 116 w 150"/>
              <a:gd name="T67" fmla="*/ 70 h 150"/>
              <a:gd name="T68" fmla="*/ 53 w 150"/>
              <a:gd name="T69" fmla="*/ 70 h 150"/>
              <a:gd name="T70" fmla="*/ 43 w 150"/>
              <a:gd name="T71" fmla="*/ 70 h 150"/>
              <a:gd name="T72" fmla="*/ 38 w 150"/>
              <a:gd name="T73" fmla="*/ 75 h 150"/>
              <a:gd name="T74" fmla="*/ 43 w 150"/>
              <a:gd name="T75" fmla="*/ 80 h 150"/>
              <a:gd name="T76" fmla="*/ 47 w 150"/>
              <a:gd name="T77" fmla="*/ 75 h 150"/>
              <a:gd name="T78" fmla="*/ 43 w 150"/>
              <a:gd name="T79" fmla="*/ 7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50" h="150">
                <a:moveTo>
                  <a:pt x="75" y="150"/>
                </a:moveTo>
                <a:cubicBezTo>
                  <a:pt x="34" y="150"/>
                  <a:pt x="0" y="116"/>
                  <a:pt x="0" y="75"/>
                </a:cubicBezTo>
                <a:cubicBezTo>
                  <a:pt x="0" y="34"/>
                  <a:pt x="34" y="0"/>
                  <a:pt x="75" y="0"/>
                </a:cubicBezTo>
                <a:cubicBezTo>
                  <a:pt x="116" y="0"/>
                  <a:pt x="150" y="34"/>
                  <a:pt x="150" y="75"/>
                </a:cubicBezTo>
                <a:cubicBezTo>
                  <a:pt x="150" y="116"/>
                  <a:pt x="116" y="150"/>
                  <a:pt x="75" y="150"/>
                </a:cubicBezTo>
                <a:close/>
                <a:moveTo>
                  <a:pt x="75" y="9"/>
                </a:moveTo>
                <a:cubicBezTo>
                  <a:pt x="39" y="9"/>
                  <a:pt x="10" y="39"/>
                  <a:pt x="10" y="75"/>
                </a:cubicBezTo>
                <a:cubicBezTo>
                  <a:pt x="10" y="111"/>
                  <a:pt x="39" y="140"/>
                  <a:pt x="75" y="140"/>
                </a:cubicBezTo>
                <a:cubicBezTo>
                  <a:pt x="111" y="140"/>
                  <a:pt x="140" y="111"/>
                  <a:pt x="140" y="75"/>
                </a:cubicBezTo>
                <a:cubicBezTo>
                  <a:pt x="140" y="39"/>
                  <a:pt x="111" y="9"/>
                  <a:pt x="75" y="9"/>
                </a:cubicBezTo>
                <a:close/>
                <a:moveTo>
                  <a:pt x="47" y="94"/>
                </a:moveTo>
                <a:cubicBezTo>
                  <a:pt x="47" y="96"/>
                  <a:pt x="45" y="98"/>
                  <a:pt x="43" y="98"/>
                </a:cubicBezTo>
                <a:cubicBezTo>
                  <a:pt x="40" y="98"/>
                  <a:pt x="38" y="96"/>
                  <a:pt x="38" y="94"/>
                </a:cubicBezTo>
                <a:cubicBezTo>
                  <a:pt x="38" y="91"/>
                  <a:pt x="40" y="89"/>
                  <a:pt x="43" y="89"/>
                </a:cubicBezTo>
                <a:cubicBezTo>
                  <a:pt x="45" y="89"/>
                  <a:pt x="47" y="91"/>
                  <a:pt x="47" y="94"/>
                </a:cubicBezTo>
                <a:close/>
                <a:moveTo>
                  <a:pt x="43" y="52"/>
                </a:moveTo>
                <a:cubicBezTo>
                  <a:pt x="40" y="52"/>
                  <a:pt x="38" y="54"/>
                  <a:pt x="38" y="56"/>
                </a:cubicBezTo>
                <a:cubicBezTo>
                  <a:pt x="38" y="59"/>
                  <a:pt x="40" y="61"/>
                  <a:pt x="43" y="61"/>
                </a:cubicBezTo>
                <a:cubicBezTo>
                  <a:pt x="45" y="61"/>
                  <a:pt x="47" y="59"/>
                  <a:pt x="47" y="56"/>
                </a:cubicBezTo>
                <a:cubicBezTo>
                  <a:pt x="47" y="54"/>
                  <a:pt x="45" y="52"/>
                  <a:pt x="43" y="52"/>
                </a:cubicBezTo>
                <a:close/>
                <a:moveTo>
                  <a:pt x="53" y="98"/>
                </a:moveTo>
                <a:cubicBezTo>
                  <a:pt x="101" y="98"/>
                  <a:pt x="101" y="98"/>
                  <a:pt x="101" y="98"/>
                </a:cubicBezTo>
                <a:cubicBezTo>
                  <a:pt x="101" y="89"/>
                  <a:pt x="101" y="89"/>
                  <a:pt x="101" y="89"/>
                </a:cubicBezTo>
                <a:cubicBezTo>
                  <a:pt x="53" y="89"/>
                  <a:pt x="53" y="89"/>
                  <a:pt x="53" y="89"/>
                </a:cubicBezTo>
                <a:lnTo>
                  <a:pt x="53" y="98"/>
                </a:lnTo>
                <a:close/>
                <a:moveTo>
                  <a:pt x="108" y="52"/>
                </a:moveTo>
                <a:cubicBezTo>
                  <a:pt x="53" y="52"/>
                  <a:pt x="53" y="52"/>
                  <a:pt x="53" y="52"/>
                </a:cubicBezTo>
                <a:cubicBezTo>
                  <a:pt x="53" y="61"/>
                  <a:pt x="53" y="61"/>
                  <a:pt x="53" y="61"/>
                </a:cubicBezTo>
                <a:cubicBezTo>
                  <a:pt x="108" y="61"/>
                  <a:pt x="108" y="61"/>
                  <a:pt x="108" y="61"/>
                </a:cubicBezTo>
                <a:lnTo>
                  <a:pt x="108" y="52"/>
                </a:lnTo>
                <a:close/>
                <a:moveTo>
                  <a:pt x="53" y="70"/>
                </a:moveTo>
                <a:cubicBezTo>
                  <a:pt x="53" y="80"/>
                  <a:pt x="53" y="80"/>
                  <a:pt x="53" y="80"/>
                </a:cubicBezTo>
                <a:cubicBezTo>
                  <a:pt x="116" y="80"/>
                  <a:pt x="116" y="80"/>
                  <a:pt x="116" y="80"/>
                </a:cubicBezTo>
                <a:cubicBezTo>
                  <a:pt x="116" y="70"/>
                  <a:pt x="116" y="70"/>
                  <a:pt x="116" y="70"/>
                </a:cubicBezTo>
                <a:lnTo>
                  <a:pt x="53" y="70"/>
                </a:lnTo>
                <a:close/>
                <a:moveTo>
                  <a:pt x="43" y="70"/>
                </a:moveTo>
                <a:cubicBezTo>
                  <a:pt x="40" y="70"/>
                  <a:pt x="38" y="72"/>
                  <a:pt x="38" y="75"/>
                </a:cubicBezTo>
                <a:cubicBezTo>
                  <a:pt x="38" y="78"/>
                  <a:pt x="40" y="80"/>
                  <a:pt x="43" y="80"/>
                </a:cubicBezTo>
                <a:cubicBezTo>
                  <a:pt x="45" y="80"/>
                  <a:pt x="47" y="78"/>
                  <a:pt x="47" y="75"/>
                </a:cubicBezTo>
                <a:cubicBezTo>
                  <a:pt x="47" y="72"/>
                  <a:pt x="45" y="70"/>
                  <a:pt x="43" y="7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45" name="Freeform 48"/>
          <p:cNvSpPr>
            <a:spLocks noEditPoints="1"/>
          </p:cNvSpPr>
          <p:nvPr/>
        </p:nvSpPr>
        <p:spPr bwMode="black">
          <a:xfrm>
            <a:off x="9292551" y="2583875"/>
            <a:ext cx="328138" cy="293249"/>
          </a:xfrm>
          <a:custGeom>
            <a:avLst/>
            <a:gdLst>
              <a:gd name="T0" fmla="*/ 76 w 153"/>
              <a:gd name="T1" fmla="*/ 9 h 144"/>
              <a:gd name="T2" fmla="*/ 76 w 153"/>
              <a:gd name="T3" fmla="*/ 9 h 144"/>
              <a:gd name="T4" fmla="*/ 15 w 153"/>
              <a:gd name="T5" fmla="*/ 64 h 144"/>
              <a:gd name="T6" fmla="*/ 27 w 153"/>
              <a:gd name="T7" fmla="*/ 110 h 144"/>
              <a:gd name="T8" fmla="*/ 68 w 153"/>
              <a:gd name="T9" fmla="*/ 134 h 144"/>
              <a:gd name="T10" fmla="*/ 77 w 153"/>
              <a:gd name="T11" fmla="*/ 134 h 144"/>
              <a:gd name="T12" fmla="*/ 138 w 153"/>
              <a:gd name="T13" fmla="*/ 80 h 144"/>
              <a:gd name="T14" fmla="*/ 126 w 153"/>
              <a:gd name="T15" fmla="*/ 34 h 144"/>
              <a:gd name="T16" fmla="*/ 85 w 153"/>
              <a:gd name="T17" fmla="*/ 10 h 144"/>
              <a:gd name="T18" fmla="*/ 76 w 153"/>
              <a:gd name="T19" fmla="*/ 9 h 144"/>
              <a:gd name="T20" fmla="*/ 76 w 153"/>
              <a:gd name="T21" fmla="*/ 0 h 144"/>
              <a:gd name="T22" fmla="*/ 86 w 153"/>
              <a:gd name="T23" fmla="*/ 1 h 144"/>
              <a:gd name="T24" fmla="*/ 148 w 153"/>
              <a:gd name="T25" fmla="*/ 81 h 144"/>
              <a:gd name="T26" fmla="*/ 77 w 153"/>
              <a:gd name="T27" fmla="*/ 144 h 144"/>
              <a:gd name="T28" fmla="*/ 67 w 153"/>
              <a:gd name="T29" fmla="*/ 143 h 144"/>
              <a:gd name="T30" fmla="*/ 5 w 153"/>
              <a:gd name="T31" fmla="*/ 62 h 144"/>
              <a:gd name="T32" fmla="*/ 76 w 153"/>
              <a:gd name="T33" fmla="*/ 0 h 144"/>
              <a:gd name="T34" fmla="*/ 93 w 153"/>
              <a:gd name="T35" fmla="*/ 43 h 144"/>
              <a:gd name="T36" fmla="*/ 77 w 153"/>
              <a:gd name="T37" fmla="*/ 36 h 144"/>
              <a:gd name="T38" fmla="*/ 60 w 153"/>
              <a:gd name="T39" fmla="*/ 43 h 144"/>
              <a:gd name="T40" fmla="*/ 52 w 153"/>
              <a:gd name="T41" fmla="*/ 60 h 144"/>
              <a:gd name="T42" fmla="*/ 56 w 153"/>
              <a:gd name="T43" fmla="*/ 75 h 144"/>
              <a:gd name="T44" fmla="*/ 68 w 153"/>
              <a:gd name="T45" fmla="*/ 91 h 144"/>
              <a:gd name="T46" fmla="*/ 75 w 153"/>
              <a:gd name="T47" fmla="*/ 116 h 144"/>
              <a:gd name="T48" fmla="*/ 78 w 153"/>
              <a:gd name="T49" fmla="*/ 116 h 144"/>
              <a:gd name="T50" fmla="*/ 89 w 153"/>
              <a:gd name="T51" fmla="*/ 85 h 144"/>
              <a:gd name="T52" fmla="*/ 97 w 153"/>
              <a:gd name="T53" fmla="*/ 75 h 144"/>
              <a:gd name="T54" fmla="*/ 101 w 153"/>
              <a:gd name="T55" fmla="*/ 60 h 144"/>
              <a:gd name="T56" fmla="*/ 93 w 153"/>
              <a:gd name="T57" fmla="*/ 43 h 144"/>
              <a:gd name="T58" fmla="*/ 77 w 153"/>
              <a:gd name="T59" fmla="*/ 73 h 144"/>
              <a:gd name="T60" fmla="*/ 65 w 153"/>
              <a:gd name="T61" fmla="*/ 61 h 144"/>
              <a:gd name="T62" fmla="*/ 77 w 153"/>
              <a:gd name="T63" fmla="*/ 50 h 144"/>
              <a:gd name="T64" fmla="*/ 88 w 153"/>
              <a:gd name="T65" fmla="*/ 61 h 144"/>
              <a:gd name="T66" fmla="*/ 77 w 153"/>
              <a:gd name="T67" fmla="*/ 73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53" h="144">
                <a:moveTo>
                  <a:pt x="76" y="9"/>
                </a:moveTo>
                <a:cubicBezTo>
                  <a:pt x="76" y="9"/>
                  <a:pt x="76" y="9"/>
                  <a:pt x="76" y="9"/>
                </a:cubicBezTo>
                <a:cubicBezTo>
                  <a:pt x="45" y="9"/>
                  <a:pt x="19" y="33"/>
                  <a:pt x="15" y="64"/>
                </a:cubicBezTo>
                <a:cubicBezTo>
                  <a:pt x="12" y="80"/>
                  <a:pt x="17" y="97"/>
                  <a:pt x="27" y="110"/>
                </a:cubicBezTo>
                <a:cubicBezTo>
                  <a:pt x="37" y="123"/>
                  <a:pt x="52" y="132"/>
                  <a:pt x="68" y="134"/>
                </a:cubicBezTo>
                <a:cubicBezTo>
                  <a:pt x="71" y="134"/>
                  <a:pt x="74" y="134"/>
                  <a:pt x="77" y="134"/>
                </a:cubicBezTo>
                <a:cubicBezTo>
                  <a:pt x="108" y="134"/>
                  <a:pt x="134" y="111"/>
                  <a:pt x="138" y="80"/>
                </a:cubicBezTo>
                <a:cubicBezTo>
                  <a:pt x="141" y="64"/>
                  <a:pt x="136" y="47"/>
                  <a:pt x="126" y="34"/>
                </a:cubicBezTo>
                <a:cubicBezTo>
                  <a:pt x="116" y="21"/>
                  <a:pt x="101" y="12"/>
                  <a:pt x="85" y="10"/>
                </a:cubicBezTo>
                <a:cubicBezTo>
                  <a:pt x="82" y="10"/>
                  <a:pt x="79" y="9"/>
                  <a:pt x="76" y="9"/>
                </a:cubicBezTo>
                <a:moveTo>
                  <a:pt x="76" y="0"/>
                </a:moveTo>
                <a:cubicBezTo>
                  <a:pt x="80" y="0"/>
                  <a:pt x="83" y="0"/>
                  <a:pt x="86" y="1"/>
                </a:cubicBezTo>
                <a:cubicBezTo>
                  <a:pt x="125" y="6"/>
                  <a:pt x="153" y="42"/>
                  <a:pt x="148" y="81"/>
                </a:cubicBezTo>
                <a:cubicBezTo>
                  <a:pt x="143" y="118"/>
                  <a:pt x="112" y="144"/>
                  <a:pt x="77" y="144"/>
                </a:cubicBezTo>
                <a:cubicBezTo>
                  <a:pt x="73" y="144"/>
                  <a:pt x="70" y="144"/>
                  <a:pt x="67" y="143"/>
                </a:cubicBezTo>
                <a:cubicBezTo>
                  <a:pt x="28" y="138"/>
                  <a:pt x="0" y="102"/>
                  <a:pt x="5" y="62"/>
                </a:cubicBezTo>
                <a:cubicBezTo>
                  <a:pt x="10" y="26"/>
                  <a:pt x="41" y="0"/>
                  <a:pt x="76" y="0"/>
                </a:cubicBezTo>
                <a:moveTo>
                  <a:pt x="93" y="43"/>
                </a:moveTo>
                <a:cubicBezTo>
                  <a:pt x="89" y="39"/>
                  <a:pt x="83" y="36"/>
                  <a:pt x="77" y="36"/>
                </a:cubicBezTo>
                <a:cubicBezTo>
                  <a:pt x="70" y="36"/>
                  <a:pt x="64" y="39"/>
                  <a:pt x="60" y="43"/>
                </a:cubicBezTo>
                <a:cubicBezTo>
                  <a:pt x="55" y="48"/>
                  <a:pt x="52" y="54"/>
                  <a:pt x="52" y="60"/>
                </a:cubicBezTo>
                <a:cubicBezTo>
                  <a:pt x="52" y="66"/>
                  <a:pt x="54" y="71"/>
                  <a:pt x="56" y="75"/>
                </a:cubicBezTo>
                <a:cubicBezTo>
                  <a:pt x="59" y="81"/>
                  <a:pt x="64" y="85"/>
                  <a:pt x="68" y="91"/>
                </a:cubicBezTo>
                <a:cubicBezTo>
                  <a:pt x="72" y="97"/>
                  <a:pt x="75" y="104"/>
                  <a:pt x="75" y="116"/>
                </a:cubicBezTo>
                <a:cubicBezTo>
                  <a:pt x="78" y="116"/>
                  <a:pt x="78" y="116"/>
                  <a:pt x="78" y="116"/>
                </a:cubicBezTo>
                <a:cubicBezTo>
                  <a:pt x="78" y="100"/>
                  <a:pt x="84" y="92"/>
                  <a:pt x="89" y="85"/>
                </a:cubicBezTo>
                <a:cubicBezTo>
                  <a:pt x="92" y="82"/>
                  <a:pt x="95" y="79"/>
                  <a:pt x="97" y="75"/>
                </a:cubicBezTo>
                <a:cubicBezTo>
                  <a:pt x="99" y="71"/>
                  <a:pt x="101" y="66"/>
                  <a:pt x="101" y="60"/>
                </a:cubicBezTo>
                <a:cubicBezTo>
                  <a:pt x="101" y="54"/>
                  <a:pt x="98" y="48"/>
                  <a:pt x="93" y="43"/>
                </a:cubicBezTo>
                <a:close/>
                <a:moveTo>
                  <a:pt x="77" y="73"/>
                </a:moveTo>
                <a:cubicBezTo>
                  <a:pt x="70" y="73"/>
                  <a:pt x="65" y="67"/>
                  <a:pt x="65" y="61"/>
                </a:cubicBezTo>
                <a:cubicBezTo>
                  <a:pt x="65" y="55"/>
                  <a:pt x="70" y="50"/>
                  <a:pt x="77" y="50"/>
                </a:cubicBezTo>
                <a:cubicBezTo>
                  <a:pt x="83" y="50"/>
                  <a:pt x="88" y="55"/>
                  <a:pt x="88" y="61"/>
                </a:cubicBezTo>
                <a:cubicBezTo>
                  <a:pt x="88" y="67"/>
                  <a:pt x="83" y="73"/>
                  <a:pt x="77" y="7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46" name="Freeform 49"/>
          <p:cNvSpPr>
            <a:spLocks noEditPoints="1"/>
          </p:cNvSpPr>
          <p:nvPr/>
        </p:nvSpPr>
        <p:spPr bwMode="black">
          <a:xfrm>
            <a:off x="8590646" y="5268486"/>
            <a:ext cx="353623" cy="311730"/>
          </a:xfrm>
          <a:custGeom>
            <a:avLst/>
            <a:gdLst>
              <a:gd name="T0" fmla="*/ 86 w 173"/>
              <a:gd name="T1" fmla="*/ 0 h 153"/>
              <a:gd name="T2" fmla="*/ 40 w 173"/>
              <a:gd name="T3" fmla="*/ 15 h 153"/>
              <a:gd name="T4" fmla="*/ 25 w 173"/>
              <a:gd name="T5" fmla="*/ 123 h 153"/>
              <a:gd name="T6" fmla="*/ 86 w 173"/>
              <a:gd name="T7" fmla="*/ 153 h 153"/>
              <a:gd name="T8" fmla="*/ 133 w 173"/>
              <a:gd name="T9" fmla="*/ 138 h 153"/>
              <a:gd name="T10" fmla="*/ 147 w 173"/>
              <a:gd name="T11" fmla="*/ 30 h 153"/>
              <a:gd name="T12" fmla="*/ 86 w 173"/>
              <a:gd name="T13" fmla="*/ 0 h 153"/>
              <a:gd name="T14" fmla="*/ 86 w 173"/>
              <a:gd name="T15" fmla="*/ 0 h 153"/>
              <a:gd name="T16" fmla="*/ 86 w 173"/>
              <a:gd name="T17" fmla="*/ 10 h 153"/>
              <a:gd name="T18" fmla="*/ 139 w 173"/>
              <a:gd name="T19" fmla="*/ 36 h 153"/>
              <a:gd name="T20" fmla="*/ 127 w 173"/>
              <a:gd name="T21" fmla="*/ 129 h 153"/>
              <a:gd name="T22" fmla="*/ 86 w 173"/>
              <a:gd name="T23" fmla="*/ 143 h 153"/>
              <a:gd name="T24" fmla="*/ 33 w 173"/>
              <a:gd name="T25" fmla="*/ 117 h 153"/>
              <a:gd name="T26" fmla="*/ 46 w 173"/>
              <a:gd name="T27" fmla="*/ 24 h 153"/>
              <a:gd name="T28" fmla="*/ 86 w 173"/>
              <a:gd name="T29" fmla="*/ 10 h 153"/>
              <a:gd name="T30" fmla="*/ 86 w 173"/>
              <a:gd name="T31" fmla="*/ 0 h 153"/>
              <a:gd name="T32" fmla="*/ 59 w 173"/>
              <a:gd name="T33" fmla="*/ 80 h 153"/>
              <a:gd name="T34" fmla="*/ 114 w 173"/>
              <a:gd name="T35" fmla="*/ 80 h 153"/>
              <a:gd name="T36" fmla="*/ 114 w 173"/>
              <a:gd name="T37" fmla="*/ 113 h 153"/>
              <a:gd name="T38" fmla="*/ 59 w 173"/>
              <a:gd name="T39" fmla="*/ 113 h 153"/>
              <a:gd name="T40" fmla="*/ 59 w 173"/>
              <a:gd name="T41" fmla="*/ 80 h 153"/>
              <a:gd name="T42" fmla="*/ 117 w 173"/>
              <a:gd name="T43" fmla="*/ 67 h 153"/>
              <a:gd name="T44" fmla="*/ 117 w 173"/>
              <a:gd name="T45" fmla="*/ 75 h 153"/>
              <a:gd name="T46" fmla="*/ 56 w 173"/>
              <a:gd name="T47" fmla="*/ 75 h 153"/>
              <a:gd name="T48" fmla="*/ 56 w 173"/>
              <a:gd name="T49" fmla="*/ 67 h 153"/>
              <a:gd name="T50" fmla="*/ 58 w 173"/>
              <a:gd name="T51" fmla="*/ 59 h 153"/>
              <a:gd name="T52" fmla="*/ 73 w 173"/>
              <a:gd name="T53" fmla="*/ 59 h 153"/>
              <a:gd name="T54" fmla="*/ 59 w 173"/>
              <a:gd name="T55" fmla="*/ 53 h 153"/>
              <a:gd name="T56" fmla="*/ 68 w 173"/>
              <a:gd name="T57" fmla="*/ 42 h 153"/>
              <a:gd name="T58" fmla="*/ 86 w 173"/>
              <a:gd name="T59" fmla="*/ 51 h 153"/>
              <a:gd name="T60" fmla="*/ 105 w 173"/>
              <a:gd name="T61" fmla="*/ 42 h 153"/>
              <a:gd name="T62" fmla="*/ 114 w 173"/>
              <a:gd name="T63" fmla="*/ 53 h 153"/>
              <a:gd name="T64" fmla="*/ 99 w 173"/>
              <a:gd name="T65" fmla="*/ 59 h 153"/>
              <a:gd name="T66" fmla="*/ 115 w 173"/>
              <a:gd name="T67" fmla="*/ 59 h 153"/>
              <a:gd name="T68" fmla="*/ 117 w 173"/>
              <a:gd name="T69" fmla="*/ 67 h 153"/>
              <a:gd name="T70" fmla="*/ 93 w 173"/>
              <a:gd name="T71" fmla="*/ 57 h 153"/>
              <a:gd name="T72" fmla="*/ 111 w 173"/>
              <a:gd name="T73" fmla="*/ 52 h 153"/>
              <a:gd name="T74" fmla="*/ 105 w 173"/>
              <a:gd name="T75" fmla="*/ 47 h 153"/>
              <a:gd name="T76" fmla="*/ 93 w 173"/>
              <a:gd name="T77" fmla="*/ 57 h 153"/>
              <a:gd name="T78" fmla="*/ 62 w 173"/>
              <a:gd name="T79" fmla="*/ 52 h 153"/>
              <a:gd name="T80" fmla="*/ 80 w 173"/>
              <a:gd name="T81" fmla="*/ 57 h 153"/>
              <a:gd name="T82" fmla="*/ 68 w 173"/>
              <a:gd name="T83" fmla="*/ 47 h 153"/>
              <a:gd name="T84" fmla="*/ 62 w 173"/>
              <a:gd name="T85" fmla="*/ 52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73" h="153">
                <a:moveTo>
                  <a:pt x="86" y="0"/>
                </a:moveTo>
                <a:cubicBezTo>
                  <a:pt x="70" y="0"/>
                  <a:pt x="54" y="5"/>
                  <a:pt x="40" y="15"/>
                </a:cubicBezTo>
                <a:cubicBezTo>
                  <a:pt x="6" y="41"/>
                  <a:pt x="0" y="89"/>
                  <a:pt x="25" y="123"/>
                </a:cubicBezTo>
                <a:cubicBezTo>
                  <a:pt x="40" y="143"/>
                  <a:pt x="63" y="153"/>
                  <a:pt x="86" y="153"/>
                </a:cubicBezTo>
                <a:cubicBezTo>
                  <a:pt x="103" y="153"/>
                  <a:pt x="119" y="148"/>
                  <a:pt x="133" y="138"/>
                </a:cubicBezTo>
                <a:cubicBezTo>
                  <a:pt x="167" y="112"/>
                  <a:pt x="173" y="64"/>
                  <a:pt x="147" y="30"/>
                </a:cubicBezTo>
                <a:cubicBezTo>
                  <a:pt x="132" y="10"/>
                  <a:pt x="109" y="0"/>
                  <a:pt x="86" y="0"/>
                </a:cubicBezTo>
                <a:moveTo>
                  <a:pt x="86" y="0"/>
                </a:moveTo>
                <a:cubicBezTo>
                  <a:pt x="86" y="10"/>
                  <a:pt x="86" y="10"/>
                  <a:pt x="86" y="10"/>
                </a:cubicBezTo>
                <a:cubicBezTo>
                  <a:pt x="107" y="10"/>
                  <a:pt x="127" y="19"/>
                  <a:pt x="139" y="36"/>
                </a:cubicBezTo>
                <a:cubicBezTo>
                  <a:pt x="162" y="65"/>
                  <a:pt x="156" y="107"/>
                  <a:pt x="127" y="129"/>
                </a:cubicBezTo>
                <a:cubicBezTo>
                  <a:pt x="115" y="138"/>
                  <a:pt x="101" y="143"/>
                  <a:pt x="86" y="143"/>
                </a:cubicBezTo>
                <a:cubicBezTo>
                  <a:pt x="65" y="143"/>
                  <a:pt x="46" y="134"/>
                  <a:pt x="33" y="117"/>
                </a:cubicBezTo>
                <a:cubicBezTo>
                  <a:pt x="11" y="88"/>
                  <a:pt x="17" y="46"/>
                  <a:pt x="46" y="24"/>
                </a:cubicBezTo>
                <a:cubicBezTo>
                  <a:pt x="58" y="15"/>
                  <a:pt x="72" y="10"/>
                  <a:pt x="86" y="10"/>
                </a:cubicBezTo>
                <a:lnTo>
                  <a:pt x="86" y="0"/>
                </a:lnTo>
                <a:close/>
                <a:moveTo>
                  <a:pt x="59" y="80"/>
                </a:moveTo>
                <a:cubicBezTo>
                  <a:pt x="114" y="80"/>
                  <a:pt x="114" y="80"/>
                  <a:pt x="114" y="80"/>
                </a:cubicBezTo>
                <a:cubicBezTo>
                  <a:pt x="114" y="113"/>
                  <a:pt x="114" y="113"/>
                  <a:pt x="114" y="113"/>
                </a:cubicBezTo>
                <a:cubicBezTo>
                  <a:pt x="59" y="113"/>
                  <a:pt x="59" y="113"/>
                  <a:pt x="59" y="113"/>
                </a:cubicBezTo>
                <a:lnTo>
                  <a:pt x="59" y="80"/>
                </a:lnTo>
                <a:close/>
                <a:moveTo>
                  <a:pt x="117" y="67"/>
                </a:moveTo>
                <a:cubicBezTo>
                  <a:pt x="117" y="75"/>
                  <a:pt x="117" y="75"/>
                  <a:pt x="117" y="75"/>
                </a:cubicBezTo>
                <a:cubicBezTo>
                  <a:pt x="56" y="75"/>
                  <a:pt x="56" y="75"/>
                  <a:pt x="56" y="75"/>
                </a:cubicBezTo>
                <a:cubicBezTo>
                  <a:pt x="56" y="67"/>
                  <a:pt x="56" y="67"/>
                  <a:pt x="56" y="67"/>
                </a:cubicBezTo>
                <a:cubicBezTo>
                  <a:pt x="58" y="59"/>
                  <a:pt x="58" y="59"/>
                  <a:pt x="58" y="59"/>
                </a:cubicBezTo>
                <a:cubicBezTo>
                  <a:pt x="73" y="59"/>
                  <a:pt x="73" y="59"/>
                  <a:pt x="73" y="59"/>
                </a:cubicBezTo>
                <a:cubicBezTo>
                  <a:pt x="67" y="58"/>
                  <a:pt x="62" y="55"/>
                  <a:pt x="59" y="53"/>
                </a:cubicBezTo>
                <a:cubicBezTo>
                  <a:pt x="54" y="50"/>
                  <a:pt x="65" y="46"/>
                  <a:pt x="68" y="42"/>
                </a:cubicBezTo>
                <a:cubicBezTo>
                  <a:pt x="72" y="37"/>
                  <a:pt x="80" y="45"/>
                  <a:pt x="86" y="51"/>
                </a:cubicBezTo>
                <a:cubicBezTo>
                  <a:pt x="93" y="45"/>
                  <a:pt x="100" y="37"/>
                  <a:pt x="105" y="42"/>
                </a:cubicBezTo>
                <a:cubicBezTo>
                  <a:pt x="108" y="46"/>
                  <a:pt x="119" y="50"/>
                  <a:pt x="114" y="53"/>
                </a:cubicBezTo>
                <a:cubicBezTo>
                  <a:pt x="111" y="55"/>
                  <a:pt x="105" y="58"/>
                  <a:pt x="99" y="59"/>
                </a:cubicBezTo>
                <a:cubicBezTo>
                  <a:pt x="115" y="59"/>
                  <a:pt x="115" y="59"/>
                  <a:pt x="115" y="59"/>
                </a:cubicBezTo>
                <a:lnTo>
                  <a:pt x="117" y="67"/>
                </a:lnTo>
                <a:close/>
                <a:moveTo>
                  <a:pt x="93" y="57"/>
                </a:moveTo>
                <a:cubicBezTo>
                  <a:pt x="104" y="56"/>
                  <a:pt x="110" y="53"/>
                  <a:pt x="111" y="52"/>
                </a:cubicBezTo>
                <a:cubicBezTo>
                  <a:pt x="112" y="51"/>
                  <a:pt x="106" y="47"/>
                  <a:pt x="105" y="47"/>
                </a:cubicBezTo>
                <a:cubicBezTo>
                  <a:pt x="103" y="47"/>
                  <a:pt x="93" y="57"/>
                  <a:pt x="93" y="57"/>
                </a:cubicBezTo>
                <a:close/>
                <a:moveTo>
                  <a:pt x="62" y="52"/>
                </a:moveTo>
                <a:cubicBezTo>
                  <a:pt x="63" y="53"/>
                  <a:pt x="69" y="56"/>
                  <a:pt x="80" y="57"/>
                </a:cubicBezTo>
                <a:cubicBezTo>
                  <a:pt x="80" y="57"/>
                  <a:pt x="70" y="47"/>
                  <a:pt x="68" y="47"/>
                </a:cubicBezTo>
                <a:cubicBezTo>
                  <a:pt x="67" y="47"/>
                  <a:pt x="61" y="51"/>
                  <a:pt x="62" y="5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47" name="Freeform 50"/>
          <p:cNvSpPr>
            <a:spLocks noEditPoints="1"/>
          </p:cNvSpPr>
          <p:nvPr/>
        </p:nvSpPr>
        <p:spPr bwMode="black">
          <a:xfrm>
            <a:off x="8610969" y="4594521"/>
            <a:ext cx="312964" cy="311730"/>
          </a:xfrm>
          <a:custGeom>
            <a:avLst/>
            <a:gdLst>
              <a:gd name="T0" fmla="*/ 77 w 154"/>
              <a:gd name="T1" fmla="*/ 0 h 153"/>
              <a:gd name="T2" fmla="*/ 0 w 154"/>
              <a:gd name="T3" fmla="*/ 77 h 153"/>
              <a:gd name="T4" fmla="*/ 77 w 154"/>
              <a:gd name="T5" fmla="*/ 153 h 153"/>
              <a:gd name="T6" fmla="*/ 154 w 154"/>
              <a:gd name="T7" fmla="*/ 77 h 153"/>
              <a:gd name="T8" fmla="*/ 77 w 154"/>
              <a:gd name="T9" fmla="*/ 0 h 153"/>
              <a:gd name="T10" fmla="*/ 77 w 154"/>
              <a:gd name="T11" fmla="*/ 9 h 153"/>
              <a:gd name="T12" fmla="*/ 144 w 154"/>
              <a:gd name="T13" fmla="*/ 77 h 153"/>
              <a:gd name="T14" fmla="*/ 77 w 154"/>
              <a:gd name="T15" fmla="*/ 144 h 153"/>
              <a:gd name="T16" fmla="*/ 10 w 154"/>
              <a:gd name="T17" fmla="*/ 77 h 153"/>
              <a:gd name="T18" fmla="*/ 77 w 154"/>
              <a:gd name="T19" fmla="*/ 9 h 153"/>
              <a:gd name="T20" fmla="*/ 131 w 154"/>
              <a:gd name="T21" fmla="*/ 94 h 153"/>
              <a:gd name="T22" fmla="*/ 126 w 154"/>
              <a:gd name="T23" fmla="*/ 94 h 153"/>
              <a:gd name="T24" fmla="*/ 85 w 154"/>
              <a:gd name="T25" fmla="*/ 53 h 153"/>
              <a:gd name="T26" fmla="*/ 61 w 154"/>
              <a:gd name="T27" fmla="*/ 60 h 153"/>
              <a:gd name="T28" fmla="*/ 57 w 154"/>
              <a:gd name="T29" fmla="*/ 59 h 153"/>
              <a:gd name="T30" fmla="*/ 52 w 154"/>
              <a:gd name="T31" fmla="*/ 60 h 153"/>
              <a:gd name="T32" fmla="*/ 85 w 154"/>
              <a:gd name="T33" fmla="*/ 47 h 153"/>
              <a:gd name="T34" fmla="*/ 131 w 154"/>
              <a:gd name="T35" fmla="*/ 94 h 153"/>
              <a:gd name="T36" fmla="*/ 85 w 154"/>
              <a:gd name="T37" fmla="*/ 60 h 153"/>
              <a:gd name="T38" fmla="*/ 67 w 154"/>
              <a:gd name="T39" fmla="*/ 64 h 153"/>
              <a:gd name="T40" fmla="*/ 68 w 154"/>
              <a:gd name="T41" fmla="*/ 66 h 153"/>
              <a:gd name="T42" fmla="*/ 68 w 154"/>
              <a:gd name="T43" fmla="*/ 66 h 153"/>
              <a:gd name="T44" fmla="*/ 75 w 154"/>
              <a:gd name="T45" fmla="*/ 67 h 153"/>
              <a:gd name="T46" fmla="*/ 85 w 154"/>
              <a:gd name="T47" fmla="*/ 65 h 153"/>
              <a:gd name="T48" fmla="*/ 113 w 154"/>
              <a:gd name="T49" fmla="*/ 94 h 153"/>
              <a:gd name="T50" fmla="*/ 119 w 154"/>
              <a:gd name="T51" fmla="*/ 94 h 153"/>
              <a:gd name="T52" fmla="*/ 85 w 154"/>
              <a:gd name="T53" fmla="*/ 60 h 153"/>
              <a:gd name="T54" fmla="*/ 85 w 154"/>
              <a:gd name="T55" fmla="*/ 72 h 153"/>
              <a:gd name="T56" fmla="*/ 81 w 154"/>
              <a:gd name="T57" fmla="*/ 72 h 153"/>
              <a:gd name="T58" fmla="*/ 84 w 154"/>
              <a:gd name="T59" fmla="*/ 78 h 153"/>
              <a:gd name="T60" fmla="*/ 85 w 154"/>
              <a:gd name="T61" fmla="*/ 78 h 153"/>
              <a:gd name="T62" fmla="*/ 101 w 154"/>
              <a:gd name="T63" fmla="*/ 94 h 153"/>
              <a:gd name="T64" fmla="*/ 106 w 154"/>
              <a:gd name="T65" fmla="*/ 94 h 153"/>
              <a:gd name="T66" fmla="*/ 85 w 154"/>
              <a:gd name="T67" fmla="*/ 72 h 153"/>
              <a:gd name="T68" fmla="*/ 29 w 154"/>
              <a:gd name="T69" fmla="*/ 86 h 153"/>
              <a:gd name="T70" fmla="*/ 37 w 154"/>
              <a:gd name="T71" fmla="*/ 93 h 153"/>
              <a:gd name="T72" fmla="*/ 38 w 154"/>
              <a:gd name="T73" fmla="*/ 93 h 153"/>
              <a:gd name="T74" fmla="*/ 70 w 154"/>
              <a:gd name="T75" fmla="*/ 93 h 153"/>
              <a:gd name="T76" fmla="*/ 80 w 154"/>
              <a:gd name="T77" fmla="*/ 82 h 153"/>
              <a:gd name="T78" fmla="*/ 68 w 154"/>
              <a:gd name="T79" fmla="*/ 71 h 153"/>
              <a:gd name="T80" fmla="*/ 65 w 154"/>
              <a:gd name="T81" fmla="*/ 71 h 153"/>
              <a:gd name="T82" fmla="*/ 57 w 154"/>
              <a:gd name="T83" fmla="*/ 64 h 153"/>
              <a:gd name="T84" fmla="*/ 47 w 154"/>
              <a:gd name="T85" fmla="*/ 73 h 153"/>
              <a:gd name="T86" fmla="*/ 47 w 154"/>
              <a:gd name="T87" fmla="*/ 75 h 153"/>
              <a:gd name="T88" fmla="*/ 44 w 154"/>
              <a:gd name="T89" fmla="*/ 74 h 153"/>
              <a:gd name="T90" fmla="*/ 38 w 154"/>
              <a:gd name="T91" fmla="*/ 78 h 153"/>
              <a:gd name="T92" fmla="*/ 37 w 154"/>
              <a:gd name="T93" fmla="*/ 78 h 153"/>
              <a:gd name="T94" fmla="*/ 29 w 154"/>
              <a:gd name="T95" fmla="*/ 8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54" h="153">
                <a:moveTo>
                  <a:pt x="77" y="0"/>
                </a:moveTo>
                <a:cubicBezTo>
                  <a:pt x="35" y="0"/>
                  <a:pt x="0" y="34"/>
                  <a:pt x="0" y="77"/>
                </a:cubicBezTo>
                <a:cubicBezTo>
                  <a:pt x="0" y="119"/>
                  <a:pt x="35" y="153"/>
                  <a:pt x="77" y="153"/>
                </a:cubicBezTo>
                <a:cubicBezTo>
                  <a:pt x="120" y="153"/>
                  <a:pt x="154" y="119"/>
                  <a:pt x="154" y="77"/>
                </a:cubicBezTo>
                <a:cubicBezTo>
                  <a:pt x="154" y="34"/>
                  <a:pt x="120" y="0"/>
                  <a:pt x="77" y="0"/>
                </a:cubicBezTo>
                <a:moveTo>
                  <a:pt x="77" y="9"/>
                </a:moveTo>
                <a:cubicBezTo>
                  <a:pt x="114" y="9"/>
                  <a:pt x="144" y="39"/>
                  <a:pt x="144" y="77"/>
                </a:cubicBezTo>
                <a:cubicBezTo>
                  <a:pt x="144" y="114"/>
                  <a:pt x="114" y="144"/>
                  <a:pt x="77" y="144"/>
                </a:cubicBezTo>
                <a:cubicBezTo>
                  <a:pt x="40" y="144"/>
                  <a:pt x="10" y="114"/>
                  <a:pt x="10" y="77"/>
                </a:cubicBezTo>
                <a:cubicBezTo>
                  <a:pt x="10" y="39"/>
                  <a:pt x="40" y="9"/>
                  <a:pt x="77" y="9"/>
                </a:cubicBezTo>
                <a:moveTo>
                  <a:pt x="131" y="94"/>
                </a:moveTo>
                <a:cubicBezTo>
                  <a:pt x="126" y="94"/>
                  <a:pt x="126" y="94"/>
                  <a:pt x="126" y="94"/>
                </a:cubicBezTo>
                <a:cubicBezTo>
                  <a:pt x="126" y="71"/>
                  <a:pt x="107" y="53"/>
                  <a:pt x="85" y="53"/>
                </a:cubicBezTo>
                <a:cubicBezTo>
                  <a:pt x="76" y="53"/>
                  <a:pt x="68" y="56"/>
                  <a:pt x="61" y="60"/>
                </a:cubicBezTo>
                <a:cubicBezTo>
                  <a:pt x="60" y="60"/>
                  <a:pt x="58" y="59"/>
                  <a:pt x="57" y="59"/>
                </a:cubicBezTo>
                <a:cubicBezTo>
                  <a:pt x="55" y="59"/>
                  <a:pt x="54" y="60"/>
                  <a:pt x="52" y="60"/>
                </a:cubicBezTo>
                <a:cubicBezTo>
                  <a:pt x="61" y="52"/>
                  <a:pt x="72" y="47"/>
                  <a:pt x="85" y="47"/>
                </a:cubicBezTo>
                <a:cubicBezTo>
                  <a:pt x="110" y="47"/>
                  <a:pt x="131" y="68"/>
                  <a:pt x="131" y="94"/>
                </a:cubicBezTo>
                <a:close/>
                <a:moveTo>
                  <a:pt x="85" y="60"/>
                </a:moveTo>
                <a:cubicBezTo>
                  <a:pt x="78" y="60"/>
                  <a:pt x="72" y="61"/>
                  <a:pt x="67" y="64"/>
                </a:cubicBezTo>
                <a:cubicBezTo>
                  <a:pt x="68" y="65"/>
                  <a:pt x="68" y="65"/>
                  <a:pt x="68" y="66"/>
                </a:cubicBezTo>
                <a:cubicBezTo>
                  <a:pt x="68" y="66"/>
                  <a:pt x="68" y="66"/>
                  <a:pt x="68" y="66"/>
                </a:cubicBezTo>
                <a:cubicBezTo>
                  <a:pt x="71" y="66"/>
                  <a:pt x="73" y="66"/>
                  <a:pt x="75" y="67"/>
                </a:cubicBezTo>
                <a:cubicBezTo>
                  <a:pt x="78" y="66"/>
                  <a:pt x="81" y="65"/>
                  <a:pt x="85" y="65"/>
                </a:cubicBezTo>
                <a:cubicBezTo>
                  <a:pt x="100" y="65"/>
                  <a:pt x="113" y="78"/>
                  <a:pt x="113" y="94"/>
                </a:cubicBezTo>
                <a:cubicBezTo>
                  <a:pt x="119" y="94"/>
                  <a:pt x="119" y="94"/>
                  <a:pt x="119" y="94"/>
                </a:cubicBezTo>
                <a:cubicBezTo>
                  <a:pt x="119" y="75"/>
                  <a:pt x="104" y="60"/>
                  <a:pt x="85" y="60"/>
                </a:cubicBezTo>
                <a:close/>
                <a:moveTo>
                  <a:pt x="85" y="72"/>
                </a:moveTo>
                <a:cubicBezTo>
                  <a:pt x="83" y="72"/>
                  <a:pt x="82" y="72"/>
                  <a:pt x="81" y="72"/>
                </a:cubicBezTo>
                <a:cubicBezTo>
                  <a:pt x="82" y="74"/>
                  <a:pt x="83" y="76"/>
                  <a:pt x="84" y="78"/>
                </a:cubicBezTo>
                <a:cubicBezTo>
                  <a:pt x="84" y="78"/>
                  <a:pt x="84" y="78"/>
                  <a:pt x="85" y="78"/>
                </a:cubicBezTo>
                <a:cubicBezTo>
                  <a:pt x="93" y="78"/>
                  <a:pt x="101" y="85"/>
                  <a:pt x="101" y="94"/>
                </a:cubicBezTo>
                <a:cubicBezTo>
                  <a:pt x="106" y="94"/>
                  <a:pt x="106" y="94"/>
                  <a:pt x="106" y="94"/>
                </a:cubicBezTo>
                <a:cubicBezTo>
                  <a:pt x="106" y="82"/>
                  <a:pt x="97" y="72"/>
                  <a:pt x="85" y="72"/>
                </a:cubicBezTo>
                <a:close/>
                <a:moveTo>
                  <a:pt x="29" y="86"/>
                </a:moveTo>
                <a:cubicBezTo>
                  <a:pt x="29" y="90"/>
                  <a:pt x="32" y="93"/>
                  <a:pt x="37" y="93"/>
                </a:cubicBezTo>
                <a:cubicBezTo>
                  <a:pt x="38" y="93"/>
                  <a:pt x="38" y="93"/>
                  <a:pt x="38" y="93"/>
                </a:cubicBezTo>
                <a:cubicBezTo>
                  <a:pt x="70" y="93"/>
                  <a:pt x="70" y="93"/>
                  <a:pt x="70" y="93"/>
                </a:cubicBezTo>
                <a:cubicBezTo>
                  <a:pt x="75" y="93"/>
                  <a:pt x="80" y="88"/>
                  <a:pt x="80" y="82"/>
                </a:cubicBezTo>
                <a:cubicBezTo>
                  <a:pt x="80" y="76"/>
                  <a:pt x="75" y="71"/>
                  <a:pt x="68" y="71"/>
                </a:cubicBezTo>
                <a:cubicBezTo>
                  <a:pt x="67" y="71"/>
                  <a:pt x="66" y="71"/>
                  <a:pt x="65" y="71"/>
                </a:cubicBezTo>
                <a:cubicBezTo>
                  <a:pt x="64" y="67"/>
                  <a:pt x="61" y="64"/>
                  <a:pt x="57" y="64"/>
                </a:cubicBezTo>
                <a:cubicBezTo>
                  <a:pt x="51" y="64"/>
                  <a:pt x="47" y="68"/>
                  <a:pt x="47" y="73"/>
                </a:cubicBezTo>
                <a:cubicBezTo>
                  <a:pt x="47" y="74"/>
                  <a:pt x="47" y="74"/>
                  <a:pt x="47" y="75"/>
                </a:cubicBezTo>
                <a:cubicBezTo>
                  <a:pt x="46" y="74"/>
                  <a:pt x="45" y="74"/>
                  <a:pt x="44" y="74"/>
                </a:cubicBezTo>
                <a:cubicBezTo>
                  <a:pt x="42" y="74"/>
                  <a:pt x="39" y="76"/>
                  <a:pt x="38" y="78"/>
                </a:cubicBezTo>
                <a:cubicBezTo>
                  <a:pt x="38" y="78"/>
                  <a:pt x="37" y="78"/>
                  <a:pt x="37" y="78"/>
                </a:cubicBezTo>
                <a:cubicBezTo>
                  <a:pt x="32" y="78"/>
                  <a:pt x="29" y="81"/>
                  <a:pt x="29" y="8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48" name="Freeform 51"/>
          <p:cNvSpPr>
            <a:spLocks noEditPoints="1"/>
          </p:cNvSpPr>
          <p:nvPr/>
        </p:nvSpPr>
        <p:spPr bwMode="black">
          <a:xfrm>
            <a:off x="8624528" y="3271509"/>
            <a:ext cx="285855" cy="285855"/>
          </a:xfrm>
          <a:custGeom>
            <a:avLst/>
            <a:gdLst>
              <a:gd name="T0" fmla="*/ 70 w 140"/>
              <a:gd name="T1" fmla="*/ 10 h 140"/>
              <a:gd name="T2" fmla="*/ 10 w 140"/>
              <a:gd name="T3" fmla="*/ 70 h 140"/>
              <a:gd name="T4" fmla="*/ 70 w 140"/>
              <a:gd name="T5" fmla="*/ 131 h 140"/>
              <a:gd name="T6" fmla="*/ 130 w 140"/>
              <a:gd name="T7" fmla="*/ 70 h 140"/>
              <a:gd name="T8" fmla="*/ 70 w 140"/>
              <a:gd name="T9" fmla="*/ 10 h 140"/>
              <a:gd name="T10" fmla="*/ 70 w 140"/>
              <a:gd name="T11" fmla="*/ 0 h 140"/>
              <a:gd name="T12" fmla="*/ 140 w 140"/>
              <a:gd name="T13" fmla="*/ 70 h 140"/>
              <a:gd name="T14" fmla="*/ 70 w 140"/>
              <a:gd name="T15" fmla="*/ 140 h 140"/>
              <a:gd name="T16" fmla="*/ 0 w 140"/>
              <a:gd name="T17" fmla="*/ 70 h 140"/>
              <a:gd name="T18" fmla="*/ 70 w 140"/>
              <a:gd name="T19" fmla="*/ 0 h 140"/>
              <a:gd name="T20" fmla="*/ 102 w 140"/>
              <a:gd name="T21" fmla="*/ 39 h 140"/>
              <a:gd name="T22" fmla="*/ 102 w 140"/>
              <a:gd name="T23" fmla="*/ 62 h 140"/>
              <a:gd name="T24" fmla="*/ 78 w 140"/>
              <a:gd name="T25" fmla="*/ 63 h 140"/>
              <a:gd name="T26" fmla="*/ 70 w 140"/>
              <a:gd name="T27" fmla="*/ 55 h 140"/>
              <a:gd name="T28" fmla="*/ 86 w 140"/>
              <a:gd name="T29" fmla="*/ 54 h 140"/>
              <a:gd name="T30" fmla="*/ 75 w 140"/>
              <a:gd name="T31" fmla="*/ 49 h 140"/>
              <a:gd name="T32" fmla="*/ 50 w 140"/>
              <a:gd name="T33" fmla="*/ 65 h 140"/>
              <a:gd name="T34" fmla="*/ 38 w 140"/>
              <a:gd name="T35" fmla="*/ 65 h 140"/>
              <a:gd name="T36" fmla="*/ 77 w 140"/>
              <a:gd name="T37" fmla="*/ 37 h 140"/>
              <a:gd name="T38" fmla="*/ 93 w 140"/>
              <a:gd name="T39" fmla="*/ 45 h 140"/>
              <a:gd name="T40" fmla="*/ 94 w 140"/>
              <a:gd name="T41" fmla="*/ 30 h 140"/>
              <a:gd name="T42" fmla="*/ 102 w 140"/>
              <a:gd name="T43" fmla="*/ 39 h 140"/>
              <a:gd name="T44" fmla="*/ 89 w 140"/>
              <a:gd name="T45" fmla="*/ 75 h 140"/>
              <a:gd name="T46" fmla="*/ 64 w 140"/>
              <a:gd name="T47" fmla="*/ 92 h 140"/>
              <a:gd name="T48" fmla="*/ 54 w 140"/>
              <a:gd name="T49" fmla="*/ 87 h 140"/>
              <a:gd name="T50" fmla="*/ 70 w 140"/>
              <a:gd name="T51" fmla="*/ 86 h 140"/>
              <a:gd name="T52" fmla="*/ 62 w 140"/>
              <a:gd name="T53" fmla="*/ 77 h 140"/>
              <a:gd name="T54" fmla="*/ 38 w 140"/>
              <a:gd name="T55" fmla="*/ 78 h 140"/>
              <a:gd name="T56" fmla="*/ 38 w 140"/>
              <a:gd name="T57" fmla="*/ 102 h 140"/>
              <a:gd name="T58" fmla="*/ 46 w 140"/>
              <a:gd name="T59" fmla="*/ 110 h 140"/>
              <a:gd name="T60" fmla="*/ 47 w 140"/>
              <a:gd name="T61" fmla="*/ 96 h 140"/>
              <a:gd name="T62" fmla="*/ 62 w 140"/>
              <a:gd name="T63" fmla="*/ 104 h 140"/>
              <a:gd name="T64" fmla="*/ 102 w 140"/>
              <a:gd name="T65" fmla="*/ 75 h 140"/>
              <a:gd name="T66" fmla="*/ 89 w 140"/>
              <a:gd name="T67" fmla="*/ 75 h 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40" h="140">
                <a:moveTo>
                  <a:pt x="70" y="10"/>
                </a:moveTo>
                <a:cubicBezTo>
                  <a:pt x="37" y="10"/>
                  <a:pt x="10" y="37"/>
                  <a:pt x="10" y="70"/>
                </a:cubicBezTo>
                <a:cubicBezTo>
                  <a:pt x="10" y="103"/>
                  <a:pt x="37" y="131"/>
                  <a:pt x="70" y="131"/>
                </a:cubicBezTo>
                <a:cubicBezTo>
                  <a:pt x="103" y="131"/>
                  <a:pt x="130" y="103"/>
                  <a:pt x="130" y="70"/>
                </a:cubicBezTo>
                <a:cubicBezTo>
                  <a:pt x="130" y="37"/>
                  <a:pt x="103" y="10"/>
                  <a:pt x="70" y="10"/>
                </a:cubicBezTo>
                <a:moveTo>
                  <a:pt x="70" y="0"/>
                </a:moveTo>
                <a:cubicBezTo>
                  <a:pt x="109" y="0"/>
                  <a:pt x="140" y="31"/>
                  <a:pt x="140" y="70"/>
                </a:cubicBezTo>
                <a:cubicBezTo>
                  <a:pt x="140" y="109"/>
                  <a:pt x="109" y="140"/>
                  <a:pt x="70" y="140"/>
                </a:cubicBezTo>
                <a:cubicBezTo>
                  <a:pt x="31" y="140"/>
                  <a:pt x="0" y="109"/>
                  <a:pt x="0" y="70"/>
                </a:cubicBezTo>
                <a:cubicBezTo>
                  <a:pt x="0" y="31"/>
                  <a:pt x="31" y="0"/>
                  <a:pt x="70" y="0"/>
                </a:cubicBezTo>
                <a:moveTo>
                  <a:pt x="102" y="39"/>
                </a:moveTo>
                <a:cubicBezTo>
                  <a:pt x="102" y="62"/>
                  <a:pt x="102" y="62"/>
                  <a:pt x="102" y="62"/>
                </a:cubicBezTo>
                <a:cubicBezTo>
                  <a:pt x="78" y="63"/>
                  <a:pt x="78" y="63"/>
                  <a:pt x="78" y="63"/>
                </a:cubicBezTo>
                <a:cubicBezTo>
                  <a:pt x="70" y="55"/>
                  <a:pt x="70" y="55"/>
                  <a:pt x="70" y="55"/>
                </a:cubicBezTo>
                <a:cubicBezTo>
                  <a:pt x="86" y="54"/>
                  <a:pt x="86" y="54"/>
                  <a:pt x="86" y="54"/>
                </a:cubicBezTo>
                <a:cubicBezTo>
                  <a:pt x="83" y="51"/>
                  <a:pt x="79" y="49"/>
                  <a:pt x="75" y="49"/>
                </a:cubicBezTo>
                <a:cubicBezTo>
                  <a:pt x="64" y="46"/>
                  <a:pt x="53" y="54"/>
                  <a:pt x="50" y="65"/>
                </a:cubicBezTo>
                <a:cubicBezTo>
                  <a:pt x="38" y="65"/>
                  <a:pt x="38" y="65"/>
                  <a:pt x="38" y="65"/>
                </a:cubicBezTo>
                <a:cubicBezTo>
                  <a:pt x="42" y="44"/>
                  <a:pt x="60" y="34"/>
                  <a:pt x="77" y="37"/>
                </a:cubicBezTo>
                <a:cubicBezTo>
                  <a:pt x="83" y="38"/>
                  <a:pt x="89" y="41"/>
                  <a:pt x="93" y="45"/>
                </a:cubicBezTo>
                <a:cubicBezTo>
                  <a:pt x="94" y="30"/>
                  <a:pt x="94" y="30"/>
                  <a:pt x="94" y="30"/>
                </a:cubicBezTo>
                <a:lnTo>
                  <a:pt x="102" y="39"/>
                </a:lnTo>
                <a:close/>
                <a:moveTo>
                  <a:pt x="89" y="75"/>
                </a:moveTo>
                <a:cubicBezTo>
                  <a:pt x="87" y="87"/>
                  <a:pt x="76" y="94"/>
                  <a:pt x="64" y="92"/>
                </a:cubicBezTo>
                <a:cubicBezTo>
                  <a:pt x="60" y="91"/>
                  <a:pt x="57" y="89"/>
                  <a:pt x="54" y="87"/>
                </a:cubicBezTo>
                <a:cubicBezTo>
                  <a:pt x="70" y="86"/>
                  <a:pt x="70" y="86"/>
                  <a:pt x="70" y="86"/>
                </a:cubicBezTo>
                <a:cubicBezTo>
                  <a:pt x="62" y="77"/>
                  <a:pt x="62" y="77"/>
                  <a:pt x="62" y="77"/>
                </a:cubicBezTo>
                <a:cubicBezTo>
                  <a:pt x="38" y="78"/>
                  <a:pt x="38" y="78"/>
                  <a:pt x="38" y="78"/>
                </a:cubicBezTo>
                <a:cubicBezTo>
                  <a:pt x="38" y="102"/>
                  <a:pt x="38" y="102"/>
                  <a:pt x="38" y="102"/>
                </a:cubicBezTo>
                <a:cubicBezTo>
                  <a:pt x="46" y="110"/>
                  <a:pt x="46" y="110"/>
                  <a:pt x="46" y="110"/>
                </a:cubicBezTo>
                <a:cubicBezTo>
                  <a:pt x="47" y="96"/>
                  <a:pt x="47" y="96"/>
                  <a:pt x="47" y="96"/>
                </a:cubicBezTo>
                <a:cubicBezTo>
                  <a:pt x="51" y="100"/>
                  <a:pt x="56" y="102"/>
                  <a:pt x="62" y="104"/>
                </a:cubicBezTo>
                <a:cubicBezTo>
                  <a:pt x="80" y="107"/>
                  <a:pt x="98" y="96"/>
                  <a:pt x="102" y="75"/>
                </a:cubicBezTo>
                <a:lnTo>
                  <a:pt x="89" y="7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49" name="Freeform 52"/>
          <p:cNvSpPr>
            <a:spLocks noEditPoints="1"/>
          </p:cNvSpPr>
          <p:nvPr/>
        </p:nvSpPr>
        <p:spPr bwMode="black">
          <a:xfrm>
            <a:off x="2558219" y="5277723"/>
            <a:ext cx="311730" cy="293249"/>
          </a:xfrm>
          <a:custGeom>
            <a:avLst/>
            <a:gdLst>
              <a:gd name="T0" fmla="*/ 76 w 153"/>
              <a:gd name="T1" fmla="*/ 9 h 144"/>
              <a:gd name="T2" fmla="*/ 15 w 153"/>
              <a:gd name="T3" fmla="*/ 63 h 144"/>
              <a:gd name="T4" fmla="*/ 27 w 153"/>
              <a:gd name="T5" fmla="*/ 109 h 144"/>
              <a:gd name="T6" fmla="*/ 68 w 153"/>
              <a:gd name="T7" fmla="*/ 133 h 144"/>
              <a:gd name="T8" fmla="*/ 77 w 153"/>
              <a:gd name="T9" fmla="*/ 134 h 144"/>
              <a:gd name="T10" fmla="*/ 138 w 153"/>
              <a:gd name="T11" fmla="*/ 80 h 144"/>
              <a:gd name="T12" fmla="*/ 126 w 153"/>
              <a:gd name="T13" fmla="*/ 34 h 144"/>
              <a:gd name="T14" fmla="*/ 85 w 153"/>
              <a:gd name="T15" fmla="*/ 10 h 144"/>
              <a:gd name="T16" fmla="*/ 76 w 153"/>
              <a:gd name="T17" fmla="*/ 9 h 144"/>
              <a:gd name="T18" fmla="*/ 76 w 153"/>
              <a:gd name="T19" fmla="*/ 0 h 144"/>
              <a:gd name="T20" fmla="*/ 86 w 153"/>
              <a:gd name="T21" fmla="*/ 0 h 144"/>
              <a:gd name="T22" fmla="*/ 148 w 153"/>
              <a:gd name="T23" fmla="*/ 81 h 144"/>
              <a:gd name="T24" fmla="*/ 77 w 153"/>
              <a:gd name="T25" fmla="*/ 144 h 144"/>
              <a:gd name="T26" fmla="*/ 67 w 153"/>
              <a:gd name="T27" fmla="*/ 143 h 144"/>
              <a:gd name="T28" fmla="*/ 5 w 153"/>
              <a:gd name="T29" fmla="*/ 62 h 144"/>
              <a:gd name="T30" fmla="*/ 76 w 153"/>
              <a:gd name="T31" fmla="*/ 0 h 144"/>
              <a:gd name="T32" fmla="*/ 53 w 153"/>
              <a:gd name="T33" fmla="*/ 48 h 144"/>
              <a:gd name="T34" fmla="*/ 58 w 153"/>
              <a:gd name="T35" fmla="*/ 40 h 144"/>
              <a:gd name="T36" fmla="*/ 66 w 153"/>
              <a:gd name="T37" fmla="*/ 34 h 144"/>
              <a:gd name="T38" fmla="*/ 76 w 153"/>
              <a:gd name="T39" fmla="*/ 32 h 144"/>
              <a:gd name="T40" fmla="*/ 89 w 153"/>
              <a:gd name="T41" fmla="*/ 34 h 144"/>
              <a:gd name="T42" fmla="*/ 96 w 153"/>
              <a:gd name="T43" fmla="*/ 40 h 144"/>
              <a:gd name="T44" fmla="*/ 101 w 153"/>
              <a:gd name="T45" fmla="*/ 46 h 144"/>
              <a:gd name="T46" fmla="*/ 102 w 153"/>
              <a:gd name="T47" fmla="*/ 52 h 144"/>
              <a:gd name="T48" fmla="*/ 101 w 153"/>
              <a:gd name="T49" fmla="*/ 61 h 144"/>
              <a:gd name="T50" fmla="*/ 98 w 153"/>
              <a:gd name="T51" fmla="*/ 66 h 144"/>
              <a:gd name="T52" fmla="*/ 93 w 153"/>
              <a:gd name="T53" fmla="*/ 70 h 144"/>
              <a:gd name="T54" fmla="*/ 89 w 153"/>
              <a:gd name="T55" fmla="*/ 73 h 144"/>
              <a:gd name="T56" fmla="*/ 85 w 153"/>
              <a:gd name="T57" fmla="*/ 77 h 144"/>
              <a:gd name="T58" fmla="*/ 83 w 153"/>
              <a:gd name="T59" fmla="*/ 82 h 144"/>
              <a:gd name="T60" fmla="*/ 83 w 153"/>
              <a:gd name="T61" fmla="*/ 86 h 144"/>
              <a:gd name="T62" fmla="*/ 69 w 153"/>
              <a:gd name="T63" fmla="*/ 86 h 144"/>
              <a:gd name="T64" fmla="*/ 69 w 153"/>
              <a:gd name="T65" fmla="*/ 81 h 144"/>
              <a:gd name="T66" fmla="*/ 71 w 153"/>
              <a:gd name="T67" fmla="*/ 74 h 144"/>
              <a:gd name="T68" fmla="*/ 74 w 153"/>
              <a:gd name="T69" fmla="*/ 69 h 144"/>
              <a:gd name="T70" fmla="*/ 78 w 153"/>
              <a:gd name="T71" fmla="*/ 65 h 144"/>
              <a:gd name="T72" fmla="*/ 82 w 153"/>
              <a:gd name="T73" fmla="*/ 62 h 144"/>
              <a:gd name="T74" fmla="*/ 85 w 153"/>
              <a:gd name="T75" fmla="*/ 59 h 144"/>
              <a:gd name="T76" fmla="*/ 86 w 153"/>
              <a:gd name="T77" fmla="*/ 54 h 144"/>
              <a:gd name="T78" fmla="*/ 83 w 153"/>
              <a:gd name="T79" fmla="*/ 47 h 144"/>
              <a:gd name="T80" fmla="*/ 77 w 153"/>
              <a:gd name="T81" fmla="*/ 45 h 144"/>
              <a:gd name="T82" fmla="*/ 72 w 153"/>
              <a:gd name="T83" fmla="*/ 46 h 144"/>
              <a:gd name="T84" fmla="*/ 69 w 153"/>
              <a:gd name="T85" fmla="*/ 49 h 144"/>
              <a:gd name="T86" fmla="*/ 67 w 153"/>
              <a:gd name="T87" fmla="*/ 53 h 144"/>
              <a:gd name="T88" fmla="*/ 66 w 153"/>
              <a:gd name="T89" fmla="*/ 58 h 144"/>
              <a:gd name="T90" fmla="*/ 51 w 153"/>
              <a:gd name="T91" fmla="*/ 58 h 144"/>
              <a:gd name="T92" fmla="*/ 53 w 153"/>
              <a:gd name="T93" fmla="*/ 48 h 144"/>
              <a:gd name="T94" fmla="*/ 84 w 153"/>
              <a:gd name="T95" fmla="*/ 101 h 144"/>
              <a:gd name="T96" fmla="*/ 76 w 153"/>
              <a:gd name="T97" fmla="*/ 92 h 144"/>
              <a:gd name="T98" fmla="*/ 68 w 153"/>
              <a:gd name="T99" fmla="*/ 101 h 144"/>
              <a:gd name="T100" fmla="*/ 76 w 153"/>
              <a:gd name="T101" fmla="*/ 109 h 144"/>
              <a:gd name="T102" fmla="*/ 84 w 153"/>
              <a:gd name="T103" fmla="*/ 101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53" h="144">
                <a:moveTo>
                  <a:pt x="76" y="9"/>
                </a:moveTo>
                <a:cubicBezTo>
                  <a:pt x="45" y="9"/>
                  <a:pt x="19" y="32"/>
                  <a:pt x="15" y="63"/>
                </a:cubicBezTo>
                <a:cubicBezTo>
                  <a:pt x="12" y="80"/>
                  <a:pt x="17" y="96"/>
                  <a:pt x="27" y="109"/>
                </a:cubicBezTo>
                <a:cubicBezTo>
                  <a:pt x="37" y="123"/>
                  <a:pt x="52" y="131"/>
                  <a:pt x="68" y="133"/>
                </a:cubicBezTo>
                <a:cubicBezTo>
                  <a:pt x="71" y="134"/>
                  <a:pt x="74" y="134"/>
                  <a:pt x="77" y="134"/>
                </a:cubicBezTo>
                <a:cubicBezTo>
                  <a:pt x="108" y="134"/>
                  <a:pt x="134" y="111"/>
                  <a:pt x="138" y="80"/>
                </a:cubicBezTo>
                <a:cubicBezTo>
                  <a:pt x="141" y="63"/>
                  <a:pt x="136" y="47"/>
                  <a:pt x="126" y="34"/>
                </a:cubicBezTo>
                <a:cubicBezTo>
                  <a:pt x="116" y="20"/>
                  <a:pt x="101" y="12"/>
                  <a:pt x="85" y="10"/>
                </a:cubicBezTo>
                <a:cubicBezTo>
                  <a:pt x="82" y="9"/>
                  <a:pt x="79" y="9"/>
                  <a:pt x="76" y="9"/>
                </a:cubicBezTo>
                <a:moveTo>
                  <a:pt x="76" y="0"/>
                </a:moveTo>
                <a:cubicBezTo>
                  <a:pt x="80" y="0"/>
                  <a:pt x="83" y="0"/>
                  <a:pt x="86" y="0"/>
                </a:cubicBezTo>
                <a:cubicBezTo>
                  <a:pt x="125" y="6"/>
                  <a:pt x="153" y="42"/>
                  <a:pt x="148" y="81"/>
                </a:cubicBezTo>
                <a:cubicBezTo>
                  <a:pt x="143" y="117"/>
                  <a:pt x="112" y="144"/>
                  <a:pt x="77" y="144"/>
                </a:cubicBezTo>
                <a:cubicBezTo>
                  <a:pt x="73" y="144"/>
                  <a:pt x="70" y="143"/>
                  <a:pt x="67" y="143"/>
                </a:cubicBezTo>
                <a:cubicBezTo>
                  <a:pt x="28" y="138"/>
                  <a:pt x="0" y="101"/>
                  <a:pt x="5" y="62"/>
                </a:cubicBezTo>
                <a:cubicBezTo>
                  <a:pt x="10" y="26"/>
                  <a:pt x="41" y="0"/>
                  <a:pt x="76" y="0"/>
                </a:cubicBezTo>
                <a:moveTo>
                  <a:pt x="53" y="48"/>
                </a:moveTo>
                <a:cubicBezTo>
                  <a:pt x="54" y="45"/>
                  <a:pt x="56" y="42"/>
                  <a:pt x="58" y="40"/>
                </a:cubicBezTo>
                <a:cubicBezTo>
                  <a:pt x="60" y="37"/>
                  <a:pt x="63" y="36"/>
                  <a:pt x="66" y="34"/>
                </a:cubicBezTo>
                <a:cubicBezTo>
                  <a:pt x="69" y="33"/>
                  <a:pt x="72" y="32"/>
                  <a:pt x="76" y="32"/>
                </a:cubicBezTo>
                <a:cubicBezTo>
                  <a:pt x="81" y="32"/>
                  <a:pt x="85" y="33"/>
                  <a:pt x="89" y="34"/>
                </a:cubicBezTo>
                <a:cubicBezTo>
                  <a:pt x="92" y="36"/>
                  <a:pt x="94" y="38"/>
                  <a:pt x="96" y="40"/>
                </a:cubicBezTo>
                <a:cubicBezTo>
                  <a:pt x="98" y="42"/>
                  <a:pt x="100" y="44"/>
                  <a:pt x="101" y="46"/>
                </a:cubicBezTo>
                <a:cubicBezTo>
                  <a:pt x="102" y="48"/>
                  <a:pt x="102" y="50"/>
                  <a:pt x="102" y="52"/>
                </a:cubicBezTo>
                <a:cubicBezTo>
                  <a:pt x="102" y="56"/>
                  <a:pt x="102" y="59"/>
                  <a:pt x="101" y="61"/>
                </a:cubicBezTo>
                <a:cubicBezTo>
                  <a:pt x="100" y="63"/>
                  <a:pt x="99" y="65"/>
                  <a:pt x="98" y="66"/>
                </a:cubicBezTo>
                <a:cubicBezTo>
                  <a:pt x="96" y="68"/>
                  <a:pt x="95" y="69"/>
                  <a:pt x="93" y="70"/>
                </a:cubicBezTo>
                <a:cubicBezTo>
                  <a:pt x="92" y="71"/>
                  <a:pt x="90" y="72"/>
                  <a:pt x="89" y="73"/>
                </a:cubicBezTo>
                <a:cubicBezTo>
                  <a:pt x="88" y="74"/>
                  <a:pt x="86" y="76"/>
                  <a:pt x="85" y="77"/>
                </a:cubicBezTo>
                <a:cubicBezTo>
                  <a:pt x="84" y="78"/>
                  <a:pt x="83" y="80"/>
                  <a:pt x="83" y="82"/>
                </a:cubicBezTo>
                <a:cubicBezTo>
                  <a:pt x="83" y="86"/>
                  <a:pt x="83" y="86"/>
                  <a:pt x="83" y="86"/>
                </a:cubicBezTo>
                <a:cubicBezTo>
                  <a:pt x="69" y="86"/>
                  <a:pt x="69" y="86"/>
                  <a:pt x="69" y="86"/>
                </a:cubicBezTo>
                <a:cubicBezTo>
                  <a:pt x="69" y="81"/>
                  <a:pt x="69" y="81"/>
                  <a:pt x="69" y="81"/>
                </a:cubicBezTo>
                <a:cubicBezTo>
                  <a:pt x="69" y="78"/>
                  <a:pt x="70" y="76"/>
                  <a:pt x="71" y="74"/>
                </a:cubicBezTo>
                <a:cubicBezTo>
                  <a:pt x="72" y="72"/>
                  <a:pt x="73" y="70"/>
                  <a:pt x="74" y="69"/>
                </a:cubicBezTo>
                <a:cubicBezTo>
                  <a:pt x="75" y="67"/>
                  <a:pt x="77" y="66"/>
                  <a:pt x="78" y="65"/>
                </a:cubicBezTo>
                <a:cubicBezTo>
                  <a:pt x="79" y="64"/>
                  <a:pt x="81" y="63"/>
                  <a:pt x="82" y="62"/>
                </a:cubicBezTo>
                <a:cubicBezTo>
                  <a:pt x="83" y="61"/>
                  <a:pt x="84" y="60"/>
                  <a:pt x="85" y="59"/>
                </a:cubicBezTo>
                <a:cubicBezTo>
                  <a:pt x="86" y="57"/>
                  <a:pt x="86" y="56"/>
                  <a:pt x="86" y="54"/>
                </a:cubicBezTo>
                <a:cubicBezTo>
                  <a:pt x="86" y="51"/>
                  <a:pt x="85" y="48"/>
                  <a:pt x="83" y="47"/>
                </a:cubicBezTo>
                <a:cubicBezTo>
                  <a:pt x="82" y="45"/>
                  <a:pt x="80" y="45"/>
                  <a:pt x="77" y="45"/>
                </a:cubicBezTo>
                <a:cubicBezTo>
                  <a:pt x="75" y="45"/>
                  <a:pt x="73" y="45"/>
                  <a:pt x="72" y="46"/>
                </a:cubicBezTo>
                <a:cubicBezTo>
                  <a:pt x="71" y="46"/>
                  <a:pt x="70" y="47"/>
                  <a:pt x="69" y="49"/>
                </a:cubicBezTo>
                <a:cubicBezTo>
                  <a:pt x="68" y="50"/>
                  <a:pt x="67" y="51"/>
                  <a:pt x="67" y="53"/>
                </a:cubicBezTo>
                <a:cubicBezTo>
                  <a:pt x="66" y="54"/>
                  <a:pt x="66" y="56"/>
                  <a:pt x="66" y="58"/>
                </a:cubicBezTo>
                <a:cubicBezTo>
                  <a:pt x="51" y="58"/>
                  <a:pt x="51" y="58"/>
                  <a:pt x="51" y="58"/>
                </a:cubicBezTo>
                <a:cubicBezTo>
                  <a:pt x="51" y="54"/>
                  <a:pt x="52" y="51"/>
                  <a:pt x="53" y="48"/>
                </a:cubicBezTo>
                <a:moveTo>
                  <a:pt x="84" y="101"/>
                </a:moveTo>
                <a:cubicBezTo>
                  <a:pt x="84" y="96"/>
                  <a:pt x="80" y="92"/>
                  <a:pt x="76" y="92"/>
                </a:cubicBezTo>
                <a:cubicBezTo>
                  <a:pt x="71" y="92"/>
                  <a:pt x="68" y="96"/>
                  <a:pt x="68" y="101"/>
                </a:cubicBezTo>
                <a:cubicBezTo>
                  <a:pt x="68" y="105"/>
                  <a:pt x="71" y="109"/>
                  <a:pt x="76" y="109"/>
                </a:cubicBezTo>
                <a:cubicBezTo>
                  <a:pt x="80" y="109"/>
                  <a:pt x="84" y="105"/>
                  <a:pt x="84" y="101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50" name="Freeform 53"/>
          <p:cNvSpPr>
            <a:spLocks noEditPoints="1"/>
          </p:cNvSpPr>
          <p:nvPr/>
        </p:nvSpPr>
        <p:spPr bwMode="black">
          <a:xfrm>
            <a:off x="3230391" y="5267865"/>
            <a:ext cx="314195" cy="312962"/>
          </a:xfrm>
          <a:custGeom>
            <a:avLst/>
            <a:gdLst>
              <a:gd name="T0" fmla="*/ 77 w 154"/>
              <a:gd name="T1" fmla="*/ 0 h 153"/>
              <a:gd name="T2" fmla="*/ 0 w 154"/>
              <a:gd name="T3" fmla="*/ 76 h 153"/>
              <a:gd name="T4" fmla="*/ 77 w 154"/>
              <a:gd name="T5" fmla="*/ 153 h 153"/>
              <a:gd name="T6" fmla="*/ 154 w 154"/>
              <a:gd name="T7" fmla="*/ 76 h 153"/>
              <a:gd name="T8" fmla="*/ 77 w 154"/>
              <a:gd name="T9" fmla="*/ 0 h 153"/>
              <a:gd name="T10" fmla="*/ 77 w 154"/>
              <a:gd name="T11" fmla="*/ 9 h 153"/>
              <a:gd name="T12" fmla="*/ 144 w 154"/>
              <a:gd name="T13" fmla="*/ 76 h 153"/>
              <a:gd name="T14" fmla="*/ 77 w 154"/>
              <a:gd name="T15" fmla="*/ 144 h 153"/>
              <a:gd name="T16" fmla="*/ 10 w 154"/>
              <a:gd name="T17" fmla="*/ 76 h 153"/>
              <a:gd name="T18" fmla="*/ 77 w 154"/>
              <a:gd name="T19" fmla="*/ 9 h 153"/>
              <a:gd name="T20" fmla="*/ 96 w 154"/>
              <a:gd name="T21" fmla="*/ 118 h 153"/>
              <a:gd name="T22" fmla="*/ 92 w 154"/>
              <a:gd name="T23" fmla="*/ 115 h 153"/>
              <a:gd name="T24" fmla="*/ 88 w 154"/>
              <a:gd name="T25" fmla="*/ 118 h 153"/>
              <a:gd name="T26" fmla="*/ 84 w 154"/>
              <a:gd name="T27" fmla="*/ 115 h 153"/>
              <a:gd name="T28" fmla="*/ 81 w 154"/>
              <a:gd name="T29" fmla="*/ 118 h 153"/>
              <a:gd name="T30" fmla="*/ 77 w 154"/>
              <a:gd name="T31" fmla="*/ 115 h 153"/>
              <a:gd name="T32" fmla="*/ 73 w 154"/>
              <a:gd name="T33" fmla="*/ 118 h 153"/>
              <a:gd name="T34" fmla="*/ 69 w 154"/>
              <a:gd name="T35" fmla="*/ 115 h 153"/>
              <a:gd name="T36" fmla="*/ 65 w 154"/>
              <a:gd name="T37" fmla="*/ 118 h 153"/>
              <a:gd name="T38" fmla="*/ 62 w 154"/>
              <a:gd name="T39" fmla="*/ 115 h 153"/>
              <a:gd name="T40" fmla="*/ 58 w 154"/>
              <a:gd name="T41" fmla="*/ 118 h 153"/>
              <a:gd name="T42" fmla="*/ 58 w 154"/>
              <a:gd name="T43" fmla="*/ 93 h 153"/>
              <a:gd name="T44" fmla="*/ 96 w 154"/>
              <a:gd name="T45" fmla="*/ 93 h 153"/>
              <a:gd name="T46" fmla="*/ 96 w 154"/>
              <a:gd name="T47" fmla="*/ 118 h 153"/>
              <a:gd name="T48" fmla="*/ 96 w 154"/>
              <a:gd name="T49" fmla="*/ 84 h 153"/>
              <a:gd name="T50" fmla="*/ 96 w 154"/>
              <a:gd name="T51" fmla="*/ 88 h 153"/>
              <a:gd name="T52" fmla="*/ 58 w 154"/>
              <a:gd name="T53" fmla="*/ 88 h 153"/>
              <a:gd name="T54" fmla="*/ 58 w 154"/>
              <a:gd name="T55" fmla="*/ 84 h 153"/>
              <a:gd name="T56" fmla="*/ 64 w 154"/>
              <a:gd name="T57" fmla="*/ 76 h 153"/>
              <a:gd name="T58" fmla="*/ 73 w 154"/>
              <a:gd name="T59" fmla="*/ 64 h 153"/>
              <a:gd name="T60" fmla="*/ 70 w 154"/>
              <a:gd name="T61" fmla="*/ 41 h 153"/>
              <a:gd name="T62" fmla="*/ 77 w 154"/>
              <a:gd name="T63" fmla="*/ 29 h 153"/>
              <a:gd name="T64" fmla="*/ 84 w 154"/>
              <a:gd name="T65" fmla="*/ 41 h 153"/>
              <a:gd name="T66" fmla="*/ 81 w 154"/>
              <a:gd name="T67" fmla="*/ 64 h 153"/>
              <a:gd name="T68" fmla="*/ 90 w 154"/>
              <a:gd name="T69" fmla="*/ 76 h 153"/>
              <a:gd name="T70" fmla="*/ 96 w 154"/>
              <a:gd name="T71" fmla="*/ 84 h 153"/>
              <a:gd name="T72" fmla="*/ 79 w 154"/>
              <a:gd name="T73" fmla="*/ 35 h 153"/>
              <a:gd name="T74" fmla="*/ 77 w 154"/>
              <a:gd name="T75" fmla="*/ 33 h 153"/>
              <a:gd name="T76" fmla="*/ 74 w 154"/>
              <a:gd name="T77" fmla="*/ 35 h 153"/>
              <a:gd name="T78" fmla="*/ 77 w 154"/>
              <a:gd name="T79" fmla="*/ 38 h 153"/>
              <a:gd name="T80" fmla="*/ 79 w 154"/>
              <a:gd name="T81" fmla="*/ 35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54" h="153">
                <a:moveTo>
                  <a:pt x="77" y="0"/>
                </a:moveTo>
                <a:cubicBezTo>
                  <a:pt x="34" y="0"/>
                  <a:pt x="0" y="34"/>
                  <a:pt x="0" y="76"/>
                </a:cubicBezTo>
                <a:cubicBezTo>
                  <a:pt x="0" y="119"/>
                  <a:pt x="34" y="153"/>
                  <a:pt x="77" y="153"/>
                </a:cubicBezTo>
                <a:cubicBezTo>
                  <a:pt x="119" y="153"/>
                  <a:pt x="154" y="119"/>
                  <a:pt x="154" y="76"/>
                </a:cubicBezTo>
                <a:cubicBezTo>
                  <a:pt x="154" y="34"/>
                  <a:pt x="119" y="0"/>
                  <a:pt x="77" y="0"/>
                </a:cubicBezTo>
                <a:moveTo>
                  <a:pt x="77" y="9"/>
                </a:moveTo>
                <a:cubicBezTo>
                  <a:pt x="114" y="9"/>
                  <a:pt x="144" y="39"/>
                  <a:pt x="144" y="76"/>
                </a:cubicBezTo>
                <a:cubicBezTo>
                  <a:pt x="144" y="113"/>
                  <a:pt x="114" y="144"/>
                  <a:pt x="77" y="144"/>
                </a:cubicBezTo>
                <a:cubicBezTo>
                  <a:pt x="40" y="144"/>
                  <a:pt x="10" y="113"/>
                  <a:pt x="10" y="76"/>
                </a:cubicBezTo>
                <a:cubicBezTo>
                  <a:pt x="10" y="39"/>
                  <a:pt x="40" y="9"/>
                  <a:pt x="77" y="9"/>
                </a:cubicBezTo>
                <a:moveTo>
                  <a:pt x="96" y="118"/>
                </a:moveTo>
                <a:cubicBezTo>
                  <a:pt x="92" y="115"/>
                  <a:pt x="92" y="115"/>
                  <a:pt x="92" y="115"/>
                </a:cubicBezTo>
                <a:cubicBezTo>
                  <a:pt x="88" y="118"/>
                  <a:pt x="88" y="118"/>
                  <a:pt x="88" y="118"/>
                </a:cubicBezTo>
                <a:cubicBezTo>
                  <a:pt x="84" y="115"/>
                  <a:pt x="84" y="115"/>
                  <a:pt x="84" y="115"/>
                </a:cubicBezTo>
                <a:cubicBezTo>
                  <a:pt x="81" y="118"/>
                  <a:pt x="81" y="118"/>
                  <a:pt x="81" y="118"/>
                </a:cubicBezTo>
                <a:cubicBezTo>
                  <a:pt x="77" y="115"/>
                  <a:pt x="77" y="115"/>
                  <a:pt x="77" y="115"/>
                </a:cubicBezTo>
                <a:cubicBezTo>
                  <a:pt x="73" y="118"/>
                  <a:pt x="73" y="118"/>
                  <a:pt x="73" y="118"/>
                </a:cubicBezTo>
                <a:cubicBezTo>
                  <a:pt x="69" y="115"/>
                  <a:pt x="69" y="115"/>
                  <a:pt x="69" y="115"/>
                </a:cubicBezTo>
                <a:cubicBezTo>
                  <a:pt x="65" y="118"/>
                  <a:pt x="65" y="118"/>
                  <a:pt x="65" y="118"/>
                </a:cubicBezTo>
                <a:cubicBezTo>
                  <a:pt x="62" y="115"/>
                  <a:pt x="62" y="115"/>
                  <a:pt x="62" y="115"/>
                </a:cubicBezTo>
                <a:cubicBezTo>
                  <a:pt x="58" y="118"/>
                  <a:pt x="58" y="118"/>
                  <a:pt x="58" y="118"/>
                </a:cubicBezTo>
                <a:cubicBezTo>
                  <a:pt x="58" y="93"/>
                  <a:pt x="58" y="93"/>
                  <a:pt x="58" y="93"/>
                </a:cubicBezTo>
                <a:cubicBezTo>
                  <a:pt x="96" y="93"/>
                  <a:pt x="96" y="93"/>
                  <a:pt x="96" y="93"/>
                </a:cubicBezTo>
                <a:lnTo>
                  <a:pt x="96" y="118"/>
                </a:lnTo>
                <a:close/>
                <a:moveTo>
                  <a:pt x="96" y="84"/>
                </a:moveTo>
                <a:cubicBezTo>
                  <a:pt x="96" y="88"/>
                  <a:pt x="96" y="88"/>
                  <a:pt x="96" y="88"/>
                </a:cubicBezTo>
                <a:cubicBezTo>
                  <a:pt x="58" y="88"/>
                  <a:pt x="58" y="88"/>
                  <a:pt x="58" y="88"/>
                </a:cubicBezTo>
                <a:cubicBezTo>
                  <a:pt x="58" y="84"/>
                  <a:pt x="58" y="84"/>
                  <a:pt x="58" y="84"/>
                </a:cubicBezTo>
                <a:cubicBezTo>
                  <a:pt x="58" y="79"/>
                  <a:pt x="60" y="77"/>
                  <a:pt x="64" y="76"/>
                </a:cubicBezTo>
                <a:cubicBezTo>
                  <a:pt x="67" y="75"/>
                  <a:pt x="73" y="73"/>
                  <a:pt x="73" y="64"/>
                </a:cubicBezTo>
                <a:cubicBezTo>
                  <a:pt x="73" y="55"/>
                  <a:pt x="70" y="52"/>
                  <a:pt x="70" y="41"/>
                </a:cubicBezTo>
                <a:cubicBezTo>
                  <a:pt x="70" y="31"/>
                  <a:pt x="75" y="29"/>
                  <a:pt x="77" y="29"/>
                </a:cubicBezTo>
                <a:cubicBezTo>
                  <a:pt x="78" y="29"/>
                  <a:pt x="84" y="31"/>
                  <a:pt x="84" y="41"/>
                </a:cubicBezTo>
                <a:cubicBezTo>
                  <a:pt x="84" y="52"/>
                  <a:pt x="81" y="55"/>
                  <a:pt x="81" y="64"/>
                </a:cubicBezTo>
                <a:cubicBezTo>
                  <a:pt x="81" y="73"/>
                  <a:pt x="87" y="75"/>
                  <a:pt x="90" y="76"/>
                </a:cubicBezTo>
                <a:cubicBezTo>
                  <a:pt x="94" y="77"/>
                  <a:pt x="96" y="79"/>
                  <a:pt x="96" y="84"/>
                </a:cubicBezTo>
                <a:close/>
                <a:moveTo>
                  <a:pt x="79" y="35"/>
                </a:moveTo>
                <a:cubicBezTo>
                  <a:pt x="79" y="34"/>
                  <a:pt x="78" y="33"/>
                  <a:pt x="77" y="33"/>
                </a:cubicBezTo>
                <a:cubicBezTo>
                  <a:pt x="75" y="33"/>
                  <a:pt x="74" y="34"/>
                  <a:pt x="74" y="35"/>
                </a:cubicBezTo>
                <a:cubicBezTo>
                  <a:pt x="74" y="36"/>
                  <a:pt x="75" y="38"/>
                  <a:pt x="77" y="38"/>
                </a:cubicBezTo>
                <a:cubicBezTo>
                  <a:pt x="78" y="38"/>
                  <a:pt x="79" y="36"/>
                  <a:pt x="79" y="3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51" name="Freeform 54"/>
          <p:cNvSpPr>
            <a:spLocks noEditPoints="1"/>
          </p:cNvSpPr>
          <p:nvPr/>
        </p:nvSpPr>
        <p:spPr bwMode="black">
          <a:xfrm>
            <a:off x="5236417" y="5267250"/>
            <a:ext cx="342534" cy="314194"/>
          </a:xfrm>
          <a:custGeom>
            <a:avLst/>
            <a:gdLst>
              <a:gd name="T0" fmla="*/ 84 w 168"/>
              <a:gd name="T1" fmla="*/ 0 h 154"/>
              <a:gd name="T2" fmla="*/ 30 w 168"/>
              <a:gd name="T3" fmla="*/ 22 h 154"/>
              <a:gd name="T4" fmla="*/ 30 w 168"/>
              <a:gd name="T5" fmla="*/ 131 h 154"/>
              <a:gd name="T6" fmla="*/ 84 w 168"/>
              <a:gd name="T7" fmla="*/ 154 h 154"/>
              <a:gd name="T8" fmla="*/ 138 w 168"/>
              <a:gd name="T9" fmla="*/ 131 h 154"/>
              <a:gd name="T10" fmla="*/ 138 w 168"/>
              <a:gd name="T11" fmla="*/ 22 h 154"/>
              <a:gd name="T12" fmla="*/ 84 w 168"/>
              <a:gd name="T13" fmla="*/ 0 h 154"/>
              <a:gd name="T14" fmla="*/ 84 w 168"/>
              <a:gd name="T15" fmla="*/ 10 h 154"/>
              <a:gd name="T16" fmla="*/ 84 w 168"/>
              <a:gd name="T17" fmla="*/ 10 h 154"/>
              <a:gd name="T18" fmla="*/ 131 w 168"/>
              <a:gd name="T19" fmla="*/ 30 h 154"/>
              <a:gd name="T20" fmla="*/ 131 w 168"/>
              <a:gd name="T21" fmla="*/ 124 h 154"/>
              <a:gd name="T22" fmla="*/ 84 w 168"/>
              <a:gd name="T23" fmla="*/ 143 h 154"/>
              <a:gd name="T24" fmla="*/ 37 w 168"/>
              <a:gd name="T25" fmla="*/ 124 h 154"/>
              <a:gd name="T26" fmla="*/ 18 w 168"/>
              <a:gd name="T27" fmla="*/ 77 h 154"/>
              <a:gd name="T28" fmla="*/ 37 w 168"/>
              <a:gd name="T29" fmla="*/ 30 h 154"/>
              <a:gd name="T30" fmla="*/ 84 w 168"/>
              <a:gd name="T31" fmla="*/ 10 h 154"/>
              <a:gd name="T32" fmla="*/ 114 w 168"/>
              <a:gd name="T33" fmla="*/ 64 h 154"/>
              <a:gd name="T34" fmla="*/ 95 w 168"/>
              <a:gd name="T35" fmla="*/ 83 h 154"/>
              <a:gd name="T36" fmla="*/ 91 w 168"/>
              <a:gd name="T37" fmla="*/ 103 h 154"/>
              <a:gd name="T38" fmla="*/ 77 w 168"/>
              <a:gd name="T39" fmla="*/ 89 h 154"/>
              <a:gd name="T40" fmla="*/ 51 w 168"/>
              <a:gd name="T41" fmla="*/ 109 h 154"/>
              <a:gd name="T42" fmla="*/ 51 w 168"/>
              <a:gd name="T43" fmla="*/ 109 h 154"/>
              <a:gd name="T44" fmla="*/ 51 w 168"/>
              <a:gd name="T45" fmla="*/ 109 h 154"/>
              <a:gd name="T46" fmla="*/ 51 w 168"/>
              <a:gd name="T47" fmla="*/ 109 h 154"/>
              <a:gd name="T48" fmla="*/ 51 w 168"/>
              <a:gd name="T49" fmla="*/ 109 h 154"/>
              <a:gd name="T50" fmla="*/ 71 w 168"/>
              <a:gd name="T51" fmla="*/ 84 h 154"/>
              <a:gd name="T52" fmla="*/ 57 w 168"/>
              <a:gd name="T53" fmla="*/ 70 h 154"/>
              <a:gd name="T54" fmla="*/ 78 w 168"/>
              <a:gd name="T55" fmla="*/ 66 h 154"/>
              <a:gd name="T56" fmla="*/ 97 w 168"/>
              <a:gd name="T57" fmla="*/ 46 h 154"/>
              <a:gd name="T58" fmla="*/ 101 w 168"/>
              <a:gd name="T59" fmla="*/ 35 h 154"/>
              <a:gd name="T60" fmla="*/ 126 w 168"/>
              <a:gd name="T61" fmla="*/ 60 h 154"/>
              <a:gd name="T62" fmla="*/ 114 w 168"/>
              <a:gd name="T63" fmla="*/ 64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68" h="154">
                <a:moveTo>
                  <a:pt x="84" y="0"/>
                </a:moveTo>
                <a:cubicBezTo>
                  <a:pt x="64" y="0"/>
                  <a:pt x="45" y="7"/>
                  <a:pt x="30" y="22"/>
                </a:cubicBezTo>
                <a:cubicBezTo>
                  <a:pt x="0" y="52"/>
                  <a:pt x="0" y="101"/>
                  <a:pt x="30" y="131"/>
                </a:cubicBezTo>
                <a:cubicBezTo>
                  <a:pt x="45" y="146"/>
                  <a:pt x="64" y="154"/>
                  <a:pt x="84" y="154"/>
                </a:cubicBezTo>
                <a:cubicBezTo>
                  <a:pt x="104" y="154"/>
                  <a:pt x="123" y="146"/>
                  <a:pt x="138" y="131"/>
                </a:cubicBezTo>
                <a:cubicBezTo>
                  <a:pt x="168" y="101"/>
                  <a:pt x="168" y="52"/>
                  <a:pt x="138" y="22"/>
                </a:cubicBezTo>
                <a:cubicBezTo>
                  <a:pt x="123" y="7"/>
                  <a:pt x="104" y="0"/>
                  <a:pt x="84" y="0"/>
                </a:cubicBezTo>
                <a:moveTo>
                  <a:pt x="84" y="10"/>
                </a:moveTo>
                <a:cubicBezTo>
                  <a:pt x="84" y="10"/>
                  <a:pt x="84" y="10"/>
                  <a:pt x="84" y="10"/>
                </a:cubicBezTo>
                <a:cubicBezTo>
                  <a:pt x="102" y="10"/>
                  <a:pt x="118" y="17"/>
                  <a:pt x="131" y="30"/>
                </a:cubicBezTo>
                <a:cubicBezTo>
                  <a:pt x="157" y="56"/>
                  <a:pt x="157" y="98"/>
                  <a:pt x="131" y="124"/>
                </a:cubicBezTo>
                <a:cubicBezTo>
                  <a:pt x="118" y="136"/>
                  <a:pt x="102" y="143"/>
                  <a:pt x="84" y="143"/>
                </a:cubicBezTo>
                <a:cubicBezTo>
                  <a:pt x="66" y="143"/>
                  <a:pt x="50" y="136"/>
                  <a:pt x="37" y="124"/>
                </a:cubicBezTo>
                <a:cubicBezTo>
                  <a:pt x="25" y="111"/>
                  <a:pt x="18" y="94"/>
                  <a:pt x="18" y="77"/>
                </a:cubicBezTo>
                <a:cubicBezTo>
                  <a:pt x="18" y="59"/>
                  <a:pt x="25" y="42"/>
                  <a:pt x="37" y="30"/>
                </a:cubicBezTo>
                <a:cubicBezTo>
                  <a:pt x="50" y="17"/>
                  <a:pt x="66" y="10"/>
                  <a:pt x="84" y="10"/>
                </a:cubicBezTo>
                <a:moveTo>
                  <a:pt x="114" y="64"/>
                </a:moveTo>
                <a:cubicBezTo>
                  <a:pt x="95" y="83"/>
                  <a:pt x="95" y="83"/>
                  <a:pt x="95" y="83"/>
                </a:cubicBezTo>
                <a:cubicBezTo>
                  <a:pt x="98" y="90"/>
                  <a:pt x="97" y="98"/>
                  <a:pt x="91" y="103"/>
                </a:cubicBezTo>
                <a:cubicBezTo>
                  <a:pt x="77" y="89"/>
                  <a:pt x="77" y="89"/>
                  <a:pt x="77" y="89"/>
                </a:cubicBezTo>
                <a:cubicBezTo>
                  <a:pt x="62" y="102"/>
                  <a:pt x="53" y="110"/>
                  <a:pt x="51" y="109"/>
                </a:cubicBezTo>
                <a:cubicBezTo>
                  <a:pt x="51" y="109"/>
                  <a:pt x="51" y="109"/>
                  <a:pt x="51" y="109"/>
                </a:cubicBezTo>
                <a:cubicBezTo>
                  <a:pt x="51" y="109"/>
                  <a:pt x="51" y="109"/>
                  <a:pt x="51" y="109"/>
                </a:cubicBezTo>
                <a:cubicBezTo>
                  <a:pt x="51" y="109"/>
                  <a:pt x="51" y="109"/>
                  <a:pt x="51" y="109"/>
                </a:cubicBezTo>
                <a:cubicBezTo>
                  <a:pt x="51" y="109"/>
                  <a:pt x="51" y="109"/>
                  <a:pt x="51" y="109"/>
                </a:cubicBezTo>
                <a:cubicBezTo>
                  <a:pt x="51" y="108"/>
                  <a:pt x="58" y="98"/>
                  <a:pt x="71" y="84"/>
                </a:cubicBezTo>
                <a:cubicBezTo>
                  <a:pt x="57" y="70"/>
                  <a:pt x="57" y="70"/>
                  <a:pt x="57" y="70"/>
                </a:cubicBezTo>
                <a:cubicBezTo>
                  <a:pt x="63" y="64"/>
                  <a:pt x="71" y="63"/>
                  <a:pt x="78" y="66"/>
                </a:cubicBezTo>
                <a:cubicBezTo>
                  <a:pt x="97" y="46"/>
                  <a:pt x="97" y="46"/>
                  <a:pt x="97" y="46"/>
                </a:cubicBezTo>
                <a:cubicBezTo>
                  <a:pt x="96" y="42"/>
                  <a:pt x="97" y="38"/>
                  <a:pt x="101" y="35"/>
                </a:cubicBezTo>
                <a:cubicBezTo>
                  <a:pt x="126" y="60"/>
                  <a:pt x="126" y="60"/>
                  <a:pt x="126" y="60"/>
                </a:cubicBezTo>
                <a:cubicBezTo>
                  <a:pt x="123" y="63"/>
                  <a:pt x="118" y="65"/>
                  <a:pt x="114" y="6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52" name="Freeform 55"/>
          <p:cNvSpPr>
            <a:spLocks noEditPoints="1"/>
          </p:cNvSpPr>
          <p:nvPr/>
        </p:nvSpPr>
        <p:spPr bwMode="black">
          <a:xfrm>
            <a:off x="5928296" y="5271565"/>
            <a:ext cx="305569" cy="305570"/>
          </a:xfrm>
          <a:custGeom>
            <a:avLst/>
            <a:gdLst>
              <a:gd name="T0" fmla="*/ 75 w 150"/>
              <a:gd name="T1" fmla="*/ 150 h 150"/>
              <a:gd name="T2" fmla="*/ 0 w 150"/>
              <a:gd name="T3" fmla="*/ 75 h 150"/>
              <a:gd name="T4" fmla="*/ 75 w 150"/>
              <a:gd name="T5" fmla="*/ 0 h 150"/>
              <a:gd name="T6" fmla="*/ 150 w 150"/>
              <a:gd name="T7" fmla="*/ 75 h 150"/>
              <a:gd name="T8" fmla="*/ 75 w 150"/>
              <a:gd name="T9" fmla="*/ 150 h 150"/>
              <a:gd name="T10" fmla="*/ 75 w 150"/>
              <a:gd name="T11" fmla="*/ 9 h 150"/>
              <a:gd name="T12" fmla="*/ 10 w 150"/>
              <a:gd name="T13" fmla="*/ 75 h 150"/>
              <a:gd name="T14" fmla="*/ 75 w 150"/>
              <a:gd name="T15" fmla="*/ 140 h 150"/>
              <a:gd name="T16" fmla="*/ 140 w 150"/>
              <a:gd name="T17" fmla="*/ 75 h 150"/>
              <a:gd name="T18" fmla="*/ 75 w 150"/>
              <a:gd name="T19" fmla="*/ 9 h 150"/>
              <a:gd name="T20" fmla="*/ 102 w 150"/>
              <a:gd name="T21" fmla="*/ 56 h 150"/>
              <a:gd name="T22" fmla="*/ 79 w 150"/>
              <a:gd name="T23" fmla="*/ 58 h 150"/>
              <a:gd name="T24" fmla="*/ 89 w 150"/>
              <a:gd name="T25" fmla="*/ 74 h 150"/>
              <a:gd name="T26" fmla="*/ 76 w 150"/>
              <a:gd name="T27" fmla="*/ 85 h 150"/>
              <a:gd name="T28" fmla="*/ 79 w 150"/>
              <a:gd name="T29" fmla="*/ 98 h 150"/>
              <a:gd name="T30" fmla="*/ 66 w 150"/>
              <a:gd name="T31" fmla="*/ 85 h 150"/>
              <a:gd name="T32" fmla="*/ 78 w 150"/>
              <a:gd name="T33" fmla="*/ 74 h 150"/>
              <a:gd name="T34" fmla="*/ 68 w 150"/>
              <a:gd name="T35" fmla="*/ 55 h 150"/>
              <a:gd name="T36" fmla="*/ 49 w 150"/>
              <a:gd name="T37" fmla="*/ 56 h 150"/>
              <a:gd name="T38" fmla="*/ 75 w 150"/>
              <a:gd name="T39" fmla="*/ 104 h 150"/>
              <a:gd name="T40" fmla="*/ 75 w 150"/>
              <a:gd name="T41" fmla="*/ 105 h 150"/>
              <a:gd name="T42" fmla="*/ 75 w 150"/>
              <a:gd name="T43" fmla="*/ 105 h 150"/>
              <a:gd name="T44" fmla="*/ 75 w 150"/>
              <a:gd name="T45" fmla="*/ 105 h 150"/>
              <a:gd name="T46" fmla="*/ 75 w 150"/>
              <a:gd name="T47" fmla="*/ 104 h 150"/>
              <a:gd name="T48" fmla="*/ 102 w 150"/>
              <a:gd name="T49" fmla="*/ 56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50" h="150">
                <a:moveTo>
                  <a:pt x="75" y="150"/>
                </a:moveTo>
                <a:cubicBezTo>
                  <a:pt x="34" y="150"/>
                  <a:pt x="0" y="116"/>
                  <a:pt x="0" y="75"/>
                </a:cubicBezTo>
                <a:cubicBezTo>
                  <a:pt x="0" y="33"/>
                  <a:pt x="34" y="0"/>
                  <a:pt x="75" y="0"/>
                </a:cubicBezTo>
                <a:cubicBezTo>
                  <a:pt x="116" y="0"/>
                  <a:pt x="150" y="33"/>
                  <a:pt x="150" y="75"/>
                </a:cubicBezTo>
                <a:cubicBezTo>
                  <a:pt x="150" y="116"/>
                  <a:pt x="116" y="150"/>
                  <a:pt x="75" y="150"/>
                </a:cubicBezTo>
                <a:close/>
                <a:moveTo>
                  <a:pt x="75" y="9"/>
                </a:moveTo>
                <a:cubicBezTo>
                  <a:pt x="39" y="9"/>
                  <a:pt x="10" y="38"/>
                  <a:pt x="10" y="75"/>
                </a:cubicBezTo>
                <a:cubicBezTo>
                  <a:pt x="10" y="111"/>
                  <a:pt x="39" y="140"/>
                  <a:pt x="75" y="140"/>
                </a:cubicBezTo>
                <a:cubicBezTo>
                  <a:pt x="111" y="140"/>
                  <a:pt x="140" y="111"/>
                  <a:pt x="140" y="75"/>
                </a:cubicBezTo>
                <a:cubicBezTo>
                  <a:pt x="140" y="38"/>
                  <a:pt x="111" y="9"/>
                  <a:pt x="75" y="9"/>
                </a:cubicBezTo>
                <a:close/>
                <a:moveTo>
                  <a:pt x="102" y="56"/>
                </a:moveTo>
                <a:cubicBezTo>
                  <a:pt x="96" y="50"/>
                  <a:pt x="87" y="51"/>
                  <a:pt x="79" y="58"/>
                </a:cubicBezTo>
                <a:cubicBezTo>
                  <a:pt x="89" y="74"/>
                  <a:pt x="89" y="74"/>
                  <a:pt x="89" y="74"/>
                </a:cubicBezTo>
                <a:cubicBezTo>
                  <a:pt x="76" y="85"/>
                  <a:pt x="76" y="85"/>
                  <a:pt x="76" y="85"/>
                </a:cubicBezTo>
                <a:cubicBezTo>
                  <a:pt x="79" y="98"/>
                  <a:pt x="79" y="98"/>
                  <a:pt x="79" y="98"/>
                </a:cubicBezTo>
                <a:cubicBezTo>
                  <a:pt x="66" y="85"/>
                  <a:pt x="66" y="85"/>
                  <a:pt x="66" y="85"/>
                </a:cubicBezTo>
                <a:cubicBezTo>
                  <a:pt x="78" y="74"/>
                  <a:pt x="78" y="74"/>
                  <a:pt x="78" y="74"/>
                </a:cubicBezTo>
                <a:cubicBezTo>
                  <a:pt x="68" y="55"/>
                  <a:pt x="68" y="55"/>
                  <a:pt x="68" y="55"/>
                </a:cubicBezTo>
                <a:cubicBezTo>
                  <a:pt x="61" y="50"/>
                  <a:pt x="53" y="51"/>
                  <a:pt x="49" y="56"/>
                </a:cubicBezTo>
                <a:cubicBezTo>
                  <a:pt x="31" y="74"/>
                  <a:pt x="68" y="101"/>
                  <a:pt x="75" y="104"/>
                </a:cubicBezTo>
                <a:cubicBezTo>
                  <a:pt x="75" y="105"/>
                  <a:pt x="75" y="105"/>
                  <a:pt x="75" y="105"/>
                </a:cubicBezTo>
                <a:cubicBezTo>
                  <a:pt x="75" y="105"/>
                  <a:pt x="75" y="105"/>
                  <a:pt x="75" y="105"/>
                </a:cubicBezTo>
                <a:cubicBezTo>
                  <a:pt x="75" y="105"/>
                  <a:pt x="75" y="105"/>
                  <a:pt x="75" y="105"/>
                </a:cubicBezTo>
                <a:cubicBezTo>
                  <a:pt x="75" y="104"/>
                  <a:pt x="75" y="104"/>
                  <a:pt x="75" y="104"/>
                </a:cubicBezTo>
                <a:cubicBezTo>
                  <a:pt x="82" y="101"/>
                  <a:pt x="119" y="74"/>
                  <a:pt x="102" y="56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53" name="Freeform 56"/>
          <p:cNvSpPr>
            <a:spLocks noEditPoints="1"/>
          </p:cNvSpPr>
          <p:nvPr/>
        </p:nvSpPr>
        <p:spPr bwMode="black">
          <a:xfrm>
            <a:off x="6601694" y="5271565"/>
            <a:ext cx="305569" cy="305570"/>
          </a:xfrm>
          <a:custGeom>
            <a:avLst/>
            <a:gdLst>
              <a:gd name="T0" fmla="*/ 75 w 150"/>
              <a:gd name="T1" fmla="*/ 150 h 150"/>
              <a:gd name="T2" fmla="*/ 0 w 150"/>
              <a:gd name="T3" fmla="*/ 75 h 150"/>
              <a:gd name="T4" fmla="*/ 75 w 150"/>
              <a:gd name="T5" fmla="*/ 0 h 150"/>
              <a:gd name="T6" fmla="*/ 150 w 150"/>
              <a:gd name="T7" fmla="*/ 75 h 150"/>
              <a:gd name="T8" fmla="*/ 75 w 150"/>
              <a:gd name="T9" fmla="*/ 150 h 150"/>
              <a:gd name="T10" fmla="*/ 75 w 150"/>
              <a:gd name="T11" fmla="*/ 9 h 150"/>
              <a:gd name="T12" fmla="*/ 10 w 150"/>
              <a:gd name="T13" fmla="*/ 75 h 150"/>
              <a:gd name="T14" fmla="*/ 75 w 150"/>
              <a:gd name="T15" fmla="*/ 140 h 150"/>
              <a:gd name="T16" fmla="*/ 141 w 150"/>
              <a:gd name="T17" fmla="*/ 75 h 150"/>
              <a:gd name="T18" fmla="*/ 75 w 150"/>
              <a:gd name="T19" fmla="*/ 9 h 150"/>
              <a:gd name="T20" fmla="*/ 102 w 150"/>
              <a:gd name="T21" fmla="*/ 56 h 150"/>
              <a:gd name="T22" fmla="*/ 76 w 150"/>
              <a:gd name="T23" fmla="*/ 62 h 150"/>
              <a:gd name="T24" fmla="*/ 49 w 150"/>
              <a:gd name="T25" fmla="*/ 56 h 150"/>
              <a:gd name="T26" fmla="*/ 75 w 150"/>
              <a:gd name="T27" fmla="*/ 104 h 150"/>
              <a:gd name="T28" fmla="*/ 75 w 150"/>
              <a:gd name="T29" fmla="*/ 105 h 150"/>
              <a:gd name="T30" fmla="*/ 75 w 150"/>
              <a:gd name="T31" fmla="*/ 105 h 150"/>
              <a:gd name="T32" fmla="*/ 75 w 150"/>
              <a:gd name="T33" fmla="*/ 105 h 150"/>
              <a:gd name="T34" fmla="*/ 75 w 150"/>
              <a:gd name="T35" fmla="*/ 104 h 150"/>
              <a:gd name="T36" fmla="*/ 102 w 150"/>
              <a:gd name="T37" fmla="*/ 56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50" h="150">
                <a:moveTo>
                  <a:pt x="75" y="150"/>
                </a:moveTo>
                <a:cubicBezTo>
                  <a:pt x="34" y="150"/>
                  <a:pt x="0" y="116"/>
                  <a:pt x="0" y="75"/>
                </a:cubicBezTo>
                <a:cubicBezTo>
                  <a:pt x="0" y="33"/>
                  <a:pt x="34" y="0"/>
                  <a:pt x="75" y="0"/>
                </a:cubicBezTo>
                <a:cubicBezTo>
                  <a:pt x="117" y="0"/>
                  <a:pt x="150" y="33"/>
                  <a:pt x="150" y="75"/>
                </a:cubicBezTo>
                <a:cubicBezTo>
                  <a:pt x="150" y="116"/>
                  <a:pt x="117" y="150"/>
                  <a:pt x="75" y="150"/>
                </a:cubicBezTo>
                <a:close/>
                <a:moveTo>
                  <a:pt x="75" y="9"/>
                </a:moveTo>
                <a:cubicBezTo>
                  <a:pt x="39" y="9"/>
                  <a:pt x="10" y="39"/>
                  <a:pt x="10" y="75"/>
                </a:cubicBezTo>
                <a:cubicBezTo>
                  <a:pt x="10" y="111"/>
                  <a:pt x="39" y="140"/>
                  <a:pt x="75" y="140"/>
                </a:cubicBezTo>
                <a:cubicBezTo>
                  <a:pt x="111" y="140"/>
                  <a:pt x="141" y="111"/>
                  <a:pt x="141" y="75"/>
                </a:cubicBezTo>
                <a:cubicBezTo>
                  <a:pt x="141" y="39"/>
                  <a:pt x="111" y="9"/>
                  <a:pt x="75" y="9"/>
                </a:cubicBezTo>
                <a:close/>
                <a:moveTo>
                  <a:pt x="102" y="56"/>
                </a:moveTo>
                <a:cubicBezTo>
                  <a:pt x="96" y="49"/>
                  <a:pt x="83" y="52"/>
                  <a:pt x="76" y="62"/>
                </a:cubicBezTo>
                <a:cubicBezTo>
                  <a:pt x="66" y="51"/>
                  <a:pt x="55" y="49"/>
                  <a:pt x="49" y="56"/>
                </a:cubicBezTo>
                <a:cubicBezTo>
                  <a:pt x="32" y="75"/>
                  <a:pt x="69" y="101"/>
                  <a:pt x="75" y="104"/>
                </a:cubicBezTo>
                <a:cubicBezTo>
                  <a:pt x="75" y="105"/>
                  <a:pt x="75" y="105"/>
                  <a:pt x="75" y="105"/>
                </a:cubicBezTo>
                <a:cubicBezTo>
                  <a:pt x="75" y="105"/>
                  <a:pt x="75" y="105"/>
                  <a:pt x="75" y="105"/>
                </a:cubicBezTo>
                <a:cubicBezTo>
                  <a:pt x="75" y="105"/>
                  <a:pt x="75" y="105"/>
                  <a:pt x="75" y="105"/>
                </a:cubicBezTo>
                <a:cubicBezTo>
                  <a:pt x="75" y="104"/>
                  <a:pt x="75" y="104"/>
                  <a:pt x="75" y="104"/>
                </a:cubicBezTo>
                <a:cubicBezTo>
                  <a:pt x="82" y="101"/>
                  <a:pt x="119" y="75"/>
                  <a:pt x="102" y="56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54" name="Freeform 57"/>
          <p:cNvSpPr>
            <a:spLocks noEditPoints="1"/>
          </p:cNvSpPr>
          <p:nvPr/>
        </p:nvSpPr>
        <p:spPr bwMode="black">
          <a:xfrm>
            <a:off x="7944182" y="4593789"/>
            <a:ext cx="314195" cy="314194"/>
          </a:xfrm>
          <a:custGeom>
            <a:avLst/>
            <a:gdLst>
              <a:gd name="T0" fmla="*/ 77 w 154"/>
              <a:gd name="T1" fmla="*/ 154 h 154"/>
              <a:gd name="T2" fmla="*/ 0 w 154"/>
              <a:gd name="T3" fmla="*/ 77 h 154"/>
              <a:gd name="T4" fmla="*/ 77 w 154"/>
              <a:gd name="T5" fmla="*/ 0 h 154"/>
              <a:gd name="T6" fmla="*/ 154 w 154"/>
              <a:gd name="T7" fmla="*/ 77 h 154"/>
              <a:gd name="T8" fmla="*/ 77 w 154"/>
              <a:gd name="T9" fmla="*/ 154 h 154"/>
              <a:gd name="T10" fmla="*/ 77 w 154"/>
              <a:gd name="T11" fmla="*/ 10 h 154"/>
              <a:gd name="T12" fmla="*/ 10 w 154"/>
              <a:gd name="T13" fmla="*/ 77 h 154"/>
              <a:gd name="T14" fmla="*/ 77 w 154"/>
              <a:gd name="T15" fmla="*/ 145 h 154"/>
              <a:gd name="T16" fmla="*/ 144 w 154"/>
              <a:gd name="T17" fmla="*/ 77 h 154"/>
              <a:gd name="T18" fmla="*/ 77 w 154"/>
              <a:gd name="T19" fmla="*/ 10 h 154"/>
              <a:gd name="T20" fmla="*/ 102 w 154"/>
              <a:gd name="T21" fmla="*/ 49 h 154"/>
              <a:gd name="T22" fmla="*/ 52 w 154"/>
              <a:gd name="T23" fmla="*/ 49 h 154"/>
              <a:gd name="T24" fmla="*/ 44 w 154"/>
              <a:gd name="T25" fmla="*/ 58 h 154"/>
              <a:gd name="T26" fmla="*/ 44 w 154"/>
              <a:gd name="T27" fmla="*/ 90 h 154"/>
              <a:gd name="T28" fmla="*/ 52 w 154"/>
              <a:gd name="T29" fmla="*/ 99 h 154"/>
              <a:gd name="T30" fmla="*/ 64 w 154"/>
              <a:gd name="T31" fmla="*/ 99 h 154"/>
              <a:gd name="T32" fmla="*/ 90 w 154"/>
              <a:gd name="T33" fmla="*/ 116 h 154"/>
              <a:gd name="T34" fmla="*/ 85 w 154"/>
              <a:gd name="T35" fmla="*/ 99 h 154"/>
              <a:gd name="T36" fmla="*/ 102 w 154"/>
              <a:gd name="T37" fmla="*/ 99 h 154"/>
              <a:gd name="T38" fmla="*/ 110 w 154"/>
              <a:gd name="T39" fmla="*/ 91 h 154"/>
              <a:gd name="T40" fmla="*/ 110 w 154"/>
              <a:gd name="T41" fmla="*/ 58 h 154"/>
              <a:gd name="T42" fmla="*/ 102 w 154"/>
              <a:gd name="T43" fmla="*/ 49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54" h="154">
                <a:moveTo>
                  <a:pt x="77" y="154"/>
                </a:moveTo>
                <a:cubicBezTo>
                  <a:pt x="34" y="154"/>
                  <a:pt x="0" y="120"/>
                  <a:pt x="0" y="77"/>
                </a:cubicBezTo>
                <a:cubicBezTo>
                  <a:pt x="0" y="35"/>
                  <a:pt x="34" y="0"/>
                  <a:pt x="77" y="0"/>
                </a:cubicBezTo>
                <a:cubicBezTo>
                  <a:pt x="120" y="0"/>
                  <a:pt x="154" y="35"/>
                  <a:pt x="154" y="77"/>
                </a:cubicBezTo>
                <a:cubicBezTo>
                  <a:pt x="154" y="120"/>
                  <a:pt x="120" y="154"/>
                  <a:pt x="77" y="154"/>
                </a:cubicBezTo>
                <a:close/>
                <a:moveTo>
                  <a:pt x="77" y="10"/>
                </a:moveTo>
                <a:cubicBezTo>
                  <a:pt x="40" y="10"/>
                  <a:pt x="10" y="40"/>
                  <a:pt x="10" y="77"/>
                </a:cubicBezTo>
                <a:cubicBezTo>
                  <a:pt x="10" y="114"/>
                  <a:pt x="40" y="145"/>
                  <a:pt x="77" y="145"/>
                </a:cubicBezTo>
                <a:cubicBezTo>
                  <a:pt x="114" y="145"/>
                  <a:pt x="144" y="114"/>
                  <a:pt x="144" y="77"/>
                </a:cubicBezTo>
                <a:cubicBezTo>
                  <a:pt x="144" y="40"/>
                  <a:pt x="114" y="10"/>
                  <a:pt x="77" y="10"/>
                </a:cubicBezTo>
                <a:close/>
                <a:moveTo>
                  <a:pt x="102" y="49"/>
                </a:moveTo>
                <a:cubicBezTo>
                  <a:pt x="52" y="49"/>
                  <a:pt x="52" y="49"/>
                  <a:pt x="52" y="49"/>
                </a:cubicBezTo>
                <a:cubicBezTo>
                  <a:pt x="48" y="49"/>
                  <a:pt x="44" y="53"/>
                  <a:pt x="44" y="58"/>
                </a:cubicBezTo>
                <a:cubicBezTo>
                  <a:pt x="44" y="90"/>
                  <a:pt x="44" y="90"/>
                  <a:pt x="44" y="90"/>
                </a:cubicBezTo>
                <a:cubicBezTo>
                  <a:pt x="44" y="95"/>
                  <a:pt x="47" y="99"/>
                  <a:pt x="52" y="99"/>
                </a:cubicBezTo>
                <a:cubicBezTo>
                  <a:pt x="64" y="99"/>
                  <a:pt x="64" y="99"/>
                  <a:pt x="64" y="99"/>
                </a:cubicBezTo>
                <a:cubicBezTo>
                  <a:pt x="90" y="116"/>
                  <a:pt x="90" y="116"/>
                  <a:pt x="90" y="116"/>
                </a:cubicBezTo>
                <a:cubicBezTo>
                  <a:pt x="85" y="99"/>
                  <a:pt x="85" y="99"/>
                  <a:pt x="85" y="99"/>
                </a:cubicBezTo>
                <a:cubicBezTo>
                  <a:pt x="102" y="99"/>
                  <a:pt x="102" y="99"/>
                  <a:pt x="102" y="99"/>
                </a:cubicBezTo>
                <a:cubicBezTo>
                  <a:pt x="107" y="99"/>
                  <a:pt x="110" y="95"/>
                  <a:pt x="110" y="91"/>
                </a:cubicBezTo>
                <a:cubicBezTo>
                  <a:pt x="110" y="58"/>
                  <a:pt x="110" y="58"/>
                  <a:pt x="110" y="58"/>
                </a:cubicBezTo>
                <a:cubicBezTo>
                  <a:pt x="110" y="53"/>
                  <a:pt x="107" y="49"/>
                  <a:pt x="102" y="49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55" name="Freeform 58"/>
          <p:cNvSpPr>
            <a:spLocks noEditPoints="1"/>
          </p:cNvSpPr>
          <p:nvPr/>
        </p:nvSpPr>
        <p:spPr bwMode="black">
          <a:xfrm>
            <a:off x="6601694" y="4599333"/>
            <a:ext cx="305569" cy="303105"/>
          </a:xfrm>
          <a:custGeom>
            <a:avLst/>
            <a:gdLst>
              <a:gd name="T0" fmla="*/ 75 w 150"/>
              <a:gd name="T1" fmla="*/ 9 h 149"/>
              <a:gd name="T2" fmla="*/ 10 w 150"/>
              <a:gd name="T3" fmla="*/ 75 h 149"/>
              <a:gd name="T4" fmla="*/ 75 w 150"/>
              <a:gd name="T5" fmla="*/ 140 h 149"/>
              <a:gd name="T6" fmla="*/ 141 w 150"/>
              <a:gd name="T7" fmla="*/ 75 h 149"/>
              <a:gd name="T8" fmla="*/ 75 w 150"/>
              <a:gd name="T9" fmla="*/ 9 h 149"/>
              <a:gd name="T10" fmla="*/ 75 w 150"/>
              <a:gd name="T11" fmla="*/ 0 h 149"/>
              <a:gd name="T12" fmla="*/ 150 w 150"/>
              <a:gd name="T13" fmla="*/ 75 h 149"/>
              <a:gd name="T14" fmla="*/ 75 w 150"/>
              <a:gd name="T15" fmla="*/ 149 h 149"/>
              <a:gd name="T16" fmla="*/ 0 w 150"/>
              <a:gd name="T17" fmla="*/ 75 h 149"/>
              <a:gd name="T18" fmla="*/ 75 w 150"/>
              <a:gd name="T19" fmla="*/ 0 h 149"/>
              <a:gd name="T20" fmla="*/ 67 w 150"/>
              <a:gd name="T21" fmla="*/ 53 h 149"/>
              <a:gd name="T22" fmla="*/ 76 w 150"/>
              <a:gd name="T23" fmla="*/ 51 h 149"/>
              <a:gd name="T24" fmla="*/ 84 w 150"/>
              <a:gd name="T25" fmla="*/ 53 h 149"/>
              <a:gd name="T26" fmla="*/ 86 w 150"/>
              <a:gd name="T27" fmla="*/ 64 h 149"/>
              <a:gd name="T28" fmla="*/ 86 w 150"/>
              <a:gd name="T29" fmla="*/ 66 h 149"/>
              <a:gd name="T30" fmla="*/ 86 w 150"/>
              <a:gd name="T31" fmla="*/ 68 h 149"/>
              <a:gd name="T32" fmla="*/ 65 w 150"/>
              <a:gd name="T33" fmla="*/ 68 h 149"/>
              <a:gd name="T34" fmla="*/ 65 w 150"/>
              <a:gd name="T35" fmla="*/ 66 h 149"/>
              <a:gd name="T36" fmla="*/ 65 w 150"/>
              <a:gd name="T37" fmla="*/ 63 h 149"/>
              <a:gd name="T38" fmla="*/ 67 w 150"/>
              <a:gd name="T39" fmla="*/ 53 h 149"/>
              <a:gd name="T40" fmla="*/ 95 w 150"/>
              <a:gd name="T41" fmla="*/ 69 h 149"/>
              <a:gd name="T42" fmla="*/ 95 w 150"/>
              <a:gd name="T43" fmla="*/ 66 h 149"/>
              <a:gd name="T44" fmla="*/ 95 w 150"/>
              <a:gd name="T45" fmla="*/ 64 h 149"/>
              <a:gd name="T46" fmla="*/ 91 w 150"/>
              <a:gd name="T47" fmla="*/ 46 h 149"/>
              <a:gd name="T48" fmla="*/ 76 w 150"/>
              <a:gd name="T49" fmla="*/ 41 h 149"/>
              <a:gd name="T50" fmla="*/ 60 w 150"/>
              <a:gd name="T51" fmla="*/ 46 h 149"/>
              <a:gd name="T52" fmla="*/ 56 w 150"/>
              <a:gd name="T53" fmla="*/ 64 h 149"/>
              <a:gd name="T54" fmla="*/ 56 w 150"/>
              <a:gd name="T55" fmla="*/ 66 h 149"/>
              <a:gd name="T56" fmla="*/ 56 w 150"/>
              <a:gd name="T57" fmla="*/ 68 h 149"/>
              <a:gd name="T58" fmla="*/ 51 w 150"/>
              <a:gd name="T59" fmla="*/ 73 h 149"/>
              <a:gd name="T60" fmla="*/ 51 w 150"/>
              <a:gd name="T61" fmla="*/ 103 h 149"/>
              <a:gd name="T62" fmla="*/ 57 w 150"/>
              <a:gd name="T63" fmla="*/ 108 h 149"/>
              <a:gd name="T64" fmla="*/ 94 w 150"/>
              <a:gd name="T65" fmla="*/ 108 h 149"/>
              <a:gd name="T66" fmla="*/ 99 w 150"/>
              <a:gd name="T67" fmla="*/ 103 h 149"/>
              <a:gd name="T68" fmla="*/ 99 w 150"/>
              <a:gd name="T69" fmla="*/ 73 h 149"/>
              <a:gd name="T70" fmla="*/ 95 w 150"/>
              <a:gd name="T71" fmla="*/ 69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50" h="149">
                <a:moveTo>
                  <a:pt x="75" y="9"/>
                </a:moveTo>
                <a:cubicBezTo>
                  <a:pt x="39" y="9"/>
                  <a:pt x="10" y="38"/>
                  <a:pt x="10" y="75"/>
                </a:cubicBezTo>
                <a:cubicBezTo>
                  <a:pt x="10" y="111"/>
                  <a:pt x="39" y="140"/>
                  <a:pt x="75" y="140"/>
                </a:cubicBezTo>
                <a:cubicBezTo>
                  <a:pt x="111" y="140"/>
                  <a:pt x="141" y="111"/>
                  <a:pt x="141" y="75"/>
                </a:cubicBezTo>
                <a:cubicBezTo>
                  <a:pt x="141" y="38"/>
                  <a:pt x="111" y="9"/>
                  <a:pt x="75" y="9"/>
                </a:cubicBezTo>
                <a:moveTo>
                  <a:pt x="75" y="0"/>
                </a:moveTo>
                <a:cubicBezTo>
                  <a:pt x="117" y="0"/>
                  <a:pt x="150" y="33"/>
                  <a:pt x="150" y="75"/>
                </a:cubicBezTo>
                <a:cubicBezTo>
                  <a:pt x="150" y="116"/>
                  <a:pt x="117" y="149"/>
                  <a:pt x="75" y="149"/>
                </a:cubicBezTo>
                <a:cubicBezTo>
                  <a:pt x="34" y="149"/>
                  <a:pt x="0" y="116"/>
                  <a:pt x="0" y="75"/>
                </a:cubicBezTo>
                <a:cubicBezTo>
                  <a:pt x="0" y="33"/>
                  <a:pt x="34" y="0"/>
                  <a:pt x="75" y="0"/>
                </a:cubicBezTo>
                <a:moveTo>
                  <a:pt x="67" y="53"/>
                </a:moveTo>
                <a:cubicBezTo>
                  <a:pt x="68" y="51"/>
                  <a:pt x="71" y="51"/>
                  <a:pt x="76" y="51"/>
                </a:cubicBezTo>
                <a:cubicBezTo>
                  <a:pt x="80" y="51"/>
                  <a:pt x="83" y="51"/>
                  <a:pt x="84" y="53"/>
                </a:cubicBezTo>
                <a:cubicBezTo>
                  <a:pt x="86" y="54"/>
                  <a:pt x="86" y="59"/>
                  <a:pt x="86" y="64"/>
                </a:cubicBezTo>
                <a:cubicBezTo>
                  <a:pt x="86" y="66"/>
                  <a:pt x="86" y="66"/>
                  <a:pt x="86" y="66"/>
                </a:cubicBezTo>
                <a:cubicBezTo>
                  <a:pt x="86" y="67"/>
                  <a:pt x="86" y="68"/>
                  <a:pt x="86" y="68"/>
                </a:cubicBezTo>
                <a:cubicBezTo>
                  <a:pt x="65" y="68"/>
                  <a:pt x="65" y="68"/>
                  <a:pt x="65" y="68"/>
                </a:cubicBezTo>
                <a:cubicBezTo>
                  <a:pt x="65" y="68"/>
                  <a:pt x="65" y="67"/>
                  <a:pt x="65" y="66"/>
                </a:cubicBezTo>
                <a:cubicBezTo>
                  <a:pt x="65" y="63"/>
                  <a:pt x="65" y="63"/>
                  <a:pt x="65" y="63"/>
                </a:cubicBezTo>
                <a:cubicBezTo>
                  <a:pt x="65" y="58"/>
                  <a:pt x="65" y="54"/>
                  <a:pt x="67" y="53"/>
                </a:cubicBezTo>
                <a:moveTo>
                  <a:pt x="95" y="69"/>
                </a:moveTo>
                <a:cubicBezTo>
                  <a:pt x="95" y="68"/>
                  <a:pt x="95" y="67"/>
                  <a:pt x="95" y="66"/>
                </a:cubicBezTo>
                <a:cubicBezTo>
                  <a:pt x="95" y="64"/>
                  <a:pt x="95" y="64"/>
                  <a:pt x="95" y="64"/>
                </a:cubicBezTo>
                <a:cubicBezTo>
                  <a:pt x="95" y="57"/>
                  <a:pt x="95" y="51"/>
                  <a:pt x="91" y="46"/>
                </a:cubicBezTo>
                <a:cubicBezTo>
                  <a:pt x="88" y="43"/>
                  <a:pt x="83" y="41"/>
                  <a:pt x="76" y="41"/>
                </a:cubicBezTo>
                <a:cubicBezTo>
                  <a:pt x="68" y="41"/>
                  <a:pt x="63" y="43"/>
                  <a:pt x="60" y="46"/>
                </a:cubicBezTo>
                <a:cubicBezTo>
                  <a:pt x="56" y="51"/>
                  <a:pt x="56" y="57"/>
                  <a:pt x="56" y="64"/>
                </a:cubicBezTo>
                <a:cubicBezTo>
                  <a:pt x="56" y="66"/>
                  <a:pt x="56" y="66"/>
                  <a:pt x="56" y="66"/>
                </a:cubicBezTo>
                <a:cubicBezTo>
                  <a:pt x="56" y="67"/>
                  <a:pt x="56" y="68"/>
                  <a:pt x="56" y="68"/>
                </a:cubicBezTo>
                <a:cubicBezTo>
                  <a:pt x="53" y="69"/>
                  <a:pt x="51" y="71"/>
                  <a:pt x="51" y="73"/>
                </a:cubicBezTo>
                <a:cubicBezTo>
                  <a:pt x="51" y="103"/>
                  <a:pt x="51" y="103"/>
                  <a:pt x="51" y="103"/>
                </a:cubicBezTo>
                <a:cubicBezTo>
                  <a:pt x="51" y="106"/>
                  <a:pt x="54" y="108"/>
                  <a:pt x="57" y="108"/>
                </a:cubicBezTo>
                <a:cubicBezTo>
                  <a:pt x="94" y="108"/>
                  <a:pt x="94" y="108"/>
                  <a:pt x="94" y="108"/>
                </a:cubicBezTo>
                <a:cubicBezTo>
                  <a:pt x="97" y="108"/>
                  <a:pt x="99" y="106"/>
                  <a:pt x="99" y="103"/>
                </a:cubicBezTo>
                <a:cubicBezTo>
                  <a:pt x="99" y="73"/>
                  <a:pt x="99" y="73"/>
                  <a:pt x="99" y="73"/>
                </a:cubicBezTo>
                <a:cubicBezTo>
                  <a:pt x="99" y="71"/>
                  <a:pt x="97" y="69"/>
                  <a:pt x="95" y="69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56" name="Freeform 59"/>
          <p:cNvSpPr>
            <a:spLocks noEditPoints="1"/>
          </p:cNvSpPr>
          <p:nvPr/>
        </p:nvSpPr>
        <p:spPr bwMode="black">
          <a:xfrm>
            <a:off x="5903651" y="4595024"/>
            <a:ext cx="354855" cy="311730"/>
          </a:xfrm>
          <a:custGeom>
            <a:avLst/>
            <a:gdLst>
              <a:gd name="T0" fmla="*/ 107 w 174"/>
              <a:gd name="T1" fmla="*/ 62 h 153"/>
              <a:gd name="T2" fmla="*/ 87 w 174"/>
              <a:gd name="T3" fmla="*/ 108 h 153"/>
              <a:gd name="T4" fmla="*/ 83 w 174"/>
              <a:gd name="T5" fmla="*/ 108 h 153"/>
              <a:gd name="T6" fmla="*/ 74 w 174"/>
              <a:gd name="T7" fmla="*/ 108 h 153"/>
              <a:gd name="T8" fmla="*/ 83 w 174"/>
              <a:gd name="T9" fmla="*/ 62 h 153"/>
              <a:gd name="T10" fmla="*/ 87 w 174"/>
              <a:gd name="T11" fmla="*/ 0 h 153"/>
              <a:gd name="T12" fmla="*/ 134 w 174"/>
              <a:gd name="T13" fmla="*/ 138 h 153"/>
              <a:gd name="T14" fmla="*/ 26 w 174"/>
              <a:gd name="T15" fmla="*/ 123 h 153"/>
              <a:gd name="T16" fmla="*/ 87 w 174"/>
              <a:gd name="T17" fmla="*/ 0 h 153"/>
              <a:gd name="T18" fmla="*/ 47 w 174"/>
              <a:gd name="T19" fmla="*/ 23 h 153"/>
              <a:gd name="T20" fmla="*/ 87 w 174"/>
              <a:gd name="T21" fmla="*/ 143 h 153"/>
              <a:gd name="T22" fmla="*/ 140 w 174"/>
              <a:gd name="T23" fmla="*/ 36 h 153"/>
              <a:gd name="T24" fmla="*/ 87 w 174"/>
              <a:gd name="T25" fmla="*/ 0 h 153"/>
              <a:gd name="T26" fmla="*/ 112 w 174"/>
              <a:gd name="T27" fmla="*/ 63 h 153"/>
              <a:gd name="T28" fmla="*/ 120 w 174"/>
              <a:gd name="T29" fmla="*/ 84 h 153"/>
              <a:gd name="T30" fmla="*/ 108 w 174"/>
              <a:gd name="T31" fmla="*/ 96 h 153"/>
              <a:gd name="T32" fmla="*/ 106 w 174"/>
              <a:gd name="T33" fmla="*/ 101 h 153"/>
              <a:gd name="T34" fmla="*/ 126 w 174"/>
              <a:gd name="T35" fmla="*/ 85 h 153"/>
              <a:gd name="T36" fmla="*/ 91 w 174"/>
              <a:gd name="T37" fmla="*/ 47 h 153"/>
              <a:gd name="T38" fmla="*/ 97 w 174"/>
              <a:gd name="T39" fmla="*/ 34 h 153"/>
              <a:gd name="T40" fmla="*/ 88 w 174"/>
              <a:gd name="T41" fmla="*/ 27 h 153"/>
              <a:gd name="T42" fmla="*/ 91 w 174"/>
              <a:gd name="T43" fmla="*/ 33 h 153"/>
              <a:gd name="T44" fmla="*/ 85 w 174"/>
              <a:gd name="T45" fmla="*/ 47 h 153"/>
              <a:gd name="T46" fmla="*/ 93 w 174"/>
              <a:gd name="T47" fmla="*/ 55 h 153"/>
              <a:gd name="T48" fmla="*/ 94 w 174"/>
              <a:gd name="T49" fmla="*/ 52 h 153"/>
              <a:gd name="T50" fmla="*/ 83 w 174"/>
              <a:gd name="T51" fmla="*/ 42 h 153"/>
              <a:gd name="T52" fmla="*/ 76 w 174"/>
              <a:gd name="T53" fmla="*/ 38 h 153"/>
              <a:gd name="T54" fmla="*/ 78 w 174"/>
              <a:gd name="T55" fmla="*/ 42 h 153"/>
              <a:gd name="T56" fmla="*/ 74 w 174"/>
              <a:gd name="T57" fmla="*/ 50 h 153"/>
              <a:gd name="T58" fmla="*/ 80 w 174"/>
              <a:gd name="T59" fmla="*/ 55 h 153"/>
              <a:gd name="T60" fmla="*/ 81 w 174"/>
              <a:gd name="T61" fmla="*/ 52 h 153"/>
              <a:gd name="T62" fmla="*/ 81 w 174"/>
              <a:gd name="T63" fmla="*/ 4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74" h="153">
                <a:moveTo>
                  <a:pt x="87" y="62"/>
                </a:moveTo>
                <a:cubicBezTo>
                  <a:pt x="107" y="62"/>
                  <a:pt x="107" y="62"/>
                  <a:pt x="107" y="62"/>
                </a:cubicBezTo>
                <a:cubicBezTo>
                  <a:pt x="107" y="62"/>
                  <a:pt x="112" y="90"/>
                  <a:pt x="95" y="108"/>
                </a:cubicBezTo>
                <a:cubicBezTo>
                  <a:pt x="87" y="108"/>
                  <a:pt x="87" y="108"/>
                  <a:pt x="87" y="108"/>
                </a:cubicBezTo>
                <a:cubicBezTo>
                  <a:pt x="87" y="108"/>
                  <a:pt x="87" y="108"/>
                  <a:pt x="87" y="108"/>
                </a:cubicBezTo>
                <a:cubicBezTo>
                  <a:pt x="83" y="108"/>
                  <a:pt x="83" y="108"/>
                  <a:pt x="83" y="108"/>
                </a:cubicBezTo>
                <a:cubicBezTo>
                  <a:pt x="82" y="108"/>
                  <a:pt x="82" y="108"/>
                  <a:pt x="82" y="108"/>
                </a:cubicBezTo>
                <a:cubicBezTo>
                  <a:pt x="74" y="108"/>
                  <a:pt x="74" y="108"/>
                  <a:pt x="74" y="108"/>
                </a:cubicBezTo>
                <a:cubicBezTo>
                  <a:pt x="58" y="90"/>
                  <a:pt x="63" y="62"/>
                  <a:pt x="63" y="62"/>
                </a:cubicBezTo>
                <a:cubicBezTo>
                  <a:pt x="83" y="62"/>
                  <a:pt x="83" y="62"/>
                  <a:pt x="83" y="62"/>
                </a:cubicBezTo>
                <a:lnTo>
                  <a:pt x="87" y="62"/>
                </a:lnTo>
                <a:close/>
                <a:moveTo>
                  <a:pt x="87" y="0"/>
                </a:moveTo>
                <a:cubicBezTo>
                  <a:pt x="110" y="0"/>
                  <a:pt x="133" y="10"/>
                  <a:pt x="148" y="30"/>
                </a:cubicBezTo>
                <a:cubicBezTo>
                  <a:pt x="174" y="64"/>
                  <a:pt x="167" y="112"/>
                  <a:pt x="134" y="138"/>
                </a:cubicBezTo>
                <a:cubicBezTo>
                  <a:pt x="120" y="148"/>
                  <a:pt x="103" y="153"/>
                  <a:pt x="87" y="153"/>
                </a:cubicBezTo>
                <a:cubicBezTo>
                  <a:pt x="64" y="153"/>
                  <a:pt x="41" y="143"/>
                  <a:pt x="26" y="123"/>
                </a:cubicBezTo>
                <a:cubicBezTo>
                  <a:pt x="0" y="89"/>
                  <a:pt x="7" y="41"/>
                  <a:pt x="40" y="15"/>
                </a:cubicBezTo>
                <a:cubicBezTo>
                  <a:pt x="54" y="5"/>
                  <a:pt x="71" y="0"/>
                  <a:pt x="87" y="0"/>
                </a:cubicBezTo>
                <a:moveTo>
                  <a:pt x="87" y="10"/>
                </a:moveTo>
                <a:cubicBezTo>
                  <a:pt x="72" y="10"/>
                  <a:pt x="58" y="15"/>
                  <a:pt x="47" y="23"/>
                </a:cubicBezTo>
                <a:cubicBezTo>
                  <a:pt x="17" y="46"/>
                  <a:pt x="12" y="88"/>
                  <a:pt x="34" y="117"/>
                </a:cubicBezTo>
                <a:cubicBezTo>
                  <a:pt x="47" y="134"/>
                  <a:pt x="66" y="143"/>
                  <a:pt x="87" y="143"/>
                </a:cubicBezTo>
                <a:cubicBezTo>
                  <a:pt x="102" y="143"/>
                  <a:pt x="116" y="138"/>
                  <a:pt x="127" y="129"/>
                </a:cubicBezTo>
                <a:cubicBezTo>
                  <a:pt x="157" y="107"/>
                  <a:pt x="162" y="65"/>
                  <a:pt x="140" y="36"/>
                </a:cubicBezTo>
                <a:cubicBezTo>
                  <a:pt x="127" y="19"/>
                  <a:pt x="108" y="10"/>
                  <a:pt x="87" y="10"/>
                </a:cubicBezTo>
                <a:cubicBezTo>
                  <a:pt x="87" y="0"/>
                  <a:pt x="87" y="0"/>
                  <a:pt x="87" y="0"/>
                </a:cubicBezTo>
                <a:lnTo>
                  <a:pt x="87" y="10"/>
                </a:lnTo>
                <a:close/>
                <a:moveTo>
                  <a:pt x="112" y="63"/>
                </a:moveTo>
                <a:cubicBezTo>
                  <a:pt x="112" y="64"/>
                  <a:pt x="112" y="66"/>
                  <a:pt x="112" y="69"/>
                </a:cubicBezTo>
                <a:cubicBezTo>
                  <a:pt x="118" y="71"/>
                  <a:pt x="121" y="78"/>
                  <a:pt x="120" y="84"/>
                </a:cubicBezTo>
                <a:cubicBezTo>
                  <a:pt x="120" y="88"/>
                  <a:pt x="117" y="91"/>
                  <a:pt x="114" y="93"/>
                </a:cubicBezTo>
                <a:cubicBezTo>
                  <a:pt x="112" y="95"/>
                  <a:pt x="110" y="95"/>
                  <a:pt x="108" y="96"/>
                </a:cubicBezTo>
                <a:cubicBezTo>
                  <a:pt x="107" y="98"/>
                  <a:pt x="106" y="99"/>
                  <a:pt x="105" y="101"/>
                </a:cubicBezTo>
                <a:cubicBezTo>
                  <a:pt x="106" y="101"/>
                  <a:pt x="106" y="101"/>
                  <a:pt x="106" y="101"/>
                </a:cubicBezTo>
                <a:cubicBezTo>
                  <a:pt x="110" y="101"/>
                  <a:pt x="114" y="100"/>
                  <a:pt x="117" y="98"/>
                </a:cubicBezTo>
                <a:cubicBezTo>
                  <a:pt x="122" y="95"/>
                  <a:pt x="125" y="90"/>
                  <a:pt x="126" y="85"/>
                </a:cubicBezTo>
                <a:cubicBezTo>
                  <a:pt x="128" y="75"/>
                  <a:pt x="121" y="65"/>
                  <a:pt x="112" y="63"/>
                </a:cubicBezTo>
                <a:close/>
                <a:moveTo>
                  <a:pt x="91" y="47"/>
                </a:moveTo>
                <a:cubicBezTo>
                  <a:pt x="91" y="46"/>
                  <a:pt x="92" y="44"/>
                  <a:pt x="94" y="42"/>
                </a:cubicBezTo>
                <a:cubicBezTo>
                  <a:pt x="97" y="39"/>
                  <a:pt x="97" y="37"/>
                  <a:pt x="97" y="34"/>
                </a:cubicBezTo>
                <a:cubicBezTo>
                  <a:pt x="96" y="29"/>
                  <a:pt x="90" y="26"/>
                  <a:pt x="90" y="26"/>
                </a:cubicBezTo>
                <a:cubicBezTo>
                  <a:pt x="89" y="26"/>
                  <a:pt x="88" y="26"/>
                  <a:pt x="88" y="27"/>
                </a:cubicBezTo>
                <a:cubicBezTo>
                  <a:pt x="87" y="28"/>
                  <a:pt x="87" y="28"/>
                  <a:pt x="88" y="29"/>
                </a:cubicBezTo>
                <a:cubicBezTo>
                  <a:pt x="88" y="29"/>
                  <a:pt x="90" y="31"/>
                  <a:pt x="91" y="33"/>
                </a:cubicBezTo>
                <a:cubicBezTo>
                  <a:pt x="91" y="35"/>
                  <a:pt x="90" y="37"/>
                  <a:pt x="88" y="39"/>
                </a:cubicBezTo>
                <a:cubicBezTo>
                  <a:pt x="85" y="42"/>
                  <a:pt x="84" y="44"/>
                  <a:pt x="85" y="47"/>
                </a:cubicBezTo>
                <a:cubicBezTo>
                  <a:pt x="86" y="52"/>
                  <a:pt x="92" y="55"/>
                  <a:pt x="92" y="55"/>
                </a:cubicBezTo>
                <a:cubicBezTo>
                  <a:pt x="92" y="55"/>
                  <a:pt x="93" y="55"/>
                  <a:pt x="93" y="55"/>
                </a:cubicBezTo>
                <a:cubicBezTo>
                  <a:pt x="94" y="55"/>
                  <a:pt x="94" y="55"/>
                  <a:pt x="94" y="54"/>
                </a:cubicBezTo>
                <a:cubicBezTo>
                  <a:pt x="95" y="53"/>
                  <a:pt x="95" y="52"/>
                  <a:pt x="94" y="52"/>
                </a:cubicBezTo>
                <a:cubicBezTo>
                  <a:pt x="94" y="52"/>
                  <a:pt x="92" y="50"/>
                  <a:pt x="91" y="47"/>
                </a:cubicBezTo>
                <a:close/>
                <a:moveTo>
                  <a:pt x="83" y="42"/>
                </a:moveTo>
                <a:cubicBezTo>
                  <a:pt x="82" y="39"/>
                  <a:pt x="79" y="37"/>
                  <a:pt x="78" y="37"/>
                </a:cubicBezTo>
                <a:cubicBezTo>
                  <a:pt x="77" y="37"/>
                  <a:pt x="77" y="37"/>
                  <a:pt x="76" y="38"/>
                </a:cubicBezTo>
                <a:cubicBezTo>
                  <a:pt x="76" y="39"/>
                  <a:pt x="76" y="39"/>
                  <a:pt x="77" y="40"/>
                </a:cubicBezTo>
                <a:cubicBezTo>
                  <a:pt x="77" y="40"/>
                  <a:pt x="78" y="41"/>
                  <a:pt x="78" y="42"/>
                </a:cubicBezTo>
                <a:cubicBezTo>
                  <a:pt x="78" y="43"/>
                  <a:pt x="77" y="44"/>
                  <a:pt x="76" y="45"/>
                </a:cubicBezTo>
                <a:cubicBezTo>
                  <a:pt x="74" y="47"/>
                  <a:pt x="74" y="48"/>
                  <a:pt x="74" y="50"/>
                </a:cubicBezTo>
                <a:cubicBezTo>
                  <a:pt x="75" y="53"/>
                  <a:pt x="79" y="54"/>
                  <a:pt x="79" y="55"/>
                </a:cubicBezTo>
                <a:cubicBezTo>
                  <a:pt x="79" y="55"/>
                  <a:pt x="80" y="55"/>
                  <a:pt x="80" y="55"/>
                </a:cubicBezTo>
                <a:cubicBezTo>
                  <a:pt x="80" y="55"/>
                  <a:pt x="81" y="55"/>
                  <a:pt x="81" y="54"/>
                </a:cubicBezTo>
                <a:cubicBezTo>
                  <a:pt x="82" y="53"/>
                  <a:pt x="82" y="52"/>
                  <a:pt x="81" y="52"/>
                </a:cubicBezTo>
                <a:cubicBezTo>
                  <a:pt x="81" y="52"/>
                  <a:pt x="80" y="51"/>
                  <a:pt x="80" y="50"/>
                </a:cubicBezTo>
                <a:cubicBezTo>
                  <a:pt x="80" y="49"/>
                  <a:pt x="80" y="48"/>
                  <a:pt x="81" y="47"/>
                </a:cubicBezTo>
                <a:cubicBezTo>
                  <a:pt x="83" y="45"/>
                  <a:pt x="83" y="43"/>
                  <a:pt x="83" y="4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57" name="Freeform 60"/>
          <p:cNvSpPr>
            <a:spLocks noEditPoints="1"/>
          </p:cNvSpPr>
          <p:nvPr/>
        </p:nvSpPr>
        <p:spPr bwMode="black">
          <a:xfrm>
            <a:off x="4581498" y="4598104"/>
            <a:ext cx="305569" cy="305570"/>
          </a:xfrm>
          <a:custGeom>
            <a:avLst/>
            <a:gdLst>
              <a:gd name="T0" fmla="*/ 75 w 150"/>
              <a:gd name="T1" fmla="*/ 150 h 150"/>
              <a:gd name="T2" fmla="*/ 0 w 150"/>
              <a:gd name="T3" fmla="*/ 75 h 150"/>
              <a:gd name="T4" fmla="*/ 75 w 150"/>
              <a:gd name="T5" fmla="*/ 0 h 150"/>
              <a:gd name="T6" fmla="*/ 150 w 150"/>
              <a:gd name="T7" fmla="*/ 75 h 150"/>
              <a:gd name="T8" fmla="*/ 75 w 150"/>
              <a:gd name="T9" fmla="*/ 150 h 150"/>
              <a:gd name="T10" fmla="*/ 75 w 150"/>
              <a:gd name="T11" fmla="*/ 10 h 150"/>
              <a:gd name="T12" fmla="*/ 10 w 150"/>
              <a:gd name="T13" fmla="*/ 75 h 150"/>
              <a:gd name="T14" fmla="*/ 75 w 150"/>
              <a:gd name="T15" fmla="*/ 141 h 150"/>
              <a:gd name="T16" fmla="*/ 141 w 150"/>
              <a:gd name="T17" fmla="*/ 75 h 150"/>
              <a:gd name="T18" fmla="*/ 75 w 150"/>
              <a:gd name="T19" fmla="*/ 10 h 150"/>
              <a:gd name="T20" fmla="*/ 101 w 150"/>
              <a:gd name="T21" fmla="*/ 51 h 150"/>
              <a:gd name="T22" fmla="*/ 100 w 150"/>
              <a:gd name="T23" fmla="*/ 51 h 150"/>
              <a:gd name="T24" fmla="*/ 94 w 150"/>
              <a:gd name="T25" fmla="*/ 58 h 150"/>
              <a:gd name="T26" fmla="*/ 93 w 150"/>
              <a:gd name="T27" fmla="*/ 59 h 150"/>
              <a:gd name="T28" fmla="*/ 93 w 150"/>
              <a:gd name="T29" fmla="*/ 59 h 150"/>
              <a:gd name="T30" fmla="*/ 100 w 150"/>
              <a:gd name="T31" fmla="*/ 75 h 150"/>
              <a:gd name="T32" fmla="*/ 75 w 150"/>
              <a:gd name="T33" fmla="*/ 100 h 150"/>
              <a:gd name="T34" fmla="*/ 51 w 150"/>
              <a:gd name="T35" fmla="*/ 76 h 150"/>
              <a:gd name="T36" fmla="*/ 56 w 150"/>
              <a:gd name="T37" fmla="*/ 61 h 150"/>
              <a:gd name="T38" fmla="*/ 58 w 150"/>
              <a:gd name="T39" fmla="*/ 58 h 150"/>
              <a:gd name="T40" fmla="*/ 65 w 150"/>
              <a:gd name="T41" fmla="*/ 66 h 150"/>
              <a:gd name="T42" fmla="*/ 70 w 150"/>
              <a:gd name="T43" fmla="*/ 40 h 150"/>
              <a:gd name="T44" fmla="*/ 44 w 150"/>
              <a:gd name="T45" fmla="*/ 42 h 150"/>
              <a:gd name="T46" fmla="*/ 51 w 150"/>
              <a:gd name="T47" fmla="*/ 50 h 150"/>
              <a:gd name="T48" fmla="*/ 49 w 150"/>
              <a:gd name="T49" fmla="*/ 52 h 150"/>
              <a:gd name="T50" fmla="*/ 40 w 150"/>
              <a:gd name="T51" fmla="*/ 76 h 150"/>
              <a:gd name="T52" fmla="*/ 75 w 150"/>
              <a:gd name="T53" fmla="*/ 111 h 150"/>
              <a:gd name="T54" fmla="*/ 76 w 150"/>
              <a:gd name="T55" fmla="*/ 111 h 150"/>
              <a:gd name="T56" fmla="*/ 111 w 150"/>
              <a:gd name="T57" fmla="*/ 75 h 150"/>
              <a:gd name="T58" fmla="*/ 101 w 150"/>
              <a:gd name="T59" fmla="*/ 51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50" h="150">
                <a:moveTo>
                  <a:pt x="75" y="150"/>
                </a:moveTo>
                <a:cubicBezTo>
                  <a:pt x="34" y="150"/>
                  <a:pt x="0" y="117"/>
                  <a:pt x="0" y="75"/>
                </a:cubicBezTo>
                <a:cubicBezTo>
                  <a:pt x="0" y="34"/>
                  <a:pt x="34" y="0"/>
                  <a:pt x="75" y="0"/>
                </a:cubicBezTo>
                <a:cubicBezTo>
                  <a:pt x="117" y="0"/>
                  <a:pt x="150" y="34"/>
                  <a:pt x="150" y="75"/>
                </a:cubicBezTo>
                <a:cubicBezTo>
                  <a:pt x="150" y="117"/>
                  <a:pt x="117" y="150"/>
                  <a:pt x="75" y="150"/>
                </a:cubicBezTo>
                <a:close/>
                <a:moveTo>
                  <a:pt x="75" y="10"/>
                </a:moveTo>
                <a:cubicBezTo>
                  <a:pt x="39" y="10"/>
                  <a:pt x="10" y="39"/>
                  <a:pt x="10" y="75"/>
                </a:cubicBezTo>
                <a:cubicBezTo>
                  <a:pt x="10" y="112"/>
                  <a:pt x="39" y="141"/>
                  <a:pt x="75" y="141"/>
                </a:cubicBezTo>
                <a:cubicBezTo>
                  <a:pt x="111" y="141"/>
                  <a:pt x="141" y="112"/>
                  <a:pt x="141" y="75"/>
                </a:cubicBezTo>
                <a:cubicBezTo>
                  <a:pt x="141" y="39"/>
                  <a:pt x="111" y="10"/>
                  <a:pt x="75" y="10"/>
                </a:cubicBezTo>
                <a:close/>
                <a:moveTo>
                  <a:pt x="101" y="51"/>
                </a:moveTo>
                <a:cubicBezTo>
                  <a:pt x="100" y="51"/>
                  <a:pt x="100" y="51"/>
                  <a:pt x="100" y="51"/>
                </a:cubicBezTo>
                <a:cubicBezTo>
                  <a:pt x="94" y="58"/>
                  <a:pt x="94" y="58"/>
                  <a:pt x="94" y="58"/>
                </a:cubicBezTo>
                <a:cubicBezTo>
                  <a:pt x="93" y="59"/>
                  <a:pt x="93" y="59"/>
                  <a:pt x="93" y="59"/>
                </a:cubicBezTo>
                <a:cubicBezTo>
                  <a:pt x="93" y="59"/>
                  <a:pt x="93" y="59"/>
                  <a:pt x="93" y="59"/>
                </a:cubicBezTo>
                <a:cubicBezTo>
                  <a:pt x="98" y="64"/>
                  <a:pt x="100" y="69"/>
                  <a:pt x="100" y="75"/>
                </a:cubicBezTo>
                <a:cubicBezTo>
                  <a:pt x="100" y="89"/>
                  <a:pt x="89" y="100"/>
                  <a:pt x="75" y="100"/>
                </a:cubicBezTo>
                <a:cubicBezTo>
                  <a:pt x="62" y="100"/>
                  <a:pt x="51" y="89"/>
                  <a:pt x="51" y="76"/>
                </a:cubicBezTo>
                <a:cubicBezTo>
                  <a:pt x="51" y="70"/>
                  <a:pt x="52" y="65"/>
                  <a:pt x="56" y="61"/>
                </a:cubicBezTo>
                <a:cubicBezTo>
                  <a:pt x="58" y="58"/>
                  <a:pt x="58" y="58"/>
                  <a:pt x="58" y="58"/>
                </a:cubicBezTo>
                <a:cubicBezTo>
                  <a:pt x="65" y="66"/>
                  <a:pt x="65" y="66"/>
                  <a:pt x="65" y="66"/>
                </a:cubicBezTo>
                <a:cubicBezTo>
                  <a:pt x="70" y="40"/>
                  <a:pt x="70" y="40"/>
                  <a:pt x="70" y="40"/>
                </a:cubicBezTo>
                <a:cubicBezTo>
                  <a:pt x="44" y="42"/>
                  <a:pt x="44" y="42"/>
                  <a:pt x="44" y="42"/>
                </a:cubicBezTo>
                <a:cubicBezTo>
                  <a:pt x="51" y="50"/>
                  <a:pt x="51" y="50"/>
                  <a:pt x="51" y="50"/>
                </a:cubicBezTo>
                <a:cubicBezTo>
                  <a:pt x="49" y="52"/>
                  <a:pt x="49" y="52"/>
                  <a:pt x="49" y="52"/>
                </a:cubicBezTo>
                <a:cubicBezTo>
                  <a:pt x="43" y="59"/>
                  <a:pt x="40" y="67"/>
                  <a:pt x="40" y="76"/>
                </a:cubicBezTo>
                <a:cubicBezTo>
                  <a:pt x="40" y="95"/>
                  <a:pt x="56" y="111"/>
                  <a:pt x="75" y="111"/>
                </a:cubicBezTo>
                <a:cubicBezTo>
                  <a:pt x="76" y="111"/>
                  <a:pt x="76" y="111"/>
                  <a:pt x="76" y="111"/>
                </a:cubicBezTo>
                <a:cubicBezTo>
                  <a:pt x="95" y="111"/>
                  <a:pt x="111" y="95"/>
                  <a:pt x="111" y="75"/>
                </a:cubicBezTo>
                <a:cubicBezTo>
                  <a:pt x="110" y="66"/>
                  <a:pt x="107" y="58"/>
                  <a:pt x="101" y="51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58" name="Freeform 61"/>
          <p:cNvSpPr>
            <a:spLocks noEditPoints="1"/>
          </p:cNvSpPr>
          <p:nvPr/>
        </p:nvSpPr>
        <p:spPr bwMode="black">
          <a:xfrm>
            <a:off x="3907481" y="4598104"/>
            <a:ext cx="306801" cy="305570"/>
          </a:xfrm>
          <a:custGeom>
            <a:avLst/>
            <a:gdLst>
              <a:gd name="T0" fmla="*/ 75 w 150"/>
              <a:gd name="T1" fmla="*/ 150 h 150"/>
              <a:gd name="T2" fmla="*/ 0 w 150"/>
              <a:gd name="T3" fmla="*/ 75 h 150"/>
              <a:gd name="T4" fmla="*/ 75 w 150"/>
              <a:gd name="T5" fmla="*/ 0 h 150"/>
              <a:gd name="T6" fmla="*/ 150 w 150"/>
              <a:gd name="T7" fmla="*/ 75 h 150"/>
              <a:gd name="T8" fmla="*/ 75 w 150"/>
              <a:gd name="T9" fmla="*/ 150 h 150"/>
              <a:gd name="T10" fmla="*/ 75 w 150"/>
              <a:gd name="T11" fmla="*/ 10 h 150"/>
              <a:gd name="T12" fmla="*/ 10 w 150"/>
              <a:gd name="T13" fmla="*/ 75 h 150"/>
              <a:gd name="T14" fmla="*/ 75 w 150"/>
              <a:gd name="T15" fmla="*/ 141 h 150"/>
              <a:gd name="T16" fmla="*/ 141 w 150"/>
              <a:gd name="T17" fmla="*/ 75 h 150"/>
              <a:gd name="T18" fmla="*/ 75 w 150"/>
              <a:gd name="T19" fmla="*/ 10 h 150"/>
              <a:gd name="T20" fmla="*/ 94 w 150"/>
              <a:gd name="T21" fmla="*/ 91 h 150"/>
              <a:gd name="T22" fmla="*/ 93 w 150"/>
              <a:gd name="T23" fmla="*/ 91 h 150"/>
              <a:gd name="T24" fmla="*/ 78 w 150"/>
              <a:gd name="T25" fmla="*/ 98 h 150"/>
              <a:gd name="T26" fmla="*/ 77 w 150"/>
              <a:gd name="T27" fmla="*/ 98 h 150"/>
              <a:gd name="T28" fmla="*/ 64 w 150"/>
              <a:gd name="T29" fmla="*/ 93 h 150"/>
              <a:gd name="T30" fmla="*/ 61 w 150"/>
              <a:gd name="T31" fmla="*/ 91 h 150"/>
              <a:gd name="T32" fmla="*/ 69 w 150"/>
              <a:gd name="T33" fmla="*/ 85 h 150"/>
              <a:gd name="T34" fmla="*/ 44 w 150"/>
              <a:gd name="T35" fmla="*/ 80 h 150"/>
              <a:gd name="T36" fmla="*/ 46 w 150"/>
              <a:gd name="T37" fmla="*/ 105 h 150"/>
              <a:gd name="T38" fmla="*/ 54 w 150"/>
              <a:gd name="T39" fmla="*/ 98 h 150"/>
              <a:gd name="T40" fmla="*/ 56 w 150"/>
              <a:gd name="T41" fmla="*/ 100 h 150"/>
              <a:gd name="T42" fmla="*/ 77 w 150"/>
              <a:gd name="T43" fmla="*/ 108 h 150"/>
              <a:gd name="T44" fmla="*/ 79 w 150"/>
              <a:gd name="T45" fmla="*/ 108 h 150"/>
              <a:gd name="T46" fmla="*/ 101 w 150"/>
              <a:gd name="T47" fmla="*/ 98 h 150"/>
              <a:gd name="T48" fmla="*/ 101 w 150"/>
              <a:gd name="T49" fmla="*/ 98 h 150"/>
              <a:gd name="T50" fmla="*/ 94 w 150"/>
              <a:gd name="T51" fmla="*/ 91 h 150"/>
              <a:gd name="T52" fmla="*/ 107 w 150"/>
              <a:gd name="T53" fmla="*/ 72 h 150"/>
              <a:gd name="T54" fmla="*/ 105 w 150"/>
              <a:gd name="T55" fmla="*/ 47 h 150"/>
              <a:gd name="T56" fmla="*/ 97 w 150"/>
              <a:gd name="T57" fmla="*/ 54 h 150"/>
              <a:gd name="T58" fmla="*/ 97 w 150"/>
              <a:gd name="T59" fmla="*/ 54 h 150"/>
              <a:gd name="T60" fmla="*/ 97 w 150"/>
              <a:gd name="T61" fmla="*/ 53 h 150"/>
              <a:gd name="T62" fmla="*/ 95 w 150"/>
              <a:gd name="T63" fmla="*/ 51 h 150"/>
              <a:gd name="T64" fmla="*/ 73 w 150"/>
              <a:gd name="T65" fmla="*/ 43 h 150"/>
              <a:gd name="T66" fmla="*/ 72 w 150"/>
              <a:gd name="T67" fmla="*/ 43 h 150"/>
              <a:gd name="T68" fmla="*/ 50 w 150"/>
              <a:gd name="T69" fmla="*/ 53 h 150"/>
              <a:gd name="T70" fmla="*/ 49 w 150"/>
              <a:gd name="T71" fmla="*/ 53 h 150"/>
              <a:gd name="T72" fmla="*/ 57 w 150"/>
              <a:gd name="T73" fmla="*/ 60 h 150"/>
              <a:gd name="T74" fmla="*/ 57 w 150"/>
              <a:gd name="T75" fmla="*/ 60 h 150"/>
              <a:gd name="T76" fmla="*/ 72 w 150"/>
              <a:gd name="T77" fmla="*/ 53 h 150"/>
              <a:gd name="T78" fmla="*/ 73 w 150"/>
              <a:gd name="T79" fmla="*/ 53 h 150"/>
              <a:gd name="T80" fmla="*/ 87 w 150"/>
              <a:gd name="T81" fmla="*/ 58 h 150"/>
              <a:gd name="T82" fmla="*/ 90 w 150"/>
              <a:gd name="T83" fmla="*/ 60 h 150"/>
              <a:gd name="T84" fmla="*/ 82 w 150"/>
              <a:gd name="T85" fmla="*/ 67 h 150"/>
              <a:gd name="T86" fmla="*/ 107 w 150"/>
              <a:gd name="T87" fmla="*/ 72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50" h="150">
                <a:moveTo>
                  <a:pt x="75" y="150"/>
                </a:moveTo>
                <a:cubicBezTo>
                  <a:pt x="34" y="150"/>
                  <a:pt x="0" y="117"/>
                  <a:pt x="0" y="75"/>
                </a:cubicBezTo>
                <a:cubicBezTo>
                  <a:pt x="0" y="34"/>
                  <a:pt x="34" y="0"/>
                  <a:pt x="75" y="0"/>
                </a:cubicBezTo>
                <a:cubicBezTo>
                  <a:pt x="117" y="0"/>
                  <a:pt x="150" y="34"/>
                  <a:pt x="150" y="75"/>
                </a:cubicBezTo>
                <a:cubicBezTo>
                  <a:pt x="150" y="117"/>
                  <a:pt x="117" y="150"/>
                  <a:pt x="75" y="150"/>
                </a:cubicBezTo>
                <a:close/>
                <a:moveTo>
                  <a:pt x="75" y="10"/>
                </a:moveTo>
                <a:cubicBezTo>
                  <a:pt x="39" y="10"/>
                  <a:pt x="10" y="39"/>
                  <a:pt x="10" y="75"/>
                </a:cubicBezTo>
                <a:cubicBezTo>
                  <a:pt x="10" y="112"/>
                  <a:pt x="39" y="141"/>
                  <a:pt x="75" y="141"/>
                </a:cubicBezTo>
                <a:cubicBezTo>
                  <a:pt x="111" y="141"/>
                  <a:pt x="141" y="112"/>
                  <a:pt x="141" y="75"/>
                </a:cubicBezTo>
                <a:cubicBezTo>
                  <a:pt x="141" y="39"/>
                  <a:pt x="111" y="10"/>
                  <a:pt x="75" y="10"/>
                </a:cubicBezTo>
                <a:close/>
                <a:moveTo>
                  <a:pt x="94" y="91"/>
                </a:moveTo>
                <a:cubicBezTo>
                  <a:pt x="93" y="91"/>
                  <a:pt x="93" y="91"/>
                  <a:pt x="93" y="91"/>
                </a:cubicBezTo>
                <a:cubicBezTo>
                  <a:pt x="89" y="95"/>
                  <a:pt x="84" y="97"/>
                  <a:pt x="78" y="98"/>
                </a:cubicBezTo>
                <a:cubicBezTo>
                  <a:pt x="77" y="98"/>
                  <a:pt x="77" y="98"/>
                  <a:pt x="77" y="98"/>
                </a:cubicBezTo>
                <a:cubicBezTo>
                  <a:pt x="73" y="98"/>
                  <a:pt x="68" y="96"/>
                  <a:pt x="64" y="93"/>
                </a:cubicBezTo>
                <a:cubicBezTo>
                  <a:pt x="61" y="91"/>
                  <a:pt x="61" y="91"/>
                  <a:pt x="61" y="91"/>
                </a:cubicBezTo>
                <a:cubicBezTo>
                  <a:pt x="69" y="85"/>
                  <a:pt x="69" y="85"/>
                  <a:pt x="69" y="85"/>
                </a:cubicBezTo>
                <a:cubicBezTo>
                  <a:pt x="44" y="80"/>
                  <a:pt x="44" y="80"/>
                  <a:pt x="44" y="80"/>
                </a:cubicBezTo>
                <a:cubicBezTo>
                  <a:pt x="46" y="105"/>
                  <a:pt x="46" y="105"/>
                  <a:pt x="46" y="105"/>
                </a:cubicBezTo>
                <a:cubicBezTo>
                  <a:pt x="54" y="98"/>
                  <a:pt x="54" y="98"/>
                  <a:pt x="54" y="98"/>
                </a:cubicBezTo>
                <a:cubicBezTo>
                  <a:pt x="56" y="100"/>
                  <a:pt x="56" y="100"/>
                  <a:pt x="56" y="100"/>
                </a:cubicBezTo>
                <a:cubicBezTo>
                  <a:pt x="62" y="105"/>
                  <a:pt x="70" y="108"/>
                  <a:pt x="77" y="108"/>
                </a:cubicBezTo>
                <a:cubicBezTo>
                  <a:pt x="78" y="108"/>
                  <a:pt x="78" y="108"/>
                  <a:pt x="79" y="108"/>
                </a:cubicBezTo>
                <a:cubicBezTo>
                  <a:pt x="87" y="107"/>
                  <a:pt x="95" y="104"/>
                  <a:pt x="101" y="98"/>
                </a:cubicBezTo>
                <a:cubicBezTo>
                  <a:pt x="101" y="98"/>
                  <a:pt x="101" y="98"/>
                  <a:pt x="101" y="98"/>
                </a:cubicBezTo>
                <a:lnTo>
                  <a:pt x="94" y="91"/>
                </a:lnTo>
                <a:close/>
                <a:moveTo>
                  <a:pt x="107" y="72"/>
                </a:moveTo>
                <a:cubicBezTo>
                  <a:pt x="105" y="47"/>
                  <a:pt x="105" y="47"/>
                  <a:pt x="105" y="47"/>
                </a:cubicBezTo>
                <a:cubicBezTo>
                  <a:pt x="97" y="54"/>
                  <a:pt x="97" y="54"/>
                  <a:pt x="97" y="54"/>
                </a:cubicBezTo>
                <a:cubicBezTo>
                  <a:pt x="97" y="54"/>
                  <a:pt x="97" y="54"/>
                  <a:pt x="97" y="54"/>
                </a:cubicBezTo>
                <a:cubicBezTo>
                  <a:pt x="97" y="53"/>
                  <a:pt x="97" y="53"/>
                  <a:pt x="97" y="53"/>
                </a:cubicBezTo>
                <a:cubicBezTo>
                  <a:pt x="95" y="51"/>
                  <a:pt x="95" y="51"/>
                  <a:pt x="95" y="51"/>
                </a:cubicBezTo>
                <a:cubicBezTo>
                  <a:pt x="89" y="46"/>
                  <a:pt x="81" y="43"/>
                  <a:pt x="73" y="43"/>
                </a:cubicBezTo>
                <a:cubicBezTo>
                  <a:pt x="73" y="43"/>
                  <a:pt x="73" y="43"/>
                  <a:pt x="72" y="43"/>
                </a:cubicBezTo>
                <a:cubicBezTo>
                  <a:pt x="64" y="43"/>
                  <a:pt x="56" y="47"/>
                  <a:pt x="50" y="53"/>
                </a:cubicBezTo>
                <a:cubicBezTo>
                  <a:pt x="49" y="53"/>
                  <a:pt x="49" y="53"/>
                  <a:pt x="49" y="53"/>
                </a:cubicBezTo>
                <a:cubicBezTo>
                  <a:pt x="57" y="60"/>
                  <a:pt x="57" y="60"/>
                  <a:pt x="57" y="60"/>
                </a:cubicBezTo>
                <a:cubicBezTo>
                  <a:pt x="57" y="60"/>
                  <a:pt x="57" y="60"/>
                  <a:pt x="57" y="60"/>
                </a:cubicBezTo>
                <a:cubicBezTo>
                  <a:pt x="61" y="56"/>
                  <a:pt x="67" y="53"/>
                  <a:pt x="72" y="53"/>
                </a:cubicBezTo>
                <a:cubicBezTo>
                  <a:pt x="73" y="53"/>
                  <a:pt x="73" y="53"/>
                  <a:pt x="73" y="53"/>
                </a:cubicBezTo>
                <a:cubicBezTo>
                  <a:pt x="78" y="53"/>
                  <a:pt x="83" y="55"/>
                  <a:pt x="87" y="58"/>
                </a:cubicBezTo>
                <a:cubicBezTo>
                  <a:pt x="90" y="60"/>
                  <a:pt x="90" y="60"/>
                  <a:pt x="90" y="60"/>
                </a:cubicBezTo>
                <a:cubicBezTo>
                  <a:pt x="82" y="67"/>
                  <a:pt x="82" y="67"/>
                  <a:pt x="82" y="67"/>
                </a:cubicBezTo>
                <a:lnTo>
                  <a:pt x="107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59" name="Freeform 62"/>
          <p:cNvSpPr>
            <a:spLocks noEditPoints="1"/>
          </p:cNvSpPr>
          <p:nvPr/>
        </p:nvSpPr>
        <p:spPr bwMode="black">
          <a:xfrm>
            <a:off x="7944792" y="3920941"/>
            <a:ext cx="312964" cy="312962"/>
          </a:xfrm>
          <a:custGeom>
            <a:avLst/>
            <a:gdLst>
              <a:gd name="T0" fmla="*/ 77 w 154"/>
              <a:gd name="T1" fmla="*/ 98 h 153"/>
              <a:gd name="T2" fmla="*/ 77 w 154"/>
              <a:gd name="T3" fmla="*/ 55 h 153"/>
              <a:gd name="T4" fmla="*/ 77 w 154"/>
              <a:gd name="T5" fmla="*/ 0 h 153"/>
              <a:gd name="T6" fmla="*/ 77 w 154"/>
              <a:gd name="T7" fmla="*/ 153 h 153"/>
              <a:gd name="T8" fmla="*/ 77 w 154"/>
              <a:gd name="T9" fmla="*/ 0 h 153"/>
              <a:gd name="T10" fmla="*/ 10 w 154"/>
              <a:gd name="T11" fmla="*/ 77 h 153"/>
              <a:gd name="T12" fmla="*/ 144 w 154"/>
              <a:gd name="T13" fmla="*/ 77 h 153"/>
              <a:gd name="T14" fmla="*/ 53 w 154"/>
              <a:gd name="T15" fmla="*/ 60 h 153"/>
              <a:gd name="T16" fmla="*/ 52 w 154"/>
              <a:gd name="T17" fmla="*/ 45 h 153"/>
              <a:gd name="T18" fmla="*/ 45 w 154"/>
              <a:gd name="T19" fmla="*/ 52 h 153"/>
              <a:gd name="T20" fmla="*/ 77 w 154"/>
              <a:gd name="T21" fmla="*/ 48 h 153"/>
              <a:gd name="T22" fmla="*/ 82 w 154"/>
              <a:gd name="T23" fmla="*/ 37 h 153"/>
              <a:gd name="T24" fmla="*/ 72 w 154"/>
              <a:gd name="T25" fmla="*/ 37 h 153"/>
              <a:gd name="T26" fmla="*/ 77 w 154"/>
              <a:gd name="T27" fmla="*/ 48 h 153"/>
              <a:gd name="T28" fmla="*/ 108 w 154"/>
              <a:gd name="T29" fmla="*/ 52 h 153"/>
              <a:gd name="T30" fmla="*/ 102 w 154"/>
              <a:gd name="T31" fmla="*/ 45 h 153"/>
              <a:gd name="T32" fmla="*/ 100 w 154"/>
              <a:gd name="T33" fmla="*/ 60 h 153"/>
              <a:gd name="T34" fmla="*/ 45 w 154"/>
              <a:gd name="T35" fmla="*/ 101 h 153"/>
              <a:gd name="T36" fmla="*/ 48 w 154"/>
              <a:gd name="T37" fmla="*/ 110 h 153"/>
              <a:gd name="T38" fmla="*/ 60 w 154"/>
              <a:gd name="T39" fmla="*/ 100 h 153"/>
              <a:gd name="T40" fmla="*/ 117 w 154"/>
              <a:gd name="T41" fmla="*/ 72 h 153"/>
              <a:gd name="T42" fmla="*/ 106 w 154"/>
              <a:gd name="T43" fmla="*/ 77 h 153"/>
              <a:gd name="T44" fmla="*/ 117 w 154"/>
              <a:gd name="T45" fmla="*/ 81 h 153"/>
              <a:gd name="T46" fmla="*/ 117 w 154"/>
              <a:gd name="T47" fmla="*/ 72 h 153"/>
              <a:gd name="T48" fmla="*/ 48 w 154"/>
              <a:gd name="T49" fmla="*/ 72 h 153"/>
              <a:gd name="T50" fmla="*/ 32 w 154"/>
              <a:gd name="T51" fmla="*/ 77 h 153"/>
              <a:gd name="T52" fmla="*/ 48 w 154"/>
              <a:gd name="T53" fmla="*/ 81 h 153"/>
              <a:gd name="T54" fmla="*/ 100 w 154"/>
              <a:gd name="T55" fmla="*/ 93 h 153"/>
              <a:gd name="T56" fmla="*/ 102 w 154"/>
              <a:gd name="T57" fmla="*/ 108 h 153"/>
              <a:gd name="T58" fmla="*/ 108 w 154"/>
              <a:gd name="T59" fmla="*/ 108 h 153"/>
              <a:gd name="T60" fmla="*/ 100 w 154"/>
              <a:gd name="T61" fmla="*/ 93 h 153"/>
              <a:gd name="T62" fmla="*/ 72 w 154"/>
              <a:gd name="T63" fmla="*/ 105 h 153"/>
              <a:gd name="T64" fmla="*/ 77 w 154"/>
              <a:gd name="T65" fmla="*/ 121 h 153"/>
              <a:gd name="T66" fmla="*/ 82 w 154"/>
              <a:gd name="T67" fmla="*/ 105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54" h="153">
                <a:moveTo>
                  <a:pt x="98" y="77"/>
                </a:moveTo>
                <a:cubicBezTo>
                  <a:pt x="98" y="89"/>
                  <a:pt x="89" y="98"/>
                  <a:pt x="77" y="98"/>
                </a:cubicBezTo>
                <a:cubicBezTo>
                  <a:pt x="65" y="98"/>
                  <a:pt x="55" y="89"/>
                  <a:pt x="55" y="77"/>
                </a:cubicBezTo>
                <a:cubicBezTo>
                  <a:pt x="55" y="65"/>
                  <a:pt x="65" y="55"/>
                  <a:pt x="77" y="55"/>
                </a:cubicBezTo>
                <a:cubicBezTo>
                  <a:pt x="89" y="55"/>
                  <a:pt x="98" y="65"/>
                  <a:pt x="98" y="77"/>
                </a:cubicBezTo>
                <a:close/>
                <a:moveTo>
                  <a:pt x="77" y="0"/>
                </a:moveTo>
                <a:cubicBezTo>
                  <a:pt x="119" y="0"/>
                  <a:pt x="154" y="34"/>
                  <a:pt x="154" y="77"/>
                </a:cubicBezTo>
                <a:cubicBezTo>
                  <a:pt x="154" y="119"/>
                  <a:pt x="119" y="153"/>
                  <a:pt x="77" y="153"/>
                </a:cubicBezTo>
                <a:cubicBezTo>
                  <a:pt x="34" y="153"/>
                  <a:pt x="0" y="119"/>
                  <a:pt x="0" y="77"/>
                </a:cubicBezTo>
                <a:cubicBezTo>
                  <a:pt x="0" y="34"/>
                  <a:pt x="34" y="0"/>
                  <a:pt x="77" y="0"/>
                </a:cubicBezTo>
                <a:moveTo>
                  <a:pt x="77" y="9"/>
                </a:moveTo>
                <a:cubicBezTo>
                  <a:pt x="40" y="9"/>
                  <a:pt x="10" y="39"/>
                  <a:pt x="10" y="77"/>
                </a:cubicBezTo>
                <a:cubicBezTo>
                  <a:pt x="10" y="114"/>
                  <a:pt x="40" y="144"/>
                  <a:pt x="77" y="144"/>
                </a:cubicBezTo>
                <a:cubicBezTo>
                  <a:pt x="114" y="144"/>
                  <a:pt x="144" y="114"/>
                  <a:pt x="144" y="77"/>
                </a:cubicBezTo>
                <a:cubicBezTo>
                  <a:pt x="144" y="39"/>
                  <a:pt x="114" y="9"/>
                  <a:pt x="77" y="9"/>
                </a:cubicBezTo>
                <a:moveTo>
                  <a:pt x="53" y="60"/>
                </a:moveTo>
                <a:cubicBezTo>
                  <a:pt x="55" y="57"/>
                  <a:pt x="57" y="55"/>
                  <a:pt x="60" y="53"/>
                </a:cubicBezTo>
                <a:cubicBezTo>
                  <a:pt x="52" y="45"/>
                  <a:pt x="52" y="45"/>
                  <a:pt x="52" y="45"/>
                </a:cubicBezTo>
                <a:cubicBezTo>
                  <a:pt x="50" y="43"/>
                  <a:pt x="47" y="43"/>
                  <a:pt x="45" y="45"/>
                </a:cubicBezTo>
                <a:cubicBezTo>
                  <a:pt x="43" y="47"/>
                  <a:pt x="43" y="50"/>
                  <a:pt x="45" y="52"/>
                </a:cubicBezTo>
                <a:lnTo>
                  <a:pt x="53" y="60"/>
                </a:lnTo>
                <a:close/>
                <a:moveTo>
                  <a:pt x="77" y="48"/>
                </a:moveTo>
                <a:cubicBezTo>
                  <a:pt x="78" y="48"/>
                  <a:pt x="80" y="48"/>
                  <a:pt x="82" y="48"/>
                </a:cubicBezTo>
                <a:cubicBezTo>
                  <a:pt x="82" y="37"/>
                  <a:pt x="82" y="37"/>
                  <a:pt x="82" y="37"/>
                </a:cubicBezTo>
                <a:cubicBezTo>
                  <a:pt x="82" y="34"/>
                  <a:pt x="79" y="32"/>
                  <a:pt x="77" y="32"/>
                </a:cubicBezTo>
                <a:cubicBezTo>
                  <a:pt x="74" y="32"/>
                  <a:pt x="72" y="34"/>
                  <a:pt x="72" y="37"/>
                </a:cubicBezTo>
                <a:cubicBezTo>
                  <a:pt x="72" y="48"/>
                  <a:pt x="72" y="48"/>
                  <a:pt x="72" y="48"/>
                </a:cubicBezTo>
                <a:cubicBezTo>
                  <a:pt x="74" y="48"/>
                  <a:pt x="75" y="48"/>
                  <a:pt x="77" y="48"/>
                </a:cubicBezTo>
                <a:close/>
                <a:moveTo>
                  <a:pt x="100" y="60"/>
                </a:moveTo>
                <a:cubicBezTo>
                  <a:pt x="108" y="52"/>
                  <a:pt x="108" y="52"/>
                  <a:pt x="108" y="52"/>
                </a:cubicBezTo>
                <a:cubicBezTo>
                  <a:pt x="110" y="50"/>
                  <a:pt x="110" y="47"/>
                  <a:pt x="108" y="45"/>
                </a:cubicBezTo>
                <a:cubicBezTo>
                  <a:pt x="107" y="43"/>
                  <a:pt x="104" y="43"/>
                  <a:pt x="102" y="45"/>
                </a:cubicBezTo>
                <a:cubicBezTo>
                  <a:pt x="93" y="53"/>
                  <a:pt x="93" y="53"/>
                  <a:pt x="93" y="53"/>
                </a:cubicBezTo>
                <a:cubicBezTo>
                  <a:pt x="96" y="55"/>
                  <a:pt x="98" y="57"/>
                  <a:pt x="100" y="60"/>
                </a:cubicBezTo>
                <a:close/>
                <a:moveTo>
                  <a:pt x="53" y="93"/>
                </a:moveTo>
                <a:cubicBezTo>
                  <a:pt x="45" y="101"/>
                  <a:pt x="45" y="101"/>
                  <a:pt x="45" y="101"/>
                </a:cubicBezTo>
                <a:cubicBezTo>
                  <a:pt x="43" y="103"/>
                  <a:pt x="43" y="106"/>
                  <a:pt x="45" y="108"/>
                </a:cubicBezTo>
                <a:cubicBezTo>
                  <a:pt x="46" y="109"/>
                  <a:pt x="47" y="110"/>
                  <a:pt x="48" y="110"/>
                </a:cubicBezTo>
                <a:cubicBezTo>
                  <a:pt x="50" y="110"/>
                  <a:pt x="51" y="109"/>
                  <a:pt x="52" y="108"/>
                </a:cubicBezTo>
                <a:cubicBezTo>
                  <a:pt x="60" y="100"/>
                  <a:pt x="60" y="100"/>
                  <a:pt x="60" y="100"/>
                </a:cubicBezTo>
                <a:cubicBezTo>
                  <a:pt x="57" y="98"/>
                  <a:pt x="55" y="96"/>
                  <a:pt x="53" y="93"/>
                </a:cubicBezTo>
                <a:close/>
                <a:moveTo>
                  <a:pt x="117" y="72"/>
                </a:moveTo>
                <a:cubicBezTo>
                  <a:pt x="105" y="72"/>
                  <a:pt x="105" y="72"/>
                  <a:pt x="105" y="72"/>
                </a:cubicBezTo>
                <a:cubicBezTo>
                  <a:pt x="105" y="73"/>
                  <a:pt x="106" y="75"/>
                  <a:pt x="106" y="77"/>
                </a:cubicBezTo>
                <a:cubicBezTo>
                  <a:pt x="106" y="78"/>
                  <a:pt x="105" y="80"/>
                  <a:pt x="105" y="81"/>
                </a:cubicBezTo>
                <a:cubicBezTo>
                  <a:pt x="117" y="81"/>
                  <a:pt x="117" y="81"/>
                  <a:pt x="117" y="81"/>
                </a:cubicBezTo>
                <a:cubicBezTo>
                  <a:pt x="119" y="81"/>
                  <a:pt x="122" y="79"/>
                  <a:pt x="122" y="77"/>
                </a:cubicBezTo>
                <a:cubicBezTo>
                  <a:pt x="122" y="74"/>
                  <a:pt x="119" y="72"/>
                  <a:pt x="117" y="72"/>
                </a:cubicBezTo>
                <a:close/>
                <a:moveTo>
                  <a:pt x="48" y="77"/>
                </a:moveTo>
                <a:cubicBezTo>
                  <a:pt x="48" y="75"/>
                  <a:pt x="48" y="73"/>
                  <a:pt x="48" y="72"/>
                </a:cubicBezTo>
                <a:cubicBezTo>
                  <a:pt x="37" y="72"/>
                  <a:pt x="37" y="72"/>
                  <a:pt x="37" y="72"/>
                </a:cubicBezTo>
                <a:cubicBezTo>
                  <a:pt x="34" y="72"/>
                  <a:pt x="32" y="74"/>
                  <a:pt x="32" y="77"/>
                </a:cubicBezTo>
                <a:cubicBezTo>
                  <a:pt x="32" y="79"/>
                  <a:pt x="34" y="81"/>
                  <a:pt x="37" y="81"/>
                </a:cubicBezTo>
                <a:cubicBezTo>
                  <a:pt x="48" y="81"/>
                  <a:pt x="48" y="81"/>
                  <a:pt x="48" y="81"/>
                </a:cubicBezTo>
                <a:cubicBezTo>
                  <a:pt x="48" y="80"/>
                  <a:pt x="48" y="78"/>
                  <a:pt x="48" y="77"/>
                </a:cubicBezTo>
                <a:close/>
                <a:moveTo>
                  <a:pt x="100" y="93"/>
                </a:moveTo>
                <a:cubicBezTo>
                  <a:pt x="98" y="96"/>
                  <a:pt x="96" y="98"/>
                  <a:pt x="93" y="100"/>
                </a:cubicBezTo>
                <a:cubicBezTo>
                  <a:pt x="102" y="108"/>
                  <a:pt x="102" y="108"/>
                  <a:pt x="102" y="108"/>
                </a:cubicBezTo>
                <a:cubicBezTo>
                  <a:pt x="103" y="109"/>
                  <a:pt x="104" y="110"/>
                  <a:pt x="105" y="110"/>
                </a:cubicBezTo>
                <a:cubicBezTo>
                  <a:pt x="106" y="110"/>
                  <a:pt x="107" y="109"/>
                  <a:pt x="108" y="108"/>
                </a:cubicBezTo>
                <a:cubicBezTo>
                  <a:pt x="110" y="106"/>
                  <a:pt x="110" y="103"/>
                  <a:pt x="108" y="101"/>
                </a:cubicBezTo>
                <a:lnTo>
                  <a:pt x="100" y="93"/>
                </a:lnTo>
                <a:close/>
                <a:moveTo>
                  <a:pt x="77" y="105"/>
                </a:moveTo>
                <a:cubicBezTo>
                  <a:pt x="75" y="105"/>
                  <a:pt x="74" y="105"/>
                  <a:pt x="72" y="105"/>
                </a:cubicBezTo>
                <a:cubicBezTo>
                  <a:pt x="72" y="117"/>
                  <a:pt x="72" y="117"/>
                  <a:pt x="72" y="117"/>
                </a:cubicBezTo>
                <a:cubicBezTo>
                  <a:pt x="72" y="119"/>
                  <a:pt x="74" y="121"/>
                  <a:pt x="77" y="121"/>
                </a:cubicBezTo>
                <a:cubicBezTo>
                  <a:pt x="79" y="121"/>
                  <a:pt x="82" y="119"/>
                  <a:pt x="82" y="117"/>
                </a:cubicBezTo>
                <a:cubicBezTo>
                  <a:pt x="82" y="105"/>
                  <a:pt x="82" y="105"/>
                  <a:pt x="82" y="105"/>
                </a:cubicBezTo>
                <a:cubicBezTo>
                  <a:pt x="80" y="105"/>
                  <a:pt x="78" y="105"/>
                  <a:pt x="77" y="10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60" name="Freeform 63"/>
          <p:cNvSpPr>
            <a:spLocks noEditPoints="1"/>
          </p:cNvSpPr>
          <p:nvPr/>
        </p:nvSpPr>
        <p:spPr bwMode="black">
          <a:xfrm>
            <a:off x="6601694" y="3250562"/>
            <a:ext cx="305569" cy="306801"/>
          </a:xfrm>
          <a:custGeom>
            <a:avLst/>
            <a:gdLst>
              <a:gd name="T0" fmla="*/ 75 w 150"/>
              <a:gd name="T1" fmla="*/ 10 h 150"/>
              <a:gd name="T2" fmla="*/ 10 w 150"/>
              <a:gd name="T3" fmla="*/ 75 h 150"/>
              <a:gd name="T4" fmla="*/ 75 w 150"/>
              <a:gd name="T5" fmla="*/ 140 h 150"/>
              <a:gd name="T6" fmla="*/ 141 w 150"/>
              <a:gd name="T7" fmla="*/ 75 h 150"/>
              <a:gd name="T8" fmla="*/ 75 w 150"/>
              <a:gd name="T9" fmla="*/ 10 h 150"/>
              <a:gd name="T10" fmla="*/ 75 w 150"/>
              <a:gd name="T11" fmla="*/ 0 h 150"/>
              <a:gd name="T12" fmla="*/ 150 w 150"/>
              <a:gd name="T13" fmla="*/ 75 h 150"/>
              <a:gd name="T14" fmla="*/ 75 w 150"/>
              <a:gd name="T15" fmla="*/ 150 h 150"/>
              <a:gd name="T16" fmla="*/ 0 w 150"/>
              <a:gd name="T17" fmla="*/ 75 h 150"/>
              <a:gd name="T18" fmla="*/ 75 w 150"/>
              <a:gd name="T19" fmla="*/ 0 h 150"/>
              <a:gd name="T20" fmla="*/ 51 w 150"/>
              <a:gd name="T21" fmla="*/ 107 h 150"/>
              <a:gd name="T22" fmla="*/ 51 w 150"/>
              <a:gd name="T23" fmla="*/ 105 h 150"/>
              <a:gd name="T24" fmla="*/ 46 w 150"/>
              <a:gd name="T25" fmla="*/ 99 h 150"/>
              <a:gd name="T26" fmla="*/ 44 w 150"/>
              <a:gd name="T27" fmla="*/ 100 h 150"/>
              <a:gd name="T28" fmla="*/ 42 w 150"/>
              <a:gd name="T29" fmla="*/ 107 h 150"/>
              <a:gd name="T30" fmla="*/ 43 w 150"/>
              <a:gd name="T31" fmla="*/ 109 h 150"/>
              <a:gd name="T32" fmla="*/ 51 w 150"/>
              <a:gd name="T33" fmla="*/ 107 h 150"/>
              <a:gd name="T34" fmla="*/ 106 w 150"/>
              <a:gd name="T35" fmla="*/ 45 h 150"/>
              <a:gd name="T36" fmla="*/ 94 w 150"/>
              <a:gd name="T37" fmla="*/ 43 h 150"/>
              <a:gd name="T38" fmla="*/ 90 w 150"/>
              <a:gd name="T39" fmla="*/ 46 h 150"/>
              <a:gd name="T40" fmla="*/ 90 w 150"/>
              <a:gd name="T41" fmla="*/ 50 h 150"/>
              <a:gd name="T42" fmla="*/ 101 w 150"/>
              <a:gd name="T43" fmla="*/ 60 h 150"/>
              <a:gd name="T44" fmla="*/ 104 w 150"/>
              <a:gd name="T45" fmla="*/ 60 h 150"/>
              <a:gd name="T46" fmla="*/ 107 w 150"/>
              <a:gd name="T47" fmla="*/ 57 h 150"/>
              <a:gd name="T48" fmla="*/ 106 w 150"/>
              <a:gd name="T49" fmla="*/ 45 h 150"/>
              <a:gd name="T50" fmla="*/ 63 w 150"/>
              <a:gd name="T51" fmla="*/ 101 h 150"/>
              <a:gd name="T52" fmla="*/ 60 w 150"/>
              <a:gd name="T53" fmla="*/ 101 h 150"/>
              <a:gd name="T54" fmla="*/ 49 w 150"/>
              <a:gd name="T55" fmla="*/ 91 h 150"/>
              <a:gd name="T56" fmla="*/ 49 w 150"/>
              <a:gd name="T57" fmla="*/ 87 h 150"/>
              <a:gd name="T58" fmla="*/ 83 w 150"/>
              <a:gd name="T59" fmla="*/ 53 h 150"/>
              <a:gd name="T60" fmla="*/ 87 w 150"/>
              <a:gd name="T61" fmla="*/ 53 h 150"/>
              <a:gd name="T62" fmla="*/ 97 w 150"/>
              <a:gd name="T63" fmla="*/ 64 h 150"/>
              <a:gd name="T64" fmla="*/ 97 w 150"/>
              <a:gd name="T65" fmla="*/ 67 h 150"/>
              <a:gd name="T66" fmla="*/ 63 w 150"/>
              <a:gd name="T67" fmla="*/ 101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50" h="150">
                <a:moveTo>
                  <a:pt x="75" y="10"/>
                </a:moveTo>
                <a:cubicBezTo>
                  <a:pt x="39" y="10"/>
                  <a:pt x="10" y="39"/>
                  <a:pt x="10" y="75"/>
                </a:cubicBezTo>
                <a:cubicBezTo>
                  <a:pt x="10" y="111"/>
                  <a:pt x="39" y="140"/>
                  <a:pt x="75" y="140"/>
                </a:cubicBezTo>
                <a:cubicBezTo>
                  <a:pt x="111" y="140"/>
                  <a:pt x="141" y="111"/>
                  <a:pt x="141" y="75"/>
                </a:cubicBezTo>
                <a:cubicBezTo>
                  <a:pt x="141" y="39"/>
                  <a:pt x="111" y="10"/>
                  <a:pt x="75" y="10"/>
                </a:cubicBezTo>
                <a:moveTo>
                  <a:pt x="75" y="0"/>
                </a:moveTo>
                <a:cubicBezTo>
                  <a:pt x="117" y="0"/>
                  <a:pt x="150" y="34"/>
                  <a:pt x="150" y="75"/>
                </a:cubicBezTo>
                <a:cubicBezTo>
                  <a:pt x="150" y="116"/>
                  <a:pt x="117" y="150"/>
                  <a:pt x="75" y="150"/>
                </a:cubicBezTo>
                <a:cubicBezTo>
                  <a:pt x="34" y="150"/>
                  <a:pt x="0" y="116"/>
                  <a:pt x="0" y="75"/>
                </a:cubicBezTo>
                <a:cubicBezTo>
                  <a:pt x="0" y="34"/>
                  <a:pt x="34" y="0"/>
                  <a:pt x="75" y="0"/>
                </a:cubicBezTo>
                <a:moveTo>
                  <a:pt x="51" y="107"/>
                </a:moveTo>
                <a:cubicBezTo>
                  <a:pt x="52" y="107"/>
                  <a:pt x="52" y="106"/>
                  <a:pt x="51" y="105"/>
                </a:cubicBezTo>
                <a:cubicBezTo>
                  <a:pt x="46" y="99"/>
                  <a:pt x="46" y="99"/>
                  <a:pt x="46" y="99"/>
                </a:cubicBezTo>
                <a:cubicBezTo>
                  <a:pt x="45" y="98"/>
                  <a:pt x="44" y="99"/>
                  <a:pt x="44" y="100"/>
                </a:cubicBezTo>
                <a:cubicBezTo>
                  <a:pt x="42" y="107"/>
                  <a:pt x="42" y="107"/>
                  <a:pt x="42" y="107"/>
                </a:cubicBezTo>
                <a:cubicBezTo>
                  <a:pt x="41" y="108"/>
                  <a:pt x="42" y="109"/>
                  <a:pt x="43" y="109"/>
                </a:cubicBezTo>
                <a:lnTo>
                  <a:pt x="51" y="107"/>
                </a:lnTo>
                <a:close/>
                <a:moveTo>
                  <a:pt x="106" y="45"/>
                </a:moveTo>
                <a:cubicBezTo>
                  <a:pt x="100" y="39"/>
                  <a:pt x="94" y="43"/>
                  <a:pt x="94" y="43"/>
                </a:cubicBezTo>
                <a:cubicBezTo>
                  <a:pt x="93" y="44"/>
                  <a:pt x="91" y="46"/>
                  <a:pt x="90" y="46"/>
                </a:cubicBezTo>
                <a:cubicBezTo>
                  <a:pt x="89" y="47"/>
                  <a:pt x="89" y="49"/>
                  <a:pt x="90" y="50"/>
                </a:cubicBezTo>
                <a:cubicBezTo>
                  <a:pt x="101" y="60"/>
                  <a:pt x="101" y="60"/>
                  <a:pt x="101" y="60"/>
                </a:cubicBezTo>
                <a:cubicBezTo>
                  <a:pt x="102" y="61"/>
                  <a:pt x="103" y="61"/>
                  <a:pt x="104" y="60"/>
                </a:cubicBezTo>
                <a:cubicBezTo>
                  <a:pt x="105" y="59"/>
                  <a:pt x="106" y="58"/>
                  <a:pt x="107" y="57"/>
                </a:cubicBezTo>
                <a:cubicBezTo>
                  <a:pt x="107" y="57"/>
                  <a:pt x="112" y="51"/>
                  <a:pt x="106" y="45"/>
                </a:cubicBezTo>
                <a:moveTo>
                  <a:pt x="63" y="101"/>
                </a:moveTo>
                <a:cubicBezTo>
                  <a:pt x="62" y="102"/>
                  <a:pt x="61" y="102"/>
                  <a:pt x="60" y="101"/>
                </a:cubicBezTo>
                <a:cubicBezTo>
                  <a:pt x="49" y="91"/>
                  <a:pt x="49" y="91"/>
                  <a:pt x="49" y="91"/>
                </a:cubicBezTo>
                <a:cubicBezTo>
                  <a:pt x="48" y="90"/>
                  <a:pt x="48" y="88"/>
                  <a:pt x="49" y="87"/>
                </a:cubicBezTo>
                <a:cubicBezTo>
                  <a:pt x="83" y="53"/>
                  <a:pt x="83" y="53"/>
                  <a:pt x="83" y="53"/>
                </a:cubicBezTo>
                <a:cubicBezTo>
                  <a:pt x="84" y="52"/>
                  <a:pt x="86" y="52"/>
                  <a:pt x="87" y="53"/>
                </a:cubicBezTo>
                <a:cubicBezTo>
                  <a:pt x="97" y="64"/>
                  <a:pt x="97" y="64"/>
                  <a:pt x="97" y="64"/>
                </a:cubicBezTo>
                <a:cubicBezTo>
                  <a:pt x="98" y="65"/>
                  <a:pt x="98" y="66"/>
                  <a:pt x="97" y="67"/>
                </a:cubicBezTo>
                <a:lnTo>
                  <a:pt x="63" y="10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61" name="Freeform 64"/>
          <p:cNvSpPr>
            <a:spLocks noEditPoints="1"/>
          </p:cNvSpPr>
          <p:nvPr/>
        </p:nvSpPr>
        <p:spPr bwMode="black">
          <a:xfrm>
            <a:off x="3235935" y="3250562"/>
            <a:ext cx="303105" cy="306801"/>
          </a:xfrm>
          <a:custGeom>
            <a:avLst/>
            <a:gdLst>
              <a:gd name="T0" fmla="*/ 74 w 149"/>
              <a:gd name="T1" fmla="*/ 11 h 150"/>
              <a:gd name="T2" fmla="*/ 10 w 149"/>
              <a:gd name="T3" fmla="*/ 75 h 150"/>
              <a:gd name="T4" fmla="*/ 74 w 149"/>
              <a:gd name="T5" fmla="*/ 139 h 150"/>
              <a:gd name="T6" fmla="*/ 138 w 149"/>
              <a:gd name="T7" fmla="*/ 75 h 150"/>
              <a:gd name="T8" fmla="*/ 74 w 149"/>
              <a:gd name="T9" fmla="*/ 11 h 150"/>
              <a:gd name="T10" fmla="*/ 74 w 149"/>
              <a:gd name="T11" fmla="*/ 0 h 150"/>
              <a:gd name="T12" fmla="*/ 149 w 149"/>
              <a:gd name="T13" fmla="*/ 75 h 150"/>
              <a:gd name="T14" fmla="*/ 74 w 149"/>
              <a:gd name="T15" fmla="*/ 150 h 150"/>
              <a:gd name="T16" fmla="*/ 0 w 149"/>
              <a:gd name="T17" fmla="*/ 75 h 150"/>
              <a:gd name="T18" fmla="*/ 74 w 149"/>
              <a:gd name="T19" fmla="*/ 0 h 150"/>
              <a:gd name="T20" fmla="*/ 105 w 149"/>
              <a:gd name="T21" fmla="*/ 55 h 150"/>
              <a:gd name="T22" fmla="*/ 90 w 149"/>
              <a:gd name="T23" fmla="*/ 44 h 150"/>
              <a:gd name="T24" fmla="*/ 84 w 149"/>
              <a:gd name="T25" fmla="*/ 43 h 150"/>
              <a:gd name="T26" fmla="*/ 60 w 149"/>
              <a:gd name="T27" fmla="*/ 62 h 150"/>
              <a:gd name="T28" fmla="*/ 63 w 149"/>
              <a:gd name="T29" fmla="*/ 80 h 150"/>
              <a:gd name="T30" fmla="*/ 44 w 149"/>
              <a:gd name="T31" fmla="*/ 99 h 150"/>
              <a:gd name="T32" fmla="*/ 44 w 149"/>
              <a:gd name="T33" fmla="*/ 108 h 150"/>
              <a:gd name="T34" fmla="*/ 48 w 149"/>
              <a:gd name="T35" fmla="*/ 110 h 150"/>
              <a:gd name="T36" fmla="*/ 53 w 149"/>
              <a:gd name="T37" fmla="*/ 108 h 150"/>
              <a:gd name="T38" fmla="*/ 71 w 149"/>
              <a:gd name="T39" fmla="*/ 89 h 150"/>
              <a:gd name="T40" fmla="*/ 78 w 149"/>
              <a:gd name="T41" fmla="*/ 92 h 150"/>
              <a:gd name="T42" fmla="*/ 84 w 149"/>
              <a:gd name="T43" fmla="*/ 93 h 150"/>
              <a:gd name="T44" fmla="*/ 108 w 149"/>
              <a:gd name="T45" fmla="*/ 74 h 150"/>
              <a:gd name="T46" fmla="*/ 105 w 149"/>
              <a:gd name="T47" fmla="*/ 55 h 150"/>
              <a:gd name="T48" fmla="*/ 101 w 149"/>
              <a:gd name="T49" fmla="*/ 72 h 150"/>
              <a:gd name="T50" fmla="*/ 84 w 149"/>
              <a:gd name="T51" fmla="*/ 85 h 150"/>
              <a:gd name="T52" fmla="*/ 80 w 149"/>
              <a:gd name="T53" fmla="*/ 85 h 150"/>
              <a:gd name="T54" fmla="*/ 67 w 149"/>
              <a:gd name="T55" fmla="*/ 64 h 150"/>
              <a:gd name="T56" fmla="*/ 84 w 149"/>
              <a:gd name="T57" fmla="*/ 51 h 150"/>
              <a:gd name="T58" fmla="*/ 88 w 149"/>
              <a:gd name="T59" fmla="*/ 51 h 150"/>
              <a:gd name="T60" fmla="*/ 99 w 149"/>
              <a:gd name="T61" fmla="*/ 59 h 150"/>
              <a:gd name="T62" fmla="*/ 101 w 149"/>
              <a:gd name="T63" fmla="*/ 72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49" h="150">
                <a:moveTo>
                  <a:pt x="74" y="11"/>
                </a:moveTo>
                <a:cubicBezTo>
                  <a:pt x="39" y="11"/>
                  <a:pt x="10" y="40"/>
                  <a:pt x="10" y="75"/>
                </a:cubicBezTo>
                <a:cubicBezTo>
                  <a:pt x="10" y="110"/>
                  <a:pt x="39" y="139"/>
                  <a:pt x="74" y="139"/>
                </a:cubicBezTo>
                <a:cubicBezTo>
                  <a:pt x="110" y="139"/>
                  <a:pt x="138" y="110"/>
                  <a:pt x="138" y="75"/>
                </a:cubicBezTo>
                <a:cubicBezTo>
                  <a:pt x="138" y="40"/>
                  <a:pt x="110" y="11"/>
                  <a:pt x="74" y="11"/>
                </a:cubicBezTo>
                <a:moveTo>
                  <a:pt x="74" y="0"/>
                </a:moveTo>
                <a:cubicBezTo>
                  <a:pt x="116" y="0"/>
                  <a:pt x="149" y="34"/>
                  <a:pt x="149" y="75"/>
                </a:cubicBezTo>
                <a:cubicBezTo>
                  <a:pt x="149" y="116"/>
                  <a:pt x="116" y="150"/>
                  <a:pt x="74" y="150"/>
                </a:cubicBezTo>
                <a:cubicBezTo>
                  <a:pt x="33" y="150"/>
                  <a:pt x="0" y="116"/>
                  <a:pt x="0" y="75"/>
                </a:cubicBezTo>
                <a:cubicBezTo>
                  <a:pt x="0" y="34"/>
                  <a:pt x="33" y="0"/>
                  <a:pt x="74" y="0"/>
                </a:cubicBezTo>
                <a:moveTo>
                  <a:pt x="105" y="55"/>
                </a:moveTo>
                <a:cubicBezTo>
                  <a:pt x="102" y="49"/>
                  <a:pt x="96" y="46"/>
                  <a:pt x="90" y="44"/>
                </a:cubicBezTo>
                <a:cubicBezTo>
                  <a:pt x="88" y="43"/>
                  <a:pt x="86" y="43"/>
                  <a:pt x="84" y="43"/>
                </a:cubicBezTo>
                <a:cubicBezTo>
                  <a:pt x="73" y="43"/>
                  <a:pt x="63" y="51"/>
                  <a:pt x="60" y="62"/>
                </a:cubicBezTo>
                <a:cubicBezTo>
                  <a:pt x="58" y="68"/>
                  <a:pt x="60" y="75"/>
                  <a:pt x="63" y="80"/>
                </a:cubicBezTo>
                <a:cubicBezTo>
                  <a:pt x="44" y="99"/>
                  <a:pt x="44" y="99"/>
                  <a:pt x="44" y="99"/>
                </a:cubicBezTo>
                <a:cubicBezTo>
                  <a:pt x="42" y="101"/>
                  <a:pt x="42" y="105"/>
                  <a:pt x="44" y="108"/>
                </a:cubicBezTo>
                <a:cubicBezTo>
                  <a:pt x="45" y="109"/>
                  <a:pt x="47" y="110"/>
                  <a:pt x="48" y="110"/>
                </a:cubicBezTo>
                <a:cubicBezTo>
                  <a:pt x="50" y="110"/>
                  <a:pt x="52" y="109"/>
                  <a:pt x="53" y="108"/>
                </a:cubicBezTo>
                <a:cubicBezTo>
                  <a:pt x="71" y="89"/>
                  <a:pt x="71" y="89"/>
                  <a:pt x="71" y="89"/>
                </a:cubicBezTo>
                <a:cubicBezTo>
                  <a:pt x="73" y="90"/>
                  <a:pt x="76" y="91"/>
                  <a:pt x="78" y="92"/>
                </a:cubicBezTo>
                <a:cubicBezTo>
                  <a:pt x="80" y="92"/>
                  <a:pt x="82" y="93"/>
                  <a:pt x="84" y="93"/>
                </a:cubicBezTo>
                <a:cubicBezTo>
                  <a:pt x="95" y="93"/>
                  <a:pt x="105" y="85"/>
                  <a:pt x="108" y="74"/>
                </a:cubicBezTo>
                <a:cubicBezTo>
                  <a:pt x="110" y="67"/>
                  <a:pt x="109" y="61"/>
                  <a:pt x="105" y="55"/>
                </a:cubicBezTo>
                <a:close/>
                <a:moveTo>
                  <a:pt x="101" y="72"/>
                </a:moveTo>
                <a:cubicBezTo>
                  <a:pt x="99" y="80"/>
                  <a:pt x="92" y="85"/>
                  <a:pt x="84" y="85"/>
                </a:cubicBezTo>
                <a:cubicBezTo>
                  <a:pt x="83" y="85"/>
                  <a:pt x="81" y="85"/>
                  <a:pt x="80" y="85"/>
                </a:cubicBezTo>
                <a:cubicBezTo>
                  <a:pt x="71" y="82"/>
                  <a:pt x="65" y="73"/>
                  <a:pt x="67" y="64"/>
                </a:cubicBezTo>
                <a:cubicBezTo>
                  <a:pt x="69" y="56"/>
                  <a:pt x="76" y="51"/>
                  <a:pt x="84" y="51"/>
                </a:cubicBezTo>
                <a:cubicBezTo>
                  <a:pt x="85" y="51"/>
                  <a:pt x="87" y="51"/>
                  <a:pt x="88" y="51"/>
                </a:cubicBezTo>
                <a:cubicBezTo>
                  <a:pt x="93" y="52"/>
                  <a:pt x="96" y="55"/>
                  <a:pt x="99" y="59"/>
                </a:cubicBezTo>
                <a:cubicBezTo>
                  <a:pt x="101" y="63"/>
                  <a:pt x="102" y="68"/>
                  <a:pt x="101" y="7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62" name="Freeform 65"/>
          <p:cNvSpPr>
            <a:spLocks noEditPoints="1"/>
          </p:cNvSpPr>
          <p:nvPr/>
        </p:nvSpPr>
        <p:spPr bwMode="black">
          <a:xfrm>
            <a:off x="9295792" y="4597488"/>
            <a:ext cx="321652" cy="306801"/>
          </a:xfrm>
          <a:custGeom>
            <a:avLst/>
            <a:gdLst>
              <a:gd name="T0" fmla="*/ 75 w 150"/>
              <a:gd name="T1" fmla="*/ 10 h 150"/>
              <a:gd name="T2" fmla="*/ 9 w 150"/>
              <a:gd name="T3" fmla="*/ 75 h 150"/>
              <a:gd name="T4" fmla="*/ 75 w 150"/>
              <a:gd name="T5" fmla="*/ 140 h 150"/>
              <a:gd name="T6" fmla="*/ 140 w 150"/>
              <a:gd name="T7" fmla="*/ 75 h 150"/>
              <a:gd name="T8" fmla="*/ 75 w 150"/>
              <a:gd name="T9" fmla="*/ 10 h 150"/>
              <a:gd name="T10" fmla="*/ 75 w 150"/>
              <a:gd name="T11" fmla="*/ 0 h 150"/>
              <a:gd name="T12" fmla="*/ 150 w 150"/>
              <a:gd name="T13" fmla="*/ 75 h 150"/>
              <a:gd name="T14" fmla="*/ 75 w 150"/>
              <a:gd name="T15" fmla="*/ 150 h 150"/>
              <a:gd name="T16" fmla="*/ 0 w 150"/>
              <a:gd name="T17" fmla="*/ 75 h 150"/>
              <a:gd name="T18" fmla="*/ 75 w 150"/>
              <a:gd name="T19" fmla="*/ 0 h 150"/>
              <a:gd name="T20" fmla="*/ 90 w 150"/>
              <a:gd name="T21" fmla="*/ 43 h 150"/>
              <a:gd name="T22" fmla="*/ 99 w 150"/>
              <a:gd name="T23" fmla="*/ 32 h 150"/>
              <a:gd name="T24" fmla="*/ 101 w 150"/>
              <a:gd name="T25" fmla="*/ 33 h 150"/>
              <a:gd name="T26" fmla="*/ 92 w 150"/>
              <a:gd name="T27" fmla="*/ 45 h 150"/>
              <a:gd name="T28" fmla="*/ 90 w 150"/>
              <a:gd name="T29" fmla="*/ 43 h 150"/>
              <a:gd name="T30" fmla="*/ 95 w 150"/>
              <a:gd name="T31" fmla="*/ 117 h 150"/>
              <a:gd name="T32" fmla="*/ 95 w 150"/>
              <a:gd name="T33" fmla="*/ 111 h 150"/>
              <a:gd name="T34" fmla="*/ 80 w 150"/>
              <a:gd name="T35" fmla="*/ 111 h 150"/>
              <a:gd name="T36" fmla="*/ 80 w 150"/>
              <a:gd name="T37" fmla="*/ 84 h 150"/>
              <a:gd name="T38" fmla="*/ 105 w 150"/>
              <a:gd name="T39" fmla="*/ 52 h 150"/>
              <a:gd name="T40" fmla="*/ 44 w 150"/>
              <a:gd name="T41" fmla="*/ 52 h 150"/>
              <a:gd name="T42" fmla="*/ 70 w 150"/>
              <a:gd name="T43" fmla="*/ 84 h 150"/>
              <a:gd name="T44" fmla="*/ 70 w 150"/>
              <a:gd name="T45" fmla="*/ 111 h 150"/>
              <a:gd name="T46" fmla="*/ 54 w 150"/>
              <a:gd name="T47" fmla="*/ 111 h 150"/>
              <a:gd name="T48" fmla="*/ 54 w 150"/>
              <a:gd name="T49" fmla="*/ 117 h 150"/>
              <a:gd name="T50" fmla="*/ 95 w 150"/>
              <a:gd name="T51" fmla="*/ 117 h 150"/>
              <a:gd name="T52" fmla="*/ 91 w 150"/>
              <a:gd name="T53" fmla="*/ 49 h 150"/>
              <a:gd name="T54" fmla="*/ 86 w 150"/>
              <a:gd name="T55" fmla="*/ 45 h 150"/>
              <a:gd name="T56" fmla="*/ 80 w 150"/>
              <a:gd name="T57" fmla="*/ 49 h 150"/>
              <a:gd name="T58" fmla="*/ 91 w 150"/>
              <a:gd name="T59" fmla="*/ 49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50" h="150">
                <a:moveTo>
                  <a:pt x="75" y="10"/>
                </a:moveTo>
                <a:cubicBezTo>
                  <a:pt x="39" y="10"/>
                  <a:pt x="9" y="39"/>
                  <a:pt x="9" y="75"/>
                </a:cubicBezTo>
                <a:cubicBezTo>
                  <a:pt x="9" y="111"/>
                  <a:pt x="39" y="140"/>
                  <a:pt x="75" y="140"/>
                </a:cubicBezTo>
                <a:cubicBezTo>
                  <a:pt x="111" y="140"/>
                  <a:pt x="140" y="111"/>
                  <a:pt x="140" y="75"/>
                </a:cubicBezTo>
                <a:cubicBezTo>
                  <a:pt x="140" y="39"/>
                  <a:pt x="111" y="10"/>
                  <a:pt x="75" y="10"/>
                </a:cubicBezTo>
                <a:moveTo>
                  <a:pt x="75" y="0"/>
                </a:moveTo>
                <a:cubicBezTo>
                  <a:pt x="116" y="0"/>
                  <a:pt x="150" y="34"/>
                  <a:pt x="150" y="75"/>
                </a:cubicBezTo>
                <a:cubicBezTo>
                  <a:pt x="150" y="116"/>
                  <a:pt x="116" y="150"/>
                  <a:pt x="75" y="150"/>
                </a:cubicBezTo>
                <a:cubicBezTo>
                  <a:pt x="33" y="150"/>
                  <a:pt x="0" y="116"/>
                  <a:pt x="0" y="75"/>
                </a:cubicBezTo>
                <a:cubicBezTo>
                  <a:pt x="0" y="34"/>
                  <a:pt x="33" y="0"/>
                  <a:pt x="75" y="0"/>
                </a:cubicBezTo>
                <a:moveTo>
                  <a:pt x="90" y="43"/>
                </a:moveTo>
                <a:cubicBezTo>
                  <a:pt x="99" y="32"/>
                  <a:pt x="99" y="32"/>
                  <a:pt x="99" y="32"/>
                </a:cubicBezTo>
                <a:cubicBezTo>
                  <a:pt x="101" y="33"/>
                  <a:pt x="101" y="33"/>
                  <a:pt x="101" y="33"/>
                </a:cubicBezTo>
                <a:cubicBezTo>
                  <a:pt x="92" y="45"/>
                  <a:pt x="92" y="45"/>
                  <a:pt x="92" y="45"/>
                </a:cubicBezTo>
                <a:cubicBezTo>
                  <a:pt x="91" y="44"/>
                  <a:pt x="90" y="44"/>
                  <a:pt x="90" y="43"/>
                </a:cubicBezTo>
                <a:close/>
                <a:moveTo>
                  <a:pt x="95" y="117"/>
                </a:moveTo>
                <a:cubicBezTo>
                  <a:pt x="95" y="111"/>
                  <a:pt x="95" y="111"/>
                  <a:pt x="95" y="111"/>
                </a:cubicBezTo>
                <a:cubicBezTo>
                  <a:pt x="80" y="111"/>
                  <a:pt x="80" y="111"/>
                  <a:pt x="80" y="111"/>
                </a:cubicBezTo>
                <a:cubicBezTo>
                  <a:pt x="80" y="84"/>
                  <a:pt x="80" y="84"/>
                  <a:pt x="80" y="84"/>
                </a:cubicBezTo>
                <a:cubicBezTo>
                  <a:pt x="105" y="52"/>
                  <a:pt x="105" y="52"/>
                  <a:pt x="105" y="52"/>
                </a:cubicBezTo>
                <a:cubicBezTo>
                  <a:pt x="44" y="52"/>
                  <a:pt x="44" y="52"/>
                  <a:pt x="44" y="52"/>
                </a:cubicBezTo>
                <a:cubicBezTo>
                  <a:pt x="70" y="84"/>
                  <a:pt x="70" y="84"/>
                  <a:pt x="70" y="84"/>
                </a:cubicBezTo>
                <a:cubicBezTo>
                  <a:pt x="70" y="111"/>
                  <a:pt x="70" y="111"/>
                  <a:pt x="70" y="111"/>
                </a:cubicBezTo>
                <a:cubicBezTo>
                  <a:pt x="54" y="111"/>
                  <a:pt x="54" y="111"/>
                  <a:pt x="54" y="111"/>
                </a:cubicBezTo>
                <a:cubicBezTo>
                  <a:pt x="54" y="117"/>
                  <a:pt x="54" y="117"/>
                  <a:pt x="54" y="117"/>
                </a:cubicBezTo>
                <a:lnTo>
                  <a:pt x="95" y="117"/>
                </a:lnTo>
                <a:close/>
                <a:moveTo>
                  <a:pt x="91" y="49"/>
                </a:moveTo>
                <a:cubicBezTo>
                  <a:pt x="91" y="47"/>
                  <a:pt x="88" y="45"/>
                  <a:pt x="86" y="45"/>
                </a:cubicBezTo>
                <a:cubicBezTo>
                  <a:pt x="83" y="45"/>
                  <a:pt x="81" y="47"/>
                  <a:pt x="80" y="49"/>
                </a:cubicBezTo>
                <a:lnTo>
                  <a:pt x="91" y="4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36715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1725683" y="1074588"/>
            <a:ext cx="8742376" cy="674692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3970" dirty="0"/>
              <a:t>Illustrations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35584" y="1748110"/>
            <a:ext cx="1062418" cy="171080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68727" y="3697944"/>
            <a:ext cx="563946" cy="1763833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27436" y="3697940"/>
            <a:ext cx="659412" cy="1782852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63245" y="2112578"/>
            <a:ext cx="1474230" cy="1206882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45148" y="1845802"/>
            <a:ext cx="366648" cy="1535337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11447" y="1949834"/>
            <a:ext cx="2120734" cy="1419456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415110" y="4125533"/>
            <a:ext cx="1479186" cy="1180634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718167" y="2058393"/>
            <a:ext cx="1485340" cy="1034433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43408" y="3634129"/>
            <a:ext cx="1655212" cy="2148124"/>
          </a:xfrm>
          <a:prstGeom prst="rect">
            <a:avLst/>
          </a:prstGeom>
        </p:spPr>
      </p:pic>
      <p:grpSp>
        <p:nvGrpSpPr>
          <p:cNvPr id="3" name="Group 4"/>
          <p:cNvGrpSpPr>
            <a:grpSpLocks noChangeAspect="1"/>
          </p:cNvGrpSpPr>
          <p:nvPr/>
        </p:nvGrpSpPr>
        <p:grpSpPr bwMode="auto">
          <a:xfrm>
            <a:off x="6375400" y="4102100"/>
            <a:ext cx="2073275" cy="1223963"/>
            <a:chOff x="4016" y="2584"/>
            <a:chExt cx="1306" cy="771"/>
          </a:xfrm>
        </p:grpSpPr>
        <p:sp>
          <p:nvSpPr>
            <p:cNvPr id="4" name="AutoShape 3"/>
            <p:cNvSpPr>
              <a:spLocks noChangeAspect="1" noChangeArrowheads="1" noTextEdit="1"/>
            </p:cNvSpPr>
            <p:nvPr/>
          </p:nvSpPr>
          <p:spPr bwMode="auto">
            <a:xfrm>
              <a:off x="4016" y="2584"/>
              <a:ext cx="1306" cy="7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" name="Freeform 5"/>
            <p:cNvSpPr>
              <a:spLocks/>
            </p:cNvSpPr>
            <p:nvPr/>
          </p:nvSpPr>
          <p:spPr bwMode="auto">
            <a:xfrm>
              <a:off x="4574" y="3190"/>
              <a:ext cx="413" cy="49"/>
            </a:xfrm>
            <a:custGeom>
              <a:avLst/>
              <a:gdLst>
                <a:gd name="T0" fmla="*/ 377 w 413"/>
                <a:gd name="T1" fmla="*/ 0 h 49"/>
                <a:gd name="T2" fmla="*/ 28 w 413"/>
                <a:gd name="T3" fmla="*/ 0 h 49"/>
                <a:gd name="T4" fmla="*/ 0 w 413"/>
                <a:gd name="T5" fmla="*/ 49 h 49"/>
                <a:gd name="T6" fmla="*/ 413 w 413"/>
                <a:gd name="T7" fmla="*/ 49 h 49"/>
                <a:gd name="T8" fmla="*/ 377 w 413"/>
                <a:gd name="T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3" h="49">
                  <a:moveTo>
                    <a:pt x="377" y="0"/>
                  </a:moveTo>
                  <a:lnTo>
                    <a:pt x="28" y="0"/>
                  </a:lnTo>
                  <a:lnTo>
                    <a:pt x="0" y="49"/>
                  </a:lnTo>
                  <a:lnTo>
                    <a:pt x="413" y="49"/>
                  </a:lnTo>
                  <a:lnTo>
                    <a:pt x="377" y="0"/>
                  </a:lnTo>
                  <a:close/>
                </a:path>
              </a:pathLst>
            </a:cu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" name="Rectangle 6"/>
            <p:cNvSpPr>
              <a:spLocks noChangeArrowheads="1"/>
            </p:cNvSpPr>
            <p:nvPr/>
          </p:nvSpPr>
          <p:spPr bwMode="auto">
            <a:xfrm>
              <a:off x="4574" y="3239"/>
              <a:ext cx="413" cy="13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7"/>
            <p:cNvSpPr>
              <a:spLocks/>
            </p:cNvSpPr>
            <p:nvPr/>
          </p:nvSpPr>
          <p:spPr bwMode="auto">
            <a:xfrm>
              <a:off x="4364" y="2584"/>
              <a:ext cx="835" cy="501"/>
            </a:xfrm>
            <a:custGeom>
              <a:avLst/>
              <a:gdLst>
                <a:gd name="T0" fmla="*/ 326 w 326"/>
                <a:gd name="T1" fmla="*/ 184 h 195"/>
                <a:gd name="T2" fmla="*/ 316 w 326"/>
                <a:gd name="T3" fmla="*/ 195 h 195"/>
                <a:gd name="T4" fmla="*/ 11 w 326"/>
                <a:gd name="T5" fmla="*/ 195 h 195"/>
                <a:gd name="T6" fmla="*/ 0 w 326"/>
                <a:gd name="T7" fmla="*/ 184 h 195"/>
                <a:gd name="T8" fmla="*/ 0 w 326"/>
                <a:gd name="T9" fmla="*/ 11 h 195"/>
                <a:gd name="T10" fmla="*/ 11 w 326"/>
                <a:gd name="T11" fmla="*/ 0 h 195"/>
                <a:gd name="T12" fmla="*/ 316 w 326"/>
                <a:gd name="T13" fmla="*/ 0 h 195"/>
                <a:gd name="T14" fmla="*/ 326 w 326"/>
                <a:gd name="T15" fmla="*/ 11 h 195"/>
                <a:gd name="T16" fmla="*/ 326 w 326"/>
                <a:gd name="T17" fmla="*/ 184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6" h="195">
                  <a:moveTo>
                    <a:pt x="326" y="184"/>
                  </a:moveTo>
                  <a:cubicBezTo>
                    <a:pt x="326" y="190"/>
                    <a:pt x="321" y="195"/>
                    <a:pt x="316" y="195"/>
                  </a:cubicBezTo>
                  <a:cubicBezTo>
                    <a:pt x="11" y="195"/>
                    <a:pt x="11" y="195"/>
                    <a:pt x="11" y="195"/>
                  </a:cubicBezTo>
                  <a:cubicBezTo>
                    <a:pt x="5" y="195"/>
                    <a:pt x="0" y="190"/>
                    <a:pt x="0" y="184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316" y="0"/>
                    <a:pt x="316" y="0"/>
                    <a:pt x="316" y="0"/>
                  </a:cubicBezTo>
                  <a:cubicBezTo>
                    <a:pt x="321" y="0"/>
                    <a:pt x="326" y="5"/>
                    <a:pt x="326" y="11"/>
                  </a:cubicBezTo>
                  <a:lnTo>
                    <a:pt x="326" y="184"/>
                  </a:ln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8"/>
            <p:cNvSpPr>
              <a:spLocks/>
            </p:cNvSpPr>
            <p:nvPr/>
          </p:nvSpPr>
          <p:spPr bwMode="auto">
            <a:xfrm>
              <a:off x="4725" y="3082"/>
              <a:ext cx="108" cy="132"/>
            </a:xfrm>
            <a:custGeom>
              <a:avLst/>
              <a:gdLst>
                <a:gd name="T0" fmla="*/ 29 w 42"/>
                <a:gd name="T1" fmla="*/ 0 h 51"/>
                <a:gd name="T2" fmla="*/ 31 w 42"/>
                <a:gd name="T3" fmla="*/ 5 h 51"/>
                <a:gd name="T4" fmla="*/ 21 w 42"/>
                <a:gd name="T5" fmla="*/ 15 h 51"/>
                <a:gd name="T6" fmla="*/ 11 w 42"/>
                <a:gd name="T7" fmla="*/ 5 h 51"/>
                <a:gd name="T8" fmla="*/ 12 w 42"/>
                <a:gd name="T9" fmla="*/ 0 h 51"/>
                <a:gd name="T10" fmla="*/ 0 w 42"/>
                <a:gd name="T11" fmla="*/ 0 h 51"/>
                <a:gd name="T12" fmla="*/ 0 w 42"/>
                <a:gd name="T13" fmla="*/ 51 h 51"/>
                <a:gd name="T14" fmla="*/ 42 w 42"/>
                <a:gd name="T15" fmla="*/ 51 h 51"/>
                <a:gd name="T16" fmla="*/ 42 w 42"/>
                <a:gd name="T17" fmla="*/ 0 h 51"/>
                <a:gd name="T18" fmla="*/ 29 w 42"/>
                <a:gd name="T1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51">
                  <a:moveTo>
                    <a:pt x="29" y="0"/>
                  </a:moveTo>
                  <a:cubicBezTo>
                    <a:pt x="30" y="2"/>
                    <a:pt x="31" y="3"/>
                    <a:pt x="31" y="5"/>
                  </a:cubicBezTo>
                  <a:cubicBezTo>
                    <a:pt x="31" y="11"/>
                    <a:pt x="26" y="15"/>
                    <a:pt x="21" y="15"/>
                  </a:cubicBezTo>
                  <a:cubicBezTo>
                    <a:pt x="15" y="15"/>
                    <a:pt x="11" y="11"/>
                    <a:pt x="11" y="5"/>
                  </a:cubicBezTo>
                  <a:cubicBezTo>
                    <a:pt x="11" y="3"/>
                    <a:pt x="11" y="2"/>
                    <a:pt x="1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0"/>
                    <a:pt x="42" y="0"/>
                    <a:pt x="42" y="0"/>
                  </a:cubicBezTo>
                  <a:lnTo>
                    <a:pt x="29" y="0"/>
                  </a:ln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9"/>
            <p:cNvSpPr>
              <a:spLocks/>
            </p:cNvSpPr>
            <p:nvPr/>
          </p:nvSpPr>
          <p:spPr bwMode="auto">
            <a:xfrm>
              <a:off x="4387" y="2607"/>
              <a:ext cx="787" cy="434"/>
            </a:xfrm>
            <a:custGeom>
              <a:avLst/>
              <a:gdLst>
                <a:gd name="T0" fmla="*/ 307 w 307"/>
                <a:gd name="T1" fmla="*/ 165 h 169"/>
                <a:gd name="T2" fmla="*/ 303 w 307"/>
                <a:gd name="T3" fmla="*/ 169 h 169"/>
                <a:gd name="T4" fmla="*/ 5 w 307"/>
                <a:gd name="T5" fmla="*/ 169 h 169"/>
                <a:gd name="T6" fmla="*/ 0 w 307"/>
                <a:gd name="T7" fmla="*/ 165 h 169"/>
                <a:gd name="T8" fmla="*/ 0 w 307"/>
                <a:gd name="T9" fmla="*/ 4 h 169"/>
                <a:gd name="T10" fmla="*/ 5 w 307"/>
                <a:gd name="T11" fmla="*/ 0 h 169"/>
                <a:gd name="T12" fmla="*/ 303 w 307"/>
                <a:gd name="T13" fmla="*/ 0 h 169"/>
                <a:gd name="T14" fmla="*/ 307 w 307"/>
                <a:gd name="T15" fmla="*/ 4 h 169"/>
                <a:gd name="T16" fmla="*/ 307 w 307"/>
                <a:gd name="T17" fmla="*/ 165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7" h="169">
                  <a:moveTo>
                    <a:pt x="307" y="165"/>
                  </a:moveTo>
                  <a:cubicBezTo>
                    <a:pt x="307" y="167"/>
                    <a:pt x="305" y="169"/>
                    <a:pt x="303" y="169"/>
                  </a:cubicBezTo>
                  <a:cubicBezTo>
                    <a:pt x="5" y="169"/>
                    <a:pt x="5" y="169"/>
                    <a:pt x="5" y="169"/>
                  </a:cubicBezTo>
                  <a:cubicBezTo>
                    <a:pt x="2" y="169"/>
                    <a:pt x="0" y="167"/>
                    <a:pt x="0" y="16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303" y="0"/>
                    <a:pt x="303" y="0"/>
                    <a:pt x="303" y="0"/>
                  </a:cubicBezTo>
                  <a:cubicBezTo>
                    <a:pt x="305" y="0"/>
                    <a:pt x="307" y="2"/>
                    <a:pt x="307" y="4"/>
                  </a:cubicBezTo>
                  <a:lnTo>
                    <a:pt x="307" y="165"/>
                  </a:lnTo>
                  <a:close/>
                </a:path>
              </a:pathLst>
            </a:cu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Rectangle 10"/>
            <p:cNvSpPr>
              <a:spLocks noChangeArrowheads="1"/>
            </p:cNvSpPr>
            <p:nvPr/>
          </p:nvSpPr>
          <p:spPr bwMode="auto">
            <a:xfrm>
              <a:off x="4451" y="2707"/>
              <a:ext cx="182" cy="88"/>
            </a:xfrm>
            <a:prstGeom prst="rect">
              <a:avLst/>
            </a:prstGeom>
            <a:solidFill>
              <a:srgbClr val="0072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Rectangle 11"/>
            <p:cNvSpPr>
              <a:spLocks noChangeArrowheads="1"/>
            </p:cNvSpPr>
            <p:nvPr/>
          </p:nvSpPr>
          <p:spPr bwMode="auto">
            <a:xfrm>
              <a:off x="4638" y="2707"/>
              <a:ext cx="182" cy="88"/>
            </a:xfrm>
            <a:prstGeom prst="rect">
              <a:avLst/>
            </a:prstGeom>
            <a:solidFill>
              <a:srgbClr val="5D49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Rectangle 12"/>
            <p:cNvSpPr>
              <a:spLocks noChangeArrowheads="1"/>
            </p:cNvSpPr>
            <p:nvPr/>
          </p:nvSpPr>
          <p:spPr bwMode="auto">
            <a:xfrm>
              <a:off x="4828" y="2707"/>
              <a:ext cx="87" cy="88"/>
            </a:xfrm>
            <a:prstGeom prst="rect">
              <a:avLst/>
            </a:prstGeom>
            <a:solidFill>
              <a:srgbClr val="F9F7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Rectangle 13"/>
            <p:cNvSpPr>
              <a:spLocks noChangeArrowheads="1"/>
            </p:cNvSpPr>
            <p:nvPr/>
          </p:nvSpPr>
          <p:spPr bwMode="auto">
            <a:xfrm>
              <a:off x="4920" y="2707"/>
              <a:ext cx="87" cy="88"/>
            </a:xfrm>
            <a:prstGeom prst="rect">
              <a:avLst/>
            </a:prstGeom>
            <a:solidFill>
              <a:srgbClr val="019E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Rectangle 14"/>
            <p:cNvSpPr>
              <a:spLocks noChangeArrowheads="1"/>
            </p:cNvSpPr>
            <p:nvPr/>
          </p:nvSpPr>
          <p:spPr bwMode="auto">
            <a:xfrm>
              <a:off x="4828" y="2800"/>
              <a:ext cx="87" cy="87"/>
            </a:xfrm>
            <a:prstGeom prst="rect">
              <a:avLst/>
            </a:prstGeom>
            <a:solidFill>
              <a:srgbClr val="0072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Rectangle 15"/>
            <p:cNvSpPr>
              <a:spLocks noChangeArrowheads="1"/>
            </p:cNvSpPr>
            <p:nvPr/>
          </p:nvSpPr>
          <p:spPr bwMode="auto">
            <a:xfrm>
              <a:off x="4451" y="2800"/>
              <a:ext cx="87" cy="87"/>
            </a:xfrm>
            <a:prstGeom prst="rect">
              <a:avLst/>
            </a:prstGeom>
            <a:solidFill>
              <a:srgbClr val="019E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Rectangle 16"/>
            <p:cNvSpPr>
              <a:spLocks noChangeArrowheads="1"/>
            </p:cNvSpPr>
            <p:nvPr/>
          </p:nvSpPr>
          <p:spPr bwMode="auto">
            <a:xfrm>
              <a:off x="4451" y="2895"/>
              <a:ext cx="87" cy="87"/>
            </a:xfrm>
            <a:prstGeom prst="rect">
              <a:avLst/>
            </a:prstGeom>
            <a:solidFill>
              <a:srgbClr val="0072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Rectangle 17"/>
            <p:cNvSpPr>
              <a:spLocks noChangeArrowheads="1"/>
            </p:cNvSpPr>
            <p:nvPr/>
          </p:nvSpPr>
          <p:spPr bwMode="auto">
            <a:xfrm>
              <a:off x="4546" y="2895"/>
              <a:ext cx="87" cy="87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Rectangle 18"/>
            <p:cNvSpPr>
              <a:spLocks noChangeArrowheads="1"/>
            </p:cNvSpPr>
            <p:nvPr/>
          </p:nvSpPr>
          <p:spPr bwMode="auto">
            <a:xfrm>
              <a:off x="4638" y="2800"/>
              <a:ext cx="182" cy="87"/>
            </a:xfrm>
            <a:prstGeom prst="rect">
              <a:avLst/>
            </a:pr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Rectangle 19"/>
            <p:cNvSpPr>
              <a:spLocks noChangeArrowheads="1"/>
            </p:cNvSpPr>
            <p:nvPr/>
          </p:nvSpPr>
          <p:spPr bwMode="auto">
            <a:xfrm>
              <a:off x="4638" y="2895"/>
              <a:ext cx="182" cy="87"/>
            </a:xfrm>
            <a:prstGeom prst="rect">
              <a:avLst/>
            </a:prstGeom>
            <a:solidFill>
              <a:srgbClr val="F9F7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Rectangle 20"/>
            <p:cNvSpPr>
              <a:spLocks noChangeArrowheads="1"/>
            </p:cNvSpPr>
            <p:nvPr/>
          </p:nvSpPr>
          <p:spPr bwMode="auto">
            <a:xfrm>
              <a:off x="4825" y="2954"/>
              <a:ext cx="182" cy="28"/>
            </a:xfrm>
            <a:prstGeom prst="rect">
              <a:avLst/>
            </a:prstGeom>
            <a:solidFill>
              <a:srgbClr val="F9F7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Rectangle 21"/>
            <p:cNvSpPr>
              <a:spLocks noChangeArrowheads="1"/>
            </p:cNvSpPr>
            <p:nvPr/>
          </p:nvSpPr>
          <p:spPr bwMode="auto">
            <a:xfrm>
              <a:off x="4825" y="2895"/>
              <a:ext cx="182" cy="59"/>
            </a:xfrm>
            <a:prstGeom prst="rect">
              <a:avLst/>
            </a:pr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Rectangle 22"/>
            <p:cNvSpPr>
              <a:spLocks noChangeArrowheads="1"/>
            </p:cNvSpPr>
            <p:nvPr/>
          </p:nvSpPr>
          <p:spPr bwMode="auto">
            <a:xfrm>
              <a:off x="4920" y="2800"/>
              <a:ext cx="87" cy="87"/>
            </a:xfrm>
            <a:prstGeom prst="rect">
              <a:avLst/>
            </a:prstGeom>
            <a:solidFill>
              <a:srgbClr val="F9F7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Rectangle 23"/>
            <p:cNvSpPr>
              <a:spLocks noChangeArrowheads="1"/>
            </p:cNvSpPr>
            <p:nvPr/>
          </p:nvSpPr>
          <p:spPr bwMode="auto">
            <a:xfrm>
              <a:off x="5051" y="2800"/>
              <a:ext cx="87" cy="87"/>
            </a:xfrm>
            <a:prstGeom prst="rect">
              <a:avLst/>
            </a:prstGeom>
            <a:solidFill>
              <a:srgbClr val="019E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Rectangle 24"/>
            <p:cNvSpPr>
              <a:spLocks noChangeArrowheads="1"/>
            </p:cNvSpPr>
            <p:nvPr/>
          </p:nvSpPr>
          <p:spPr bwMode="auto">
            <a:xfrm>
              <a:off x="5051" y="2892"/>
              <a:ext cx="87" cy="90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Rectangle 25"/>
            <p:cNvSpPr>
              <a:spLocks noChangeArrowheads="1"/>
            </p:cNvSpPr>
            <p:nvPr/>
          </p:nvSpPr>
          <p:spPr bwMode="auto">
            <a:xfrm>
              <a:off x="5143" y="2800"/>
              <a:ext cx="31" cy="87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Rectangle 26"/>
            <p:cNvSpPr>
              <a:spLocks noChangeArrowheads="1"/>
            </p:cNvSpPr>
            <p:nvPr/>
          </p:nvSpPr>
          <p:spPr bwMode="auto">
            <a:xfrm>
              <a:off x="5143" y="2892"/>
              <a:ext cx="31" cy="90"/>
            </a:xfrm>
            <a:prstGeom prst="rect">
              <a:avLst/>
            </a:prstGeom>
            <a:solidFill>
              <a:srgbClr val="9E1F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Rectangle 27"/>
            <p:cNvSpPr>
              <a:spLocks noChangeArrowheads="1"/>
            </p:cNvSpPr>
            <p:nvPr/>
          </p:nvSpPr>
          <p:spPr bwMode="auto">
            <a:xfrm>
              <a:off x="5051" y="2707"/>
              <a:ext cx="123" cy="88"/>
            </a:xfrm>
            <a:prstGeom prst="rect">
              <a:avLst/>
            </a:prstGeom>
            <a:solidFill>
              <a:srgbClr val="0072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8"/>
            <p:cNvSpPr>
              <a:spLocks/>
            </p:cNvSpPr>
            <p:nvPr/>
          </p:nvSpPr>
          <p:spPr bwMode="auto">
            <a:xfrm>
              <a:off x="4546" y="2800"/>
              <a:ext cx="87" cy="90"/>
            </a:xfrm>
            <a:custGeom>
              <a:avLst/>
              <a:gdLst>
                <a:gd name="T0" fmla="*/ 44 w 87"/>
                <a:gd name="T1" fmla="*/ 0 h 90"/>
                <a:gd name="T2" fmla="*/ 0 w 87"/>
                <a:gd name="T3" fmla="*/ 0 h 90"/>
                <a:gd name="T4" fmla="*/ 0 w 87"/>
                <a:gd name="T5" fmla="*/ 43 h 90"/>
                <a:gd name="T6" fmla="*/ 0 w 87"/>
                <a:gd name="T7" fmla="*/ 90 h 90"/>
                <a:gd name="T8" fmla="*/ 44 w 87"/>
                <a:gd name="T9" fmla="*/ 90 h 90"/>
                <a:gd name="T10" fmla="*/ 87 w 87"/>
                <a:gd name="T11" fmla="*/ 90 h 90"/>
                <a:gd name="T12" fmla="*/ 87 w 87"/>
                <a:gd name="T13" fmla="*/ 43 h 90"/>
                <a:gd name="T14" fmla="*/ 87 w 87"/>
                <a:gd name="T15" fmla="*/ 0 h 90"/>
                <a:gd name="T16" fmla="*/ 44 w 87"/>
                <a:gd name="T17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7" h="90">
                  <a:moveTo>
                    <a:pt x="44" y="0"/>
                  </a:moveTo>
                  <a:lnTo>
                    <a:pt x="0" y="0"/>
                  </a:lnTo>
                  <a:lnTo>
                    <a:pt x="0" y="43"/>
                  </a:lnTo>
                  <a:lnTo>
                    <a:pt x="0" y="90"/>
                  </a:lnTo>
                  <a:lnTo>
                    <a:pt x="44" y="90"/>
                  </a:lnTo>
                  <a:lnTo>
                    <a:pt x="87" y="90"/>
                  </a:lnTo>
                  <a:lnTo>
                    <a:pt x="87" y="43"/>
                  </a:lnTo>
                  <a:lnTo>
                    <a:pt x="87" y="0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F9F7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Rectangle 29"/>
            <p:cNvSpPr>
              <a:spLocks noChangeArrowheads="1"/>
            </p:cNvSpPr>
            <p:nvPr/>
          </p:nvSpPr>
          <p:spPr bwMode="auto">
            <a:xfrm>
              <a:off x="5130" y="2635"/>
              <a:ext cx="26" cy="23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0"/>
            <p:cNvSpPr>
              <a:spLocks/>
            </p:cNvSpPr>
            <p:nvPr/>
          </p:nvSpPr>
          <p:spPr bwMode="auto">
            <a:xfrm>
              <a:off x="4454" y="2638"/>
              <a:ext cx="10" cy="23"/>
            </a:xfrm>
            <a:custGeom>
              <a:avLst/>
              <a:gdLst>
                <a:gd name="T0" fmla="*/ 0 w 4"/>
                <a:gd name="T1" fmla="*/ 8 h 9"/>
                <a:gd name="T2" fmla="*/ 0 w 4"/>
                <a:gd name="T3" fmla="*/ 7 h 9"/>
                <a:gd name="T4" fmla="*/ 2 w 4"/>
                <a:gd name="T5" fmla="*/ 8 h 9"/>
                <a:gd name="T6" fmla="*/ 3 w 4"/>
                <a:gd name="T7" fmla="*/ 8 h 9"/>
                <a:gd name="T8" fmla="*/ 4 w 4"/>
                <a:gd name="T9" fmla="*/ 6 h 9"/>
                <a:gd name="T10" fmla="*/ 3 w 4"/>
                <a:gd name="T11" fmla="*/ 5 h 9"/>
                <a:gd name="T12" fmla="*/ 2 w 4"/>
                <a:gd name="T13" fmla="*/ 4 h 9"/>
                <a:gd name="T14" fmla="*/ 0 w 4"/>
                <a:gd name="T15" fmla="*/ 3 h 9"/>
                <a:gd name="T16" fmla="*/ 0 w 4"/>
                <a:gd name="T17" fmla="*/ 2 h 9"/>
                <a:gd name="T18" fmla="*/ 0 w 4"/>
                <a:gd name="T19" fmla="*/ 0 h 9"/>
                <a:gd name="T20" fmla="*/ 2 w 4"/>
                <a:gd name="T21" fmla="*/ 0 h 9"/>
                <a:gd name="T22" fmla="*/ 4 w 4"/>
                <a:gd name="T23" fmla="*/ 0 h 9"/>
                <a:gd name="T24" fmla="*/ 4 w 4"/>
                <a:gd name="T25" fmla="*/ 1 h 9"/>
                <a:gd name="T26" fmla="*/ 2 w 4"/>
                <a:gd name="T27" fmla="*/ 0 h 9"/>
                <a:gd name="T28" fmla="*/ 1 w 4"/>
                <a:gd name="T29" fmla="*/ 1 h 9"/>
                <a:gd name="T30" fmla="*/ 0 w 4"/>
                <a:gd name="T31" fmla="*/ 2 h 9"/>
                <a:gd name="T32" fmla="*/ 1 w 4"/>
                <a:gd name="T33" fmla="*/ 3 h 9"/>
                <a:gd name="T34" fmla="*/ 2 w 4"/>
                <a:gd name="T35" fmla="*/ 4 h 9"/>
                <a:gd name="T36" fmla="*/ 4 w 4"/>
                <a:gd name="T37" fmla="*/ 5 h 9"/>
                <a:gd name="T38" fmla="*/ 4 w 4"/>
                <a:gd name="T39" fmla="*/ 6 h 9"/>
                <a:gd name="T40" fmla="*/ 4 w 4"/>
                <a:gd name="T41" fmla="*/ 8 h 9"/>
                <a:gd name="T42" fmla="*/ 2 w 4"/>
                <a:gd name="T43" fmla="*/ 9 h 9"/>
                <a:gd name="T44" fmla="*/ 1 w 4"/>
                <a:gd name="T45" fmla="*/ 9 h 9"/>
                <a:gd name="T46" fmla="*/ 0 w 4"/>
                <a:gd name="T4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" h="9">
                  <a:moveTo>
                    <a:pt x="0" y="8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1" y="8"/>
                    <a:pt x="2" y="8"/>
                  </a:cubicBezTo>
                  <a:cubicBezTo>
                    <a:pt x="2" y="8"/>
                    <a:pt x="3" y="8"/>
                    <a:pt x="3" y="8"/>
                  </a:cubicBezTo>
                  <a:cubicBezTo>
                    <a:pt x="3" y="7"/>
                    <a:pt x="4" y="7"/>
                    <a:pt x="4" y="6"/>
                  </a:cubicBezTo>
                  <a:cubicBezTo>
                    <a:pt x="4" y="6"/>
                    <a:pt x="4" y="6"/>
                    <a:pt x="3" y="5"/>
                  </a:cubicBezTo>
                  <a:cubicBezTo>
                    <a:pt x="3" y="5"/>
                    <a:pt x="3" y="5"/>
                    <a:pt x="2" y="4"/>
                  </a:cubicBezTo>
                  <a:cubicBezTo>
                    <a:pt x="1" y="4"/>
                    <a:pt x="0" y="3"/>
                    <a:pt x="0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3" y="0"/>
                    <a:pt x="3" y="0"/>
                    <a:pt x="4" y="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2" y="0"/>
                    <a:pt x="1" y="0"/>
                    <a:pt x="1" y="1"/>
                  </a:cubicBezTo>
                  <a:cubicBezTo>
                    <a:pt x="1" y="1"/>
                    <a:pt x="0" y="1"/>
                    <a:pt x="0" y="2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1" y="3"/>
                    <a:pt x="1" y="3"/>
                    <a:pt x="2" y="4"/>
                  </a:cubicBezTo>
                  <a:cubicBezTo>
                    <a:pt x="3" y="4"/>
                    <a:pt x="4" y="5"/>
                    <a:pt x="4" y="5"/>
                  </a:cubicBezTo>
                  <a:cubicBezTo>
                    <a:pt x="4" y="5"/>
                    <a:pt x="4" y="6"/>
                    <a:pt x="4" y="6"/>
                  </a:cubicBezTo>
                  <a:cubicBezTo>
                    <a:pt x="4" y="7"/>
                    <a:pt x="4" y="8"/>
                    <a:pt x="4" y="8"/>
                  </a:cubicBezTo>
                  <a:cubicBezTo>
                    <a:pt x="3" y="8"/>
                    <a:pt x="2" y="9"/>
                    <a:pt x="2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8"/>
                    <a:pt x="0" y="8"/>
                    <a:pt x="0" y="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31"/>
            <p:cNvSpPr>
              <a:spLocks/>
            </p:cNvSpPr>
            <p:nvPr/>
          </p:nvSpPr>
          <p:spPr bwMode="auto">
            <a:xfrm>
              <a:off x="4467" y="2638"/>
              <a:ext cx="7" cy="23"/>
            </a:xfrm>
            <a:custGeom>
              <a:avLst/>
              <a:gdLst>
                <a:gd name="T0" fmla="*/ 3 w 3"/>
                <a:gd name="T1" fmla="*/ 8 h 9"/>
                <a:gd name="T2" fmla="*/ 3 w 3"/>
                <a:gd name="T3" fmla="*/ 9 h 9"/>
                <a:gd name="T4" fmla="*/ 1 w 3"/>
                <a:gd name="T5" fmla="*/ 7 h 9"/>
                <a:gd name="T6" fmla="*/ 1 w 3"/>
                <a:gd name="T7" fmla="*/ 3 h 9"/>
                <a:gd name="T8" fmla="*/ 0 w 3"/>
                <a:gd name="T9" fmla="*/ 3 h 9"/>
                <a:gd name="T10" fmla="*/ 0 w 3"/>
                <a:gd name="T11" fmla="*/ 2 h 9"/>
                <a:gd name="T12" fmla="*/ 1 w 3"/>
                <a:gd name="T13" fmla="*/ 2 h 9"/>
                <a:gd name="T14" fmla="*/ 1 w 3"/>
                <a:gd name="T15" fmla="*/ 1 h 9"/>
                <a:gd name="T16" fmla="*/ 2 w 3"/>
                <a:gd name="T17" fmla="*/ 1 h 9"/>
                <a:gd name="T18" fmla="*/ 2 w 3"/>
                <a:gd name="T19" fmla="*/ 0 h 9"/>
                <a:gd name="T20" fmla="*/ 2 w 3"/>
                <a:gd name="T21" fmla="*/ 2 h 9"/>
                <a:gd name="T22" fmla="*/ 3 w 3"/>
                <a:gd name="T23" fmla="*/ 2 h 9"/>
                <a:gd name="T24" fmla="*/ 3 w 3"/>
                <a:gd name="T25" fmla="*/ 3 h 9"/>
                <a:gd name="T26" fmla="*/ 2 w 3"/>
                <a:gd name="T27" fmla="*/ 3 h 9"/>
                <a:gd name="T28" fmla="*/ 2 w 3"/>
                <a:gd name="T29" fmla="*/ 7 h 9"/>
                <a:gd name="T30" fmla="*/ 2 w 3"/>
                <a:gd name="T31" fmla="*/ 8 h 9"/>
                <a:gd name="T32" fmla="*/ 3 w 3"/>
                <a:gd name="T33" fmla="*/ 8 h 9"/>
                <a:gd name="T34" fmla="*/ 3 w 3"/>
                <a:gd name="T3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" h="9">
                  <a:moveTo>
                    <a:pt x="3" y="8"/>
                  </a:moveTo>
                  <a:cubicBezTo>
                    <a:pt x="3" y="9"/>
                    <a:pt x="3" y="9"/>
                    <a:pt x="3" y="9"/>
                  </a:cubicBezTo>
                  <a:cubicBezTo>
                    <a:pt x="2" y="9"/>
                    <a:pt x="1" y="8"/>
                    <a:pt x="1" y="7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2" y="1"/>
                  </a:cubicBezTo>
                  <a:cubicBezTo>
                    <a:pt x="2" y="1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8"/>
                    <a:pt x="2" y="8"/>
                  </a:cubicBezTo>
                  <a:cubicBezTo>
                    <a:pt x="2" y="8"/>
                    <a:pt x="2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2"/>
            <p:cNvSpPr>
              <a:spLocks noEditPoints="1"/>
            </p:cNvSpPr>
            <p:nvPr/>
          </p:nvSpPr>
          <p:spPr bwMode="auto">
            <a:xfrm>
              <a:off x="4480" y="2643"/>
              <a:ext cx="10" cy="18"/>
            </a:xfrm>
            <a:custGeom>
              <a:avLst/>
              <a:gdLst>
                <a:gd name="T0" fmla="*/ 4 w 4"/>
                <a:gd name="T1" fmla="*/ 6 h 7"/>
                <a:gd name="T2" fmla="*/ 4 w 4"/>
                <a:gd name="T3" fmla="*/ 5 h 7"/>
                <a:gd name="T4" fmla="*/ 4 w 4"/>
                <a:gd name="T5" fmla="*/ 5 h 7"/>
                <a:gd name="T6" fmla="*/ 3 w 4"/>
                <a:gd name="T7" fmla="*/ 6 h 7"/>
                <a:gd name="T8" fmla="*/ 2 w 4"/>
                <a:gd name="T9" fmla="*/ 7 h 7"/>
                <a:gd name="T10" fmla="*/ 0 w 4"/>
                <a:gd name="T11" fmla="*/ 6 h 7"/>
                <a:gd name="T12" fmla="*/ 0 w 4"/>
                <a:gd name="T13" fmla="*/ 5 h 7"/>
                <a:gd name="T14" fmla="*/ 2 w 4"/>
                <a:gd name="T15" fmla="*/ 3 h 7"/>
                <a:gd name="T16" fmla="*/ 4 w 4"/>
                <a:gd name="T17" fmla="*/ 3 h 7"/>
                <a:gd name="T18" fmla="*/ 2 w 4"/>
                <a:gd name="T19" fmla="*/ 1 h 7"/>
                <a:gd name="T20" fmla="*/ 0 w 4"/>
                <a:gd name="T21" fmla="*/ 1 h 7"/>
                <a:gd name="T22" fmla="*/ 0 w 4"/>
                <a:gd name="T23" fmla="*/ 1 h 7"/>
                <a:gd name="T24" fmla="*/ 1 w 4"/>
                <a:gd name="T25" fmla="*/ 0 h 7"/>
                <a:gd name="T26" fmla="*/ 2 w 4"/>
                <a:gd name="T27" fmla="*/ 0 h 7"/>
                <a:gd name="T28" fmla="*/ 4 w 4"/>
                <a:gd name="T29" fmla="*/ 1 h 7"/>
                <a:gd name="T30" fmla="*/ 4 w 4"/>
                <a:gd name="T31" fmla="*/ 2 h 7"/>
                <a:gd name="T32" fmla="*/ 4 w 4"/>
                <a:gd name="T33" fmla="*/ 6 h 7"/>
                <a:gd name="T34" fmla="*/ 2 w 4"/>
                <a:gd name="T35" fmla="*/ 3 h 7"/>
                <a:gd name="T36" fmla="*/ 1 w 4"/>
                <a:gd name="T37" fmla="*/ 4 h 7"/>
                <a:gd name="T38" fmla="*/ 0 w 4"/>
                <a:gd name="T39" fmla="*/ 5 h 7"/>
                <a:gd name="T40" fmla="*/ 1 w 4"/>
                <a:gd name="T41" fmla="*/ 6 h 7"/>
                <a:gd name="T42" fmla="*/ 2 w 4"/>
                <a:gd name="T43" fmla="*/ 6 h 7"/>
                <a:gd name="T44" fmla="*/ 3 w 4"/>
                <a:gd name="T45" fmla="*/ 5 h 7"/>
                <a:gd name="T46" fmla="*/ 4 w 4"/>
                <a:gd name="T47" fmla="*/ 4 h 7"/>
                <a:gd name="T48" fmla="*/ 4 w 4"/>
                <a:gd name="T49" fmla="*/ 3 h 7"/>
                <a:gd name="T50" fmla="*/ 2 w 4"/>
                <a:gd name="T51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" h="7">
                  <a:moveTo>
                    <a:pt x="4" y="6"/>
                  </a:move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6"/>
                    <a:pt x="3" y="6"/>
                    <a:pt x="3" y="6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7"/>
                    <a:pt x="1" y="6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2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1"/>
                    <a:pt x="3" y="1"/>
                    <a:pt x="2" y="1"/>
                  </a:cubicBezTo>
                  <a:cubicBezTo>
                    <a:pt x="2" y="1"/>
                    <a:pt x="1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3" y="0"/>
                    <a:pt x="4" y="1"/>
                  </a:cubicBezTo>
                  <a:cubicBezTo>
                    <a:pt x="4" y="1"/>
                    <a:pt x="4" y="2"/>
                    <a:pt x="4" y="2"/>
                  </a:cubicBezTo>
                  <a:cubicBezTo>
                    <a:pt x="4" y="6"/>
                    <a:pt x="4" y="6"/>
                    <a:pt x="4" y="6"/>
                  </a:cubicBezTo>
                  <a:close/>
                  <a:moveTo>
                    <a:pt x="2" y="3"/>
                  </a:moveTo>
                  <a:cubicBezTo>
                    <a:pt x="1" y="3"/>
                    <a:pt x="1" y="4"/>
                    <a:pt x="1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6"/>
                    <a:pt x="1" y="6"/>
                  </a:cubicBezTo>
                  <a:cubicBezTo>
                    <a:pt x="1" y="6"/>
                    <a:pt x="1" y="6"/>
                    <a:pt x="2" y="6"/>
                  </a:cubicBezTo>
                  <a:cubicBezTo>
                    <a:pt x="2" y="6"/>
                    <a:pt x="3" y="6"/>
                    <a:pt x="3" y="5"/>
                  </a:cubicBezTo>
                  <a:cubicBezTo>
                    <a:pt x="4" y="5"/>
                    <a:pt x="4" y="4"/>
                    <a:pt x="4" y="4"/>
                  </a:cubicBezTo>
                  <a:cubicBezTo>
                    <a:pt x="4" y="3"/>
                    <a:pt x="4" y="3"/>
                    <a:pt x="4" y="3"/>
                  </a:cubicBezTo>
                  <a:lnTo>
                    <a:pt x="2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33"/>
            <p:cNvSpPr>
              <a:spLocks/>
            </p:cNvSpPr>
            <p:nvPr/>
          </p:nvSpPr>
          <p:spPr bwMode="auto">
            <a:xfrm>
              <a:off x="4495" y="2643"/>
              <a:ext cx="8" cy="15"/>
            </a:xfrm>
            <a:custGeom>
              <a:avLst/>
              <a:gdLst>
                <a:gd name="T0" fmla="*/ 3 w 3"/>
                <a:gd name="T1" fmla="*/ 1 h 6"/>
                <a:gd name="T2" fmla="*/ 3 w 3"/>
                <a:gd name="T3" fmla="*/ 1 h 6"/>
                <a:gd name="T4" fmla="*/ 1 w 3"/>
                <a:gd name="T5" fmla="*/ 1 h 6"/>
                <a:gd name="T6" fmla="*/ 1 w 3"/>
                <a:gd name="T7" fmla="*/ 4 h 6"/>
                <a:gd name="T8" fmla="*/ 1 w 3"/>
                <a:gd name="T9" fmla="*/ 6 h 6"/>
                <a:gd name="T10" fmla="*/ 0 w 3"/>
                <a:gd name="T11" fmla="*/ 6 h 6"/>
                <a:gd name="T12" fmla="*/ 0 w 3"/>
                <a:gd name="T13" fmla="*/ 0 h 6"/>
                <a:gd name="T14" fmla="*/ 1 w 3"/>
                <a:gd name="T15" fmla="*/ 0 h 6"/>
                <a:gd name="T16" fmla="*/ 1 w 3"/>
                <a:gd name="T17" fmla="*/ 2 h 6"/>
                <a:gd name="T18" fmla="*/ 1 w 3"/>
                <a:gd name="T19" fmla="*/ 2 h 6"/>
                <a:gd name="T20" fmla="*/ 2 w 3"/>
                <a:gd name="T21" fmla="*/ 1 h 6"/>
                <a:gd name="T22" fmla="*/ 3 w 3"/>
                <a:gd name="T23" fmla="*/ 0 h 6"/>
                <a:gd name="T24" fmla="*/ 3 w 3"/>
                <a:gd name="T25" fmla="*/ 0 h 6"/>
                <a:gd name="T26" fmla="*/ 3 w 3"/>
                <a:gd name="T27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" h="6">
                  <a:moveTo>
                    <a:pt x="3" y="1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1"/>
                    <a:pt x="1" y="1"/>
                  </a:cubicBezTo>
                  <a:cubicBezTo>
                    <a:pt x="1" y="2"/>
                    <a:pt x="1" y="3"/>
                    <a:pt x="1" y="4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1" y="1"/>
                    <a:pt x="2" y="1"/>
                  </a:cubicBezTo>
                  <a:cubicBezTo>
                    <a:pt x="2" y="0"/>
                    <a:pt x="2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lnTo>
                    <a:pt x="3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34"/>
            <p:cNvSpPr>
              <a:spLocks/>
            </p:cNvSpPr>
            <p:nvPr/>
          </p:nvSpPr>
          <p:spPr bwMode="auto">
            <a:xfrm>
              <a:off x="4505" y="2638"/>
              <a:ext cx="10" cy="23"/>
            </a:xfrm>
            <a:custGeom>
              <a:avLst/>
              <a:gdLst>
                <a:gd name="T0" fmla="*/ 4 w 4"/>
                <a:gd name="T1" fmla="*/ 8 h 9"/>
                <a:gd name="T2" fmla="*/ 3 w 4"/>
                <a:gd name="T3" fmla="*/ 9 h 9"/>
                <a:gd name="T4" fmla="*/ 1 w 4"/>
                <a:gd name="T5" fmla="*/ 7 h 9"/>
                <a:gd name="T6" fmla="*/ 1 w 4"/>
                <a:gd name="T7" fmla="*/ 3 h 9"/>
                <a:gd name="T8" fmla="*/ 0 w 4"/>
                <a:gd name="T9" fmla="*/ 3 h 9"/>
                <a:gd name="T10" fmla="*/ 0 w 4"/>
                <a:gd name="T11" fmla="*/ 2 h 9"/>
                <a:gd name="T12" fmla="*/ 1 w 4"/>
                <a:gd name="T13" fmla="*/ 2 h 9"/>
                <a:gd name="T14" fmla="*/ 1 w 4"/>
                <a:gd name="T15" fmla="*/ 1 h 9"/>
                <a:gd name="T16" fmla="*/ 2 w 4"/>
                <a:gd name="T17" fmla="*/ 1 h 9"/>
                <a:gd name="T18" fmla="*/ 2 w 4"/>
                <a:gd name="T19" fmla="*/ 0 h 9"/>
                <a:gd name="T20" fmla="*/ 2 w 4"/>
                <a:gd name="T21" fmla="*/ 2 h 9"/>
                <a:gd name="T22" fmla="*/ 4 w 4"/>
                <a:gd name="T23" fmla="*/ 2 h 9"/>
                <a:gd name="T24" fmla="*/ 4 w 4"/>
                <a:gd name="T25" fmla="*/ 3 h 9"/>
                <a:gd name="T26" fmla="*/ 2 w 4"/>
                <a:gd name="T27" fmla="*/ 3 h 9"/>
                <a:gd name="T28" fmla="*/ 2 w 4"/>
                <a:gd name="T29" fmla="*/ 7 h 9"/>
                <a:gd name="T30" fmla="*/ 2 w 4"/>
                <a:gd name="T31" fmla="*/ 8 h 9"/>
                <a:gd name="T32" fmla="*/ 3 w 4"/>
                <a:gd name="T33" fmla="*/ 8 h 9"/>
                <a:gd name="T34" fmla="*/ 4 w 4"/>
                <a:gd name="T3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" h="9">
                  <a:moveTo>
                    <a:pt x="4" y="8"/>
                  </a:moveTo>
                  <a:cubicBezTo>
                    <a:pt x="3" y="9"/>
                    <a:pt x="3" y="9"/>
                    <a:pt x="3" y="9"/>
                  </a:cubicBezTo>
                  <a:cubicBezTo>
                    <a:pt x="2" y="9"/>
                    <a:pt x="1" y="8"/>
                    <a:pt x="1" y="7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8"/>
                    <a:pt x="2" y="8"/>
                  </a:cubicBezTo>
                  <a:cubicBezTo>
                    <a:pt x="2" y="8"/>
                    <a:pt x="3" y="8"/>
                    <a:pt x="3" y="8"/>
                  </a:cubicBezTo>
                  <a:cubicBezTo>
                    <a:pt x="3" y="8"/>
                    <a:pt x="3" y="8"/>
                    <a:pt x="4" y="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35"/>
            <p:cNvSpPr>
              <a:spLocks/>
            </p:cNvSpPr>
            <p:nvPr/>
          </p:nvSpPr>
          <p:spPr bwMode="auto">
            <a:xfrm>
              <a:off x="4016" y="2633"/>
              <a:ext cx="292" cy="717"/>
            </a:xfrm>
            <a:custGeom>
              <a:avLst/>
              <a:gdLst>
                <a:gd name="T0" fmla="*/ 114 w 114"/>
                <a:gd name="T1" fmla="*/ 266 h 279"/>
                <a:gd name="T2" fmla="*/ 101 w 114"/>
                <a:gd name="T3" fmla="*/ 279 h 279"/>
                <a:gd name="T4" fmla="*/ 13 w 114"/>
                <a:gd name="T5" fmla="*/ 279 h 279"/>
                <a:gd name="T6" fmla="*/ 0 w 114"/>
                <a:gd name="T7" fmla="*/ 266 h 279"/>
                <a:gd name="T8" fmla="*/ 0 w 114"/>
                <a:gd name="T9" fmla="*/ 13 h 279"/>
                <a:gd name="T10" fmla="*/ 13 w 114"/>
                <a:gd name="T11" fmla="*/ 0 h 279"/>
                <a:gd name="T12" fmla="*/ 101 w 114"/>
                <a:gd name="T13" fmla="*/ 0 h 279"/>
                <a:gd name="T14" fmla="*/ 114 w 114"/>
                <a:gd name="T15" fmla="*/ 13 h 279"/>
                <a:gd name="T16" fmla="*/ 114 w 114"/>
                <a:gd name="T17" fmla="*/ 266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4" h="279">
                  <a:moveTo>
                    <a:pt x="114" y="266"/>
                  </a:moveTo>
                  <a:cubicBezTo>
                    <a:pt x="114" y="273"/>
                    <a:pt x="108" y="279"/>
                    <a:pt x="101" y="279"/>
                  </a:cubicBezTo>
                  <a:cubicBezTo>
                    <a:pt x="13" y="279"/>
                    <a:pt x="13" y="279"/>
                    <a:pt x="13" y="279"/>
                  </a:cubicBezTo>
                  <a:cubicBezTo>
                    <a:pt x="6" y="279"/>
                    <a:pt x="0" y="273"/>
                    <a:pt x="0" y="266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8" y="0"/>
                    <a:pt x="114" y="6"/>
                    <a:pt x="114" y="13"/>
                  </a:cubicBezTo>
                  <a:lnTo>
                    <a:pt x="114" y="266"/>
                  </a:ln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Oval 36"/>
            <p:cNvSpPr>
              <a:spLocks noChangeArrowheads="1"/>
            </p:cNvSpPr>
            <p:nvPr/>
          </p:nvSpPr>
          <p:spPr bwMode="auto">
            <a:xfrm>
              <a:off x="4047" y="2987"/>
              <a:ext cx="64" cy="62"/>
            </a:xfrm>
            <a:prstGeom prst="ellipse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Rectangle 37"/>
            <p:cNvSpPr>
              <a:spLocks noChangeArrowheads="1"/>
            </p:cNvSpPr>
            <p:nvPr/>
          </p:nvSpPr>
          <p:spPr bwMode="auto">
            <a:xfrm>
              <a:off x="4016" y="2800"/>
              <a:ext cx="292" cy="10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Rectangle 38"/>
            <p:cNvSpPr>
              <a:spLocks noChangeArrowheads="1"/>
            </p:cNvSpPr>
            <p:nvPr/>
          </p:nvSpPr>
          <p:spPr bwMode="auto">
            <a:xfrm>
              <a:off x="4139" y="2800"/>
              <a:ext cx="43" cy="10"/>
            </a:xfrm>
            <a:prstGeom prst="rect">
              <a:avLst/>
            </a:prstGeom>
            <a:solidFill>
              <a:srgbClr val="E81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Oval 39"/>
            <p:cNvSpPr>
              <a:spLocks noChangeArrowheads="1"/>
            </p:cNvSpPr>
            <p:nvPr/>
          </p:nvSpPr>
          <p:spPr bwMode="auto">
            <a:xfrm>
              <a:off x="4249" y="2671"/>
              <a:ext cx="18" cy="21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0"/>
            <p:cNvSpPr>
              <a:spLocks/>
            </p:cNvSpPr>
            <p:nvPr/>
          </p:nvSpPr>
          <p:spPr bwMode="auto">
            <a:xfrm>
              <a:off x="5176" y="3255"/>
              <a:ext cx="149" cy="69"/>
            </a:xfrm>
            <a:custGeom>
              <a:avLst/>
              <a:gdLst>
                <a:gd name="T0" fmla="*/ 55 w 58"/>
                <a:gd name="T1" fmla="*/ 8 h 27"/>
                <a:gd name="T2" fmla="*/ 54 w 58"/>
                <a:gd name="T3" fmla="*/ 7 h 27"/>
                <a:gd name="T4" fmla="*/ 29 w 58"/>
                <a:gd name="T5" fmla="*/ 0 h 27"/>
                <a:gd name="T6" fmla="*/ 4 w 58"/>
                <a:gd name="T7" fmla="*/ 7 h 27"/>
                <a:gd name="T8" fmla="*/ 3 w 58"/>
                <a:gd name="T9" fmla="*/ 8 h 27"/>
                <a:gd name="T10" fmla="*/ 0 w 58"/>
                <a:gd name="T11" fmla="*/ 13 h 27"/>
                <a:gd name="T12" fmla="*/ 0 w 58"/>
                <a:gd name="T13" fmla="*/ 22 h 27"/>
                <a:gd name="T14" fmla="*/ 6 w 58"/>
                <a:gd name="T15" fmla="*/ 27 h 27"/>
                <a:gd name="T16" fmla="*/ 53 w 58"/>
                <a:gd name="T17" fmla="*/ 27 h 27"/>
                <a:gd name="T18" fmla="*/ 58 w 58"/>
                <a:gd name="T19" fmla="*/ 22 h 27"/>
                <a:gd name="T20" fmla="*/ 58 w 58"/>
                <a:gd name="T21" fmla="*/ 13 h 27"/>
                <a:gd name="T22" fmla="*/ 55 w 58"/>
                <a:gd name="T23" fmla="*/ 8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8" h="27">
                  <a:moveTo>
                    <a:pt x="55" y="8"/>
                  </a:moveTo>
                  <a:cubicBezTo>
                    <a:pt x="55" y="8"/>
                    <a:pt x="55" y="8"/>
                    <a:pt x="54" y="7"/>
                  </a:cubicBezTo>
                  <a:cubicBezTo>
                    <a:pt x="47" y="3"/>
                    <a:pt x="38" y="0"/>
                    <a:pt x="29" y="0"/>
                  </a:cubicBezTo>
                  <a:cubicBezTo>
                    <a:pt x="20" y="0"/>
                    <a:pt x="11" y="3"/>
                    <a:pt x="4" y="7"/>
                  </a:cubicBezTo>
                  <a:cubicBezTo>
                    <a:pt x="4" y="8"/>
                    <a:pt x="3" y="8"/>
                    <a:pt x="3" y="8"/>
                  </a:cubicBezTo>
                  <a:cubicBezTo>
                    <a:pt x="1" y="9"/>
                    <a:pt x="0" y="11"/>
                    <a:pt x="0" y="1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5"/>
                    <a:pt x="3" y="27"/>
                    <a:pt x="6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6" y="27"/>
                    <a:pt x="58" y="25"/>
                    <a:pt x="58" y="22"/>
                  </a:cubicBezTo>
                  <a:cubicBezTo>
                    <a:pt x="58" y="13"/>
                    <a:pt x="58" y="13"/>
                    <a:pt x="58" y="13"/>
                  </a:cubicBezTo>
                  <a:cubicBezTo>
                    <a:pt x="58" y="11"/>
                    <a:pt x="57" y="9"/>
                    <a:pt x="55" y="8"/>
                  </a:cubicBez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41"/>
            <p:cNvSpPr>
              <a:spLocks/>
            </p:cNvSpPr>
            <p:nvPr/>
          </p:nvSpPr>
          <p:spPr bwMode="auto">
            <a:xfrm>
              <a:off x="5245" y="3249"/>
              <a:ext cx="13" cy="42"/>
            </a:xfrm>
            <a:custGeom>
              <a:avLst/>
              <a:gdLst>
                <a:gd name="T0" fmla="*/ 5 w 5"/>
                <a:gd name="T1" fmla="*/ 13 h 16"/>
                <a:gd name="T2" fmla="*/ 2 w 5"/>
                <a:gd name="T3" fmla="*/ 16 h 16"/>
                <a:gd name="T4" fmla="*/ 2 w 5"/>
                <a:gd name="T5" fmla="*/ 16 h 16"/>
                <a:gd name="T6" fmla="*/ 0 w 5"/>
                <a:gd name="T7" fmla="*/ 13 h 16"/>
                <a:gd name="T8" fmla="*/ 0 w 5"/>
                <a:gd name="T9" fmla="*/ 2 h 16"/>
                <a:gd name="T10" fmla="*/ 2 w 5"/>
                <a:gd name="T11" fmla="*/ 0 h 16"/>
                <a:gd name="T12" fmla="*/ 2 w 5"/>
                <a:gd name="T13" fmla="*/ 0 h 16"/>
                <a:gd name="T14" fmla="*/ 5 w 5"/>
                <a:gd name="T15" fmla="*/ 2 h 16"/>
                <a:gd name="T16" fmla="*/ 5 w 5"/>
                <a:gd name="T17" fmla="*/ 1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16">
                  <a:moveTo>
                    <a:pt x="5" y="13"/>
                  </a:moveTo>
                  <a:cubicBezTo>
                    <a:pt x="5" y="15"/>
                    <a:pt x="4" y="16"/>
                    <a:pt x="2" y="16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1" y="16"/>
                    <a:pt x="0" y="15"/>
                    <a:pt x="0" y="1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4" y="0"/>
                    <a:pt x="5" y="1"/>
                    <a:pt x="5" y="2"/>
                  </a:cubicBezTo>
                  <a:lnTo>
                    <a:pt x="5" y="13"/>
                  </a:lnTo>
                  <a:close/>
                </a:path>
              </a:pathLst>
            </a:cu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42"/>
            <p:cNvSpPr>
              <a:spLocks/>
            </p:cNvSpPr>
            <p:nvPr/>
          </p:nvSpPr>
          <p:spPr bwMode="auto">
            <a:xfrm>
              <a:off x="4410" y="3278"/>
              <a:ext cx="741" cy="64"/>
            </a:xfrm>
            <a:custGeom>
              <a:avLst/>
              <a:gdLst>
                <a:gd name="T0" fmla="*/ 741 w 741"/>
                <a:gd name="T1" fmla="*/ 64 h 64"/>
                <a:gd name="T2" fmla="*/ 0 w 741"/>
                <a:gd name="T3" fmla="*/ 64 h 64"/>
                <a:gd name="T4" fmla="*/ 59 w 741"/>
                <a:gd name="T5" fmla="*/ 0 h 64"/>
                <a:gd name="T6" fmla="*/ 679 w 741"/>
                <a:gd name="T7" fmla="*/ 0 h 64"/>
                <a:gd name="T8" fmla="*/ 741 w 741"/>
                <a:gd name="T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1" h="64">
                  <a:moveTo>
                    <a:pt x="741" y="64"/>
                  </a:moveTo>
                  <a:lnTo>
                    <a:pt x="0" y="64"/>
                  </a:lnTo>
                  <a:lnTo>
                    <a:pt x="59" y="0"/>
                  </a:lnTo>
                  <a:lnTo>
                    <a:pt x="679" y="0"/>
                  </a:lnTo>
                  <a:lnTo>
                    <a:pt x="741" y="64"/>
                  </a:lnTo>
                  <a:close/>
                </a:path>
              </a:pathLst>
            </a:cu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Rectangle 43"/>
            <p:cNvSpPr>
              <a:spLocks noChangeArrowheads="1"/>
            </p:cNvSpPr>
            <p:nvPr/>
          </p:nvSpPr>
          <p:spPr bwMode="auto">
            <a:xfrm>
              <a:off x="4410" y="3342"/>
              <a:ext cx="741" cy="15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44"/>
            <p:cNvSpPr>
              <a:spLocks/>
            </p:cNvSpPr>
            <p:nvPr/>
          </p:nvSpPr>
          <p:spPr bwMode="auto">
            <a:xfrm>
              <a:off x="4456" y="3291"/>
              <a:ext cx="495" cy="38"/>
            </a:xfrm>
            <a:custGeom>
              <a:avLst/>
              <a:gdLst>
                <a:gd name="T0" fmla="*/ 474 w 495"/>
                <a:gd name="T1" fmla="*/ 0 h 38"/>
                <a:gd name="T2" fmla="*/ 34 w 495"/>
                <a:gd name="T3" fmla="*/ 0 h 38"/>
                <a:gd name="T4" fmla="*/ 0 w 495"/>
                <a:gd name="T5" fmla="*/ 38 h 38"/>
                <a:gd name="T6" fmla="*/ 495 w 495"/>
                <a:gd name="T7" fmla="*/ 38 h 38"/>
                <a:gd name="T8" fmla="*/ 474 w 495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5" h="38">
                  <a:moveTo>
                    <a:pt x="474" y="0"/>
                  </a:moveTo>
                  <a:lnTo>
                    <a:pt x="34" y="0"/>
                  </a:lnTo>
                  <a:lnTo>
                    <a:pt x="0" y="38"/>
                  </a:lnTo>
                  <a:lnTo>
                    <a:pt x="495" y="38"/>
                  </a:lnTo>
                  <a:lnTo>
                    <a:pt x="474" y="0"/>
                  </a:ln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45"/>
            <p:cNvSpPr>
              <a:spLocks/>
            </p:cNvSpPr>
            <p:nvPr/>
          </p:nvSpPr>
          <p:spPr bwMode="auto">
            <a:xfrm>
              <a:off x="4948" y="3291"/>
              <a:ext cx="154" cy="38"/>
            </a:xfrm>
            <a:custGeom>
              <a:avLst/>
              <a:gdLst>
                <a:gd name="T0" fmla="*/ 0 w 154"/>
                <a:gd name="T1" fmla="*/ 0 h 38"/>
                <a:gd name="T2" fmla="*/ 121 w 154"/>
                <a:gd name="T3" fmla="*/ 0 h 38"/>
                <a:gd name="T4" fmla="*/ 154 w 154"/>
                <a:gd name="T5" fmla="*/ 38 h 38"/>
                <a:gd name="T6" fmla="*/ 26 w 154"/>
                <a:gd name="T7" fmla="*/ 38 h 38"/>
                <a:gd name="T8" fmla="*/ 0 w 154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4" h="38">
                  <a:moveTo>
                    <a:pt x="0" y="0"/>
                  </a:moveTo>
                  <a:lnTo>
                    <a:pt x="121" y="0"/>
                  </a:lnTo>
                  <a:lnTo>
                    <a:pt x="154" y="38"/>
                  </a:lnTo>
                  <a:lnTo>
                    <a:pt x="26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Rectangle 46"/>
            <p:cNvSpPr>
              <a:spLocks noChangeArrowheads="1"/>
            </p:cNvSpPr>
            <p:nvPr/>
          </p:nvSpPr>
          <p:spPr bwMode="auto">
            <a:xfrm>
              <a:off x="4459" y="3314"/>
              <a:ext cx="643" cy="5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Rectangle 47"/>
            <p:cNvSpPr>
              <a:spLocks noChangeArrowheads="1"/>
            </p:cNvSpPr>
            <p:nvPr/>
          </p:nvSpPr>
          <p:spPr bwMode="auto">
            <a:xfrm>
              <a:off x="4459" y="3301"/>
              <a:ext cx="643" cy="2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809836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>
            <a:grpSpLocks noChangeAspect="1"/>
          </p:cNvGrpSpPr>
          <p:nvPr/>
        </p:nvGrpSpPr>
        <p:grpSpPr bwMode="auto">
          <a:xfrm>
            <a:off x="2896892" y="2355269"/>
            <a:ext cx="6395366" cy="2144613"/>
            <a:chOff x="3749" y="2915"/>
            <a:chExt cx="4488" cy="1505"/>
          </a:xfrm>
        </p:grpSpPr>
        <p:sp>
          <p:nvSpPr>
            <p:cNvPr id="3" name="AutoShape 3"/>
            <p:cNvSpPr>
              <a:spLocks noChangeAspect="1" noChangeArrowheads="1" noTextEdit="1"/>
            </p:cNvSpPr>
            <p:nvPr/>
          </p:nvSpPr>
          <p:spPr bwMode="auto">
            <a:xfrm>
              <a:off x="3751" y="2917"/>
              <a:ext cx="4486" cy="15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505050"/>
                </a:solidFill>
              </a:endParaRPr>
            </a:p>
          </p:txBody>
        </p:sp>
        <p:sp>
          <p:nvSpPr>
            <p:cNvPr id="4" name="Freeform 3"/>
            <p:cNvSpPr>
              <a:spLocks/>
            </p:cNvSpPr>
            <p:nvPr/>
          </p:nvSpPr>
          <p:spPr bwMode="auto">
            <a:xfrm>
              <a:off x="6119" y="3534"/>
              <a:ext cx="199" cy="340"/>
            </a:xfrm>
            <a:custGeom>
              <a:avLst/>
              <a:gdLst>
                <a:gd name="T0" fmla="*/ 84 w 84"/>
                <a:gd name="T1" fmla="*/ 138 h 143"/>
                <a:gd name="T2" fmla="*/ 78 w 84"/>
                <a:gd name="T3" fmla="*/ 143 h 143"/>
                <a:gd name="T4" fmla="*/ 6 w 84"/>
                <a:gd name="T5" fmla="*/ 143 h 143"/>
                <a:gd name="T6" fmla="*/ 0 w 84"/>
                <a:gd name="T7" fmla="*/ 138 h 143"/>
                <a:gd name="T8" fmla="*/ 0 w 84"/>
                <a:gd name="T9" fmla="*/ 5 h 143"/>
                <a:gd name="T10" fmla="*/ 6 w 84"/>
                <a:gd name="T11" fmla="*/ 0 h 143"/>
                <a:gd name="T12" fmla="*/ 78 w 84"/>
                <a:gd name="T13" fmla="*/ 0 h 143"/>
                <a:gd name="T14" fmla="*/ 84 w 84"/>
                <a:gd name="T15" fmla="*/ 5 h 143"/>
                <a:gd name="T16" fmla="*/ 84 w 84"/>
                <a:gd name="T17" fmla="*/ 138 h 143"/>
                <a:gd name="T18" fmla="*/ 84 w 84"/>
                <a:gd name="T19" fmla="*/ 138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143">
                  <a:moveTo>
                    <a:pt x="84" y="138"/>
                  </a:moveTo>
                  <a:cubicBezTo>
                    <a:pt x="84" y="141"/>
                    <a:pt x="82" y="143"/>
                    <a:pt x="78" y="143"/>
                  </a:cubicBezTo>
                  <a:cubicBezTo>
                    <a:pt x="6" y="143"/>
                    <a:pt x="6" y="143"/>
                    <a:pt x="6" y="143"/>
                  </a:cubicBezTo>
                  <a:cubicBezTo>
                    <a:pt x="3" y="143"/>
                    <a:pt x="0" y="141"/>
                    <a:pt x="0" y="138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2" y="0"/>
                    <a:pt x="84" y="2"/>
                    <a:pt x="84" y="5"/>
                  </a:cubicBezTo>
                  <a:cubicBezTo>
                    <a:pt x="84" y="138"/>
                    <a:pt x="84" y="138"/>
                    <a:pt x="84" y="138"/>
                  </a:cubicBezTo>
                  <a:cubicBezTo>
                    <a:pt x="84" y="138"/>
                    <a:pt x="84" y="138"/>
                    <a:pt x="84" y="138"/>
                  </a:cubicBezTo>
                  <a:close/>
                </a:path>
              </a:pathLst>
            </a:custGeom>
            <a:solidFill>
              <a:srgbClr val="0082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505050"/>
                </a:solidFill>
              </a:endParaRPr>
            </a:p>
          </p:txBody>
        </p:sp>
        <p:sp>
          <p:nvSpPr>
            <p:cNvPr id="5" name="Freeform 4"/>
            <p:cNvSpPr>
              <a:spLocks/>
            </p:cNvSpPr>
            <p:nvPr/>
          </p:nvSpPr>
          <p:spPr bwMode="auto">
            <a:xfrm>
              <a:off x="6138" y="3553"/>
              <a:ext cx="161" cy="269"/>
            </a:xfrm>
            <a:custGeom>
              <a:avLst/>
              <a:gdLst>
                <a:gd name="T0" fmla="*/ 0 w 161"/>
                <a:gd name="T1" fmla="*/ 0 h 269"/>
                <a:gd name="T2" fmla="*/ 161 w 161"/>
                <a:gd name="T3" fmla="*/ 0 h 269"/>
                <a:gd name="T4" fmla="*/ 161 w 161"/>
                <a:gd name="T5" fmla="*/ 269 h 269"/>
                <a:gd name="T6" fmla="*/ 0 w 161"/>
                <a:gd name="T7" fmla="*/ 269 h 269"/>
                <a:gd name="T8" fmla="*/ 0 w 161"/>
                <a:gd name="T9" fmla="*/ 0 h 269"/>
                <a:gd name="T10" fmla="*/ 0 w 161"/>
                <a:gd name="T11" fmla="*/ 0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269">
                  <a:moveTo>
                    <a:pt x="0" y="0"/>
                  </a:moveTo>
                  <a:lnTo>
                    <a:pt x="161" y="0"/>
                  </a:lnTo>
                  <a:lnTo>
                    <a:pt x="161" y="269"/>
                  </a:lnTo>
                  <a:lnTo>
                    <a:pt x="0" y="269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505050"/>
                </a:solidFill>
              </a:endParaRPr>
            </a:p>
          </p:txBody>
        </p:sp>
        <p:sp>
          <p:nvSpPr>
            <p:cNvPr id="6" name="Freeform 5"/>
            <p:cNvSpPr>
              <a:spLocks/>
            </p:cNvSpPr>
            <p:nvPr/>
          </p:nvSpPr>
          <p:spPr bwMode="auto">
            <a:xfrm>
              <a:off x="6044" y="3406"/>
              <a:ext cx="210" cy="361"/>
            </a:xfrm>
            <a:custGeom>
              <a:avLst/>
              <a:gdLst>
                <a:gd name="T0" fmla="*/ 89 w 89"/>
                <a:gd name="T1" fmla="*/ 147 h 152"/>
                <a:gd name="T2" fmla="*/ 83 w 89"/>
                <a:gd name="T3" fmla="*/ 152 h 152"/>
                <a:gd name="T4" fmla="*/ 6 w 89"/>
                <a:gd name="T5" fmla="*/ 152 h 152"/>
                <a:gd name="T6" fmla="*/ 0 w 89"/>
                <a:gd name="T7" fmla="*/ 147 h 152"/>
                <a:gd name="T8" fmla="*/ 0 w 89"/>
                <a:gd name="T9" fmla="*/ 6 h 152"/>
                <a:gd name="T10" fmla="*/ 6 w 89"/>
                <a:gd name="T11" fmla="*/ 0 h 152"/>
                <a:gd name="T12" fmla="*/ 83 w 89"/>
                <a:gd name="T13" fmla="*/ 0 h 152"/>
                <a:gd name="T14" fmla="*/ 89 w 89"/>
                <a:gd name="T15" fmla="*/ 6 h 152"/>
                <a:gd name="T16" fmla="*/ 89 w 89"/>
                <a:gd name="T17" fmla="*/ 147 h 152"/>
                <a:gd name="T18" fmla="*/ 89 w 89"/>
                <a:gd name="T19" fmla="*/ 147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152">
                  <a:moveTo>
                    <a:pt x="89" y="147"/>
                  </a:moveTo>
                  <a:cubicBezTo>
                    <a:pt x="89" y="150"/>
                    <a:pt x="86" y="152"/>
                    <a:pt x="83" y="152"/>
                  </a:cubicBezTo>
                  <a:cubicBezTo>
                    <a:pt x="6" y="152"/>
                    <a:pt x="6" y="152"/>
                    <a:pt x="6" y="152"/>
                  </a:cubicBezTo>
                  <a:cubicBezTo>
                    <a:pt x="2" y="152"/>
                    <a:pt x="0" y="150"/>
                    <a:pt x="0" y="14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6" y="0"/>
                    <a:pt x="89" y="2"/>
                    <a:pt x="89" y="6"/>
                  </a:cubicBezTo>
                  <a:cubicBezTo>
                    <a:pt x="89" y="147"/>
                    <a:pt x="89" y="147"/>
                    <a:pt x="89" y="147"/>
                  </a:cubicBezTo>
                  <a:cubicBezTo>
                    <a:pt x="89" y="147"/>
                    <a:pt x="89" y="147"/>
                    <a:pt x="89" y="147"/>
                  </a:cubicBezTo>
                  <a:close/>
                </a:path>
              </a:pathLst>
            </a:custGeom>
            <a:solidFill>
              <a:srgbClr val="0072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505050"/>
                </a:solidFill>
              </a:endParaRPr>
            </a:p>
          </p:txBody>
        </p:sp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6063" y="3427"/>
              <a:ext cx="170" cy="285"/>
            </a:xfrm>
            <a:custGeom>
              <a:avLst/>
              <a:gdLst>
                <a:gd name="T0" fmla="*/ 0 w 170"/>
                <a:gd name="T1" fmla="*/ 0 h 285"/>
                <a:gd name="T2" fmla="*/ 170 w 170"/>
                <a:gd name="T3" fmla="*/ 0 h 285"/>
                <a:gd name="T4" fmla="*/ 170 w 170"/>
                <a:gd name="T5" fmla="*/ 285 h 285"/>
                <a:gd name="T6" fmla="*/ 0 w 170"/>
                <a:gd name="T7" fmla="*/ 285 h 285"/>
                <a:gd name="T8" fmla="*/ 0 w 170"/>
                <a:gd name="T9" fmla="*/ 0 h 285"/>
                <a:gd name="T10" fmla="*/ 0 w 170"/>
                <a:gd name="T11" fmla="*/ 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0" h="285">
                  <a:moveTo>
                    <a:pt x="0" y="0"/>
                  </a:moveTo>
                  <a:lnTo>
                    <a:pt x="170" y="0"/>
                  </a:lnTo>
                  <a:lnTo>
                    <a:pt x="170" y="285"/>
                  </a:lnTo>
                  <a:lnTo>
                    <a:pt x="0" y="28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505050"/>
                </a:solidFill>
              </a:endParaRPr>
            </a:p>
          </p:txBody>
        </p:sp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6633" y="3311"/>
              <a:ext cx="409" cy="929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505050"/>
                </a:solidFill>
              </a:endParaRPr>
            </a:p>
          </p:txBody>
        </p:sp>
        <p:sp>
          <p:nvSpPr>
            <p:cNvPr id="9" name="Rectangle 8"/>
            <p:cNvSpPr>
              <a:spLocks noChangeArrowheads="1"/>
            </p:cNvSpPr>
            <p:nvPr/>
          </p:nvSpPr>
          <p:spPr bwMode="auto">
            <a:xfrm>
              <a:off x="6742" y="3076"/>
              <a:ext cx="224" cy="805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505050"/>
                </a:solidFill>
              </a:endParaRPr>
            </a:p>
          </p:txBody>
        </p:sp>
        <p:sp>
          <p:nvSpPr>
            <p:cNvPr id="10" name="Rectangle 9"/>
            <p:cNvSpPr>
              <a:spLocks noChangeArrowheads="1"/>
            </p:cNvSpPr>
            <p:nvPr/>
          </p:nvSpPr>
          <p:spPr bwMode="auto">
            <a:xfrm>
              <a:off x="6510" y="3582"/>
              <a:ext cx="163" cy="658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505050"/>
                </a:solidFill>
              </a:endParaRPr>
            </a:p>
          </p:txBody>
        </p:sp>
        <p:sp>
          <p:nvSpPr>
            <p:cNvPr id="11" name="Rectangle 10"/>
            <p:cNvSpPr>
              <a:spLocks noChangeArrowheads="1"/>
            </p:cNvSpPr>
            <p:nvPr/>
          </p:nvSpPr>
          <p:spPr bwMode="auto">
            <a:xfrm>
              <a:off x="7851" y="3190"/>
              <a:ext cx="163" cy="501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505050"/>
                </a:solidFill>
              </a:endParaRPr>
            </a:p>
          </p:txBody>
        </p:sp>
        <p:sp>
          <p:nvSpPr>
            <p:cNvPr id="12" name="Rectangle 11"/>
            <p:cNvSpPr>
              <a:spLocks noChangeArrowheads="1"/>
            </p:cNvSpPr>
            <p:nvPr/>
          </p:nvSpPr>
          <p:spPr bwMode="auto">
            <a:xfrm>
              <a:off x="7499" y="3606"/>
              <a:ext cx="433" cy="634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505050"/>
                </a:solidFill>
              </a:endParaRPr>
            </a:p>
          </p:txBody>
        </p:sp>
        <p:sp>
          <p:nvSpPr>
            <p:cNvPr id="13" name="Rectangle 12"/>
            <p:cNvSpPr>
              <a:spLocks noChangeArrowheads="1"/>
            </p:cNvSpPr>
            <p:nvPr/>
          </p:nvSpPr>
          <p:spPr bwMode="auto">
            <a:xfrm>
              <a:off x="7856" y="3912"/>
              <a:ext cx="315" cy="472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505050"/>
                </a:solidFill>
              </a:endParaRPr>
            </a:p>
          </p:txBody>
        </p:sp>
        <p:sp>
          <p:nvSpPr>
            <p:cNvPr id="14" name="Rectangle 13"/>
            <p:cNvSpPr>
              <a:spLocks noChangeArrowheads="1"/>
            </p:cNvSpPr>
            <p:nvPr/>
          </p:nvSpPr>
          <p:spPr bwMode="auto">
            <a:xfrm>
              <a:off x="7745" y="3311"/>
              <a:ext cx="314" cy="1031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505050"/>
                </a:solidFill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4506" y="3147"/>
              <a:ext cx="260" cy="777"/>
            </a:xfrm>
            <a:custGeom>
              <a:avLst/>
              <a:gdLst>
                <a:gd name="T0" fmla="*/ 144 w 260"/>
                <a:gd name="T1" fmla="*/ 0 h 777"/>
                <a:gd name="T2" fmla="*/ 0 w 260"/>
                <a:gd name="T3" fmla="*/ 777 h 777"/>
                <a:gd name="T4" fmla="*/ 260 w 260"/>
                <a:gd name="T5" fmla="*/ 777 h 777"/>
                <a:gd name="T6" fmla="*/ 144 w 260"/>
                <a:gd name="T7" fmla="*/ 0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0" h="777">
                  <a:moveTo>
                    <a:pt x="144" y="0"/>
                  </a:moveTo>
                  <a:lnTo>
                    <a:pt x="0" y="777"/>
                  </a:lnTo>
                  <a:lnTo>
                    <a:pt x="260" y="777"/>
                  </a:lnTo>
                  <a:lnTo>
                    <a:pt x="144" y="0"/>
                  </a:lnTo>
                  <a:close/>
                </a:path>
              </a:pathLst>
            </a:custGeom>
            <a:solidFill>
              <a:srgbClr val="79A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505050"/>
                </a:solidFill>
              </a:endParaRPr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4721" y="3328"/>
              <a:ext cx="201" cy="596"/>
            </a:xfrm>
            <a:custGeom>
              <a:avLst/>
              <a:gdLst>
                <a:gd name="T0" fmla="*/ 111 w 201"/>
                <a:gd name="T1" fmla="*/ 0 h 596"/>
                <a:gd name="T2" fmla="*/ 0 w 201"/>
                <a:gd name="T3" fmla="*/ 596 h 596"/>
                <a:gd name="T4" fmla="*/ 201 w 201"/>
                <a:gd name="T5" fmla="*/ 596 h 596"/>
                <a:gd name="T6" fmla="*/ 111 w 201"/>
                <a:gd name="T7" fmla="*/ 0 h 5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1" h="596">
                  <a:moveTo>
                    <a:pt x="111" y="0"/>
                  </a:moveTo>
                  <a:lnTo>
                    <a:pt x="0" y="596"/>
                  </a:lnTo>
                  <a:lnTo>
                    <a:pt x="201" y="596"/>
                  </a:lnTo>
                  <a:lnTo>
                    <a:pt x="111" y="0"/>
                  </a:lnTo>
                  <a:close/>
                </a:path>
              </a:pathLst>
            </a:custGeom>
            <a:solidFill>
              <a:srgbClr val="7FB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50505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5781" y="3907"/>
              <a:ext cx="2454" cy="511"/>
            </a:xfrm>
            <a:custGeom>
              <a:avLst/>
              <a:gdLst>
                <a:gd name="T0" fmla="*/ 641 w 1037"/>
                <a:gd name="T1" fmla="*/ 10 h 215"/>
                <a:gd name="T2" fmla="*/ 629 w 1037"/>
                <a:gd name="T3" fmla="*/ 8 h 215"/>
                <a:gd name="T4" fmla="*/ 601 w 1037"/>
                <a:gd name="T5" fmla="*/ 5 h 215"/>
                <a:gd name="T6" fmla="*/ 544 w 1037"/>
                <a:gd name="T7" fmla="*/ 1 h 215"/>
                <a:gd name="T8" fmla="*/ 512 w 1037"/>
                <a:gd name="T9" fmla="*/ 0 h 215"/>
                <a:gd name="T10" fmla="*/ 0 w 1037"/>
                <a:gd name="T11" fmla="*/ 215 h 215"/>
                <a:gd name="T12" fmla="*/ 367 w 1037"/>
                <a:gd name="T13" fmla="*/ 215 h 215"/>
                <a:gd name="T14" fmla="*/ 1037 w 1037"/>
                <a:gd name="T15" fmla="*/ 215 h 215"/>
                <a:gd name="T16" fmla="*/ 641 w 1037"/>
                <a:gd name="T17" fmla="*/ 10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37" h="215">
                  <a:moveTo>
                    <a:pt x="641" y="10"/>
                  </a:moveTo>
                  <a:cubicBezTo>
                    <a:pt x="637" y="10"/>
                    <a:pt x="633" y="9"/>
                    <a:pt x="629" y="8"/>
                  </a:cubicBezTo>
                  <a:cubicBezTo>
                    <a:pt x="620" y="7"/>
                    <a:pt x="611" y="6"/>
                    <a:pt x="601" y="5"/>
                  </a:cubicBezTo>
                  <a:cubicBezTo>
                    <a:pt x="582" y="2"/>
                    <a:pt x="563" y="1"/>
                    <a:pt x="544" y="1"/>
                  </a:cubicBezTo>
                  <a:cubicBezTo>
                    <a:pt x="533" y="0"/>
                    <a:pt x="523" y="0"/>
                    <a:pt x="512" y="0"/>
                  </a:cubicBezTo>
                  <a:cubicBezTo>
                    <a:pt x="327" y="2"/>
                    <a:pt x="142" y="73"/>
                    <a:pt x="0" y="215"/>
                  </a:cubicBezTo>
                  <a:cubicBezTo>
                    <a:pt x="367" y="215"/>
                    <a:pt x="367" y="215"/>
                    <a:pt x="367" y="215"/>
                  </a:cubicBezTo>
                  <a:cubicBezTo>
                    <a:pt x="1037" y="215"/>
                    <a:pt x="1037" y="215"/>
                    <a:pt x="1037" y="215"/>
                  </a:cubicBezTo>
                  <a:cubicBezTo>
                    <a:pt x="925" y="103"/>
                    <a:pt x="786" y="35"/>
                    <a:pt x="641" y="10"/>
                  </a:cubicBezTo>
                  <a:close/>
                </a:path>
              </a:pathLst>
            </a:custGeom>
            <a:solidFill>
              <a:srgbClr val="7FB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505050"/>
                </a:solidFill>
              </a:endParaRPr>
            </a:p>
          </p:txBody>
        </p:sp>
        <p:sp>
          <p:nvSpPr>
            <p:cNvPr id="18" name="Freeform 17"/>
            <p:cNvSpPr>
              <a:spLocks/>
            </p:cNvSpPr>
            <p:nvPr/>
          </p:nvSpPr>
          <p:spPr bwMode="auto">
            <a:xfrm>
              <a:off x="3749" y="3632"/>
              <a:ext cx="3773" cy="786"/>
            </a:xfrm>
            <a:custGeom>
              <a:avLst/>
              <a:gdLst>
                <a:gd name="T0" fmla="*/ 985 w 1595"/>
                <a:gd name="T1" fmla="*/ 16 h 331"/>
                <a:gd name="T2" fmla="*/ 968 w 1595"/>
                <a:gd name="T3" fmla="*/ 13 h 331"/>
                <a:gd name="T4" fmla="*/ 925 w 1595"/>
                <a:gd name="T5" fmla="*/ 7 h 331"/>
                <a:gd name="T6" fmla="*/ 836 w 1595"/>
                <a:gd name="T7" fmla="*/ 1 h 331"/>
                <a:gd name="T8" fmla="*/ 788 w 1595"/>
                <a:gd name="T9" fmla="*/ 0 h 331"/>
                <a:gd name="T10" fmla="*/ 0 w 1595"/>
                <a:gd name="T11" fmla="*/ 331 h 331"/>
                <a:gd name="T12" fmla="*/ 564 w 1595"/>
                <a:gd name="T13" fmla="*/ 331 h 331"/>
                <a:gd name="T14" fmla="*/ 1595 w 1595"/>
                <a:gd name="T15" fmla="*/ 331 h 331"/>
                <a:gd name="T16" fmla="*/ 985 w 1595"/>
                <a:gd name="T17" fmla="*/ 16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95" h="331">
                  <a:moveTo>
                    <a:pt x="985" y="16"/>
                  </a:moveTo>
                  <a:cubicBezTo>
                    <a:pt x="980" y="15"/>
                    <a:pt x="974" y="14"/>
                    <a:pt x="968" y="13"/>
                  </a:cubicBezTo>
                  <a:cubicBezTo>
                    <a:pt x="954" y="11"/>
                    <a:pt x="939" y="9"/>
                    <a:pt x="925" y="7"/>
                  </a:cubicBezTo>
                  <a:cubicBezTo>
                    <a:pt x="895" y="4"/>
                    <a:pt x="866" y="2"/>
                    <a:pt x="836" y="1"/>
                  </a:cubicBezTo>
                  <a:cubicBezTo>
                    <a:pt x="820" y="0"/>
                    <a:pt x="804" y="0"/>
                    <a:pt x="788" y="0"/>
                  </a:cubicBezTo>
                  <a:cubicBezTo>
                    <a:pt x="502" y="3"/>
                    <a:pt x="218" y="113"/>
                    <a:pt x="0" y="331"/>
                  </a:cubicBezTo>
                  <a:cubicBezTo>
                    <a:pt x="564" y="331"/>
                    <a:pt x="564" y="331"/>
                    <a:pt x="564" y="331"/>
                  </a:cubicBezTo>
                  <a:cubicBezTo>
                    <a:pt x="1595" y="331"/>
                    <a:pt x="1595" y="331"/>
                    <a:pt x="1595" y="331"/>
                  </a:cubicBezTo>
                  <a:cubicBezTo>
                    <a:pt x="1422" y="159"/>
                    <a:pt x="1208" y="54"/>
                    <a:pt x="985" y="16"/>
                  </a:cubicBezTo>
                  <a:close/>
                </a:path>
              </a:pathLst>
            </a:custGeom>
            <a:solidFill>
              <a:srgbClr val="7FB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505050"/>
                </a:solidFill>
              </a:endParaRPr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4463" y="3634"/>
              <a:ext cx="1346" cy="784"/>
            </a:xfrm>
            <a:custGeom>
              <a:avLst/>
              <a:gdLst>
                <a:gd name="T0" fmla="*/ 569 w 569"/>
                <a:gd name="T1" fmla="*/ 1 h 330"/>
                <a:gd name="T2" fmla="*/ 559 w 569"/>
                <a:gd name="T3" fmla="*/ 0 h 330"/>
                <a:gd name="T4" fmla="*/ 0 w 569"/>
                <a:gd name="T5" fmla="*/ 330 h 330"/>
                <a:gd name="T6" fmla="*/ 106 w 569"/>
                <a:gd name="T7" fmla="*/ 330 h 330"/>
                <a:gd name="T8" fmla="*/ 569 w 569"/>
                <a:gd name="T9" fmla="*/ 1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9" h="330">
                  <a:moveTo>
                    <a:pt x="569" y="1"/>
                  </a:moveTo>
                  <a:cubicBezTo>
                    <a:pt x="565" y="1"/>
                    <a:pt x="562" y="0"/>
                    <a:pt x="559" y="0"/>
                  </a:cubicBezTo>
                  <a:cubicBezTo>
                    <a:pt x="221" y="64"/>
                    <a:pt x="0" y="330"/>
                    <a:pt x="0" y="330"/>
                  </a:cubicBezTo>
                  <a:cubicBezTo>
                    <a:pt x="106" y="330"/>
                    <a:pt x="106" y="330"/>
                    <a:pt x="106" y="330"/>
                  </a:cubicBezTo>
                  <a:cubicBezTo>
                    <a:pt x="106" y="330"/>
                    <a:pt x="315" y="75"/>
                    <a:pt x="569" y="1"/>
                  </a:cubicBez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505050"/>
                </a:solidFill>
              </a:endParaRPr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5942" y="3722"/>
              <a:ext cx="442" cy="696"/>
            </a:xfrm>
            <a:custGeom>
              <a:avLst/>
              <a:gdLst>
                <a:gd name="T0" fmla="*/ 187 w 187"/>
                <a:gd name="T1" fmla="*/ 6 h 293"/>
                <a:gd name="T2" fmla="*/ 167 w 187"/>
                <a:gd name="T3" fmla="*/ 0 h 293"/>
                <a:gd name="T4" fmla="*/ 24 w 187"/>
                <a:gd name="T5" fmla="*/ 293 h 293"/>
                <a:gd name="T6" fmla="*/ 67 w 187"/>
                <a:gd name="T7" fmla="*/ 293 h 293"/>
                <a:gd name="T8" fmla="*/ 187 w 187"/>
                <a:gd name="T9" fmla="*/ 6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7" h="293">
                  <a:moveTo>
                    <a:pt x="187" y="6"/>
                  </a:moveTo>
                  <a:cubicBezTo>
                    <a:pt x="181" y="4"/>
                    <a:pt x="174" y="2"/>
                    <a:pt x="167" y="0"/>
                  </a:cubicBezTo>
                  <a:cubicBezTo>
                    <a:pt x="159" y="7"/>
                    <a:pt x="0" y="133"/>
                    <a:pt x="24" y="293"/>
                  </a:cubicBezTo>
                  <a:cubicBezTo>
                    <a:pt x="67" y="293"/>
                    <a:pt x="67" y="293"/>
                    <a:pt x="67" y="293"/>
                  </a:cubicBezTo>
                  <a:cubicBezTo>
                    <a:pt x="35" y="129"/>
                    <a:pt x="187" y="6"/>
                    <a:pt x="187" y="6"/>
                  </a:cubicBez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505050"/>
                </a:solidFill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4714" y="3636"/>
              <a:ext cx="1623" cy="782"/>
            </a:xfrm>
            <a:custGeom>
              <a:avLst/>
              <a:gdLst>
                <a:gd name="T0" fmla="*/ 686 w 686"/>
                <a:gd name="T1" fmla="*/ 36 h 329"/>
                <a:gd name="T2" fmla="*/ 463 w 686"/>
                <a:gd name="T3" fmla="*/ 0 h 329"/>
                <a:gd name="T4" fmla="*/ 0 w 686"/>
                <a:gd name="T5" fmla="*/ 329 h 329"/>
                <a:gd name="T6" fmla="*/ 543 w 686"/>
                <a:gd name="T7" fmla="*/ 329 h 329"/>
                <a:gd name="T8" fmla="*/ 686 w 686"/>
                <a:gd name="T9" fmla="*/ 36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6" h="329">
                  <a:moveTo>
                    <a:pt x="686" y="36"/>
                  </a:moveTo>
                  <a:cubicBezTo>
                    <a:pt x="613" y="17"/>
                    <a:pt x="538" y="5"/>
                    <a:pt x="463" y="0"/>
                  </a:cubicBezTo>
                  <a:cubicBezTo>
                    <a:pt x="209" y="74"/>
                    <a:pt x="0" y="329"/>
                    <a:pt x="0" y="329"/>
                  </a:cubicBezTo>
                  <a:cubicBezTo>
                    <a:pt x="543" y="329"/>
                    <a:pt x="543" y="329"/>
                    <a:pt x="543" y="329"/>
                  </a:cubicBezTo>
                  <a:cubicBezTo>
                    <a:pt x="519" y="169"/>
                    <a:pt x="678" y="43"/>
                    <a:pt x="686" y="36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505050"/>
                </a:solidFill>
              </a:endParaRPr>
            </a:p>
          </p:txBody>
        </p:sp>
        <p:sp>
          <p:nvSpPr>
            <p:cNvPr id="22" name="Rectangle 21"/>
            <p:cNvSpPr>
              <a:spLocks noChangeArrowheads="1"/>
            </p:cNvSpPr>
            <p:nvPr/>
          </p:nvSpPr>
          <p:spPr bwMode="auto">
            <a:xfrm>
              <a:off x="6820" y="2931"/>
              <a:ext cx="790" cy="1399"/>
            </a:xfrm>
            <a:prstGeom prst="rect">
              <a:avLst/>
            </a:prstGeom>
            <a:solidFill>
              <a:srgbClr val="0072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505050"/>
                </a:solidFill>
              </a:endParaRPr>
            </a:p>
          </p:txBody>
        </p:sp>
        <p:sp>
          <p:nvSpPr>
            <p:cNvPr id="23" name="Rectangle 22"/>
            <p:cNvSpPr>
              <a:spLocks noChangeArrowheads="1"/>
            </p:cNvSpPr>
            <p:nvPr/>
          </p:nvSpPr>
          <p:spPr bwMode="auto">
            <a:xfrm>
              <a:off x="7255" y="4130"/>
              <a:ext cx="102" cy="200"/>
            </a:xfrm>
            <a:prstGeom prst="rect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505050"/>
                </a:solidFill>
              </a:endParaRPr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7610" y="4161"/>
              <a:ext cx="203" cy="169"/>
            </a:xfrm>
            <a:custGeom>
              <a:avLst/>
              <a:gdLst>
                <a:gd name="T0" fmla="*/ 0 w 203"/>
                <a:gd name="T1" fmla="*/ 169 h 169"/>
                <a:gd name="T2" fmla="*/ 203 w 203"/>
                <a:gd name="T3" fmla="*/ 0 h 169"/>
                <a:gd name="T4" fmla="*/ 0 w 203"/>
                <a:gd name="T5" fmla="*/ 0 h 169"/>
                <a:gd name="T6" fmla="*/ 0 w 203"/>
                <a:gd name="T7" fmla="*/ 16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3" h="169">
                  <a:moveTo>
                    <a:pt x="0" y="169"/>
                  </a:moveTo>
                  <a:lnTo>
                    <a:pt x="203" y="0"/>
                  </a:lnTo>
                  <a:lnTo>
                    <a:pt x="0" y="0"/>
                  </a:lnTo>
                  <a:lnTo>
                    <a:pt x="0" y="169"/>
                  </a:lnTo>
                  <a:close/>
                </a:path>
              </a:pathLst>
            </a:custGeom>
            <a:solidFill>
              <a:srgbClr val="79A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505050"/>
                </a:solidFill>
              </a:endParaRPr>
            </a:p>
          </p:txBody>
        </p:sp>
        <p:sp>
          <p:nvSpPr>
            <p:cNvPr id="25" name="Freeform 24"/>
            <p:cNvSpPr>
              <a:spLocks/>
            </p:cNvSpPr>
            <p:nvPr/>
          </p:nvSpPr>
          <p:spPr bwMode="auto">
            <a:xfrm>
              <a:off x="5930" y="3741"/>
              <a:ext cx="149" cy="126"/>
            </a:xfrm>
            <a:custGeom>
              <a:avLst/>
              <a:gdLst>
                <a:gd name="T0" fmla="*/ 0 w 149"/>
                <a:gd name="T1" fmla="*/ 126 h 126"/>
                <a:gd name="T2" fmla="*/ 149 w 149"/>
                <a:gd name="T3" fmla="*/ 0 h 126"/>
                <a:gd name="T4" fmla="*/ 0 w 149"/>
                <a:gd name="T5" fmla="*/ 0 h 126"/>
                <a:gd name="T6" fmla="*/ 0 w 149"/>
                <a:gd name="T7" fmla="*/ 12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9" h="126">
                  <a:moveTo>
                    <a:pt x="0" y="126"/>
                  </a:moveTo>
                  <a:lnTo>
                    <a:pt x="149" y="0"/>
                  </a:lnTo>
                  <a:lnTo>
                    <a:pt x="0" y="0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505050"/>
                </a:solidFill>
              </a:endParaRPr>
            </a:p>
          </p:txBody>
        </p:sp>
        <p:sp>
          <p:nvSpPr>
            <p:cNvPr id="26" name="Rectangle 25"/>
            <p:cNvSpPr>
              <a:spLocks noChangeArrowheads="1"/>
            </p:cNvSpPr>
            <p:nvPr/>
          </p:nvSpPr>
          <p:spPr bwMode="auto">
            <a:xfrm>
              <a:off x="7075" y="4130"/>
              <a:ext cx="104" cy="200"/>
            </a:xfrm>
            <a:prstGeom prst="rect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505050"/>
                </a:solidFill>
              </a:endParaRPr>
            </a:p>
          </p:txBody>
        </p:sp>
        <p:sp>
          <p:nvSpPr>
            <p:cNvPr id="27" name="Rectangle 26"/>
            <p:cNvSpPr>
              <a:spLocks noChangeArrowheads="1"/>
            </p:cNvSpPr>
            <p:nvPr/>
          </p:nvSpPr>
          <p:spPr bwMode="auto">
            <a:xfrm>
              <a:off x="6898" y="3430"/>
              <a:ext cx="639" cy="102"/>
            </a:xfrm>
            <a:prstGeom prst="rect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505050"/>
                </a:solidFill>
              </a:endParaRPr>
            </a:p>
          </p:txBody>
        </p:sp>
        <p:sp>
          <p:nvSpPr>
            <p:cNvPr id="28" name="Rectangle 27"/>
            <p:cNvSpPr>
              <a:spLocks noChangeArrowheads="1"/>
            </p:cNvSpPr>
            <p:nvPr/>
          </p:nvSpPr>
          <p:spPr bwMode="auto">
            <a:xfrm>
              <a:off x="6898" y="3608"/>
              <a:ext cx="639" cy="102"/>
            </a:xfrm>
            <a:prstGeom prst="rect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505050"/>
                </a:solidFill>
              </a:endParaRPr>
            </a:p>
          </p:txBody>
        </p:sp>
        <p:sp>
          <p:nvSpPr>
            <p:cNvPr id="29" name="Rectangle 28"/>
            <p:cNvSpPr>
              <a:spLocks noChangeArrowheads="1"/>
            </p:cNvSpPr>
            <p:nvPr/>
          </p:nvSpPr>
          <p:spPr bwMode="auto">
            <a:xfrm>
              <a:off x="6898" y="3786"/>
              <a:ext cx="639" cy="102"/>
            </a:xfrm>
            <a:prstGeom prst="rect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505050"/>
                </a:solidFill>
              </a:endParaRPr>
            </a:p>
          </p:txBody>
        </p:sp>
        <p:sp>
          <p:nvSpPr>
            <p:cNvPr id="30" name="Rectangle 29"/>
            <p:cNvSpPr>
              <a:spLocks noChangeArrowheads="1"/>
            </p:cNvSpPr>
            <p:nvPr/>
          </p:nvSpPr>
          <p:spPr bwMode="auto">
            <a:xfrm>
              <a:off x="6898" y="3964"/>
              <a:ext cx="639" cy="102"/>
            </a:xfrm>
            <a:prstGeom prst="rect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505050"/>
                </a:solidFill>
              </a:endParaRPr>
            </a:p>
          </p:txBody>
        </p:sp>
        <p:sp>
          <p:nvSpPr>
            <p:cNvPr id="31" name="Rectangle 30"/>
            <p:cNvSpPr>
              <a:spLocks noChangeArrowheads="1"/>
            </p:cNvSpPr>
            <p:nvPr/>
          </p:nvSpPr>
          <p:spPr bwMode="auto">
            <a:xfrm>
              <a:off x="6898" y="3074"/>
              <a:ext cx="639" cy="102"/>
            </a:xfrm>
            <a:prstGeom prst="rect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505050"/>
                </a:solidFill>
              </a:endParaRPr>
            </a:p>
          </p:txBody>
        </p:sp>
        <p:sp>
          <p:nvSpPr>
            <p:cNvPr id="32" name="Rectangle 31"/>
            <p:cNvSpPr>
              <a:spLocks noChangeArrowheads="1"/>
            </p:cNvSpPr>
            <p:nvPr/>
          </p:nvSpPr>
          <p:spPr bwMode="auto">
            <a:xfrm>
              <a:off x="6898" y="3252"/>
              <a:ext cx="639" cy="102"/>
            </a:xfrm>
            <a:prstGeom prst="rect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505050"/>
                </a:solidFill>
              </a:endParaRPr>
            </a:p>
          </p:txBody>
        </p:sp>
        <p:sp>
          <p:nvSpPr>
            <p:cNvPr id="33" name="Rectangle 32"/>
            <p:cNvSpPr>
              <a:spLocks noChangeArrowheads="1"/>
            </p:cNvSpPr>
            <p:nvPr/>
          </p:nvSpPr>
          <p:spPr bwMode="auto">
            <a:xfrm>
              <a:off x="5795" y="3154"/>
              <a:ext cx="362" cy="554"/>
            </a:xfrm>
            <a:prstGeom prst="rect">
              <a:avLst/>
            </a:prstGeom>
            <a:solidFill>
              <a:srgbClr val="9B4F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505050"/>
                </a:solidFill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auto">
            <a:xfrm>
              <a:off x="5833" y="3214"/>
              <a:ext cx="286" cy="50"/>
            </a:xfrm>
            <a:custGeom>
              <a:avLst/>
              <a:gdLst>
                <a:gd name="T0" fmla="*/ 10 w 121"/>
                <a:gd name="T1" fmla="*/ 0 h 21"/>
                <a:gd name="T2" fmla="*/ 0 w 121"/>
                <a:gd name="T3" fmla="*/ 9 h 21"/>
                <a:gd name="T4" fmla="*/ 0 w 121"/>
                <a:gd name="T5" fmla="*/ 11 h 21"/>
                <a:gd name="T6" fmla="*/ 10 w 121"/>
                <a:gd name="T7" fmla="*/ 21 h 21"/>
                <a:gd name="T8" fmla="*/ 111 w 121"/>
                <a:gd name="T9" fmla="*/ 21 h 21"/>
                <a:gd name="T10" fmla="*/ 121 w 121"/>
                <a:gd name="T11" fmla="*/ 11 h 21"/>
                <a:gd name="T12" fmla="*/ 121 w 121"/>
                <a:gd name="T13" fmla="*/ 9 h 21"/>
                <a:gd name="T14" fmla="*/ 111 w 121"/>
                <a:gd name="T15" fmla="*/ 0 h 21"/>
                <a:gd name="T16" fmla="*/ 64 w 121"/>
                <a:gd name="T17" fmla="*/ 0 h 21"/>
                <a:gd name="T18" fmla="*/ 10 w 121"/>
                <a:gd name="T1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1" h="21">
                  <a:moveTo>
                    <a:pt x="10" y="0"/>
                  </a:moveTo>
                  <a:cubicBezTo>
                    <a:pt x="10" y="0"/>
                    <a:pt x="0" y="0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21"/>
                    <a:pt x="10" y="21"/>
                  </a:cubicBezTo>
                  <a:cubicBezTo>
                    <a:pt x="111" y="21"/>
                    <a:pt x="111" y="21"/>
                    <a:pt x="111" y="21"/>
                  </a:cubicBezTo>
                  <a:cubicBezTo>
                    <a:pt x="111" y="21"/>
                    <a:pt x="121" y="21"/>
                    <a:pt x="121" y="11"/>
                  </a:cubicBezTo>
                  <a:cubicBezTo>
                    <a:pt x="121" y="9"/>
                    <a:pt x="121" y="9"/>
                    <a:pt x="121" y="9"/>
                  </a:cubicBezTo>
                  <a:cubicBezTo>
                    <a:pt x="121" y="9"/>
                    <a:pt x="121" y="0"/>
                    <a:pt x="111" y="0"/>
                  </a:cubicBezTo>
                  <a:cubicBezTo>
                    <a:pt x="64" y="0"/>
                    <a:pt x="64" y="0"/>
                    <a:pt x="64" y="0"/>
                  </a:cubicBezTo>
                  <a:lnTo>
                    <a:pt x="10" y="0"/>
                  </a:lnTo>
                  <a:close/>
                </a:path>
              </a:pathLst>
            </a:custGeom>
            <a:solidFill>
              <a:srgbClr val="6821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505050"/>
                </a:solidFill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auto">
            <a:xfrm>
              <a:off x="5833" y="3302"/>
              <a:ext cx="286" cy="49"/>
            </a:xfrm>
            <a:custGeom>
              <a:avLst/>
              <a:gdLst>
                <a:gd name="T0" fmla="*/ 10 w 121"/>
                <a:gd name="T1" fmla="*/ 0 h 21"/>
                <a:gd name="T2" fmla="*/ 0 w 121"/>
                <a:gd name="T3" fmla="*/ 10 h 21"/>
                <a:gd name="T4" fmla="*/ 0 w 121"/>
                <a:gd name="T5" fmla="*/ 12 h 21"/>
                <a:gd name="T6" fmla="*/ 10 w 121"/>
                <a:gd name="T7" fmla="*/ 21 h 21"/>
                <a:gd name="T8" fmla="*/ 111 w 121"/>
                <a:gd name="T9" fmla="*/ 21 h 21"/>
                <a:gd name="T10" fmla="*/ 121 w 121"/>
                <a:gd name="T11" fmla="*/ 12 h 21"/>
                <a:gd name="T12" fmla="*/ 121 w 121"/>
                <a:gd name="T13" fmla="*/ 10 h 21"/>
                <a:gd name="T14" fmla="*/ 111 w 121"/>
                <a:gd name="T15" fmla="*/ 0 h 21"/>
                <a:gd name="T16" fmla="*/ 64 w 121"/>
                <a:gd name="T17" fmla="*/ 0 h 21"/>
                <a:gd name="T18" fmla="*/ 10 w 121"/>
                <a:gd name="T1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1" h="21">
                  <a:moveTo>
                    <a:pt x="10" y="0"/>
                  </a:moveTo>
                  <a:cubicBezTo>
                    <a:pt x="10" y="0"/>
                    <a:pt x="0" y="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21"/>
                    <a:pt x="10" y="21"/>
                  </a:cubicBezTo>
                  <a:cubicBezTo>
                    <a:pt x="111" y="21"/>
                    <a:pt x="111" y="21"/>
                    <a:pt x="111" y="21"/>
                  </a:cubicBezTo>
                  <a:cubicBezTo>
                    <a:pt x="111" y="21"/>
                    <a:pt x="121" y="21"/>
                    <a:pt x="121" y="12"/>
                  </a:cubicBezTo>
                  <a:cubicBezTo>
                    <a:pt x="121" y="10"/>
                    <a:pt x="121" y="10"/>
                    <a:pt x="121" y="10"/>
                  </a:cubicBezTo>
                  <a:cubicBezTo>
                    <a:pt x="121" y="10"/>
                    <a:pt x="121" y="0"/>
                    <a:pt x="111" y="0"/>
                  </a:cubicBezTo>
                  <a:cubicBezTo>
                    <a:pt x="64" y="0"/>
                    <a:pt x="64" y="0"/>
                    <a:pt x="64" y="0"/>
                  </a:cubicBezTo>
                  <a:lnTo>
                    <a:pt x="10" y="0"/>
                  </a:lnTo>
                  <a:close/>
                </a:path>
              </a:pathLst>
            </a:custGeom>
            <a:solidFill>
              <a:srgbClr val="6821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505050"/>
                </a:solidFill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auto">
            <a:xfrm>
              <a:off x="5833" y="3392"/>
              <a:ext cx="286" cy="50"/>
            </a:xfrm>
            <a:custGeom>
              <a:avLst/>
              <a:gdLst>
                <a:gd name="T0" fmla="*/ 10 w 121"/>
                <a:gd name="T1" fmla="*/ 0 h 21"/>
                <a:gd name="T2" fmla="*/ 0 w 121"/>
                <a:gd name="T3" fmla="*/ 9 h 21"/>
                <a:gd name="T4" fmla="*/ 0 w 121"/>
                <a:gd name="T5" fmla="*/ 11 h 21"/>
                <a:gd name="T6" fmla="*/ 10 w 121"/>
                <a:gd name="T7" fmla="*/ 21 h 21"/>
                <a:gd name="T8" fmla="*/ 111 w 121"/>
                <a:gd name="T9" fmla="*/ 21 h 21"/>
                <a:gd name="T10" fmla="*/ 121 w 121"/>
                <a:gd name="T11" fmla="*/ 11 h 21"/>
                <a:gd name="T12" fmla="*/ 121 w 121"/>
                <a:gd name="T13" fmla="*/ 9 h 21"/>
                <a:gd name="T14" fmla="*/ 111 w 121"/>
                <a:gd name="T15" fmla="*/ 0 h 21"/>
                <a:gd name="T16" fmla="*/ 64 w 121"/>
                <a:gd name="T17" fmla="*/ 0 h 21"/>
                <a:gd name="T18" fmla="*/ 10 w 121"/>
                <a:gd name="T1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1" h="21">
                  <a:moveTo>
                    <a:pt x="10" y="0"/>
                  </a:moveTo>
                  <a:cubicBezTo>
                    <a:pt x="10" y="0"/>
                    <a:pt x="0" y="0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21"/>
                    <a:pt x="10" y="21"/>
                  </a:cubicBezTo>
                  <a:cubicBezTo>
                    <a:pt x="111" y="21"/>
                    <a:pt x="111" y="21"/>
                    <a:pt x="111" y="21"/>
                  </a:cubicBezTo>
                  <a:cubicBezTo>
                    <a:pt x="111" y="21"/>
                    <a:pt x="121" y="21"/>
                    <a:pt x="121" y="11"/>
                  </a:cubicBezTo>
                  <a:cubicBezTo>
                    <a:pt x="121" y="9"/>
                    <a:pt x="121" y="9"/>
                    <a:pt x="121" y="9"/>
                  </a:cubicBezTo>
                  <a:cubicBezTo>
                    <a:pt x="121" y="9"/>
                    <a:pt x="121" y="0"/>
                    <a:pt x="111" y="0"/>
                  </a:cubicBezTo>
                  <a:cubicBezTo>
                    <a:pt x="64" y="0"/>
                    <a:pt x="64" y="0"/>
                    <a:pt x="64" y="0"/>
                  </a:cubicBezTo>
                  <a:lnTo>
                    <a:pt x="10" y="0"/>
                  </a:lnTo>
                  <a:close/>
                </a:path>
              </a:pathLst>
            </a:custGeom>
            <a:solidFill>
              <a:srgbClr val="6821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505050"/>
                </a:solidFill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auto">
            <a:xfrm>
              <a:off x="5833" y="3480"/>
              <a:ext cx="286" cy="52"/>
            </a:xfrm>
            <a:custGeom>
              <a:avLst/>
              <a:gdLst>
                <a:gd name="T0" fmla="*/ 10 w 121"/>
                <a:gd name="T1" fmla="*/ 0 h 22"/>
                <a:gd name="T2" fmla="*/ 0 w 121"/>
                <a:gd name="T3" fmla="*/ 10 h 22"/>
                <a:gd name="T4" fmla="*/ 0 w 121"/>
                <a:gd name="T5" fmla="*/ 12 h 22"/>
                <a:gd name="T6" fmla="*/ 10 w 121"/>
                <a:gd name="T7" fmla="*/ 22 h 22"/>
                <a:gd name="T8" fmla="*/ 111 w 121"/>
                <a:gd name="T9" fmla="*/ 22 h 22"/>
                <a:gd name="T10" fmla="*/ 121 w 121"/>
                <a:gd name="T11" fmla="*/ 12 h 22"/>
                <a:gd name="T12" fmla="*/ 121 w 121"/>
                <a:gd name="T13" fmla="*/ 10 h 22"/>
                <a:gd name="T14" fmla="*/ 111 w 121"/>
                <a:gd name="T15" fmla="*/ 0 h 22"/>
                <a:gd name="T16" fmla="*/ 64 w 121"/>
                <a:gd name="T17" fmla="*/ 0 h 22"/>
                <a:gd name="T18" fmla="*/ 10 w 121"/>
                <a:gd name="T1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1" h="22">
                  <a:moveTo>
                    <a:pt x="10" y="0"/>
                  </a:moveTo>
                  <a:cubicBezTo>
                    <a:pt x="10" y="0"/>
                    <a:pt x="0" y="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22"/>
                    <a:pt x="10" y="22"/>
                  </a:cubicBezTo>
                  <a:cubicBezTo>
                    <a:pt x="111" y="22"/>
                    <a:pt x="111" y="22"/>
                    <a:pt x="111" y="22"/>
                  </a:cubicBezTo>
                  <a:cubicBezTo>
                    <a:pt x="111" y="22"/>
                    <a:pt x="121" y="22"/>
                    <a:pt x="121" y="12"/>
                  </a:cubicBezTo>
                  <a:cubicBezTo>
                    <a:pt x="121" y="10"/>
                    <a:pt x="121" y="10"/>
                    <a:pt x="121" y="10"/>
                  </a:cubicBezTo>
                  <a:cubicBezTo>
                    <a:pt x="121" y="10"/>
                    <a:pt x="121" y="0"/>
                    <a:pt x="111" y="0"/>
                  </a:cubicBezTo>
                  <a:cubicBezTo>
                    <a:pt x="64" y="0"/>
                    <a:pt x="64" y="0"/>
                    <a:pt x="64" y="0"/>
                  </a:cubicBezTo>
                  <a:lnTo>
                    <a:pt x="10" y="0"/>
                  </a:lnTo>
                  <a:close/>
                </a:path>
              </a:pathLst>
            </a:custGeom>
            <a:solidFill>
              <a:srgbClr val="6821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505050"/>
                </a:solidFill>
              </a:endParaRPr>
            </a:p>
          </p:txBody>
        </p:sp>
        <p:sp>
          <p:nvSpPr>
            <p:cNvPr id="38" name="Freeform 37"/>
            <p:cNvSpPr>
              <a:spLocks/>
            </p:cNvSpPr>
            <p:nvPr/>
          </p:nvSpPr>
          <p:spPr bwMode="auto">
            <a:xfrm>
              <a:off x="5833" y="3570"/>
              <a:ext cx="286" cy="50"/>
            </a:xfrm>
            <a:custGeom>
              <a:avLst/>
              <a:gdLst>
                <a:gd name="T0" fmla="*/ 10 w 121"/>
                <a:gd name="T1" fmla="*/ 0 h 21"/>
                <a:gd name="T2" fmla="*/ 0 w 121"/>
                <a:gd name="T3" fmla="*/ 10 h 21"/>
                <a:gd name="T4" fmla="*/ 0 w 121"/>
                <a:gd name="T5" fmla="*/ 12 h 21"/>
                <a:gd name="T6" fmla="*/ 10 w 121"/>
                <a:gd name="T7" fmla="*/ 21 h 21"/>
                <a:gd name="T8" fmla="*/ 111 w 121"/>
                <a:gd name="T9" fmla="*/ 21 h 21"/>
                <a:gd name="T10" fmla="*/ 121 w 121"/>
                <a:gd name="T11" fmla="*/ 12 h 21"/>
                <a:gd name="T12" fmla="*/ 121 w 121"/>
                <a:gd name="T13" fmla="*/ 10 h 21"/>
                <a:gd name="T14" fmla="*/ 111 w 121"/>
                <a:gd name="T15" fmla="*/ 0 h 21"/>
                <a:gd name="T16" fmla="*/ 64 w 121"/>
                <a:gd name="T17" fmla="*/ 0 h 21"/>
                <a:gd name="T18" fmla="*/ 10 w 121"/>
                <a:gd name="T1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1" h="21">
                  <a:moveTo>
                    <a:pt x="10" y="0"/>
                  </a:moveTo>
                  <a:cubicBezTo>
                    <a:pt x="10" y="0"/>
                    <a:pt x="0" y="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21"/>
                    <a:pt x="10" y="21"/>
                  </a:cubicBezTo>
                  <a:cubicBezTo>
                    <a:pt x="111" y="21"/>
                    <a:pt x="111" y="21"/>
                    <a:pt x="111" y="21"/>
                  </a:cubicBezTo>
                  <a:cubicBezTo>
                    <a:pt x="111" y="21"/>
                    <a:pt x="121" y="21"/>
                    <a:pt x="121" y="12"/>
                  </a:cubicBezTo>
                  <a:cubicBezTo>
                    <a:pt x="121" y="10"/>
                    <a:pt x="121" y="10"/>
                    <a:pt x="121" y="10"/>
                  </a:cubicBezTo>
                  <a:cubicBezTo>
                    <a:pt x="121" y="10"/>
                    <a:pt x="121" y="0"/>
                    <a:pt x="111" y="0"/>
                  </a:cubicBezTo>
                  <a:cubicBezTo>
                    <a:pt x="64" y="0"/>
                    <a:pt x="64" y="0"/>
                    <a:pt x="64" y="0"/>
                  </a:cubicBezTo>
                  <a:lnTo>
                    <a:pt x="10" y="0"/>
                  </a:lnTo>
                  <a:close/>
                </a:path>
              </a:pathLst>
            </a:custGeom>
            <a:solidFill>
              <a:srgbClr val="6821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505050"/>
                </a:solidFill>
              </a:endParaRPr>
            </a:p>
          </p:txBody>
        </p:sp>
        <p:sp>
          <p:nvSpPr>
            <p:cNvPr id="39" name="Oval 38"/>
            <p:cNvSpPr>
              <a:spLocks noChangeArrowheads="1"/>
            </p:cNvSpPr>
            <p:nvPr/>
          </p:nvSpPr>
          <p:spPr bwMode="auto">
            <a:xfrm>
              <a:off x="6065" y="3223"/>
              <a:ext cx="28" cy="29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505050"/>
                </a:solidFill>
              </a:endParaRPr>
            </a:p>
          </p:txBody>
        </p:sp>
        <p:sp>
          <p:nvSpPr>
            <p:cNvPr id="40" name="Oval 39"/>
            <p:cNvSpPr>
              <a:spLocks noChangeArrowheads="1"/>
            </p:cNvSpPr>
            <p:nvPr/>
          </p:nvSpPr>
          <p:spPr bwMode="auto">
            <a:xfrm>
              <a:off x="6065" y="3313"/>
              <a:ext cx="28" cy="2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505050"/>
                </a:solidFill>
              </a:endParaRPr>
            </a:p>
          </p:txBody>
        </p:sp>
        <p:sp>
          <p:nvSpPr>
            <p:cNvPr id="41" name="Oval 40"/>
            <p:cNvSpPr>
              <a:spLocks noChangeArrowheads="1"/>
            </p:cNvSpPr>
            <p:nvPr/>
          </p:nvSpPr>
          <p:spPr bwMode="auto">
            <a:xfrm>
              <a:off x="6065" y="3401"/>
              <a:ext cx="28" cy="29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505050"/>
                </a:solidFill>
              </a:endParaRPr>
            </a:p>
          </p:txBody>
        </p:sp>
        <p:sp>
          <p:nvSpPr>
            <p:cNvPr id="42" name="Oval 41"/>
            <p:cNvSpPr>
              <a:spLocks noChangeArrowheads="1"/>
            </p:cNvSpPr>
            <p:nvPr/>
          </p:nvSpPr>
          <p:spPr bwMode="auto">
            <a:xfrm>
              <a:off x="6065" y="3492"/>
              <a:ext cx="28" cy="2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505050"/>
                </a:solidFill>
              </a:endParaRPr>
            </a:p>
          </p:txBody>
        </p:sp>
        <p:sp>
          <p:nvSpPr>
            <p:cNvPr id="43" name="Oval 42"/>
            <p:cNvSpPr>
              <a:spLocks noChangeArrowheads="1"/>
            </p:cNvSpPr>
            <p:nvPr/>
          </p:nvSpPr>
          <p:spPr bwMode="auto">
            <a:xfrm>
              <a:off x="6065" y="3582"/>
              <a:ext cx="28" cy="2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505050"/>
                </a:solidFill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auto">
            <a:xfrm>
              <a:off x="5632" y="3325"/>
              <a:ext cx="315" cy="542"/>
            </a:xfrm>
            <a:custGeom>
              <a:avLst/>
              <a:gdLst>
                <a:gd name="T0" fmla="*/ 133 w 133"/>
                <a:gd name="T1" fmla="*/ 219 h 228"/>
                <a:gd name="T2" fmla="*/ 124 w 133"/>
                <a:gd name="T3" fmla="*/ 228 h 228"/>
                <a:gd name="T4" fmla="*/ 8 w 133"/>
                <a:gd name="T5" fmla="*/ 228 h 228"/>
                <a:gd name="T6" fmla="*/ 0 w 133"/>
                <a:gd name="T7" fmla="*/ 219 h 228"/>
                <a:gd name="T8" fmla="*/ 0 w 133"/>
                <a:gd name="T9" fmla="*/ 9 h 228"/>
                <a:gd name="T10" fmla="*/ 8 w 133"/>
                <a:gd name="T11" fmla="*/ 0 h 228"/>
                <a:gd name="T12" fmla="*/ 124 w 133"/>
                <a:gd name="T13" fmla="*/ 0 h 228"/>
                <a:gd name="T14" fmla="*/ 133 w 133"/>
                <a:gd name="T15" fmla="*/ 9 h 228"/>
                <a:gd name="T16" fmla="*/ 133 w 133"/>
                <a:gd name="T17" fmla="*/ 219 h 228"/>
                <a:gd name="T18" fmla="*/ 133 w 133"/>
                <a:gd name="T19" fmla="*/ 219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3" h="228">
                  <a:moveTo>
                    <a:pt x="133" y="219"/>
                  </a:moveTo>
                  <a:cubicBezTo>
                    <a:pt x="133" y="224"/>
                    <a:pt x="129" y="228"/>
                    <a:pt x="124" y="228"/>
                  </a:cubicBezTo>
                  <a:cubicBezTo>
                    <a:pt x="8" y="228"/>
                    <a:pt x="8" y="228"/>
                    <a:pt x="8" y="228"/>
                  </a:cubicBezTo>
                  <a:cubicBezTo>
                    <a:pt x="4" y="228"/>
                    <a:pt x="0" y="224"/>
                    <a:pt x="0" y="21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9" y="0"/>
                    <a:pt x="133" y="4"/>
                    <a:pt x="133" y="9"/>
                  </a:cubicBezTo>
                  <a:cubicBezTo>
                    <a:pt x="133" y="219"/>
                    <a:pt x="133" y="219"/>
                    <a:pt x="133" y="219"/>
                  </a:cubicBezTo>
                  <a:cubicBezTo>
                    <a:pt x="133" y="219"/>
                    <a:pt x="133" y="219"/>
                    <a:pt x="133" y="219"/>
                  </a:cubicBezTo>
                  <a:close/>
                </a:path>
              </a:pathLst>
            </a:custGeom>
            <a:solidFill>
              <a:srgbClr val="E81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505050"/>
                </a:solidFill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auto">
            <a:xfrm>
              <a:off x="5660" y="3356"/>
              <a:ext cx="256" cy="425"/>
            </a:xfrm>
            <a:custGeom>
              <a:avLst/>
              <a:gdLst>
                <a:gd name="T0" fmla="*/ 0 w 256"/>
                <a:gd name="T1" fmla="*/ 0 h 425"/>
                <a:gd name="T2" fmla="*/ 256 w 256"/>
                <a:gd name="T3" fmla="*/ 0 h 425"/>
                <a:gd name="T4" fmla="*/ 256 w 256"/>
                <a:gd name="T5" fmla="*/ 425 h 425"/>
                <a:gd name="T6" fmla="*/ 0 w 256"/>
                <a:gd name="T7" fmla="*/ 425 h 425"/>
                <a:gd name="T8" fmla="*/ 0 w 256"/>
                <a:gd name="T9" fmla="*/ 0 h 425"/>
                <a:gd name="T10" fmla="*/ 0 w 256"/>
                <a:gd name="T11" fmla="*/ 0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6" h="425">
                  <a:moveTo>
                    <a:pt x="0" y="0"/>
                  </a:moveTo>
                  <a:lnTo>
                    <a:pt x="256" y="0"/>
                  </a:lnTo>
                  <a:lnTo>
                    <a:pt x="256" y="425"/>
                  </a:lnTo>
                  <a:lnTo>
                    <a:pt x="0" y="42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505050"/>
                </a:solidFill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auto">
            <a:xfrm>
              <a:off x="5102" y="3489"/>
              <a:ext cx="705" cy="461"/>
            </a:xfrm>
            <a:custGeom>
              <a:avLst/>
              <a:gdLst>
                <a:gd name="T0" fmla="*/ 48 w 298"/>
                <a:gd name="T1" fmla="*/ 85 h 194"/>
                <a:gd name="T2" fmla="*/ 48 w 298"/>
                <a:gd name="T3" fmla="*/ 81 h 194"/>
                <a:gd name="T4" fmla="*/ 130 w 298"/>
                <a:gd name="T5" fmla="*/ 0 h 194"/>
                <a:gd name="T6" fmla="*/ 198 w 298"/>
                <a:gd name="T7" fmla="*/ 36 h 194"/>
                <a:gd name="T8" fmla="*/ 220 w 298"/>
                <a:gd name="T9" fmla="*/ 30 h 194"/>
                <a:gd name="T10" fmla="*/ 247 w 298"/>
                <a:gd name="T11" fmla="*/ 38 h 194"/>
                <a:gd name="T12" fmla="*/ 268 w 298"/>
                <a:gd name="T13" fmla="*/ 76 h 194"/>
                <a:gd name="T14" fmla="*/ 298 w 298"/>
                <a:gd name="T15" fmla="*/ 130 h 194"/>
                <a:gd name="T16" fmla="*/ 240 w 298"/>
                <a:gd name="T17" fmla="*/ 194 h 194"/>
                <a:gd name="T18" fmla="*/ 233 w 298"/>
                <a:gd name="T19" fmla="*/ 194 h 194"/>
                <a:gd name="T20" fmla="*/ 226 w 298"/>
                <a:gd name="T21" fmla="*/ 194 h 194"/>
                <a:gd name="T22" fmla="*/ 92 w 298"/>
                <a:gd name="T23" fmla="*/ 194 h 194"/>
                <a:gd name="T24" fmla="*/ 90 w 298"/>
                <a:gd name="T25" fmla="*/ 194 h 194"/>
                <a:gd name="T26" fmla="*/ 86 w 298"/>
                <a:gd name="T27" fmla="*/ 194 h 194"/>
                <a:gd name="T28" fmla="*/ 77 w 298"/>
                <a:gd name="T29" fmla="*/ 194 h 194"/>
                <a:gd name="T30" fmla="*/ 55 w 298"/>
                <a:gd name="T31" fmla="*/ 194 h 194"/>
                <a:gd name="T32" fmla="*/ 0 w 298"/>
                <a:gd name="T33" fmla="*/ 139 h 194"/>
                <a:gd name="T34" fmla="*/ 48 w 298"/>
                <a:gd name="T35" fmla="*/ 85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98" h="194">
                  <a:moveTo>
                    <a:pt x="48" y="85"/>
                  </a:moveTo>
                  <a:cubicBezTo>
                    <a:pt x="48" y="84"/>
                    <a:pt x="48" y="82"/>
                    <a:pt x="48" y="81"/>
                  </a:cubicBezTo>
                  <a:cubicBezTo>
                    <a:pt x="48" y="36"/>
                    <a:pt x="84" y="0"/>
                    <a:pt x="130" y="0"/>
                  </a:cubicBezTo>
                  <a:cubicBezTo>
                    <a:pt x="158" y="0"/>
                    <a:pt x="183" y="14"/>
                    <a:pt x="198" y="36"/>
                  </a:cubicBezTo>
                  <a:cubicBezTo>
                    <a:pt x="205" y="32"/>
                    <a:pt x="212" y="30"/>
                    <a:pt x="220" y="30"/>
                  </a:cubicBezTo>
                  <a:cubicBezTo>
                    <a:pt x="230" y="30"/>
                    <a:pt x="239" y="33"/>
                    <a:pt x="247" y="38"/>
                  </a:cubicBezTo>
                  <a:cubicBezTo>
                    <a:pt x="259" y="46"/>
                    <a:pt x="268" y="60"/>
                    <a:pt x="268" y="76"/>
                  </a:cubicBezTo>
                  <a:cubicBezTo>
                    <a:pt x="286" y="88"/>
                    <a:pt x="298" y="108"/>
                    <a:pt x="298" y="130"/>
                  </a:cubicBezTo>
                  <a:cubicBezTo>
                    <a:pt x="298" y="163"/>
                    <a:pt x="272" y="191"/>
                    <a:pt x="240" y="194"/>
                  </a:cubicBezTo>
                  <a:cubicBezTo>
                    <a:pt x="238" y="194"/>
                    <a:pt x="235" y="194"/>
                    <a:pt x="233" y="194"/>
                  </a:cubicBezTo>
                  <a:cubicBezTo>
                    <a:pt x="231" y="194"/>
                    <a:pt x="229" y="194"/>
                    <a:pt x="226" y="194"/>
                  </a:cubicBezTo>
                  <a:cubicBezTo>
                    <a:pt x="196" y="194"/>
                    <a:pt x="126" y="194"/>
                    <a:pt x="92" y="194"/>
                  </a:cubicBezTo>
                  <a:cubicBezTo>
                    <a:pt x="91" y="194"/>
                    <a:pt x="91" y="194"/>
                    <a:pt x="90" y="194"/>
                  </a:cubicBezTo>
                  <a:cubicBezTo>
                    <a:pt x="86" y="194"/>
                    <a:pt x="86" y="194"/>
                    <a:pt x="86" y="194"/>
                  </a:cubicBezTo>
                  <a:cubicBezTo>
                    <a:pt x="85" y="194"/>
                    <a:pt x="80" y="194"/>
                    <a:pt x="77" y="194"/>
                  </a:cubicBezTo>
                  <a:cubicBezTo>
                    <a:pt x="55" y="194"/>
                    <a:pt x="55" y="194"/>
                    <a:pt x="55" y="194"/>
                  </a:cubicBezTo>
                  <a:cubicBezTo>
                    <a:pt x="25" y="194"/>
                    <a:pt x="0" y="169"/>
                    <a:pt x="0" y="139"/>
                  </a:cubicBezTo>
                  <a:cubicBezTo>
                    <a:pt x="0" y="112"/>
                    <a:pt x="21" y="89"/>
                    <a:pt x="48" y="85"/>
                  </a:cubicBezTo>
                  <a:close/>
                </a:path>
              </a:pathLst>
            </a:custGeom>
            <a:solidFill>
              <a:srgbClr val="0072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505050"/>
                </a:solidFill>
              </a:endParaRPr>
            </a:p>
          </p:txBody>
        </p:sp>
        <p:sp>
          <p:nvSpPr>
            <p:cNvPr id="47" name="Freeform 46"/>
            <p:cNvSpPr>
              <a:spLocks/>
            </p:cNvSpPr>
            <p:nvPr/>
          </p:nvSpPr>
          <p:spPr bwMode="auto">
            <a:xfrm>
              <a:off x="5173" y="3406"/>
              <a:ext cx="293" cy="192"/>
            </a:xfrm>
            <a:custGeom>
              <a:avLst/>
              <a:gdLst>
                <a:gd name="T0" fmla="*/ 20 w 124"/>
                <a:gd name="T1" fmla="*/ 35 h 81"/>
                <a:gd name="T2" fmla="*/ 20 w 124"/>
                <a:gd name="T3" fmla="*/ 34 h 81"/>
                <a:gd name="T4" fmla="*/ 54 w 124"/>
                <a:gd name="T5" fmla="*/ 0 h 81"/>
                <a:gd name="T6" fmla="*/ 82 w 124"/>
                <a:gd name="T7" fmla="*/ 15 h 81"/>
                <a:gd name="T8" fmla="*/ 92 w 124"/>
                <a:gd name="T9" fmla="*/ 12 h 81"/>
                <a:gd name="T10" fmla="*/ 103 w 124"/>
                <a:gd name="T11" fmla="*/ 16 h 81"/>
                <a:gd name="T12" fmla="*/ 112 w 124"/>
                <a:gd name="T13" fmla="*/ 32 h 81"/>
                <a:gd name="T14" fmla="*/ 124 w 124"/>
                <a:gd name="T15" fmla="*/ 54 h 81"/>
                <a:gd name="T16" fmla="*/ 100 w 124"/>
                <a:gd name="T17" fmla="*/ 81 h 81"/>
                <a:gd name="T18" fmla="*/ 97 w 124"/>
                <a:gd name="T19" fmla="*/ 81 h 81"/>
                <a:gd name="T20" fmla="*/ 94 w 124"/>
                <a:gd name="T21" fmla="*/ 81 h 81"/>
                <a:gd name="T22" fmla="*/ 38 w 124"/>
                <a:gd name="T23" fmla="*/ 81 h 81"/>
                <a:gd name="T24" fmla="*/ 37 w 124"/>
                <a:gd name="T25" fmla="*/ 81 h 81"/>
                <a:gd name="T26" fmla="*/ 36 w 124"/>
                <a:gd name="T27" fmla="*/ 81 h 81"/>
                <a:gd name="T28" fmla="*/ 32 w 124"/>
                <a:gd name="T29" fmla="*/ 81 h 81"/>
                <a:gd name="T30" fmla="*/ 23 w 124"/>
                <a:gd name="T31" fmla="*/ 81 h 81"/>
                <a:gd name="T32" fmla="*/ 0 w 124"/>
                <a:gd name="T33" fmla="*/ 58 h 81"/>
                <a:gd name="T34" fmla="*/ 20 w 124"/>
                <a:gd name="T35" fmla="*/ 35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4" h="81">
                  <a:moveTo>
                    <a:pt x="20" y="35"/>
                  </a:moveTo>
                  <a:cubicBezTo>
                    <a:pt x="20" y="35"/>
                    <a:pt x="20" y="34"/>
                    <a:pt x="20" y="34"/>
                  </a:cubicBezTo>
                  <a:cubicBezTo>
                    <a:pt x="20" y="15"/>
                    <a:pt x="35" y="0"/>
                    <a:pt x="54" y="0"/>
                  </a:cubicBezTo>
                  <a:cubicBezTo>
                    <a:pt x="66" y="0"/>
                    <a:pt x="76" y="6"/>
                    <a:pt x="82" y="15"/>
                  </a:cubicBezTo>
                  <a:cubicBezTo>
                    <a:pt x="85" y="13"/>
                    <a:pt x="88" y="12"/>
                    <a:pt x="92" y="12"/>
                  </a:cubicBezTo>
                  <a:cubicBezTo>
                    <a:pt x="96" y="12"/>
                    <a:pt x="100" y="14"/>
                    <a:pt x="103" y="16"/>
                  </a:cubicBezTo>
                  <a:cubicBezTo>
                    <a:pt x="108" y="19"/>
                    <a:pt x="111" y="25"/>
                    <a:pt x="112" y="32"/>
                  </a:cubicBezTo>
                  <a:cubicBezTo>
                    <a:pt x="119" y="36"/>
                    <a:pt x="124" y="45"/>
                    <a:pt x="124" y="54"/>
                  </a:cubicBezTo>
                  <a:cubicBezTo>
                    <a:pt x="124" y="68"/>
                    <a:pt x="113" y="79"/>
                    <a:pt x="100" y="81"/>
                  </a:cubicBezTo>
                  <a:cubicBezTo>
                    <a:pt x="99" y="81"/>
                    <a:pt x="98" y="81"/>
                    <a:pt x="97" y="81"/>
                  </a:cubicBezTo>
                  <a:cubicBezTo>
                    <a:pt x="96" y="81"/>
                    <a:pt x="95" y="81"/>
                    <a:pt x="94" y="81"/>
                  </a:cubicBezTo>
                  <a:cubicBezTo>
                    <a:pt x="82" y="81"/>
                    <a:pt x="52" y="81"/>
                    <a:pt x="38" y="81"/>
                  </a:cubicBezTo>
                  <a:cubicBezTo>
                    <a:pt x="38" y="81"/>
                    <a:pt x="38" y="81"/>
                    <a:pt x="37" y="81"/>
                  </a:cubicBezTo>
                  <a:cubicBezTo>
                    <a:pt x="36" y="81"/>
                    <a:pt x="36" y="81"/>
                    <a:pt x="36" y="81"/>
                  </a:cubicBezTo>
                  <a:cubicBezTo>
                    <a:pt x="35" y="81"/>
                    <a:pt x="33" y="81"/>
                    <a:pt x="32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10" y="81"/>
                    <a:pt x="0" y="70"/>
                    <a:pt x="0" y="58"/>
                  </a:cubicBezTo>
                  <a:cubicBezTo>
                    <a:pt x="0" y="46"/>
                    <a:pt x="8" y="37"/>
                    <a:pt x="20" y="35"/>
                  </a:cubicBezTo>
                  <a:close/>
                </a:path>
              </a:pathLst>
            </a:cu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505050"/>
                </a:solidFill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auto">
            <a:xfrm>
              <a:off x="5589" y="4061"/>
              <a:ext cx="235" cy="195"/>
            </a:xfrm>
            <a:custGeom>
              <a:avLst/>
              <a:gdLst>
                <a:gd name="T0" fmla="*/ 0 w 235"/>
                <a:gd name="T1" fmla="*/ 195 h 195"/>
                <a:gd name="T2" fmla="*/ 235 w 235"/>
                <a:gd name="T3" fmla="*/ 0 h 195"/>
                <a:gd name="T4" fmla="*/ 0 w 235"/>
                <a:gd name="T5" fmla="*/ 0 h 195"/>
                <a:gd name="T6" fmla="*/ 0 w 235"/>
                <a:gd name="T7" fmla="*/ 195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5" h="195">
                  <a:moveTo>
                    <a:pt x="0" y="195"/>
                  </a:moveTo>
                  <a:lnTo>
                    <a:pt x="235" y="0"/>
                  </a:lnTo>
                  <a:lnTo>
                    <a:pt x="0" y="0"/>
                  </a:lnTo>
                  <a:lnTo>
                    <a:pt x="0" y="195"/>
                  </a:lnTo>
                  <a:close/>
                </a:path>
              </a:pathLst>
            </a:cu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505050"/>
                </a:solidFill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auto">
            <a:xfrm>
              <a:off x="4917" y="3793"/>
              <a:ext cx="656" cy="411"/>
            </a:xfrm>
            <a:custGeom>
              <a:avLst/>
              <a:gdLst>
                <a:gd name="T0" fmla="*/ 0 w 656"/>
                <a:gd name="T1" fmla="*/ 0 h 411"/>
                <a:gd name="T2" fmla="*/ 656 w 656"/>
                <a:gd name="T3" fmla="*/ 0 h 411"/>
                <a:gd name="T4" fmla="*/ 656 w 656"/>
                <a:gd name="T5" fmla="*/ 411 h 411"/>
                <a:gd name="T6" fmla="*/ 0 w 656"/>
                <a:gd name="T7" fmla="*/ 411 h 411"/>
                <a:gd name="T8" fmla="*/ 0 w 656"/>
                <a:gd name="T9" fmla="*/ 0 h 411"/>
                <a:gd name="T10" fmla="*/ 0 w 656"/>
                <a:gd name="T11" fmla="*/ 0 h 4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6" h="411">
                  <a:moveTo>
                    <a:pt x="0" y="0"/>
                  </a:moveTo>
                  <a:lnTo>
                    <a:pt x="656" y="0"/>
                  </a:lnTo>
                  <a:lnTo>
                    <a:pt x="656" y="411"/>
                  </a:lnTo>
                  <a:lnTo>
                    <a:pt x="0" y="41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B3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505050"/>
                </a:solidFill>
              </a:endParaRPr>
            </a:p>
          </p:txBody>
        </p:sp>
        <p:sp>
          <p:nvSpPr>
            <p:cNvPr id="50" name="Freeform 49"/>
            <p:cNvSpPr>
              <a:spLocks noEditPoints="1"/>
            </p:cNvSpPr>
            <p:nvPr/>
          </p:nvSpPr>
          <p:spPr bwMode="auto">
            <a:xfrm>
              <a:off x="4766" y="3772"/>
              <a:ext cx="953" cy="515"/>
            </a:xfrm>
            <a:custGeom>
              <a:avLst/>
              <a:gdLst>
                <a:gd name="T0" fmla="*/ 343 w 403"/>
                <a:gd name="T1" fmla="*/ 193 h 217"/>
                <a:gd name="T2" fmla="*/ 353 w 403"/>
                <a:gd name="T3" fmla="*/ 183 h 217"/>
                <a:gd name="T4" fmla="*/ 353 w 403"/>
                <a:gd name="T5" fmla="*/ 10 h 217"/>
                <a:gd name="T6" fmla="*/ 343 w 403"/>
                <a:gd name="T7" fmla="*/ 0 h 217"/>
                <a:gd name="T8" fmla="*/ 61 w 403"/>
                <a:gd name="T9" fmla="*/ 0 h 217"/>
                <a:gd name="T10" fmla="*/ 51 w 403"/>
                <a:gd name="T11" fmla="*/ 10 h 217"/>
                <a:gd name="T12" fmla="*/ 51 w 403"/>
                <a:gd name="T13" fmla="*/ 183 h 217"/>
                <a:gd name="T14" fmla="*/ 61 w 403"/>
                <a:gd name="T15" fmla="*/ 193 h 217"/>
                <a:gd name="T16" fmla="*/ 0 w 403"/>
                <a:gd name="T17" fmla="*/ 193 h 217"/>
                <a:gd name="T18" fmla="*/ 0 w 403"/>
                <a:gd name="T19" fmla="*/ 200 h 217"/>
                <a:gd name="T20" fmla="*/ 0 w 403"/>
                <a:gd name="T21" fmla="*/ 208 h 217"/>
                <a:gd name="T22" fmla="*/ 0 w 403"/>
                <a:gd name="T23" fmla="*/ 209 h 217"/>
                <a:gd name="T24" fmla="*/ 0 w 403"/>
                <a:gd name="T25" fmla="*/ 209 h 217"/>
                <a:gd name="T26" fmla="*/ 0 w 403"/>
                <a:gd name="T27" fmla="*/ 209 h 217"/>
                <a:gd name="T28" fmla="*/ 0 w 403"/>
                <a:gd name="T29" fmla="*/ 210 h 217"/>
                <a:gd name="T30" fmla="*/ 8 w 403"/>
                <a:gd name="T31" fmla="*/ 217 h 217"/>
                <a:gd name="T32" fmla="*/ 395 w 403"/>
                <a:gd name="T33" fmla="*/ 217 h 217"/>
                <a:gd name="T34" fmla="*/ 403 w 403"/>
                <a:gd name="T35" fmla="*/ 211 h 217"/>
                <a:gd name="T36" fmla="*/ 403 w 403"/>
                <a:gd name="T37" fmla="*/ 210 h 217"/>
                <a:gd name="T38" fmla="*/ 403 w 403"/>
                <a:gd name="T39" fmla="*/ 200 h 217"/>
                <a:gd name="T40" fmla="*/ 403 w 403"/>
                <a:gd name="T41" fmla="*/ 193 h 217"/>
                <a:gd name="T42" fmla="*/ 343 w 403"/>
                <a:gd name="T43" fmla="*/ 193 h 217"/>
                <a:gd name="T44" fmla="*/ 64 w 403"/>
                <a:gd name="T45" fmla="*/ 11 h 217"/>
                <a:gd name="T46" fmla="*/ 340 w 403"/>
                <a:gd name="T47" fmla="*/ 11 h 217"/>
                <a:gd name="T48" fmla="*/ 340 w 403"/>
                <a:gd name="T49" fmla="*/ 181 h 217"/>
                <a:gd name="T50" fmla="*/ 64 w 403"/>
                <a:gd name="T51" fmla="*/ 181 h 217"/>
                <a:gd name="T52" fmla="*/ 64 w 403"/>
                <a:gd name="T53" fmla="*/ 11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03" h="217">
                  <a:moveTo>
                    <a:pt x="343" y="193"/>
                  </a:moveTo>
                  <a:cubicBezTo>
                    <a:pt x="349" y="193"/>
                    <a:pt x="353" y="189"/>
                    <a:pt x="353" y="183"/>
                  </a:cubicBezTo>
                  <a:cubicBezTo>
                    <a:pt x="353" y="10"/>
                    <a:pt x="353" y="10"/>
                    <a:pt x="353" y="10"/>
                  </a:cubicBezTo>
                  <a:cubicBezTo>
                    <a:pt x="353" y="4"/>
                    <a:pt x="349" y="0"/>
                    <a:pt x="343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56" y="0"/>
                    <a:pt x="51" y="4"/>
                    <a:pt x="51" y="10"/>
                  </a:cubicBezTo>
                  <a:cubicBezTo>
                    <a:pt x="51" y="183"/>
                    <a:pt x="51" y="183"/>
                    <a:pt x="51" y="183"/>
                  </a:cubicBezTo>
                  <a:cubicBezTo>
                    <a:pt x="51" y="189"/>
                    <a:pt x="56" y="193"/>
                    <a:pt x="61" y="193"/>
                  </a:cubicBezTo>
                  <a:cubicBezTo>
                    <a:pt x="0" y="193"/>
                    <a:pt x="0" y="193"/>
                    <a:pt x="0" y="193"/>
                  </a:cubicBezTo>
                  <a:cubicBezTo>
                    <a:pt x="0" y="200"/>
                    <a:pt x="0" y="200"/>
                    <a:pt x="0" y="200"/>
                  </a:cubicBezTo>
                  <a:cubicBezTo>
                    <a:pt x="0" y="208"/>
                    <a:pt x="0" y="208"/>
                    <a:pt x="0" y="208"/>
                  </a:cubicBezTo>
                  <a:cubicBezTo>
                    <a:pt x="0" y="209"/>
                    <a:pt x="0" y="209"/>
                    <a:pt x="0" y="209"/>
                  </a:cubicBezTo>
                  <a:cubicBezTo>
                    <a:pt x="0" y="209"/>
                    <a:pt x="0" y="209"/>
                    <a:pt x="0" y="209"/>
                  </a:cubicBezTo>
                  <a:cubicBezTo>
                    <a:pt x="0" y="209"/>
                    <a:pt x="0" y="209"/>
                    <a:pt x="0" y="209"/>
                  </a:cubicBezTo>
                  <a:cubicBezTo>
                    <a:pt x="0" y="210"/>
                    <a:pt x="0" y="210"/>
                    <a:pt x="0" y="210"/>
                  </a:cubicBezTo>
                  <a:cubicBezTo>
                    <a:pt x="0" y="214"/>
                    <a:pt x="4" y="217"/>
                    <a:pt x="8" y="217"/>
                  </a:cubicBezTo>
                  <a:cubicBezTo>
                    <a:pt x="395" y="217"/>
                    <a:pt x="395" y="217"/>
                    <a:pt x="395" y="217"/>
                  </a:cubicBezTo>
                  <a:cubicBezTo>
                    <a:pt x="399" y="217"/>
                    <a:pt x="402" y="214"/>
                    <a:pt x="403" y="211"/>
                  </a:cubicBezTo>
                  <a:cubicBezTo>
                    <a:pt x="403" y="210"/>
                    <a:pt x="403" y="210"/>
                    <a:pt x="403" y="210"/>
                  </a:cubicBezTo>
                  <a:cubicBezTo>
                    <a:pt x="403" y="200"/>
                    <a:pt x="403" y="200"/>
                    <a:pt x="403" y="200"/>
                  </a:cubicBezTo>
                  <a:cubicBezTo>
                    <a:pt x="403" y="193"/>
                    <a:pt x="403" y="193"/>
                    <a:pt x="403" y="193"/>
                  </a:cubicBezTo>
                  <a:lnTo>
                    <a:pt x="343" y="193"/>
                  </a:lnTo>
                  <a:close/>
                  <a:moveTo>
                    <a:pt x="64" y="11"/>
                  </a:moveTo>
                  <a:cubicBezTo>
                    <a:pt x="340" y="11"/>
                    <a:pt x="340" y="11"/>
                    <a:pt x="340" y="11"/>
                  </a:cubicBezTo>
                  <a:cubicBezTo>
                    <a:pt x="340" y="181"/>
                    <a:pt x="340" y="181"/>
                    <a:pt x="340" y="181"/>
                  </a:cubicBezTo>
                  <a:cubicBezTo>
                    <a:pt x="64" y="181"/>
                    <a:pt x="64" y="181"/>
                    <a:pt x="64" y="181"/>
                  </a:cubicBezTo>
                  <a:cubicBezTo>
                    <a:pt x="64" y="11"/>
                    <a:pt x="64" y="11"/>
                    <a:pt x="64" y="11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505050"/>
                </a:solidFill>
              </a:endParaRPr>
            </a:p>
          </p:txBody>
        </p:sp>
        <p:sp>
          <p:nvSpPr>
            <p:cNvPr id="51" name="Rectangle 50"/>
            <p:cNvSpPr>
              <a:spLocks noChangeArrowheads="1"/>
            </p:cNvSpPr>
            <p:nvPr/>
          </p:nvSpPr>
          <p:spPr bwMode="auto">
            <a:xfrm>
              <a:off x="6779" y="2915"/>
              <a:ext cx="871" cy="30"/>
            </a:xfrm>
            <a:prstGeom prst="rect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50505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08576120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4012900" y="170006"/>
            <a:ext cx="7772400" cy="3200400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4241500" y="376276"/>
            <a:ext cx="7315200" cy="2743200"/>
          </a:xfrm>
          <a:prstGeom prst="rect">
            <a:avLst/>
          </a:prstGeom>
          <a:solidFill>
            <a:srgbClr val="FD74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" name="Group 1"/>
          <p:cNvGrpSpPr/>
          <p:nvPr/>
        </p:nvGrpSpPr>
        <p:grpSpPr>
          <a:xfrm>
            <a:off x="1068680" y="3535920"/>
            <a:ext cx="3248920" cy="2743200"/>
            <a:chOff x="1068680" y="3535920"/>
            <a:chExt cx="3248920" cy="2743200"/>
          </a:xfrm>
        </p:grpSpPr>
        <p:sp>
          <p:nvSpPr>
            <p:cNvPr id="224" name="Rectangle 223"/>
            <p:cNvSpPr/>
            <p:nvPr/>
          </p:nvSpPr>
          <p:spPr>
            <a:xfrm>
              <a:off x="1068680" y="3535920"/>
              <a:ext cx="3248919" cy="2743200"/>
            </a:xfrm>
            <a:prstGeom prst="rect">
              <a:avLst/>
            </a:prstGeom>
            <a:solidFill>
              <a:srgbClr val="FD742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tangle 5"/>
            <p:cNvSpPr/>
            <p:nvPr/>
          </p:nvSpPr>
          <p:spPr>
            <a:xfrm>
              <a:off x="1816404" y="3535920"/>
              <a:ext cx="2501196" cy="2743200"/>
            </a:xfrm>
            <a:prstGeom prst="rect">
              <a:avLst/>
            </a:prstGeom>
            <a:solidFill>
              <a:srgbClr val="E9E9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6" name="Group 15"/>
            <p:cNvGrpSpPr/>
            <p:nvPr/>
          </p:nvGrpSpPr>
          <p:grpSpPr>
            <a:xfrm>
              <a:off x="1082206" y="3784453"/>
              <a:ext cx="3235393" cy="2246133"/>
              <a:chOff x="1093047" y="3582812"/>
              <a:chExt cx="3671718" cy="2549046"/>
            </a:xfrm>
          </p:grpSpPr>
          <p:sp>
            <p:nvSpPr>
              <p:cNvPr id="205" name="Freeform 5"/>
              <p:cNvSpPr>
                <a:spLocks/>
              </p:cNvSpPr>
              <p:nvPr/>
            </p:nvSpPr>
            <p:spPr bwMode="auto">
              <a:xfrm>
                <a:off x="1093047" y="5061086"/>
                <a:ext cx="955485" cy="1070772"/>
              </a:xfrm>
              <a:custGeom>
                <a:avLst/>
                <a:gdLst>
                  <a:gd name="T0" fmla="*/ 181 w 547"/>
                  <a:gd name="T1" fmla="*/ 47 h 436"/>
                  <a:gd name="T2" fmla="*/ 181 w 547"/>
                  <a:gd name="T3" fmla="*/ 0 h 436"/>
                  <a:gd name="T4" fmla="*/ 65 w 547"/>
                  <a:gd name="T5" fmla="*/ 0 h 436"/>
                  <a:gd name="T6" fmla="*/ 65 w 547"/>
                  <a:gd name="T7" fmla="*/ 47 h 436"/>
                  <a:gd name="T8" fmla="*/ 0 w 547"/>
                  <a:gd name="T9" fmla="*/ 47 h 436"/>
                  <a:gd name="T10" fmla="*/ 0 w 547"/>
                  <a:gd name="T11" fmla="*/ 58 h 436"/>
                  <a:gd name="T12" fmla="*/ 15 w 547"/>
                  <a:gd name="T13" fmla="*/ 58 h 436"/>
                  <a:gd name="T14" fmla="*/ 15 w 547"/>
                  <a:gd name="T15" fmla="*/ 436 h 436"/>
                  <a:gd name="T16" fmla="*/ 531 w 547"/>
                  <a:gd name="T17" fmla="*/ 436 h 436"/>
                  <a:gd name="T18" fmla="*/ 531 w 547"/>
                  <a:gd name="T19" fmla="*/ 58 h 436"/>
                  <a:gd name="T20" fmla="*/ 547 w 547"/>
                  <a:gd name="T21" fmla="*/ 58 h 436"/>
                  <a:gd name="T22" fmla="*/ 547 w 547"/>
                  <a:gd name="T23" fmla="*/ 47 h 436"/>
                  <a:gd name="T24" fmla="*/ 181 w 547"/>
                  <a:gd name="T25" fmla="*/ 47 h 4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47" h="436">
                    <a:moveTo>
                      <a:pt x="181" y="47"/>
                    </a:moveTo>
                    <a:lnTo>
                      <a:pt x="181" y="0"/>
                    </a:lnTo>
                    <a:lnTo>
                      <a:pt x="65" y="0"/>
                    </a:lnTo>
                    <a:lnTo>
                      <a:pt x="65" y="47"/>
                    </a:lnTo>
                    <a:lnTo>
                      <a:pt x="0" y="47"/>
                    </a:lnTo>
                    <a:lnTo>
                      <a:pt x="0" y="58"/>
                    </a:lnTo>
                    <a:lnTo>
                      <a:pt x="15" y="58"/>
                    </a:lnTo>
                    <a:lnTo>
                      <a:pt x="15" y="436"/>
                    </a:lnTo>
                    <a:lnTo>
                      <a:pt x="531" y="436"/>
                    </a:lnTo>
                    <a:lnTo>
                      <a:pt x="531" y="58"/>
                    </a:lnTo>
                    <a:lnTo>
                      <a:pt x="547" y="58"/>
                    </a:lnTo>
                    <a:lnTo>
                      <a:pt x="547" y="47"/>
                    </a:lnTo>
                    <a:lnTo>
                      <a:pt x="181" y="47"/>
                    </a:lnTo>
                    <a:close/>
                  </a:path>
                </a:pathLst>
              </a:custGeom>
              <a:solidFill>
                <a:srgbClr val="00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206" name="Freeform 6"/>
              <p:cNvSpPr>
                <a:spLocks/>
              </p:cNvSpPr>
              <p:nvPr/>
            </p:nvSpPr>
            <p:spPr bwMode="auto">
              <a:xfrm>
                <a:off x="2160325" y="4809551"/>
                <a:ext cx="817490" cy="1322307"/>
              </a:xfrm>
              <a:custGeom>
                <a:avLst/>
                <a:gdLst>
                  <a:gd name="T0" fmla="*/ 155 w 468"/>
                  <a:gd name="T1" fmla="*/ 40 h 373"/>
                  <a:gd name="T2" fmla="*/ 155 w 468"/>
                  <a:gd name="T3" fmla="*/ 0 h 373"/>
                  <a:gd name="T4" fmla="*/ 56 w 468"/>
                  <a:gd name="T5" fmla="*/ 0 h 373"/>
                  <a:gd name="T6" fmla="*/ 56 w 468"/>
                  <a:gd name="T7" fmla="*/ 40 h 373"/>
                  <a:gd name="T8" fmla="*/ 0 w 468"/>
                  <a:gd name="T9" fmla="*/ 40 h 373"/>
                  <a:gd name="T10" fmla="*/ 0 w 468"/>
                  <a:gd name="T11" fmla="*/ 50 h 373"/>
                  <a:gd name="T12" fmla="*/ 12 w 468"/>
                  <a:gd name="T13" fmla="*/ 50 h 373"/>
                  <a:gd name="T14" fmla="*/ 12 w 468"/>
                  <a:gd name="T15" fmla="*/ 373 h 373"/>
                  <a:gd name="T16" fmla="*/ 456 w 468"/>
                  <a:gd name="T17" fmla="*/ 373 h 373"/>
                  <a:gd name="T18" fmla="*/ 456 w 468"/>
                  <a:gd name="T19" fmla="*/ 50 h 373"/>
                  <a:gd name="T20" fmla="*/ 468 w 468"/>
                  <a:gd name="T21" fmla="*/ 50 h 373"/>
                  <a:gd name="T22" fmla="*/ 468 w 468"/>
                  <a:gd name="T23" fmla="*/ 40 h 373"/>
                  <a:gd name="T24" fmla="*/ 155 w 468"/>
                  <a:gd name="T25" fmla="*/ 40 h 3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68" h="373">
                    <a:moveTo>
                      <a:pt x="155" y="40"/>
                    </a:moveTo>
                    <a:lnTo>
                      <a:pt x="155" y="0"/>
                    </a:lnTo>
                    <a:lnTo>
                      <a:pt x="56" y="0"/>
                    </a:lnTo>
                    <a:lnTo>
                      <a:pt x="56" y="40"/>
                    </a:lnTo>
                    <a:lnTo>
                      <a:pt x="0" y="40"/>
                    </a:lnTo>
                    <a:lnTo>
                      <a:pt x="0" y="50"/>
                    </a:lnTo>
                    <a:lnTo>
                      <a:pt x="12" y="50"/>
                    </a:lnTo>
                    <a:lnTo>
                      <a:pt x="12" y="373"/>
                    </a:lnTo>
                    <a:lnTo>
                      <a:pt x="456" y="373"/>
                    </a:lnTo>
                    <a:lnTo>
                      <a:pt x="456" y="50"/>
                    </a:lnTo>
                    <a:lnTo>
                      <a:pt x="468" y="50"/>
                    </a:lnTo>
                    <a:lnTo>
                      <a:pt x="468" y="40"/>
                    </a:lnTo>
                    <a:lnTo>
                      <a:pt x="155" y="4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207" name="Freeform 7"/>
              <p:cNvSpPr>
                <a:spLocks/>
              </p:cNvSpPr>
              <p:nvPr/>
            </p:nvSpPr>
            <p:spPr bwMode="auto">
              <a:xfrm>
                <a:off x="3421496" y="3582812"/>
                <a:ext cx="1343269" cy="885614"/>
              </a:xfrm>
              <a:custGeom>
                <a:avLst/>
                <a:gdLst>
                  <a:gd name="T0" fmla="*/ 462 w 550"/>
                  <a:gd name="T1" fmla="*/ 159 h 362"/>
                  <a:gd name="T2" fmla="*/ 462 w 550"/>
                  <a:gd name="T3" fmla="*/ 152 h 362"/>
                  <a:gd name="T4" fmla="*/ 311 w 550"/>
                  <a:gd name="T5" fmla="*/ 0 h 362"/>
                  <a:gd name="T6" fmla="*/ 184 w 550"/>
                  <a:gd name="T7" fmla="*/ 68 h 362"/>
                  <a:gd name="T8" fmla="*/ 143 w 550"/>
                  <a:gd name="T9" fmla="*/ 57 h 362"/>
                  <a:gd name="T10" fmla="*/ 94 w 550"/>
                  <a:gd name="T11" fmla="*/ 72 h 362"/>
                  <a:gd name="T12" fmla="*/ 55 w 550"/>
                  <a:gd name="T13" fmla="*/ 143 h 362"/>
                  <a:gd name="T14" fmla="*/ 0 w 550"/>
                  <a:gd name="T15" fmla="*/ 243 h 362"/>
                  <a:gd name="T16" fmla="*/ 106 w 550"/>
                  <a:gd name="T17" fmla="*/ 362 h 362"/>
                  <a:gd name="T18" fmla="*/ 119 w 550"/>
                  <a:gd name="T19" fmla="*/ 362 h 362"/>
                  <a:gd name="T20" fmla="*/ 131 w 550"/>
                  <a:gd name="T21" fmla="*/ 362 h 362"/>
                  <a:gd name="T22" fmla="*/ 379 w 550"/>
                  <a:gd name="T23" fmla="*/ 362 h 362"/>
                  <a:gd name="T24" fmla="*/ 384 w 550"/>
                  <a:gd name="T25" fmla="*/ 362 h 362"/>
                  <a:gd name="T26" fmla="*/ 390 w 550"/>
                  <a:gd name="T27" fmla="*/ 362 h 362"/>
                  <a:gd name="T28" fmla="*/ 409 w 550"/>
                  <a:gd name="T29" fmla="*/ 362 h 362"/>
                  <a:gd name="T30" fmla="*/ 448 w 550"/>
                  <a:gd name="T31" fmla="*/ 362 h 362"/>
                  <a:gd name="T32" fmla="*/ 550 w 550"/>
                  <a:gd name="T33" fmla="*/ 260 h 362"/>
                  <a:gd name="T34" fmla="*/ 462 w 550"/>
                  <a:gd name="T35" fmla="*/ 159 h 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50" h="362">
                    <a:moveTo>
                      <a:pt x="462" y="159"/>
                    </a:moveTo>
                    <a:cubicBezTo>
                      <a:pt x="462" y="157"/>
                      <a:pt x="462" y="154"/>
                      <a:pt x="462" y="152"/>
                    </a:cubicBezTo>
                    <a:cubicBezTo>
                      <a:pt x="462" y="68"/>
                      <a:pt x="395" y="0"/>
                      <a:pt x="311" y="0"/>
                    </a:cubicBezTo>
                    <a:cubicBezTo>
                      <a:pt x="258" y="0"/>
                      <a:pt x="211" y="28"/>
                      <a:pt x="184" y="68"/>
                    </a:cubicBezTo>
                    <a:cubicBezTo>
                      <a:pt x="172" y="61"/>
                      <a:pt x="158" y="57"/>
                      <a:pt x="143" y="57"/>
                    </a:cubicBezTo>
                    <a:cubicBezTo>
                      <a:pt x="124" y="57"/>
                      <a:pt x="108" y="62"/>
                      <a:pt x="94" y="72"/>
                    </a:cubicBezTo>
                    <a:cubicBezTo>
                      <a:pt x="70" y="87"/>
                      <a:pt x="55" y="113"/>
                      <a:pt x="55" y="143"/>
                    </a:cubicBezTo>
                    <a:cubicBezTo>
                      <a:pt x="22" y="164"/>
                      <a:pt x="0" y="201"/>
                      <a:pt x="0" y="243"/>
                    </a:cubicBezTo>
                    <a:cubicBezTo>
                      <a:pt x="0" y="305"/>
                      <a:pt x="46" y="355"/>
                      <a:pt x="106" y="362"/>
                    </a:cubicBezTo>
                    <a:cubicBezTo>
                      <a:pt x="110" y="362"/>
                      <a:pt x="115" y="362"/>
                      <a:pt x="119" y="362"/>
                    </a:cubicBezTo>
                    <a:cubicBezTo>
                      <a:pt x="123" y="362"/>
                      <a:pt x="127" y="362"/>
                      <a:pt x="131" y="362"/>
                    </a:cubicBezTo>
                    <a:cubicBezTo>
                      <a:pt x="187" y="362"/>
                      <a:pt x="318" y="362"/>
                      <a:pt x="379" y="362"/>
                    </a:cubicBezTo>
                    <a:cubicBezTo>
                      <a:pt x="381" y="362"/>
                      <a:pt x="383" y="362"/>
                      <a:pt x="384" y="362"/>
                    </a:cubicBezTo>
                    <a:cubicBezTo>
                      <a:pt x="390" y="362"/>
                      <a:pt x="390" y="362"/>
                      <a:pt x="390" y="362"/>
                    </a:cubicBezTo>
                    <a:cubicBezTo>
                      <a:pt x="394" y="362"/>
                      <a:pt x="403" y="362"/>
                      <a:pt x="409" y="362"/>
                    </a:cubicBezTo>
                    <a:cubicBezTo>
                      <a:pt x="448" y="362"/>
                      <a:pt x="448" y="362"/>
                      <a:pt x="448" y="362"/>
                    </a:cubicBezTo>
                    <a:cubicBezTo>
                      <a:pt x="505" y="361"/>
                      <a:pt x="550" y="316"/>
                      <a:pt x="550" y="260"/>
                    </a:cubicBezTo>
                    <a:cubicBezTo>
                      <a:pt x="550" y="209"/>
                      <a:pt x="512" y="166"/>
                      <a:pt x="462" y="159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208" name="Freeform 8"/>
              <p:cNvSpPr>
                <a:spLocks noEditPoints="1"/>
              </p:cNvSpPr>
              <p:nvPr/>
            </p:nvSpPr>
            <p:spPr bwMode="auto">
              <a:xfrm>
                <a:off x="2616233" y="4079400"/>
                <a:ext cx="1180819" cy="1177325"/>
              </a:xfrm>
              <a:custGeom>
                <a:avLst/>
                <a:gdLst>
                  <a:gd name="T0" fmla="*/ 266 w 483"/>
                  <a:gd name="T1" fmla="*/ 475 h 482"/>
                  <a:gd name="T2" fmla="*/ 216 w 483"/>
                  <a:gd name="T3" fmla="*/ 481 h 482"/>
                  <a:gd name="T4" fmla="*/ 217 w 483"/>
                  <a:gd name="T5" fmla="*/ 475 h 482"/>
                  <a:gd name="T6" fmla="*/ 290 w 483"/>
                  <a:gd name="T7" fmla="*/ 471 h 482"/>
                  <a:gd name="T8" fmla="*/ 292 w 483"/>
                  <a:gd name="T9" fmla="*/ 477 h 482"/>
                  <a:gd name="T10" fmla="*/ 146 w 483"/>
                  <a:gd name="T11" fmla="*/ 456 h 482"/>
                  <a:gd name="T12" fmla="*/ 340 w 483"/>
                  <a:gd name="T13" fmla="*/ 462 h 482"/>
                  <a:gd name="T14" fmla="*/ 362 w 483"/>
                  <a:gd name="T15" fmla="*/ 450 h 482"/>
                  <a:gd name="T16" fmla="*/ 100 w 483"/>
                  <a:gd name="T17" fmla="*/ 436 h 482"/>
                  <a:gd name="T18" fmla="*/ 121 w 483"/>
                  <a:gd name="T19" fmla="*/ 450 h 482"/>
                  <a:gd name="T20" fmla="*/ 399 w 483"/>
                  <a:gd name="T21" fmla="*/ 416 h 482"/>
                  <a:gd name="T22" fmla="*/ 80 w 483"/>
                  <a:gd name="T23" fmla="*/ 421 h 482"/>
                  <a:gd name="T24" fmla="*/ 84 w 483"/>
                  <a:gd name="T25" fmla="*/ 416 h 482"/>
                  <a:gd name="T26" fmla="*/ 416 w 483"/>
                  <a:gd name="T27" fmla="*/ 398 h 482"/>
                  <a:gd name="T28" fmla="*/ 421 w 483"/>
                  <a:gd name="T29" fmla="*/ 403 h 482"/>
                  <a:gd name="T30" fmla="*/ 38 w 483"/>
                  <a:gd name="T31" fmla="*/ 359 h 482"/>
                  <a:gd name="T32" fmla="*/ 450 w 483"/>
                  <a:gd name="T33" fmla="*/ 362 h 482"/>
                  <a:gd name="T34" fmla="*/ 462 w 483"/>
                  <a:gd name="T35" fmla="*/ 339 h 482"/>
                  <a:gd name="T36" fmla="*/ 12 w 483"/>
                  <a:gd name="T37" fmla="*/ 316 h 482"/>
                  <a:gd name="T38" fmla="*/ 21 w 483"/>
                  <a:gd name="T39" fmla="*/ 340 h 482"/>
                  <a:gd name="T40" fmla="*/ 471 w 483"/>
                  <a:gd name="T41" fmla="*/ 290 h 482"/>
                  <a:gd name="T42" fmla="*/ 5 w 483"/>
                  <a:gd name="T43" fmla="*/ 292 h 482"/>
                  <a:gd name="T44" fmla="*/ 11 w 483"/>
                  <a:gd name="T45" fmla="*/ 290 h 482"/>
                  <a:gd name="T46" fmla="*/ 475 w 483"/>
                  <a:gd name="T47" fmla="*/ 266 h 482"/>
                  <a:gd name="T48" fmla="*/ 483 w 483"/>
                  <a:gd name="T49" fmla="*/ 241 h 482"/>
                  <a:gd name="T50" fmla="*/ 0 w 483"/>
                  <a:gd name="T51" fmla="*/ 241 h 482"/>
                  <a:gd name="T52" fmla="*/ 8 w 483"/>
                  <a:gd name="T53" fmla="*/ 217 h 482"/>
                  <a:gd name="T54" fmla="*/ 475 w 483"/>
                  <a:gd name="T55" fmla="*/ 216 h 482"/>
                  <a:gd name="T56" fmla="*/ 481 w 483"/>
                  <a:gd name="T57" fmla="*/ 215 h 482"/>
                  <a:gd name="T58" fmla="*/ 5 w 483"/>
                  <a:gd name="T59" fmla="*/ 191 h 482"/>
                  <a:gd name="T60" fmla="*/ 11 w 483"/>
                  <a:gd name="T61" fmla="*/ 193 h 482"/>
                  <a:gd name="T62" fmla="*/ 462 w 483"/>
                  <a:gd name="T63" fmla="*/ 143 h 482"/>
                  <a:gd name="T64" fmla="*/ 27 w 483"/>
                  <a:gd name="T65" fmla="*/ 146 h 482"/>
                  <a:gd name="T66" fmla="*/ 38 w 483"/>
                  <a:gd name="T67" fmla="*/ 124 h 482"/>
                  <a:gd name="T68" fmla="*/ 431 w 483"/>
                  <a:gd name="T69" fmla="*/ 103 h 482"/>
                  <a:gd name="T70" fmla="*/ 445 w 483"/>
                  <a:gd name="T71" fmla="*/ 123 h 482"/>
                  <a:gd name="T72" fmla="*/ 62 w 483"/>
                  <a:gd name="T73" fmla="*/ 80 h 482"/>
                  <a:gd name="T74" fmla="*/ 416 w 483"/>
                  <a:gd name="T75" fmla="*/ 84 h 482"/>
                  <a:gd name="T76" fmla="*/ 420 w 483"/>
                  <a:gd name="T77" fmla="*/ 79 h 482"/>
                  <a:gd name="T78" fmla="*/ 80 w 483"/>
                  <a:gd name="T79" fmla="*/ 62 h 482"/>
                  <a:gd name="T80" fmla="*/ 84 w 483"/>
                  <a:gd name="T81" fmla="*/ 67 h 482"/>
                  <a:gd name="T82" fmla="*/ 362 w 483"/>
                  <a:gd name="T83" fmla="*/ 32 h 482"/>
                  <a:gd name="T84" fmla="*/ 124 w 483"/>
                  <a:gd name="T85" fmla="*/ 38 h 482"/>
                  <a:gd name="T86" fmla="*/ 145 w 483"/>
                  <a:gd name="T87" fmla="*/ 27 h 482"/>
                  <a:gd name="T88" fmla="*/ 314 w 483"/>
                  <a:gd name="T89" fmla="*/ 17 h 482"/>
                  <a:gd name="T90" fmla="*/ 337 w 483"/>
                  <a:gd name="T91" fmla="*/ 26 h 482"/>
                  <a:gd name="T92" fmla="*/ 191 w 483"/>
                  <a:gd name="T93" fmla="*/ 5 h 482"/>
                  <a:gd name="T94" fmla="*/ 290 w 483"/>
                  <a:gd name="T95" fmla="*/ 11 h 482"/>
                  <a:gd name="T96" fmla="*/ 291 w 483"/>
                  <a:gd name="T97" fmla="*/ 5 h 482"/>
                  <a:gd name="T98" fmla="*/ 216 w 483"/>
                  <a:gd name="T99" fmla="*/ 1 h 482"/>
                  <a:gd name="T100" fmla="*/ 216 w 483"/>
                  <a:gd name="T101" fmla="*/ 7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483" h="482">
                    <a:moveTo>
                      <a:pt x="241" y="482"/>
                    </a:moveTo>
                    <a:cubicBezTo>
                      <a:pt x="241" y="476"/>
                      <a:pt x="241" y="476"/>
                      <a:pt x="241" y="476"/>
                    </a:cubicBezTo>
                    <a:cubicBezTo>
                      <a:pt x="250" y="476"/>
                      <a:pt x="258" y="476"/>
                      <a:pt x="266" y="475"/>
                    </a:cubicBezTo>
                    <a:cubicBezTo>
                      <a:pt x="267" y="481"/>
                      <a:pt x="267" y="481"/>
                      <a:pt x="267" y="481"/>
                    </a:cubicBezTo>
                    <a:cubicBezTo>
                      <a:pt x="258" y="482"/>
                      <a:pt x="250" y="482"/>
                      <a:pt x="241" y="482"/>
                    </a:cubicBezTo>
                    <a:close/>
                    <a:moveTo>
                      <a:pt x="216" y="481"/>
                    </a:moveTo>
                    <a:cubicBezTo>
                      <a:pt x="208" y="480"/>
                      <a:pt x="200" y="479"/>
                      <a:pt x="191" y="477"/>
                    </a:cubicBezTo>
                    <a:cubicBezTo>
                      <a:pt x="193" y="471"/>
                      <a:pt x="193" y="471"/>
                      <a:pt x="193" y="471"/>
                    </a:cubicBezTo>
                    <a:cubicBezTo>
                      <a:pt x="201" y="473"/>
                      <a:pt x="209" y="474"/>
                      <a:pt x="217" y="475"/>
                    </a:cubicBezTo>
                    <a:lnTo>
                      <a:pt x="216" y="481"/>
                    </a:lnTo>
                    <a:close/>
                    <a:moveTo>
                      <a:pt x="292" y="477"/>
                    </a:moveTo>
                    <a:cubicBezTo>
                      <a:pt x="290" y="471"/>
                      <a:pt x="290" y="471"/>
                      <a:pt x="290" y="471"/>
                    </a:cubicBezTo>
                    <a:cubicBezTo>
                      <a:pt x="298" y="469"/>
                      <a:pt x="306" y="467"/>
                      <a:pt x="314" y="465"/>
                    </a:cubicBezTo>
                    <a:cubicBezTo>
                      <a:pt x="316" y="471"/>
                      <a:pt x="316" y="471"/>
                      <a:pt x="316" y="471"/>
                    </a:cubicBezTo>
                    <a:cubicBezTo>
                      <a:pt x="308" y="473"/>
                      <a:pt x="300" y="475"/>
                      <a:pt x="292" y="477"/>
                    </a:cubicBezTo>
                    <a:close/>
                    <a:moveTo>
                      <a:pt x="167" y="471"/>
                    </a:moveTo>
                    <a:cubicBezTo>
                      <a:pt x="159" y="468"/>
                      <a:pt x="151" y="465"/>
                      <a:pt x="143" y="462"/>
                    </a:cubicBezTo>
                    <a:cubicBezTo>
                      <a:pt x="146" y="456"/>
                      <a:pt x="146" y="456"/>
                      <a:pt x="146" y="456"/>
                    </a:cubicBezTo>
                    <a:cubicBezTo>
                      <a:pt x="153" y="459"/>
                      <a:pt x="161" y="462"/>
                      <a:pt x="169" y="465"/>
                    </a:cubicBezTo>
                    <a:lnTo>
                      <a:pt x="167" y="471"/>
                    </a:lnTo>
                    <a:close/>
                    <a:moveTo>
                      <a:pt x="340" y="462"/>
                    </a:moveTo>
                    <a:cubicBezTo>
                      <a:pt x="337" y="456"/>
                      <a:pt x="337" y="456"/>
                      <a:pt x="337" y="456"/>
                    </a:cubicBezTo>
                    <a:cubicBezTo>
                      <a:pt x="344" y="453"/>
                      <a:pt x="352" y="449"/>
                      <a:pt x="359" y="445"/>
                    </a:cubicBezTo>
                    <a:cubicBezTo>
                      <a:pt x="362" y="450"/>
                      <a:pt x="362" y="450"/>
                      <a:pt x="362" y="450"/>
                    </a:cubicBezTo>
                    <a:cubicBezTo>
                      <a:pt x="355" y="454"/>
                      <a:pt x="347" y="458"/>
                      <a:pt x="340" y="462"/>
                    </a:cubicBezTo>
                    <a:close/>
                    <a:moveTo>
                      <a:pt x="121" y="450"/>
                    </a:moveTo>
                    <a:cubicBezTo>
                      <a:pt x="114" y="446"/>
                      <a:pt x="106" y="441"/>
                      <a:pt x="100" y="436"/>
                    </a:cubicBezTo>
                    <a:cubicBezTo>
                      <a:pt x="103" y="431"/>
                      <a:pt x="103" y="431"/>
                      <a:pt x="103" y="431"/>
                    </a:cubicBezTo>
                    <a:cubicBezTo>
                      <a:pt x="110" y="436"/>
                      <a:pt x="117" y="441"/>
                      <a:pt x="124" y="445"/>
                    </a:cubicBezTo>
                    <a:lnTo>
                      <a:pt x="121" y="450"/>
                    </a:lnTo>
                    <a:close/>
                    <a:moveTo>
                      <a:pt x="383" y="436"/>
                    </a:moveTo>
                    <a:cubicBezTo>
                      <a:pt x="380" y="431"/>
                      <a:pt x="380" y="431"/>
                      <a:pt x="380" y="431"/>
                    </a:cubicBezTo>
                    <a:cubicBezTo>
                      <a:pt x="386" y="426"/>
                      <a:pt x="393" y="421"/>
                      <a:pt x="399" y="416"/>
                    </a:cubicBezTo>
                    <a:cubicBezTo>
                      <a:pt x="403" y="420"/>
                      <a:pt x="403" y="420"/>
                      <a:pt x="403" y="420"/>
                    </a:cubicBezTo>
                    <a:cubicBezTo>
                      <a:pt x="397" y="426"/>
                      <a:pt x="390" y="431"/>
                      <a:pt x="383" y="436"/>
                    </a:cubicBezTo>
                    <a:close/>
                    <a:moveTo>
                      <a:pt x="80" y="421"/>
                    </a:moveTo>
                    <a:cubicBezTo>
                      <a:pt x="74" y="415"/>
                      <a:pt x="68" y="409"/>
                      <a:pt x="62" y="403"/>
                    </a:cubicBezTo>
                    <a:cubicBezTo>
                      <a:pt x="67" y="399"/>
                      <a:pt x="67" y="399"/>
                      <a:pt x="67" y="399"/>
                    </a:cubicBezTo>
                    <a:cubicBezTo>
                      <a:pt x="72" y="405"/>
                      <a:pt x="78" y="410"/>
                      <a:pt x="84" y="416"/>
                    </a:cubicBezTo>
                    <a:lnTo>
                      <a:pt x="80" y="421"/>
                    </a:lnTo>
                    <a:close/>
                    <a:moveTo>
                      <a:pt x="421" y="403"/>
                    </a:moveTo>
                    <a:cubicBezTo>
                      <a:pt x="416" y="398"/>
                      <a:pt x="416" y="398"/>
                      <a:pt x="416" y="398"/>
                    </a:cubicBezTo>
                    <a:cubicBezTo>
                      <a:pt x="421" y="392"/>
                      <a:pt x="427" y="386"/>
                      <a:pt x="431" y="379"/>
                    </a:cubicBezTo>
                    <a:cubicBezTo>
                      <a:pt x="437" y="383"/>
                      <a:pt x="437" y="383"/>
                      <a:pt x="437" y="383"/>
                    </a:cubicBezTo>
                    <a:cubicBezTo>
                      <a:pt x="432" y="390"/>
                      <a:pt x="426" y="396"/>
                      <a:pt x="421" y="403"/>
                    </a:cubicBezTo>
                    <a:close/>
                    <a:moveTo>
                      <a:pt x="46" y="383"/>
                    </a:moveTo>
                    <a:cubicBezTo>
                      <a:pt x="41" y="376"/>
                      <a:pt x="37" y="369"/>
                      <a:pt x="32" y="362"/>
                    </a:cubicBezTo>
                    <a:cubicBezTo>
                      <a:pt x="38" y="359"/>
                      <a:pt x="38" y="359"/>
                      <a:pt x="38" y="359"/>
                    </a:cubicBezTo>
                    <a:cubicBezTo>
                      <a:pt x="42" y="366"/>
                      <a:pt x="47" y="373"/>
                      <a:pt x="51" y="379"/>
                    </a:cubicBezTo>
                    <a:lnTo>
                      <a:pt x="46" y="383"/>
                    </a:lnTo>
                    <a:close/>
                    <a:moveTo>
                      <a:pt x="450" y="362"/>
                    </a:moveTo>
                    <a:cubicBezTo>
                      <a:pt x="445" y="359"/>
                      <a:pt x="445" y="359"/>
                      <a:pt x="445" y="359"/>
                    </a:cubicBezTo>
                    <a:cubicBezTo>
                      <a:pt x="449" y="352"/>
                      <a:pt x="453" y="344"/>
                      <a:pt x="456" y="337"/>
                    </a:cubicBezTo>
                    <a:cubicBezTo>
                      <a:pt x="462" y="339"/>
                      <a:pt x="462" y="339"/>
                      <a:pt x="462" y="339"/>
                    </a:cubicBezTo>
                    <a:cubicBezTo>
                      <a:pt x="458" y="347"/>
                      <a:pt x="455" y="355"/>
                      <a:pt x="450" y="362"/>
                    </a:cubicBezTo>
                    <a:close/>
                    <a:moveTo>
                      <a:pt x="21" y="340"/>
                    </a:moveTo>
                    <a:cubicBezTo>
                      <a:pt x="18" y="332"/>
                      <a:pt x="14" y="324"/>
                      <a:pt x="12" y="316"/>
                    </a:cubicBezTo>
                    <a:cubicBezTo>
                      <a:pt x="18" y="314"/>
                      <a:pt x="18" y="314"/>
                      <a:pt x="18" y="314"/>
                    </a:cubicBezTo>
                    <a:cubicBezTo>
                      <a:pt x="20" y="322"/>
                      <a:pt x="23" y="329"/>
                      <a:pt x="27" y="337"/>
                    </a:cubicBezTo>
                    <a:lnTo>
                      <a:pt x="21" y="340"/>
                    </a:lnTo>
                    <a:close/>
                    <a:moveTo>
                      <a:pt x="471" y="316"/>
                    </a:moveTo>
                    <a:cubicBezTo>
                      <a:pt x="465" y="314"/>
                      <a:pt x="465" y="314"/>
                      <a:pt x="465" y="314"/>
                    </a:cubicBezTo>
                    <a:cubicBezTo>
                      <a:pt x="467" y="306"/>
                      <a:pt x="470" y="298"/>
                      <a:pt x="471" y="290"/>
                    </a:cubicBezTo>
                    <a:cubicBezTo>
                      <a:pt x="477" y="291"/>
                      <a:pt x="477" y="291"/>
                      <a:pt x="477" y="291"/>
                    </a:cubicBezTo>
                    <a:cubicBezTo>
                      <a:pt x="476" y="300"/>
                      <a:pt x="473" y="308"/>
                      <a:pt x="471" y="316"/>
                    </a:cubicBezTo>
                    <a:close/>
                    <a:moveTo>
                      <a:pt x="5" y="292"/>
                    </a:moveTo>
                    <a:cubicBezTo>
                      <a:pt x="4" y="283"/>
                      <a:pt x="2" y="275"/>
                      <a:pt x="1" y="267"/>
                    </a:cubicBezTo>
                    <a:cubicBezTo>
                      <a:pt x="8" y="266"/>
                      <a:pt x="8" y="266"/>
                      <a:pt x="8" y="266"/>
                    </a:cubicBezTo>
                    <a:cubicBezTo>
                      <a:pt x="9" y="274"/>
                      <a:pt x="10" y="282"/>
                      <a:pt x="11" y="290"/>
                    </a:cubicBezTo>
                    <a:lnTo>
                      <a:pt x="5" y="292"/>
                    </a:lnTo>
                    <a:close/>
                    <a:moveTo>
                      <a:pt x="481" y="266"/>
                    </a:moveTo>
                    <a:cubicBezTo>
                      <a:pt x="475" y="266"/>
                      <a:pt x="475" y="266"/>
                      <a:pt x="475" y="266"/>
                    </a:cubicBezTo>
                    <a:cubicBezTo>
                      <a:pt x="476" y="258"/>
                      <a:pt x="476" y="249"/>
                      <a:pt x="476" y="241"/>
                    </a:cubicBezTo>
                    <a:cubicBezTo>
                      <a:pt x="476" y="241"/>
                      <a:pt x="476" y="241"/>
                      <a:pt x="476" y="241"/>
                    </a:cubicBezTo>
                    <a:cubicBezTo>
                      <a:pt x="483" y="241"/>
                      <a:pt x="483" y="241"/>
                      <a:pt x="483" y="241"/>
                    </a:cubicBezTo>
                    <a:cubicBezTo>
                      <a:pt x="483" y="241"/>
                      <a:pt x="483" y="241"/>
                      <a:pt x="483" y="241"/>
                    </a:cubicBezTo>
                    <a:cubicBezTo>
                      <a:pt x="483" y="250"/>
                      <a:pt x="482" y="258"/>
                      <a:pt x="481" y="266"/>
                    </a:cubicBezTo>
                    <a:close/>
                    <a:moveTo>
                      <a:pt x="0" y="241"/>
                    </a:moveTo>
                    <a:cubicBezTo>
                      <a:pt x="0" y="241"/>
                      <a:pt x="0" y="241"/>
                      <a:pt x="0" y="241"/>
                    </a:cubicBezTo>
                    <a:cubicBezTo>
                      <a:pt x="0" y="233"/>
                      <a:pt x="0" y="224"/>
                      <a:pt x="1" y="216"/>
                    </a:cubicBezTo>
                    <a:cubicBezTo>
                      <a:pt x="8" y="217"/>
                      <a:pt x="8" y="217"/>
                      <a:pt x="8" y="217"/>
                    </a:cubicBezTo>
                    <a:cubicBezTo>
                      <a:pt x="7" y="225"/>
                      <a:pt x="6" y="233"/>
                      <a:pt x="6" y="241"/>
                    </a:cubicBezTo>
                    <a:lnTo>
                      <a:pt x="0" y="241"/>
                    </a:lnTo>
                    <a:close/>
                    <a:moveTo>
                      <a:pt x="475" y="216"/>
                    </a:moveTo>
                    <a:cubicBezTo>
                      <a:pt x="474" y="208"/>
                      <a:pt x="473" y="200"/>
                      <a:pt x="471" y="192"/>
                    </a:cubicBezTo>
                    <a:cubicBezTo>
                      <a:pt x="477" y="190"/>
                      <a:pt x="477" y="190"/>
                      <a:pt x="477" y="190"/>
                    </a:cubicBezTo>
                    <a:cubicBezTo>
                      <a:pt x="479" y="199"/>
                      <a:pt x="480" y="207"/>
                      <a:pt x="481" y="215"/>
                    </a:cubicBezTo>
                    <a:lnTo>
                      <a:pt x="475" y="216"/>
                    </a:lnTo>
                    <a:close/>
                    <a:moveTo>
                      <a:pt x="11" y="193"/>
                    </a:moveTo>
                    <a:cubicBezTo>
                      <a:pt x="5" y="191"/>
                      <a:pt x="5" y="191"/>
                      <a:pt x="5" y="191"/>
                    </a:cubicBezTo>
                    <a:cubicBezTo>
                      <a:pt x="7" y="183"/>
                      <a:pt x="9" y="175"/>
                      <a:pt x="12" y="167"/>
                    </a:cubicBezTo>
                    <a:cubicBezTo>
                      <a:pt x="18" y="169"/>
                      <a:pt x="18" y="169"/>
                      <a:pt x="18" y="169"/>
                    </a:cubicBezTo>
                    <a:cubicBezTo>
                      <a:pt x="15" y="177"/>
                      <a:pt x="13" y="185"/>
                      <a:pt x="11" y="193"/>
                    </a:cubicBezTo>
                    <a:close/>
                    <a:moveTo>
                      <a:pt x="465" y="168"/>
                    </a:moveTo>
                    <a:cubicBezTo>
                      <a:pt x="462" y="160"/>
                      <a:pt x="459" y="153"/>
                      <a:pt x="456" y="145"/>
                    </a:cubicBezTo>
                    <a:cubicBezTo>
                      <a:pt x="462" y="143"/>
                      <a:pt x="462" y="143"/>
                      <a:pt x="462" y="143"/>
                    </a:cubicBezTo>
                    <a:cubicBezTo>
                      <a:pt x="465" y="150"/>
                      <a:pt x="468" y="158"/>
                      <a:pt x="471" y="166"/>
                    </a:cubicBezTo>
                    <a:lnTo>
                      <a:pt x="465" y="168"/>
                    </a:lnTo>
                    <a:close/>
                    <a:moveTo>
                      <a:pt x="27" y="146"/>
                    </a:moveTo>
                    <a:cubicBezTo>
                      <a:pt x="21" y="143"/>
                      <a:pt x="21" y="143"/>
                      <a:pt x="21" y="143"/>
                    </a:cubicBezTo>
                    <a:cubicBezTo>
                      <a:pt x="24" y="136"/>
                      <a:pt x="28" y="128"/>
                      <a:pt x="32" y="121"/>
                    </a:cubicBezTo>
                    <a:cubicBezTo>
                      <a:pt x="38" y="124"/>
                      <a:pt x="38" y="124"/>
                      <a:pt x="38" y="124"/>
                    </a:cubicBezTo>
                    <a:cubicBezTo>
                      <a:pt x="34" y="131"/>
                      <a:pt x="30" y="138"/>
                      <a:pt x="27" y="146"/>
                    </a:cubicBezTo>
                    <a:close/>
                    <a:moveTo>
                      <a:pt x="445" y="123"/>
                    </a:moveTo>
                    <a:cubicBezTo>
                      <a:pt x="441" y="116"/>
                      <a:pt x="436" y="109"/>
                      <a:pt x="431" y="103"/>
                    </a:cubicBezTo>
                    <a:cubicBezTo>
                      <a:pt x="436" y="99"/>
                      <a:pt x="436" y="99"/>
                      <a:pt x="436" y="99"/>
                    </a:cubicBezTo>
                    <a:cubicBezTo>
                      <a:pt x="441" y="106"/>
                      <a:pt x="446" y="113"/>
                      <a:pt x="450" y="120"/>
                    </a:cubicBezTo>
                    <a:lnTo>
                      <a:pt x="445" y="123"/>
                    </a:lnTo>
                    <a:close/>
                    <a:moveTo>
                      <a:pt x="51" y="103"/>
                    </a:moveTo>
                    <a:cubicBezTo>
                      <a:pt x="46" y="100"/>
                      <a:pt x="46" y="100"/>
                      <a:pt x="46" y="100"/>
                    </a:cubicBezTo>
                    <a:cubicBezTo>
                      <a:pt x="51" y="93"/>
                      <a:pt x="56" y="86"/>
                      <a:pt x="62" y="80"/>
                    </a:cubicBezTo>
                    <a:cubicBezTo>
                      <a:pt x="67" y="84"/>
                      <a:pt x="67" y="84"/>
                      <a:pt x="67" y="84"/>
                    </a:cubicBezTo>
                    <a:cubicBezTo>
                      <a:pt x="61" y="90"/>
                      <a:pt x="56" y="97"/>
                      <a:pt x="51" y="103"/>
                    </a:cubicBezTo>
                    <a:close/>
                    <a:moveTo>
                      <a:pt x="416" y="84"/>
                    </a:moveTo>
                    <a:cubicBezTo>
                      <a:pt x="410" y="78"/>
                      <a:pt x="404" y="72"/>
                      <a:pt x="398" y="66"/>
                    </a:cubicBezTo>
                    <a:cubicBezTo>
                      <a:pt x="402" y="62"/>
                      <a:pt x="402" y="62"/>
                      <a:pt x="402" y="62"/>
                    </a:cubicBezTo>
                    <a:cubicBezTo>
                      <a:pt x="409" y="67"/>
                      <a:pt x="415" y="73"/>
                      <a:pt x="420" y="79"/>
                    </a:cubicBezTo>
                    <a:lnTo>
                      <a:pt x="416" y="84"/>
                    </a:lnTo>
                    <a:close/>
                    <a:moveTo>
                      <a:pt x="84" y="67"/>
                    </a:moveTo>
                    <a:cubicBezTo>
                      <a:pt x="80" y="62"/>
                      <a:pt x="80" y="62"/>
                      <a:pt x="80" y="62"/>
                    </a:cubicBezTo>
                    <a:cubicBezTo>
                      <a:pt x="86" y="56"/>
                      <a:pt x="92" y="51"/>
                      <a:pt x="99" y="46"/>
                    </a:cubicBezTo>
                    <a:cubicBezTo>
                      <a:pt x="103" y="51"/>
                      <a:pt x="103" y="51"/>
                      <a:pt x="103" y="51"/>
                    </a:cubicBezTo>
                    <a:cubicBezTo>
                      <a:pt x="96" y="56"/>
                      <a:pt x="90" y="61"/>
                      <a:pt x="84" y="67"/>
                    </a:cubicBezTo>
                    <a:close/>
                    <a:moveTo>
                      <a:pt x="379" y="51"/>
                    </a:moveTo>
                    <a:cubicBezTo>
                      <a:pt x="372" y="46"/>
                      <a:pt x="366" y="41"/>
                      <a:pt x="358" y="37"/>
                    </a:cubicBezTo>
                    <a:cubicBezTo>
                      <a:pt x="362" y="32"/>
                      <a:pt x="362" y="32"/>
                      <a:pt x="362" y="32"/>
                    </a:cubicBezTo>
                    <a:cubicBezTo>
                      <a:pt x="369" y="36"/>
                      <a:pt x="376" y="41"/>
                      <a:pt x="383" y="46"/>
                    </a:cubicBezTo>
                    <a:lnTo>
                      <a:pt x="379" y="51"/>
                    </a:lnTo>
                    <a:close/>
                    <a:moveTo>
                      <a:pt x="124" y="38"/>
                    </a:moveTo>
                    <a:cubicBezTo>
                      <a:pt x="120" y="32"/>
                      <a:pt x="120" y="32"/>
                      <a:pt x="120" y="32"/>
                    </a:cubicBezTo>
                    <a:cubicBezTo>
                      <a:pt x="128" y="28"/>
                      <a:pt x="135" y="24"/>
                      <a:pt x="143" y="21"/>
                    </a:cubicBezTo>
                    <a:cubicBezTo>
                      <a:pt x="145" y="27"/>
                      <a:pt x="145" y="27"/>
                      <a:pt x="145" y="27"/>
                    </a:cubicBezTo>
                    <a:cubicBezTo>
                      <a:pt x="138" y="30"/>
                      <a:pt x="131" y="34"/>
                      <a:pt x="124" y="38"/>
                    </a:cubicBezTo>
                    <a:close/>
                    <a:moveTo>
                      <a:pt x="337" y="26"/>
                    </a:moveTo>
                    <a:cubicBezTo>
                      <a:pt x="329" y="23"/>
                      <a:pt x="321" y="20"/>
                      <a:pt x="314" y="17"/>
                    </a:cubicBezTo>
                    <a:cubicBezTo>
                      <a:pt x="316" y="11"/>
                      <a:pt x="316" y="11"/>
                      <a:pt x="316" y="11"/>
                    </a:cubicBezTo>
                    <a:cubicBezTo>
                      <a:pt x="324" y="14"/>
                      <a:pt x="331" y="17"/>
                      <a:pt x="339" y="20"/>
                    </a:cubicBezTo>
                    <a:lnTo>
                      <a:pt x="337" y="26"/>
                    </a:lnTo>
                    <a:close/>
                    <a:moveTo>
                      <a:pt x="168" y="18"/>
                    </a:moveTo>
                    <a:cubicBezTo>
                      <a:pt x="166" y="12"/>
                      <a:pt x="166" y="12"/>
                      <a:pt x="166" y="12"/>
                    </a:cubicBezTo>
                    <a:cubicBezTo>
                      <a:pt x="174" y="9"/>
                      <a:pt x="183" y="7"/>
                      <a:pt x="191" y="5"/>
                    </a:cubicBezTo>
                    <a:cubicBezTo>
                      <a:pt x="192" y="11"/>
                      <a:pt x="192" y="11"/>
                      <a:pt x="192" y="11"/>
                    </a:cubicBezTo>
                    <a:cubicBezTo>
                      <a:pt x="184" y="13"/>
                      <a:pt x="176" y="15"/>
                      <a:pt x="168" y="18"/>
                    </a:cubicBezTo>
                    <a:close/>
                    <a:moveTo>
                      <a:pt x="290" y="11"/>
                    </a:moveTo>
                    <a:cubicBezTo>
                      <a:pt x="282" y="10"/>
                      <a:pt x="274" y="8"/>
                      <a:pt x="266" y="7"/>
                    </a:cubicBezTo>
                    <a:cubicBezTo>
                      <a:pt x="266" y="1"/>
                      <a:pt x="266" y="1"/>
                      <a:pt x="266" y="1"/>
                    </a:cubicBezTo>
                    <a:cubicBezTo>
                      <a:pt x="275" y="2"/>
                      <a:pt x="283" y="3"/>
                      <a:pt x="291" y="5"/>
                    </a:cubicBezTo>
                    <a:lnTo>
                      <a:pt x="290" y="11"/>
                    </a:lnTo>
                    <a:close/>
                    <a:moveTo>
                      <a:pt x="216" y="7"/>
                    </a:moveTo>
                    <a:cubicBezTo>
                      <a:pt x="216" y="1"/>
                      <a:pt x="216" y="1"/>
                      <a:pt x="216" y="1"/>
                    </a:cubicBezTo>
                    <a:cubicBezTo>
                      <a:pt x="224" y="0"/>
                      <a:pt x="233" y="0"/>
                      <a:pt x="241" y="0"/>
                    </a:cubicBezTo>
                    <a:cubicBezTo>
                      <a:pt x="241" y="6"/>
                      <a:pt x="241" y="6"/>
                      <a:pt x="241" y="6"/>
                    </a:cubicBezTo>
                    <a:cubicBezTo>
                      <a:pt x="233" y="6"/>
                      <a:pt x="224" y="7"/>
                      <a:pt x="216" y="7"/>
                    </a:cubicBezTo>
                    <a:close/>
                  </a:path>
                </a:pathLst>
              </a:custGeom>
              <a:solidFill>
                <a:srgbClr val="DC3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209" name="Oval 9"/>
              <p:cNvSpPr>
                <a:spLocks noChangeArrowheads="1"/>
              </p:cNvSpPr>
              <p:nvPr/>
            </p:nvSpPr>
            <p:spPr bwMode="auto">
              <a:xfrm>
                <a:off x="2624967" y="4264558"/>
                <a:ext cx="986927" cy="985180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210" name="Freeform 10"/>
              <p:cNvSpPr>
                <a:spLocks noEditPoints="1"/>
              </p:cNvSpPr>
              <p:nvPr/>
            </p:nvSpPr>
            <p:spPr bwMode="auto">
              <a:xfrm>
                <a:off x="2616233" y="4257571"/>
                <a:ext cx="1002648" cy="999154"/>
              </a:xfrm>
              <a:custGeom>
                <a:avLst/>
                <a:gdLst>
                  <a:gd name="T0" fmla="*/ 193 w 410"/>
                  <a:gd name="T1" fmla="*/ 403 h 409"/>
                  <a:gd name="T2" fmla="*/ 205 w 410"/>
                  <a:gd name="T3" fmla="*/ 409 h 409"/>
                  <a:gd name="T4" fmla="*/ 144 w 410"/>
                  <a:gd name="T5" fmla="*/ 394 h 409"/>
                  <a:gd name="T6" fmla="*/ 243 w 410"/>
                  <a:gd name="T7" fmla="*/ 406 h 409"/>
                  <a:gd name="T8" fmla="*/ 268 w 410"/>
                  <a:gd name="T9" fmla="*/ 399 h 409"/>
                  <a:gd name="T10" fmla="*/ 95 w 410"/>
                  <a:gd name="T11" fmla="*/ 378 h 409"/>
                  <a:gd name="T12" fmla="*/ 118 w 410"/>
                  <a:gd name="T13" fmla="*/ 390 h 409"/>
                  <a:gd name="T14" fmla="*/ 311 w 410"/>
                  <a:gd name="T15" fmla="*/ 372 h 409"/>
                  <a:gd name="T16" fmla="*/ 74 w 410"/>
                  <a:gd name="T17" fmla="*/ 363 h 409"/>
                  <a:gd name="T18" fmla="*/ 79 w 410"/>
                  <a:gd name="T19" fmla="*/ 358 h 409"/>
                  <a:gd name="T20" fmla="*/ 332 w 410"/>
                  <a:gd name="T21" fmla="*/ 358 h 409"/>
                  <a:gd name="T22" fmla="*/ 336 w 410"/>
                  <a:gd name="T23" fmla="*/ 362 h 409"/>
                  <a:gd name="T24" fmla="*/ 31 w 410"/>
                  <a:gd name="T25" fmla="*/ 300 h 409"/>
                  <a:gd name="T26" fmla="*/ 371 w 410"/>
                  <a:gd name="T27" fmla="*/ 325 h 409"/>
                  <a:gd name="T28" fmla="*/ 385 w 410"/>
                  <a:gd name="T29" fmla="*/ 303 h 409"/>
                  <a:gd name="T30" fmla="*/ 7 w 410"/>
                  <a:gd name="T31" fmla="*/ 256 h 409"/>
                  <a:gd name="T32" fmla="*/ 14 w 410"/>
                  <a:gd name="T33" fmla="*/ 280 h 409"/>
                  <a:gd name="T34" fmla="*/ 397 w 410"/>
                  <a:gd name="T35" fmla="*/ 254 h 409"/>
                  <a:gd name="T36" fmla="*/ 2 w 410"/>
                  <a:gd name="T37" fmla="*/ 231 h 409"/>
                  <a:gd name="T38" fmla="*/ 8 w 410"/>
                  <a:gd name="T39" fmla="*/ 230 h 409"/>
                  <a:gd name="T40" fmla="*/ 402 w 410"/>
                  <a:gd name="T41" fmla="*/ 229 h 409"/>
                  <a:gd name="T42" fmla="*/ 410 w 410"/>
                  <a:gd name="T43" fmla="*/ 204 h 409"/>
                  <a:gd name="T44" fmla="*/ 8 w 410"/>
                  <a:gd name="T45" fmla="*/ 180 h 409"/>
                  <a:gd name="T46" fmla="*/ 12 w 410"/>
                  <a:gd name="T47" fmla="*/ 156 h 409"/>
                  <a:gd name="T48" fmla="*/ 397 w 410"/>
                  <a:gd name="T49" fmla="*/ 155 h 409"/>
                  <a:gd name="T50" fmla="*/ 402 w 410"/>
                  <a:gd name="T51" fmla="*/ 179 h 409"/>
                  <a:gd name="T52" fmla="*/ 25 w 410"/>
                  <a:gd name="T53" fmla="*/ 106 h 409"/>
                  <a:gd name="T54" fmla="*/ 389 w 410"/>
                  <a:gd name="T55" fmla="*/ 131 h 409"/>
                  <a:gd name="T56" fmla="*/ 395 w 410"/>
                  <a:gd name="T57" fmla="*/ 129 h 409"/>
                  <a:gd name="T58" fmla="*/ 39 w 410"/>
                  <a:gd name="T59" fmla="*/ 84 h 409"/>
                  <a:gd name="T60" fmla="*/ 44 w 410"/>
                  <a:gd name="T61" fmla="*/ 88 h 409"/>
                  <a:gd name="T62" fmla="*/ 354 w 410"/>
                  <a:gd name="T63" fmla="*/ 64 h 409"/>
                  <a:gd name="T64" fmla="*/ 78 w 410"/>
                  <a:gd name="T65" fmla="*/ 52 h 409"/>
                  <a:gd name="T66" fmla="*/ 98 w 410"/>
                  <a:gd name="T67" fmla="*/ 37 h 409"/>
                  <a:gd name="T68" fmla="*/ 311 w 410"/>
                  <a:gd name="T69" fmla="*/ 37 h 409"/>
                  <a:gd name="T70" fmla="*/ 331 w 410"/>
                  <a:gd name="T71" fmla="*/ 51 h 409"/>
                  <a:gd name="T72" fmla="*/ 141 w 410"/>
                  <a:gd name="T73" fmla="*/ 10 h 409"/>
                  <a:gd name="T74" fmla="*/ 289 w 410"/>
                  <a:gd name="T75" fmla="*/ 25 h 409"/>
                  <a:gd name="T76" fmla="*/ 292 w 410"/>
                  <a:gd name="T77" fmla="*/ 19 h 409"/>
                  <a:gd name="T78" fmla="*/ 166 w 410"/>
                  <a:gd name="T79" fmla="*/ 3 h 409"/>
                  <a:gd name="T80" fmla="*/ 167 w 410"/>
                  <a:gd name="T81" fmla="*/ 10 h 409"/>
                  <a:gd name="T82" fmla="*/ 217 w 410"/>
                  <a:gd name="T83" fmla="*/ 0 h 4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410" h="409">
                    <a:moveTo>
                      <a:pt x="205" y="409"/>
                    </a:moveTo>
                    <a:cubicBezTo>
                      <a:pt x="201" y="409"/>
                      <a:pt x="196" y="409"/>
                      <a:pt x="192" y="409"/>
                    </a:cubicBezTo>
                    <a:cubicBezTo>
                      <a:pt x="193" y="403"/>
                      <a:pt x="193" y="403"/>
                      <a:pt x="193" y="403"/>
                    </a:cubicBezTo>
                    <a:cubicBezTo>
                      <a:pt x="201" y="403"/>
                      <a:pt x="209" y="403"/>
                      <a:pt x="218" y="403"/>
                    </a:cubicBezTo>
                    <a:cubicBezTo>
                      <a:pt x="218" y="409"/>
                      <a:pt x="218" y="409"/>
                      <a:pt x="218" y="409"/>
                    </a:cubicBezTo>
                    <a:cubicBezTo>
                      <a:pt x="214" y="409"/>
                      <a:pt x="209" y="409"/>
                      <a:pt x="205" y="409"/>
                    </a:cubicBezTo>
                    <a:close/>
                    <a:moveTo>
                      <a:pt x="167" y="406"/>
                    </a:moveTo>
                    <a:cubicBezTo>
                      <a:pt x="158" y="404"/>
                      <a:pt x="150" y="402"/>
                      <a:pt x="142" y="400"/>
                    </a:cubicBezTo>
                    <a:cubicBezTo>
                      <a:pt x="144" y="394"/>
                      <a:pt x="144" y="394"/>
                      <a:pt x="144" y="394"/>
                    </a:cubicBezTo>
                    <a:cubicBezTo>
                      <a:pt x="152" y="396"/>
                      <a:pt x="160" y="398"/>
                      <a:pt x="168" y="400"/>
                    </a:cubicBezTo>
                    <a:lnTo>
                      <a:pt x="167" y="406"/>
                    </a:lnTo>
                    <a:close/>
                    <a:moveTo>
                      <a:pt x="243" y="406"/>
                    </a:moveTo>
                    <a:cubicBezTo>
                      <a:pt x="242" y="400"/>
                      <a:pt x="242" y="400"/>
                      <a:pt x="242" y="400"/>
                    </a:cubicBezTo>
                    <a:cubicBezTo>
                      <a:pt x="250" y="398"/>
                      <a:pt x="259" y="396"/>
                      <a:pt x="266" y="393"/>
                    </a:cubicBezTo>
                    <a:cubicBezTo>
                      <a:pt x="268" y="399"/>
                      <a:pt x="268" y="399"/>
                      <a:pt x="268" y="399"/>
                    </a:cubicBezTo>
                    <a:cubicBezTo>
                      <a:pt x="260" y="402"/>
                      <a:pt x="252" y="404"/>
                      <a:pt x="243" y="406"/>
                    </a:cubicBezTo>
                    <a:close/>
                    <a:moveTo>
                      <a:pt x="118" y="390"/>
                    </a:moveTo>
                    <a:cubicBezTo>
                      <a:pt x="110" y="386"/>
                      <a:pt x="103" y="382"/>
                      <a:pt x="95" y="378"/>
                    </a:cubicBezTo>
                    <a:cubicBezTo>
                      <a:pt x="99" y="372"/>
                      <a:pt x="99" y="372"/>
                      <a:pt x="99" y="372"/>
                    </a:cubicBezTo>
                    <a:cubicBezTo>
                      <a:pt x="106" y="377"/>
                      <a:pt x="113" y="381"/>
                      <a:pt x="121" y="384"/>
                    </a:cubicBezTo>
                    <a:lnTo>
                      <a:pt x="118" y="390"/>
                    </a:lnTo>
                    <a:close/>
                    <a:moveTo>
                      <a:pt x="292" y="390"/>
                    </a:moveTo>
                    <a:cubicBezTo>
                      <a:pt x="290" y="384"/>
                      <a:pt x="290" y="384"/>
                      <a:pt x="290" y="384"/>
                    </a:cubicBezTo>
                    <a:cubicBezTo>
                      <a:pt x="297" y="381"/>
                      <a:pt x="304" y="377"/>
                      <a:pt x="311" y="372"/>
                    </a:cubicBezTo>
                    <a:cubicBezTo>
                      <a:pt x="315" y="378"/>
                      <a:pt x="315" y="378"/>
                      <a:pt x="315" y="378"/>
                    </a:cubicBezTo>
                    <a:cubicBezTo>
                      <a:pt x="308" y="382"/>
                      <a:pt x="300" y="386"/>
                      <a:pt x="292" y="390"/>
                    </a:cubicBezTo>
                    <a:close/>
                    <a:moveTo>
                      <a:pt x="74" y="363"/>
                    </a:moveTo>
                    <a:cubicBezTo>
                      <a:pt x="68" y="357"/>
                      <a:pt x="62" y="351"/>
                      <a:pt x="56" y="345"/>
                    </a:cubicBezTo>
                    <a:cubicBezTo>
                      <a:pt x="60" y="341"/>
                      <a:pt x="60" y="341"/>
                      <a:pt x="60" y="341"/>
                    </a:cubicBezTo>
                    <a:cubicBezTo>
                      <a:pt x="66" y="347"/>
                      <a:pt x="72" y="352"/>
                      <a:pt x="79" y="358"/>
                    </a:cubicBezTo>
                    <a:lnTo>
                      <a:pt x="74" y="363"/>
                    </a:lnTo>
                    <a:close/>
                    <a:moveTo>
                      <a:pt x="336" y="362"/>
                    </a:moveTo>
                    <a:cubicBezTo>
                      <a:pt x="332" y="358"/>
                      <a:pt x="332" y="358"/>
                      <a:pt x="332" y="358"/>
                    </a:cubicBezTo>
                    <a:cubicBezTo>
                      <a:pt x="338" y="352"/>
                      <a:pt x="344" y="346"/>
                      <a:pt x="350" y="340"/>
                    </a:cubicBezTo>
                    <a:cubicBezTo>
                      <a:pt x="354" y="345"/>
                      <a:pt x="354" y="345"/>
                      <a:pt x="354" y="345"/>
                    </a:cubicBezTo>
                    <a:cubicBezTo>
                      <a:pt x="348" y="351"/>
                      <a:pt x="342" y="357"/>
                      <a:pt x="336" y="362"/>
                    </a:cubicBezTo>
                    <a:close/>
                    <a:moveTo>
                      <a:pt x="39" y="325"/>
                    </a:moveTo>
                    <a:cubicBezTo>
                      <a:pt x="34" y="318"/>
                      <a:pt x="30" y="311"/>
                      <a:pt x="25" y="304"/>
                    </a:cubicBezTo>
                    <a:cubicBezTo>
                      <a:pt x="31" y="300"/>
                      <a:pt x="31" y="300"/>
                      <a:pt x="31" y="300"/>
                    </a:cubicBezTo>
                    <a:cubicBezTo>
                      <a:pt x="35" y="308"/>
                      <a:pt x="40" y="315"/>
                      <a:pt x="44" y="321"/>
                    </a:cubicBezTo>
                    <a:lnTo>
                      <a:pt x="39" y="325"/>
                    </a:lnTo>
                    <a:close/>
                    <a:moveTo>
                      <a:pt x="371" y="325"/>
                    </a:moveTo>
                    <a:cubicBezTo>
                      <a:pt x="366" y="321"/>
                      <a:pt x="366" y="321"/>
                      <a:pt x="366" y="321"/>
                    </a:cubicBezTo>
                    <a:cubicBezTo>
                      <a:pt x="370" y="315"/>
                      <a:pt x="375" y="307"/>
                      <a:pt x="379" y="300"/>
                    </a:cubicBezTo>
                    <a:cubicBezTo>
                      <a:pt x="385" y="303"/>
                      <a:pt x="385" y="303"/>
                      <a:pt x="385" y="303"/>
                    </a:cubicBezTo>
                    <a:cubicBezTo>
                      <a:pt x="380" y="311"/>
                      <a:pt x="376" y="318"/>
                      <a:pt x="371" y="325"/>
                    </a:cubicBezTo>
                    <a:close/>
                    <a:moveTo>
                      <a:pt x="14" y="280"/>
                    </a:moveTo>
                    <a:cubicBezTo>
                      <a:pt x="11" y="272"/>
                      <a:pt x="9" y="264"/>
                      <a:pt x="7" y="256"/>
                    </a:cubicBezTo>
                    <a:cubicBezTo>
                      <a:pt x="13" y="254"/>
                      <a:pt x="13" y="254"/>
                      <a:pt x="13" y="254"/>
                    </a:cubicBezTo>
                    <a:cubicBezTo>
                      <a:pt x="15" y="262"/>
                      <a:pt x="17" y="270"/>
                      <a:pt x="20" y="278"/>
                    </a:cubicBezTo>
                    <a:lnTo>
                      <a:pt x="14" y="280"/>
                    </a:lnTo>
                    <a:close/>
                    <a:moveTo>
                      <a:pt x="395" y="280"/>
                    </a:moveTo>
                    <a:cubicBezTo>
                      <a:pt x="390" y="278"/>
                      <a:pt x="390" y="278"/>
                      <a:pt x="390" y="278"/>
                    </a:cubicBezTo>
                    <a:cubicBezTo>
                      <a:pt x="393" y="270"/>
                      <a:pt x="395" y="262"/>
                      <a:pt x="397" y="254"/>
                    </a:cubicBezTo>
                    <a:cubicBezTo>
                      <a:pt x="403" y="255"/>
                      <a:pt x="403" y="255"/>
                      <a:pt x="403" y="255"/>
                    </a:cubicBezTo>
                    <a:cubicBezTo>
                      <a:pt x="401" y="264"/>
                      <a:pt x="399" y="272"/>
                      <a:pt x="395" y="280"/>
                    </a:cubicBezTo>
                    <a:close/>
                    <a:moveTo>
                      <a:pt x="2" y="231"/>
                    </a:moveTo>
                    <a:cubicBezTo>
                      <a:pt x="1" y="222"/>
                      <a:pt x="0" y="213"/>
                      <a:pt x="0" y="205"/>
                    </a:cubicBezTo>
                    <a:cubicBezTo>
                      <a:pt x="6" y="205"/>
                      <a:pt x="6" y="205"/>
                      <a:pt x="6" y="205"/>
                    </a:cubicBezTo>
                    <a:cubicBezTo>
                      <a:pt x="6" y="213"/>
                      <a:pt x="7" y="222"/>
                      <a:pt x="8" y="230"/>
                    </a:cubicBezTo>
                    <a:lnTo>
                      <a:pt x="2" y="231"/>
                    </a:lnTo>
                    <a:close/>
                    <a:moveTo>
                      <a:pt x="408" y="230"/>
                    </a:moveTo>
                    <a:cubicBezTo>
                      <a:pt x="402" y="229"/>
                      <a:pt x="402" y="229"/>
                      <a:pt x="402" y="229"/>
                    </a:cubicBezTo>
                    <a:cubicBezTo>
                      <a:pt x="403" y="221"/>
                      <a:pt x="404" y="213"/>
                      <a:pt x="404" y="205"/>
                    </a:cubicBezTo>
                    <a:cubicBezTo>
                      <a:pt x="404" y="204"/>
                      <a:pt x="404" y="204"/>
                      <a:pt x="404" y="204"/>
                    </a:cubicBezTo>
                    <a:cubicBezTo>
                      <a:pt x="410" y="204"/>
                      <a:pt x="410" y="204"/>
                      <a:pt x="410" y="204"/>
                    </a:cubicBezTo>
                    <a:cubicBezTo>
                      <a:pt x="410" y="205"/>
                      <a:pt x="410" y="205"/>
                      <a:pt x="410" y="205"/>
                    </a:cubicBezTo>
                    <a:cubicBezTo>
                      <a:pt x="410" y="213"/>
                      <a:pt x="409" y="222"/>
                      <a:pt x="408" y="230"/>
                    </a:cubicBezTo>
                    <a:close/>
                    <a:moveTo>
                      <a:pt x="8" y="180"/>
                    </a:moveTo>
                    <a:cubicBezTo>
                      <a:pt x="2" y="179"/>
                      <a:pt x="2" y="179"/>
                      <a:pt x="2" y="179"/>
                    </a:cubicBezTo>
                    <a:cubicBezTo>
                      <a:pt x="3" y="171"/>
                      <a:pt x="4" y="162"/>
                      <a:pt x="6" y="154"/>
                    </a:cubicBezTo>
                    <a:cubicBezTo>
                      <a:pt x="12" y="156"/>
                      <a:pt x="12" y="156"/>
                      <a:pt x="12" y="156"/>
                    </a:cubicBezTo>
                    <a:cubicBezTo>
                      <a:pt x="10" y="164"/>
                      <a:pt x="9" y="172"/>
                      <a:pt x="8" y="180"/>
                    </a:cubicBezTo>
                    <a:close/>
                    <a:moveTo>
                      <a:pt x="402" y="179"/>
                    </a:moveTo>
                    <a:cubicBezTo>
                      <a:pt x="401" y="171"/>
                      <a:pt x="399" y="163"/>
                      <a:pt x="397" y="155"/>
                    </a:cubicBezTo>
                    <a:cubicBezTo>
                      <a:pt x="403" y="153"/>
                      <a:pt x="403" y="153"/>
                      <a:pt x="403" y="153"/>
                    </a:cubicBezTo>
                    <a:cubicBezTo>
                      <a:pt x="405" y="161"/>
                      <a:pt x="407" y="170"/>
                      <a:pt x="408" y="178"/>
                    </a:cubicBezTo>
                    <a:lnTo>
                      <a:pt x="402" y="179"/>
                    </a:lnTo>
                    <a:close/>
                    <a:moveTo>
                      <a:pt x="20" y="132"/>
                    </a:moveTo>
                    <a:cubicBezTo>
                      <a:pt x="14" y="129"/>
                      <a:pt x="14" y="129"/>
                      <a:pt x="14" y="129"/>
                    </a:cubicBezTo>
                    <a:cubicBezTo>
                      <a:pt x="17" y="122"/>
                      <a:pt x="21" y="114"/>
                      <a:pt x="25" y="106"/>
                    </a:cubicBezTo>
                    <a:cubicBezTo>
                      <a:pt x="31" y="109"/>
                      <a:pt x="31" y="109"/>
                      <a:pt x="31" y="109"/>
                    </a:cubicBezTo>
                    <a:cubicBezTo>
                      <a:pt x="27" y="116"/>
                      <a:pt x="23" y="124"/>
                      <a:pt x="20" y="132"/>
                    </a:cubicBezTo>
                    <a:close/>
                    <a:moveTo>
                      <a:pt x="389" y="131"/>
                    </a:moveTo>
                    <a:cubicBezTo>
                      <a:pt x="386" y="123"/>
                      <a:pt x="383" y="116"/>
                      <a:pt x="379" y="108"/>
                    </a:cubicBezTo>
                    <a:cubicBezTo>
                      <a:pt x="384" y="105"/>
                      <a:pt x="384" y="105"/>
                      <a:pt x="384" y="105"/>
                    </a:cubicBezTo>
                    <a:cubicBezTo>
                      <a:pt x="388" y="113"/>
                      <a:pt x="392" y="121"/>
                      <a:pt x="395" y="129"/>
                    </a:cubicBezTo>
                    <a:lnTo>
                      <a:pt x="389" y="131"/>
                    </a:lnTo>
                    <a:close/>
                    <a:moveTo>
                      <a:pt x="44" y="88"/>
                    </a:moveTo>
                    <a:cubicBezTo>
                      <a:pt x="39" y="84"/>
                      <a:pt x="39" y="84"/>
                      <a:pt x="39" y="84"/>
                    </a:cubicBezTo>
                    <a:cubicBezTo>
                      <a:pt x="44" y="77"/>
                      <a:pt x="49" y="71"/>
                      <a:pt x="55" y="65"/>
                    </a:cubicBezTo>
                    <a:cubicBezTo>
                      <a:pt x="60" y="69"/>
                      <a:pt x="60" y="69"/>
                      <a:pt x="60" y="69"/>
                    </a:cubicBezTo>
                    <a:cubicBezTo>
                      <a:pt x="54" y="75"/>
                      <a:pt x="49" y="81"/>
                      <a:pt x="44" y="88"/>
                    </a:cubicBezTo>
                    <a:close/>
                    <a:moveTo>
                      <a:pt x="365" y="87"/>
                    </a:moveTo>
                    <a:cubicBezTo>
                      <a:pt x="360" y="81"/>
                      <a:pt x="355" y="74"/>
                      <a:pt x="349" y="68"/>
                    </a:cubicBezTo>
                    <a:cubicBezTo>
                      <a:pt x="354" y="64"/>
                      <a:pt x="354" y="64"/>
                      <a:pt x="354" y="64"/>
                    </a:cubicBezTo>
                    <a:cubicBezTo>
                      <a:pt x="360" y="70"/>
                      <a:pt x="365" y="77"/>
                      <a:pt x="370" y="84"/>
                    </a:cubicBezTo>
                    <a:lnTo>
                      <a:pt x="365" y="87"/>
                    </a:lnTo>
                    <a:close/>
                    <a:moveTo>
                      <a:pt x="78" y="52"/>
                    </a:moveTo>
                    <a:cubicBezTo>
                      <a:pt x="74" y="47"/>
                      <a:pt x="74" y="47"/>
                      <a:pt x="74" y="47"/>
                    </a:cubicBezTo>
                    <a:cubicBezTo>
                      <a:pt x="81" y="41"/>
                      <a:pt x="88" y="36"/>
                      <a:pt x="95" y="32"/>
                    </a:cubicBezTo>
                    <a:cubicBezTo>
                      <a:pt x="98" y="37"/>
                      <a:pt x="98" y="37"/>
                      <a:pt x="98" y="37"/>
                    </a:cubicBezTo>
                    <a:cubicBezTo>
                      <a:pt x="91" y="42"/>
                      <a:pt x="84" y="46"/>
                      <a:pt x="78" y="52"/>
                    </a:cubicBezTo>
                    <a:close/>
                    <a:moveTo>
                      <a:pt x="331" y="51"/>
                    </a:moveTo>
                    <a:cubicBezTo>
                      <a:pt x="325" y="46"/>
                      <a:pt x="318" y="41"/>
                      <a:pt x="311" y="37"/>
                    </a:cubicBezTo>
                    <a:cubicBezTo>
                      <a:pt x="314" y="31"/>
                      <a:pt x="314" y="31"/>
                      <a:pt x="314" y="31"/>
                    </a:cubicBezTo>
                    <a:cubicBezTo>
                      <a:pt x="322" y="36"/>
                      <a:pt x="329" y="41"/>
                      <a:pt x="335" y="46"/>
                    </a:cubicBezTo>
                    <a:lnTo>
                      <a:pt x="331" y="51"/>
                    </a:lnTo>
                    <a:close/>
                    <a:moveTo>
                      <a:pt x="120" y="25"/>
                    </a:moveTo>
                    <a:cubicBezTo>
                      <a:pt x="117" y="19"/>
                      <a:pt x="117" y="19"/>
                      <a:pt x="117" y="19"/>
                    </a:cubicBezTo>
                    <a:cubicBezTo>
                      <a:pt x="125" y="16"/>
                      <a:pt x="133" y="12"/>
                      <a:pt x="141" y="10"/>
                    </a:cubicBezTo>
                    <a:cubicBezTo>
                      <a:pt x="143" y="16"/>
                      <a:pt x="143" y="16"/>
                      <a:pt x="143" y="16"/>
                    </a:cubicBezTo>
                    <a:cubicBezTo>
                      <a:pt x="135" y="18"/>
                      <a:pt x="127" y="21"/>
                      <a:pt x="120" y="25"/>
                    </a:cubicBezTo>
                    <a:close/>
                    <a:moveTo>
                      <a:pt x="289" y="25"/>
                    </a:moveTo>
                    <a:cubicBezTo>
                      <a:pt x="282" y="21"/>
                      <a:pt x="274" y="18"/>
                      <a:pt x="266" y="16"/>
                    </a:cubicBezTo>
                    <a:cubicBezTo>
                      <a:pt x="268" y="10"/>
                      <a:pt x="268" y="10"/>
                      <a:pt x="268" y="10"/>
                    </a:cubicBezTo>
                    <a:cubicBezTo>
                      <a:pt x="276" y="12"/>
                      <a:pt x="284" y="15"/>
                      <a:pt x="292" y="19"/>
                    </a:cubicBezTo>
                    <a:lnTo>
                      <a:pt x="289" y="25"/>
                    </a:lnTo>
                    <a:close/>
                    <a:moveTo>
                      <a:pt x="167" y="10"/>
                    </a:moveTo>
                    <a:cubicBezTo>
                      <a:pt x="166" y="3"/>
                      <a:pt x="166" y="3"/>
                      <a:pt x="166" y="3"/>
                    </a:cubicBezTo>
                    <a:cubicBezTo>
                      <a:pt x="174" y="2"/>
                      <a:pt x="183" y="1"/>
                      <a:pt x="192" y="0"/>
                    </a:cubicBezTo>
                    <a:cubicBezTo>
                      <a:pt x="192" y="6"/>
                      <a:pt x="192" y="6"/>
                      <a:pt x="192" y="6"/>
                    </a:cubicBezTo>
                    <a:cubicBezTo>
                      <a:pt x="184" y="7"/>
                      <a:pt x="175" y="8"/>
                      <a:pt x="167" y="10"/>
                    </a:cubicBezTo>
                    <a:close/>
                    <a:moveTo>
                      <a:pt x="242" y="9"/>
                    </a:moveTo>
                    <a:cubicBezTo>
                      <a:pt x="234" y="8"/>
                      <a:pt x="225" y="7"/>
                      <a:pt x="217" y="6"/>
                    </a:cubicBezTo>
                    <a:cubicBezTo>
                      <a:pt x="217" y="0"/>
                      <a:pt x="217" y="0"/>
                      <a:pt x="217" y="0"/>
                    </a:cubicBezTo>
                    <a:cubicBezTo>
                      <a:pt x="226" y="1"/>
                      <a:pt x="234" y="2"/>
                      <a:pt x="243" y="3"/>
                    </a:cubicBezTo>
                    <a:lnTo>
                      <a:pt x="242" y="9"/>
                    </a:lnTo>
                    <a:close/>
                  </a:path>
                </a:pathLst>
              </a:custGeom>
              <a:solidFill>
                <a:srgbClr val="DC3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211" name="Oval 11"/>
              <p:cNvSpPr>
                <a:spLocks noChangeArrowheads="1"/>
              </p:cNvSpPr>
              <p:nvPr/>
            </p:nvSpPr>
            <p:spPr bwMode="auto">
              <a:xfrm>
                <a:off x="2624967" y="4454956"/>
                <a:ext cx="796529" cy="794782"/>
              </a:xfrm>
              <a:prstGeom prst="ellipse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212" name="Freeform 12"/>
              <p:cNvSpPr>
                <a:spLocks noEditPoints="1"/>
              </p:cNvSpPr>
              <p:nvPr/>
            </p:nvSpPr>
            <p:spPr bwMode="auto">
              <a:xfrm>
                <a:off x="2616233" y="4446222"/>
                <a:ext cx="812250" cy="810503"/>
              </a:xfrm>
              <a:custGeom>
                <a:avLst/>
                <a:gdLst>
                  <a:gd name="T0" fmla="*/ 166 w 332"/>
                  <a:gd name="T1" fmla="*/ 332 h 332"/>
                  <a:gd name="T2" fmla="*/ 141 w 332"/>
                  <a:gd name="T3" fmla="*/ 324 h 332"/>
                  <a:gd name="T4" fmla="*/ 166 w 332"/>
                  <a:gd name="T5" fmla="*/ 332 h 332"/>
                  <a:gd name="T6" fmla="*/ 191 w 332"/>
                  <a:gd name="T7" fmla="*/ 324 h 332"/>
                  <a:gd name="T8" fmla="*/ 218 w 332"/>
                  <a:gd name="T9" fmla="*/ 324 h 332"/>
                  <a:gd name="T10" fmla="*/ 115 w 332"/>
                  <a:gd name="T11" fmla="*/ 324 h 332"/>
                  <a:gd name="T12" fmla="*/ 94 w 332"/>
                  <a:gd name="T13" fmla="*/ 309 h 332"/>
                  <a:gd name="T14" fmla="*/ 115 w 332"/>
                  <a:gd name="T15" fmla="*/ 324 h 332"/>
                  <a:gd name="T16" fmla="*/ 239 w 332"/>
                  <a:gd name="T17" fmla="*/ 309 h 332"/>
                  <a:gd name="T18" fmla="*/ 264 w 332"/>
                  <a:gd name="T19" fmla="*/ 301 h 332"/>
                  <a:gd name="T20" fmla="*/ 69 w 332"/>
                  <a:gd name="T21" fmla="*/ 301 h 332"/>
                  <a:gd name="T22" fmla="*/ 53 w 332"/>
                  <a:gd name="T23" fmla="*/ 280 h 332"/>
                  <a:gd name="T24" fmla="*/ 69 w 332"/>
                  <a:gd name="T25" fmla="*/ 301 h 332"/>
                  <a:gd name="T26" fmla="*/ 279 w 332"/>
                  <a:gd name="T27" fmla="*/ 279 h 332"/>
                  <a:gd name="T28" fmla="*/ 300 w 332"/>
                  <a:gd name="T29" fmla="*/ 264 h 332"/>
                  <a:gd name="T30" fmla="*/ 32 w 332"/>
                  <a:gd name="T31" fmla="*/ 264 h 332"/>
                  <a:gd name="T32" fmla="*/ 24 w 332"/>
                  <a:gd name="T33" fmla="*/ 239 h 332"/>
                  <a:gd name="T34" fmla="*/ 32 w 332"/>
                  <a:gd name="T35" fmla="*/ 264 h 332"/>
                  <a:gd name="T36" fmla="*/ 308 w 332"/>
                  <a:gd name="T37" fmla="*/ 239 h 332"/>
                  <a:gd name="T38" fmla="*/ 324 w 332"/>
                  <a:gd name="T39" fmla="*/ 218 h 332"/>
                  <a:gd name="T40" fmla="*/ 8 w 332"/>
                  <a:gd name="T41" fmla="*/ 218 h 332"/>
                  <a:gd name="T42" fmla="*/ 8 w 332"/>
                  <a:gd name="T43" fmla="*/ 192 h 332"/>
                  <a:gd name="T44" fmla="*/ 8 w 332"/>
                  <a:gd name="T45" fmla="*/ 218 h 332"/>
                  <a:gd name="T46" fmla="*/ 324 w 332"/>
                  <a:gd name="T47" fmla="*/ 191 h 332"/>
                  <a:gd name="T48" fmla="*/ 326 w 332"/>
                  <a:gd name="T49" fmla="*/ 166 h 332"/>
                  <a:gd name="T50" fmla="*/ 332 w 332"/>
                  <a:gd name="T51" fmla="*/ 166 h 332"/>
                  <a:gd name="T52" fmla="*/ 6 w 332"/>
                  <a:gd name="T53" fmla="*/ 167 h 332"/>
                  <a:gd name="T54" fmla="*/ 0 w 332"/>
                  <a:gd name="T55" fmla="*/ 166 h 332"/>
                  <a:gd name="T56" fmla="*/ 8 w 332"/>
                  <a:gd name="T57" fmla="*/ 142 h 332"/>
                  <a:gd name="T58" fmla="*/ 6 w 332"/>
                  <a:gd name="T59" fmla="*/ 167 h 332"/>
                  <a:gd name="T60" fmla="*/ 318 w 332"/>
                  <a:gd name="T61" fmla="*/ 116 h 332"/>
                  <a:gd name="T62" fmla="*/ 330 w 332"/>
                  <a:gd name="T63" fmla="*/ 140 h 332"/>
                  <a:gd name="T64" fmla="*/ 14 w 332"/>
                  <a:gd name="T65" fmla="*/ 117 h 332"/>
                  <a:gd name="T66" fmla="*/ 18 w 332"/>
                  <a:gd name="T67" fmla="*/ 91 h 332"/>
                  <a:gd name="T68" fmla="*/ 14 w 332"/>
                  <a:gd name="T69" fmla="*/ 117 h 332"/>
                  <a:gd name="T70" fmla="*/ 295 w 332"/>
                  <a:gd name="T71" fmla="*/ 72 h 332"/>
                  <a:gd name="T72" fmla="*/ 314 w 332"/>
                  <a:gd name="T73" fmla="*/ 90 h 332"/>
                  <a:gd name="T74" fmla="*/ 37 w 332"/>
                  <a:gd name="T75" fmla="*/ 73 h 332"/>
                  <a:gd name="T76" fmla="*/ 48 w 332"/>
                  <a:gd name="T77" fmla="*/ 49 h 332"/>
                  <a:gd name="T78" fmla="*/ 37 w 332"/>
                  <a:gd name="T79" fmla="*/ 73 h 332"/>
                  <a:gd name="T80" fmla="*/ 260 w 332"/>
                  <a:gd name="T81" fmla="*/ 37 h 332"/>
                  <a:gd name="T82" fmla="*/ 283 w 332"/>
                  <a:gd name="T83" fmla="*/ 49 h 332"/>
                  <a:gd name="T84" fmla="*/ 72 w 332"/>
                  <a:gd name="T85" fmla="*/ 37 h 332"/>
                  <a:gd name="T86" fmla="*/ 90 w 332"/>
                  <a:gd name="T87" fmla="*/ 19 h 332"/>
                  <a:gd name="T88" fmla="*/ 72 w 332"/>
                  <a:gd name="T89" fmla="*/ 37 h 332"/>
                  <a:gd name="T90" fmla="*/ 215 w 332"/>
                  <a:gd name="T91" fmla="*/ 14 h 332"/>
                  <a:gd name="T92" fmla="*/ 241 w 332"/>
                  <a:gd name="T93" fmla="*/ 18 h 332"/>
                  <a:gd name="T94" fmla="*/ 116 w 332"/>
                  <a:gd name="T95" fmla="*/ 15 h 332"/>
                  <a:gd name="T96" fmla="*/ 140 w 332"/>
                  <a:gd name="T97" fmla="*/ 2 h 332"/>
                  <a:gd name="T98" fmla="*/ 116 w 332"/>
                  <a:gd name="T99" fmla="*/ 15 h 332"/>
                  <a:gd name="T100" fmla="*/ 166 w 332"/>
                  <a:gd name="T101" fmla="*/ 7 h 332"/>
                  <a:gd name="T102" fmla="*/ 166 w 332"/>
                  <a:gd name="T103" fmla="*/ 0 h 332"/>
                  <a:gd name="T104" fmla="*/ 192 w 332"/>
                  <a:gd name="T105" fmla="*/ 2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32" h="332">
                    <a:moveTo>
                      <a:pt x="166" y="332"/>
                    </a:moveTo>
                    <a:cubicBezTo>
                      <a:pt x="166" y="332"/>
                      <a:pt x="166" y="332"/>
                      <a:pt x="166" y="332"/>
                    </a:cubicBezTo>
                    <a:cubicBezTo>
                      <a:pt x="157" y="332"/>
                      <a:pt x="149" y="332"/>
                      <a:pt x="140" y="330"/>
                    </a:cubicBezTo>
                    <a:cubicBezTo>
                      <a:pt x="141" y="324"/>
                      <a:pt x="141" y="324"/>
                      <a:pt x="141" y="324"/>
                    </a:cubicBezTo>
                    <a:cubicBezTo>
                      <a:pt x="149" y="325"/>
                      <a:pt x="158" y="326"/>
                      <a:pt x="166" y="326"/>
                    </a:cubicBezTo>
                    <a:lnTo>
                      <a:pt x="166" y="332"/>
                    </a:lnTo>
                    <a:close/>
                    <a:moveTo>
                      <a:pt x="192" y="330"/>
                    </a:moveTo>
                    <a:cubicBezTo>
                      <a:pt x="191" y="324"/>
                      <a:pt x="191" y="324"/>
                      <a:pt x="191" y="324"/>
                    </a:cubicBezTo>
                    <a:cubicBezTo>
                      <a:pt x="199" y="323"/>
                      <a:pt x="208" y="321"/>
                      <a:pt x="216" y="318"/>
                    </a:cubicBezTo>
                    <a:cubicBezTo>
                      <a:pt x="218" y="324"/>
                      <a:pt x="218" y="324"/>
                      <a:pt x="218" y="324"/>
                    </a:cubicBezTo>
                    <a:cubicBezTo>
                      <a:pt x="209" y="327"/>
                      <a:pt x="201" y="329"/>
                      <a:pt x="192" y="330"/>
                    </a:cubicBezTo>
                    <a:close/>
                    <a:moveTo>
                      <a:pt x="115" y="324"/>
                    </a:moveTo>
                    <a:cubicBezTo>
                      <a:pt x="107" y="322"/>
                      <a:pt x="99" y="318"/>
                      <a:pt x="91" y="314"/>
                    </a:cubicBezTo>
                    <a:cubicBezTo>
                      <a:pt x="94" y="309"/>
                      <a:pt x="94" y="309"/>
                      <a:pt x="94" y="309"/>
                    </a:cubicBezTo>
                    <a:cubicBezTo>
                      <a:pt x="101" y="313"/>
                      <a:pt x="109" y="316"/>
                      <a:pt x="117" y="318"/>
                    </a:cubicBezTo>
                    <a:lnTo>
                      <a:pt x="115" y="324"/>
                    </a:lnTo>
                    <a:close/>
                    <a:moveTo>
                      <a:pt x="242" y="314"/>
                    </a:moveTo>
                    <a:cubicBezTo>
                      <a:pt x="239" y="309"/>
                      <a:pt x="239" y="309"/>
                      <a:pt x="239" y="309"/>
                    </a:cubicBezTo>
                    <a:cubicBezTo>
                      <a:pt x="246" y="305"/>
                      <a:pt x="253" y="300"/>
                      <a:pt x="260" y="296"/>
                    </a:cubicBezTo>
                    <a:cubicBezTo>
                      <a:pt x="264" y="301"/>
                      <a:pt x="264" y="301"/>
                      <a:pt x="264" y="301"/>
                    </a:cubicBezTo>
                    <a:cubicBezTo>
                      <a:pt x="257" y="306"/>
                      <a:pt x="249" y="310"/>
                      <a:pt x="242" y="314"/>
                    </a:cubicBezTo>
                    <a:close/>
                    <a:moveTo>
                      <a:pt x="69" y="301"/>
                    </a:moveTo>
                    <a:cubicBezTo>
                      <a:pt x="62" y="296"/>
                      <a:pt x="55" y="290"/>
                      <a:pt x="49" y="284"/>
                    </a:cubicBezTo>
                    <a:cubicBezTo>
                      <a:pt x="53" y="280"/>
                      <a:pt x="53" y="280"/>
                      <a:pt x="53" y="280"/>
                    </a:cubicBezTo>
                    <a:cubicBezTo>
                      <a:pt x="59" y="285"/>
                      <a:pt x="66" y="291"/>
                      <a:pt x="72" y="296"/>
                    </a:cubicBezTo>
                    <a:lnTo>
                      <a:pt x="69" y="301"/>
                    </a:lnTo>
                    <a:close/>
                    <a:moveTo>
                      <a:pt x="284" y="284"/>
                    </a:moveTo>
                    <a:cubicBezTo>
                      <a:pt x="279" y="279"/>
                      <a:pt x="279" y="279"/>
                      <a:pt x="279" y="279"/>
                    </a:cubicBezTo>
                    <a:cubicBezTo>
                      <a:pt x="285" y="273"/>
                      <a:pt x="290" y="267"/>
                      <a:pt x="295" y="260"/>
                    </a:cubicBezTo>
                    <a:cubicBezTo>
                      <a:pt x="300" y="264"/>
                      <a:pt x="300" y="264"/>
                      <a:pt x="300" y="264"/>
                    </a:cubicBezTo>
                    <a:cubicBezTo>
                      <a:pt x="295" y="271"/>
                      <a:pt x="290" y="278"/>
                      <a:pt x="284" y="284"/>
                    </a:cubicBezTo>
                    <a:close/>
                    <a:moveTo>
                      <a:pt x="32" y="264"/>
                    </a:moveTo>
                    <a:cubicBezTo>
                      <a:pt x="27" y="257"/>
                      <a:pt x="22" y="250"/>
                      <a:pt x="18" y="242"/>
                    </a:cubicBezTo>
                    <a:cubicBezTo>
                      <a:pt x="24" y="239"/>
                      <a:pt x="24" y="239"/>
                      <a:pt x="24" y="239"/>
                    </a:cubicBezTo>
                    <a:cubicBezTo>
                      <a:pt x="28" y="247"/>
                      <a:pt x="32" y="254"/>
                      <a:pt x="37" y="260"/>
                    </a:cubicBezTo>
                    <a:lnTo>
                      <a:pt x="32" y="264"/>
                    </a:lnTo>
                    <a:close/>
                    <a:moveTo>
                      <a:pt x="314" y="242"/>
                    </a:moveTo>
                    <a:cubicBezTo>
                      <a:pt x="308" y="239"/>
                      <a:pt x="308" y="239"/>
                      <a:pt x="308" y="239"/>
                    </a:cubicBezTo>
                    <a:cubicBezTo>
                      <a:pt x="312" y="231"/>
                      <a:pt x="316" y="224"/>
                      <a:pt x="318" y="216"/>
                    </a:cubicBezTo>
                    <a:cubicBezTo>
                      <a:pt x="324" y="218"/>
                      <a:pt x="324" y="218"/>
                      <a:pt x="324" y="218"/>
                    </a:cubicBezTo>
                    <a:cubicBezTo>
                      <a:pt x="321" y="226"/>
                      <a:pt x="318" y="234"/>
                      <a:pt x="314" y="242"/>
                    </a:cubicBezTo>
                    <a:close/>
                    <a:moveTo>
                      <a:pt x="8" y="218"/>
                    </a:moveTo>
                    <a:cubicBezTo>
                      <a:pt x="6" y="210"/>
                      <a:pt x="3" y="201"/>
                      <a:pt x="2" y="193"/>
                    </a:cubicBezTo>
                    <a:cubicBezTo>
                      <a:pt x="8" y="192"/>
                      <a:pt x="8" y="192"/>
                      <a:pt x="8" y="192"/>
                    </a:cubicBezTo>
                    <a:cubicBezTo>
                      <a:pt x="10" y="200"/>
                      <a:pt x="12" y="208"/>
                      <a:pt x="14" y="216"/>
                    </a:cubicBezTo>
                    <a:lnTo>
                      <a:pt x="8" y="218"/>
                    </a:lnTo>
                    <a:close/>
                    <a:moveTo>
                      <a:pt x="330" y="192"/>
                    </a:moveTo>
                    <a:cubicBezTo>
                      <a:pt x="324" y="191"/>
                      <a:pt x="324" y="191"/>
                      <a:pt x="324" y="191"/>
                    </a:cubicBezTo>
                    <a:cubicBezTo>
                      <a:pt x="325" y="183"/>
                      <a:pt x="326" y="175"/>
                      <a:pt x="326" y="166"/>
                    </a:cubicBezTo>
                    <a:cubicBezTo>
                      <a:pt x="326" y="166"/>
                      <a:pt x="326" y="166"/>
                      <a:pt x="326" y="166"/>
                    </a:cubicBezTo>
                    <a:cubicBezTo>
                      <a:pt x="332" y="166"/>
                      <a:pt x="332" y="166"/>
                      <a:pt x="332" y="166"/>
                    </a:cubicBezTo>
                    <a:cubicBezTo>
                      <a:pt x="332" y="166"/>
                      <a:pt x="332" y="166"/>
                      <a:pt x="332" y="166"/>
                    </a:cubicBezTo>
                    <a:cubicBezTo>
                      <a:pt x="332" y="175"/>
                      <a:pt x="331" y="184"/>
                      <a:pt x="330" y="192"/>
                    </a:cubicBezTo>
                    <a:close/>
                    <a:moveTo>
                      <a:pt x="6" y="167"/>
                    </a:moveTo>
                    <a:cubicBezTo>
                      <a:pt x="0" y="167"/>
                      <a:pt x="0" y="167"/>
                      <a:pt x="0" y="167"/>
                    </a:cubicBezTo>
                    <a:cubicBezTo>
                      <a:pt x="0" y="166"/>
                      <a:pt x="0" y="166"/>
                      <a:pt x="0" y="166"/>
                    </a:cubicBezTo>
                    <a:cubicBezTo>
                      <a:pt x="0" y="158"/>
                      <a:pt x="1" y="149"/>
                      <a:pt x="2" y="141"/>
                    </a:cubicBezTo>
                    <a:cubicBezTo>
                      <a:pt x="8" y="142"/>
                      <a:pt x="8" y="142"/>
                      <a:pt x="8" y="142"/>
                    </a:cubicBezTo>
                    <a:cubicBezTo>
                      <a:pt x="7" y="150"/>
                      <a:pt x="6" y="158"/>
                      <a:pt x="6" y="166"/>
                    </a:cubicBezTo>
                    <a:lnTo>
                      <a:pt x="6" y="167"/>
                    </a:lnTo>
                    <a:close/>
                    <a:moveTo>
                      <a:pt x="324" y="141"/>
                    </a:moveTo>
                    <a:cubicBezTo>
                      <a:pt x="322" y="133"/>
                      <a:pt x="320" y="124"/>
                      <a:pt x="318" y="116"/>
                    </a:cubicBezTo>
                    <a:cubicBezTo>
                      <a:pt x="324" y="114"/>
                      <a:pt x="324" y="114"/>
                      <a:pt x="324" y="114"/>
                    </a:cubicBezTo>
                    <a:cubicBezTo>
                      <a:pt x="327" y="123"/>
                      <a:pt x="329" y="131"/>
                      <a:pt x="330" y="140"/>
                    </a:cubicBezTo>
                    <a:lnTo>
                      <a:pt x="324" y="141"/>
                    </a:lnTo>
                    <a:close/>
                    <a:moveTo>
                      <a:pt x="14" y="117"/>
                    </a:moveTo>
                    <a:cubicBezTo>
                      <a:pt x="8" y="115"/>
                      <a:pt x="8" y="115"/>
                      <a:pt x="8" y="115"/>
                    </a:cubicBezTo>
                    <a:cubicBezTo>
                      <a:pt x="11" y="107"/>
                      <a:pt x="14" y="99"/>
                      <a:pt x="18" y="91"/>
                    </a:cubicBezTo>
                    <a:cubicBezTo>
                      <a:pt x="24" y="94"/>
                      <a:pt x="24" y="94"/>
                      <a:pt x="24" y="94"/>
                    </a:cubicBezTo>
                    <a:cubicBezTo>
                      <a:pt x="20" y="102"/>
                      <a:pt x="17" y="109"/>
                      <a:pt x="14" y="117"/>
                    </a:cubicBezTo>
                    <a:close/>
                    <a:moveTo>
                      <a:pt x="308" y="93"/>
                    </a:moveTo>
                    <a:cubicBezTo>
                      <a:pt x="304" y="86"/>
                      <a:pt x="300" y="79"/>
                      <a:pt x="295" y="72"/>
                    </a:cubicBezTo>
                    <a:cubicBezTo>
                      <a:pt x="300" y="68"/>
                      <a:pt x="300" y="68"/>
                      <a:pt x="300" y="68"/>
                    </a:cubicBezTo>
                    <a:cubicBezTo>
                      <a:pt x="305" y="75"/>
                      <a:pt x="310" y="83"/>
                      <a:pt x="314" y="90"/>
                    </a:cubicBezTo>
                    <a:lnTo>
                      <a:pt x="308" y="93"/>
                    </a:lnTo>
                    <a:close/>
                    <a:moveTo>
                      <a:pt x="37" y="73"/>
                    </a:moveTo>
                    <a:cubicBezTo>
                      <a:pt x="32" y="69"/>
                      <a:pt x="32" y="69"/>
                      <a:pt x="32" y="69"/>
                    </a:cubicBezTo>
                    <a:cubicBezTo>
                      <a:pt x="37" y="62"/>
                      <a:pt x="42" y="55"/>
                      <a:pt x="48" y="49"/>
                    </a:cubicBezTo>
                    <a:cubicBezTo>
                      <a:pt x="53" y="54"/>
                      <a:pt x="53" y="54"/>
                      <a:pt x="53" y="54"/>
                    </a:cubicBezTo>
                    <a:cubicBezTo>
                      <a:pt x="47" y="60"/>
                      <a:pt x="42" y="66"/>
                      <a:pt x="37" y="73"/>
                    </a:cubicBezTo>
                    <a:close/>
                    <a:moveTo>
                      <a:pt x="279" y="53"/>
                    </a:moveTo>
                    <a:cubicBezTo>
                      <a:pt x="273" y="47"/>
                      <a:pt x="266" y="42"/>
                      <a:pt x="260" y="37"/>
                    </a:cubicBezTo>
                    <a:cubicBezTo>
                      <a:pt x="263" y="32"/>
                      <a:pt x="263" y="32"/>
                      <a:pt x="263" y="32"/>
                    </a:cubicBezTo>
                    <a:cubicBezTo>
                      <a:pt x="270" y="37"/>
                      <a:pt x="277" y="42"/>
                      <a:pt x="283" y="49"/>
                    </a:cubicBezTo>
                    <a:lnTo>
                      <a:pt x="279" y="53"/>
                    </a:lnTo>
                    <a:close/>
                    <a:moveTo>
                      <a:pt x="72" y="37"/>
                    </a:moveTo>
                    <a:cubicBezTo>
                      <a:pt x="68" y="32"/>
                      <a:pt x="68" y="32"/>
                      <a:pt x="68" y="32"/>
                    </a:cubicBezTo>
                    <a:cubicBezTo>
                      <a:pt x="75" y="27"/>
                      <a:pt x="83" y="23"/>
                      <a:pt x="90" y="19"/>
                    </a:cubicBezTo>
                    <a:cubicBezTo>
                      <a:pt x="93" y="24"/>
                      <a:pt x="93" y="24"/>
                      <a:pt x="93" y="24"/>
                    </a:cubicBezTo>
                    <a:cubicBezTo>
                      <a:pt x="86" y="28"/>
                      <a:pt x="79" y="32"/>
                      <a:pt x="72" y="37"/>
                    </a:cubicBezTo>
                    <a:close/>
                    <a:moveTo>
                      <a:pt x="238" y="24"/>
                    </a:moveTo>
                    <a:cubicBezTo>
                      <a:pt x="231" y="20"/>
                      <a:pt x="223" y="17"/>
                      <a:pt x="215" y="14"/>
                    </a:cubicBezTo>
                    <a:cubicBezTo>
                      <a:pt x="217" y="8"/>
                      <a:pt x="217" y="8"/>
                      <a:pt x="217" y="8"/>
                    </a:cubicBezTo>
                    <a:cubicBezTo>
                      <a:pt x="225" y="11"/>
                      <a:pt x="233" y="14"/>
                      <a:pt x="241" y="18"/>
                    </a:cubicBezTo>
                    <a:lnTo>
                      <a:pt x="238" y="24"/>
                    </a:lnTo>
                    <a:close/>
                    <a:moveTo>
                      <a:pt x="116" y="15"/>
                    </a:moveTo>
                    <a:cubicBezTo>
                      <a:pt x="114" y="9"/>
                      <a:pt x="114" y="9"/>
                      <a:pt x="114" y="9"/>
                    </a:cubicBezTo>
                    <a:cubicBezTo>
                      <a:pt x="123" y="6"/>
                      <a:pt x="131" y="4"/>
                      <a:pt x="140" y="2"/>
                    </a:cubicBezTo>
                    <a:cubicBezTo>
                      <a:pt x="141" y="9"/>
                      <a:pt x="141" y="9"/>
                      <a:pt x="141" y="9"/>
                    </a:cubicBezTo>
                    <a:cubicBezTo>
                      <a:pt x="132" y="10"/>
                      <a:pt x="124" y="12"/>
                      <a:pt x="116" y="15"/>
                    </a:cubicBezTo>
                    <a:close/>
                    <a:moveTo>
                      <a:pt x="191" y="9"/>
                    </a:moveTo>
                    <a:cubicBezTo>
                      <a:pt x="183" y="7"/>
                      <a:pt x="174" y="7"/>
                      <a:pt x="166" y="7"/>
                    </a:cubicBezTo>
                    <a:cubicBezTo>
                      <a:pt x="166" y="7"/>
                      <a:pt x="166" y="7"/>
                      <a:pt x="166" y="7"/>
                    </a:cubicBezTo>
                    <a:cubicBezTo>
                      <a:pt x="166" y="0"/>
                      <a:pt x="166" y="0"/>
                      <a:pt x="166" y="0"/>
                    </a:cubicBezTo>
                    <a:cubicBezTo>
                      <a:pt x="166" y="0"/>
                      <a:pt x="166" y="0"/>
                      <a:pt x="166" y="0"/>
                    </a:cubicBezTo>
                    <a:cubicBezTo>
                      <a:pt x="175" y="0"/>
                      <a:pt x="183" y="1"/>
                      <a:pt x="192" y="2"/>
                    </a:cubicBezTo>
                    <a:lnTo>
                      <a:pt x="191" y="9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213" name="Oval 13"/>
              <p:cNvSpPr>
                <a:spLocks noChangeArrowheads="1"/>
              </p:cNvSpPr>
              <p:nvPr/>
            </p:nvSpPr>
            <p:spPr bwMode="auto">
              <a:xfrm>
                <a:off x="2624967" y="4624393"/>
                <a:ext cx="625345" cy="625345"/>
              </a:xfrm>
              <a:prstGeom prst="ellipse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214" name="Freeform 14"/>
              <p:cNvSpPr>
                <a:spLocks noEditPoints="1"/>
              </p:cNvSpPr>
              <p:nvPr/>
            </p:nvSpPr>
            <p:spPr bwMode="auto">
              <a:xfrm>
                <a:off x="2778683" y="4809551"/>
                <a:ext cx="312672" cy="263763"/>
              </a:xfrm>
              <a:custGeom>
                <a:avLst/>
                <a:gdLst>
                  <a:gd name="T0" fmla="*/ 121 w 128"/>
                  <a:gd name="T1" fmla="*/ 102 h 108"/>
                  <a:gd name="T2" fmla="*/ 0 w 128"/>
                  <a:gd name="T3" fmla="*/ 19 h 108"/>
                  <a:gd name="T4" fmla="*/ 0 w 128"/>
                  <a:gd name="T5" fmla="*/ 108 h 108"/>
                  <a:gd name="T6" fmla="*/ 128 w 128"/>
                  <a:gd name="T7" fmla="*/ 0 h 108"/>
                  <a:gd name="T8" fmla="*/ 0 w 128"/>
                  <a:gd name="T9" fmla="*/ 0 h 108"/>
                  <a:gd name="T10" fmla="*/ 75 w 128"/>
                  <a:gd name="T11" fmla="*/ 61 h 108"/>
                  <a:gd name="T12" fmla="*/ 71 w 128"/>
                  <a:gd name="T13" fmla="*/ 55 h 108"/>
                  <a:gd name="T14" fmla="*/ 67 w 128"/>
                  <a:gd name="T15" fmla="*/ 51 h 108"/>
                  <a:gd name="T16" fmla="*/ 60 w 128"/>
                  <a:gd name="T17" fmla="*/ 48 h 108"/>
                  <a:gd name="T18" fmla="*/ 54 w 128"/>
                  <a:gd name="T19" fmla="*/ 48 h 108"/>
                  <a:gd name="T20" fmla="*/ 47 w 128"/>
                  <a:gd name="T21" fmla="*/ 51 h 108"/>
                  <a:gd name="T22" fmla="*/ 43 w 128"/>
                  <a:gd name="T23" fmla="*/ 55 h 108"/>
                  <a:gd name="T24" fmla="*/ 40 w 128"/>
                  <a:gd name="T25" fmla="*/ 61 h 108"/>
                  <a:gd name="T26" fmla="*/ 38 w 128"/>
                  <a:gd name="T27" fmla="*/ 66 h 108"/>
                  <a:gd name="T28" fmla="*/ 40 w 128"/>
                  <a:gd name="T29" fmla="*/ 74 h 108"/>
                  <a:gd name="T30" fmla="*/ 42 w 128"/>
                  <a:gd name="T31" fmla="*/ 78 h 108"/>
                  <a:gd name="T32" fmla="*/ 48 w 128"/>
                  <a:gd name="T33" fmla="*/ 83 h 108"/>
                  <a:gd name="T34" fmla="*/ 53 w 128"/>
                  <a:gd name="T35" fmla="*/ 85 h 108"/>
                  <a:gd name="T36" fmla="*/ 58 w 128"/>
                  <a:gd name="T37" fmla="*/ 80 h 108"/>
                  <a:gd name="T38" fmla="*/ 65 w 128"/>
                  <a:gd name="T39" fmla="*/ 84 h 108"/>
                  <a:gd name="T40" fmla="*/ 66 w 128"/>
                  <a:gd name="T41" fmla="*/ 77 h 108"/>
                  <a:gd name="T42" fmla="*/ 75 w 128"/>
                  <a:gd name="T43" fmla="*/ 75 h 108"/>
                  <a:gd name="T44" fmla="*/ 71 w 128"/>
                  <a:gd name="T45" fmla="*/ 69 h 108"/>
                  <a:gd name="T46" fmla="*/ 65 w 128"/>
                  <a:gd name="T47" fmla="*/ 67 h 108"/>
                  <a:gd name="T48" fmla="*/ 52 w 128"/>
                  <a:gd name="T49" fmla="*/ 72 h 108"/>
                  <a:gd name="T50" fmla="*/ 57 w 128"/>
                  <a:gd name="T51" fmla="*/ 59 h 108"/>
                  <a:gd name="T52" fmla="*/ 54 w 128"/>
                  <a:gd name="T53" fmla="*/ 67 h 108"/>
                  <a:gd name="T54" fmla="*/ 57 w 128"/>
                  <a:gd name="T55" fmla="*/ 70 h 108"/>
                  <a:gd name="T56" fmla="*/ 88 w 128"/>
                  <a:gd name="T57" fmla="*/ 53 h 108"/>
                  <a:gd name="T58" fmla="*/ 90 w 128"/>
                  <a:gd name="T59" fmla="*/ 49 h 108"/>
                  <a:gd name="T60" fmla="*/ 88 w 128"/>
                  <a:gd name="T61" fmla="*/ 47 h 108"/>
                  <a:gd name="T62" fmla="*/ 83 w 128"/>
                  <a:gd name="T63" fmla="*/ 46 h 108"/>
                  <a:gd name="T64" fmla="*/ 80 w 128"/>
                  <a:gd name="T65" fmla="*/ 43 h 108"/>
                  <a:gd name="T66" fmla="*/ 76 w 128"/>
                  <a:gd name="T67" fmla="*/ 48 h 108"/>
                  <a:gd name="T68" fmla="*/ 72 w 128"/>
                  <a:gd name="T69" fmla="*/ 47 h 108"/>
                  <a:gd name="T70" fmla="*/ 71 w 128"/>
                  <a:gd name="T71" fmla="*/ 50 h 108"/>
                  <a:gd name="T72" fmla="*/ 73 w 128"/>
                  <a:gd name="T73" fmla="*/ 55 h 108"/>
                  <a:gd name="T74" fmla="*/ 71 w 128"/>
                  <a:gd name="T75" fmla="*/ 58 h 108"/>
                  <a:gd name="T76" fmla="*/ 73 w 128"/>
                  <a:gd name="T77" fmla="*/ 60 h 108"/>
                  <a:gd name="T78" fmla="*/ 79 w 128"/>
                  <a:gd name="T79" fmla="*/ 63 h 108"/>
                  <a:gd name="T80" fmla="*/ 82 w 128"/>
                  <a:gd name="T81" fmla="*/ 63 h 108"/>
                  <a:gd name="T82" fmla="*/ 88 w 128"/>
                  <a:gd name="T83" fmla="*/ 60 h 108"/>
                  <a:gd name="T84" fmla="*/ 90 w 128"/>
                  <a:gd name="T85" fmla="*/ 58 h 108"/>
                  <a:gd name="T86" fmla="*/ 88 w 128"/>
                  <a:gd name="T87" fmla="*/ 55 h 108"/>
                  <a:gd name="T88" fmla="*/ 81 w 128"/>
                  <a:gd name="T89" fmla="*/ 56 h 108"/>
                  <a:gd name="T90" fmla="*/ 83 w 128"/>
                  <a:gd name="T91" fmla="*/ 53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28" h="108">
                    <a:moveTo>
                      <a:pt x="7" y="25"/>
                    </a:moveTo>
                    <a:cubicBezTo>
                      <a:pt x="7" y="102"/>
                      <a:pt x="7" y="102"/>
                      <a:pt x="7" y="102"/>
                    </a:cubicBezTo>
                    <a:cubicBezTo>
                      <a:pt x="121" y="102"/>
                      <a:pt x="121" y="102"/>
                      <a:pt x="121" y="102"/>
                    </a:cubicBezTo>
                    <a:cubicBezTo>
                      <a:pt x="121" y="25"/>
                      <a:pt x="121" y="25"/>
                      <a:pt x="121" y="25"/>
                    </a:cubicBezTo>
                    <a:cubicBezTo>
                      <a:pt x="7" y="25"/>
                      <a:pt x="7" y="25"/>
                      <a:pt x="7" y="25"/>
                    </a:cubicBezTo>
                    <a:close/>
                    <a:moveTo>
                      <a:pt x="0" y="19"/>
                    </a:moveTo>
                    <a:cubicBezTo>
                      <a:pt x="128" y="19"/>
                      <a:pt x="128" y="19"/>
                      <a:pt x="128" y="19"/>
                    </a:cubicBezTo>
                    <a:cubicBezTo>
                      <a:pt x="128" y="108"/>
                      <a:pt x="128" y="108"/>
                      <a:pt x="128" y="108"/>
                    </a:cubicBezTo>
                    <a:cubicBezTo>
                      <a:pt x="0" y="108"/>
                      <a:pt x="0" y="108"/>
                      <a:pt x="0" y="108"/>
                    </a:cubicBezTo>
                    <a:cubicBezTo>
                      <a:pt x="0" y="19"/>
                      <a:pt x="0" y="19"/>
                      <a:pt x="0" y="19"/>
                    </a:cubicBezTo>
                    <a:close/>
                    <a:moveTo>
                      <a:pt x="0" y="0"/>
                    </a:moveTo>
                    <a:cubicBezTo>
                      <a:pt x="128" y="0"/>
                      <a:pt x="128" y="0"/>
                      <a:pt x="128" y="0"/>
                    </a:cubicBezTo>
                    <a:cubicBezTo>
                      <a:pt x="128" y="12"/>
                      <a:pt x="128" y="12"/>
                      <a:pt x="128" y="12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  <a:moveTo>
                      <a:pt x="76" y="65"/>
                    </a:moveTo>
                    <a:cubicBezTo>
                      <a:pt x="75" y="62"/>
                      <a:pt x="75" y="62"/>
                      <a:pt x="75" y="62"/>
                    </a:cubicBezTo>
                    <a:cubicBezTo>
                      <a:pt x="75" y="61"/>
                      <a:pt x="75" y="61"/>
                      <a:pt x="75" y="61"/>
                    </a:cubicBezTo>
                    <a:cubicBezTo>
                      <a:pt x="69" y="61"/>
                      <a:pt x="69" y="61"/>
                      <a:pt x="69" y="61"/>
                    </a:cubicBezTo>
                    <a:cubicBezTo>
                      <a:pt x="69" y="60"/>
                      <a:pt x="69" y="60"/>
                      <a:pt x="68" y="59"/>
                    </a:cubicBezTo>
                    <a:cubicBezTo>
                      <a:pt x="71" y="55"/>
                      <a:pt x="71" y="55"/>
                      <a:pt x="71" y="55"/>
                    </a:cubicBezTo>
                    <a:cubicBezTo>
                      <a:pt x="71" y="54"/>
                      <a:pt x="71" y="54"/>
                      <a:pt x="71" y="53"/>
                    </a:cubicBezTo>
                    <a:cubicBezTo>
                      <a:pt x="68" y="51"/>
                      <a:pt x="68" y="51"/>
                      <a:pt x="68" y="51"/>
                    </a:cubicBezTo>
                    <a:cubicBezTo>
                      <a:pt x="68" y="51"/>
                      <a:pt x="67" y="51"/>
                      <a:pt x="67" y="51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2" y="54"/>
                      <a:pt x="62" y="54"/>
                      <a:pt x="61" y="54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7"/>
                      <a:pt x="59" y="47"/>
                      <a:pt x="59" y="47"/>
                    </a:cubicBezTo>
                    <a:cubicBezTo>
                      <a:pt x="55" y="47"/>
                      <a:pt x="55" y="47"/>
                      <a:pt x="55" y="47"/>
                    </a:cubicBezTo>
                    <a:cubicBezTo>
                      <a:pt x="55" y="47"/>
                      <a:pt x="54" y="47"/>
                      <a:pt x="54" y="48"/>
                    </a:cubicBezTo>
                    <a:cubicBezTo>
                      <a:pt x="53" y="54"/>
                      <a:pt x="53" y="54"/>
                      <a:pt x="53" y="54"/>
                    </a:cubicBezTo>
                    <a:cubicBezTo>
                      <a:pt x="52" y="54"/>
                      <a:pt x="52" y="54"/>
                      <a:pt x="52" y="54"/>
                    </a:cubicBezTo>
                    <a:cubicBezTo>
                      <a:pt x="47" y="51"/>
                      <a:pt x="47" y="51"/>
                      <a:pt x="47" y="51"/>
                    </a:cubicBezTo>
                    <a:cubicBezTo>
                      <a:pt x="47" y="51"/>
                      <a:pt x="46" y="51"/>
                      <a:pt x="46" y="51"/>
                    </a:cubicBezTo>
                    <a:cubicBezTo>
                      <a:pt x="43" y="53"/>
                      <a:pt x="43" y="53"/>
                      <a:pt x="43" y="53"/>
                    </a:cubicBezTo>
                    <a:cubicBezTo>
                      <a:pt x="43" y="54"/>
                      <a:pt x="43" y="54"/>
                      <a:pt x="43" y="55"/>
                    </a:cubicBezTo>
                    <a:cubicBezTo>
                      <a:pt x="46" y="59"/>
                      <a:pt x="46" y="59"/>
                      <a:pt x="46" y="59"/>
                    </a:cubicBezTo>
                    <a:cubicBezTo>
                      <a:pt x="45" y="60"/>
                      <a:pt x="45" y="60"/>
                      <a:pt x="45" y="61"/>
                    </a:cubicBezTo>
                    <a:cubicBezTo>
                      <a:pt x="40" y="61"/>
                      <a:pt x="40" y="61"/>
                      <a:pt x="40" y="61"/>
                    </a:cubicBezTo>
                    <a:cubicBezTo>
                      <a:pt x="39" y="61"/>
                      <a:pt x="39" y="61"/>
                      <a:pt x="38" y="62"/>
                    </a:cubicBezTo>
                    <a:cubicBezTo>
                      <a:pt x="38" y="65"/>
                      <a:pt x="38" y="65"/>
                      <a:pt x="38" y="65"/>
                    </a:cubicBezTo>
                    <a:cubicBezTo>
                      <a:pt x="38" y="66"/>
                      <a:pt x="38" y="66"/>
                      <a:pt x="38" y="66"/>
                    </a:cubicBezTo>
                    <a:cubicBezTo>
                      <a:pt x="44" y="69"/>
                      <a:pt x="44" y="69"/>
                      <a:pt x="44" y="69"/>
                    </a:cubicBezTo>
                    <a:cubicBezTo>
                      <a:pt x="44" y="69"/>
                      <a:pt x="44" y="69"/>
                      <a:pt x="44" y="70"/>
                    </a:cubicBezTo>
                    <a:cubicBezTo>
                      <a:pt x="40" y="74"/>
                      <a:pt x="40" y="74"/>
                      <a:pt x="40" y="74"/>
                    </a:cubicBezTo>
                    <a:cubicBezTo>
                      <a:pt x="40" y="74"/>
                      <a:pt x="39" y="74"/>
                      <a:pt x="40" y="75"/>
                    </a:cubicBezTo>
                    <a:cubicBezTo>
                      <a:pt x="41" y="78"/>
                      <a:pt x="41" y="78"/>
                      <a:pt x="41" y="78"/>
                    </a:cubicBezTo>
                    <a:cubicBezTo>
                      <a:pt x="42" y="78"/>
                      <a:pt x="42" y="78"/>
                      <a:pt x="42" y="78"/>
                    </a:cubicBezTo>
                    <a:cubicBezTo>
                      <a:pt x="48" y="77"/>
                      <a:pt x="48" y="77"/>
                      <a:pt x="48" y="77"/>
                    </a:cubicBezTo>
                    <a:cubicBezTo>
                      <a:pt x="48" y="77"/>
                      <a:pt x="48" y="77"/>
                      <a:pt x="49" y="78"/>
                    </a:cubicBezTo>
                    <a:cubicBezTo>
                      <a:pt x="48" y="83"/>
                      <a:pt x="48" y="83"/>
                      <a:pt x="48" y="83"/>
                    </a:cubicBezTo>
                    <a:cubicBezTo>
                      <a:pt x="48" y="84"/>
                      <a:pt x="48" y="84"/>
                      <a:pt x="49" y="84"/>
                    </a:cubicBezTo>
                    <a:cubicBezTo>
                      <a:pt x="52" y="85"/>
                      <a:pt x="52" y="85"/>
                      <a:pt x="52" y="85"/>
                    </a:cubicBezTo>
                    <a:cubicBezTo>
                      <a:pt x="53" y="85"/>
                      <a:pt x="53" y="85"/>
                      <a:pt x="53" y="85"/>
                    </a:cubicBezTo>
                    <a:cubicBezTo>
                      <a:pt x="56" y="80"/>
                      <a:pt x="56" y="80"/>
                      <a:pt x="56" y="80"/>
                    </a:cubicBezTo>
                    <a:cubicBezTo>
                      <a:pt x="56" y="80"/>
                      <a:pt x="57" y="80"/>
                      <a:pt x="57" y="80"/>
                    </a:cubicBezTo>
                    <a:cubicBezTo>
                      <a:pt x="57" y="80"/>
                      <a:pt x="58" y="80"/>
                      <a:pt x="58" y="80"/>
                    </a:cubicBezTo>
                    <a:cubicBezTo>
                      <a:pt x="61" y="85"/>
                      <a:pt x="61" y="85"/>
                      <a:pt x="61" y="85"/>
                    </a:cubicBezTo>
                    <a:cubicBezTo>
                      <a:pt x="61" y="85"/>
                      <a:pt x="61" y="85"/>
                      <a:pt x="62" y="85"/>
                    </a:cubicBezTo>
                    <a:cubicBezTo>
                      <a:pt x="65" y="84"/>
                      <a:pt x="65" y="84"/>
                      <a:pt x="65" y="84"/>
                    </a:cubicBezTo>
                    <a:cubicBezTo>
                      <a:pt x="66" y="84"/>
                      <a:pt x="66" y="84"/>
                      <a:pt x="66" y="83"/>
                    </a:cubicBezTo>
                    <a:cubicBezTo>
                      <a:pt x="65" y="78"/>
                      <a:pt x="65" y="78"/>
                      <a:pt x="65" y="78"/>
                    </a:cubicBezTo>
                    <a:cubicBezTo>
                      <a:pt x="65" y="77"/>
                      <a:pt x="66" y="77"/>
                      <a:pt x="66" y="77"/>
                    </a:cubicBezTo>
                    <a:cubicBezTo>
                      <a:pt x="72" y="78"/>
                      <a:pt x="72" y="78"/>
                      <a:pt x="72" y="78"/>
                    </a:cubicBezTo>
                    <a:cubicBezTo>
                      <a:pt x="72" y="78"/>
                      <a:pt x="73" y="78"/>
                      <a:pt x="73" y="78"/>
                    </a:cubicBezTo>
                    <a:cubicBezTo>
                      <a:pt x="75" y="75"/>
                      <a:pt x="75" y="75"/>
                      <a:pt x="75" y="75"/>
                    </a:cubicBezTo>
                    <a:cubicBezTo>
                      <a:pt x="75" y="74"/>
                      <a:pt x="75" y="74"/>
                      <a:pt x="74" y="74"/>
                    </a:cubicBezTo>
                    <a:cubicBezTo>
                      <a:pt x="70" y="70"/>
                      <a:pt x="70" y="70"/>
                      <a:pt x="70" y="70"/>
                    </a:cubicBezTo>
                    <a:cubicBezTo>
                      <a:pt x="70" y="69"/>
                      <a:pt x="70" y="69"/>
                      <a:pt x="71" y="69"/>
                    </a:cubicBezTo>
                    <a:cubicBezTo>
                      <a:pt x="76" y="66"/>
                      <a:pt x="76" y="66"/>
                      <a:pt x="76" y="66"/>
                    </a:cubicBezTo>
                    <a:cubicBezTo>
                      <a:pt x="76" y="66"/>
                      <a:pt x="76" y="66"/>
                      <a:pt x="76" y="65"/>
                    </a:cubicBezTo>
                    <a:close/>
                    <a:moveTo>
                      <a:pt x="65" y="67"/>
                    </a:moveTo>
                    <a:cubicBezTo>
                      <a:pt x="65" y="69"/>
                      <a:pt x="64" y="71"/>
                      <a:pt x="62" y="72"/>
                    </a:cubicBezTo>
                    <a:cubicBezTo>
                      <a:pt x="61" y="74"/>
                      <a:pt x="59" y="74"/>
                      <a:pt x="57" y="74"/>
                    </a:cubicBezTo>
                    <a:cubicBezTo>
                      <a:pt x="55" y="74"/>
                      <a:pt x="53" y="74"/>
                      <a:pt x="52" y="72"/>
                    </a:cubicBezTo>
                    <a:cubicBezTo>
                      <a:pt x="50" y="71"/>
                      <a:pt x="50" y="69"/>
                      <a:pt x="50" y="67"/>
                    </a:cubicBezTo>
                    <a:cubicBezTo>
                      <a:pt x="50" y="65"/>
                      <a:pt x="50" y="63"/>
                      <a:pt x="52" y="61"/>
                    </a:cubicBezTo>
                    <a:cubicBezTo>
                      <a:pt x="53" y="60"/>
                      <a:pt x="55" y="59"/>
                      <a:pt x="57" y="59"/>
                    </a:cubicBezTo>
                    <a:cubicBezTo>
                      <a:pt x="59" y="59"/>
                      <a:pt x="61" y="60"/>
                      <a:pt x="62" y="61"/>
                    </a:cubicBezTo>
                    <a:cubicBezTo>
                      <a:pt x="64" y="63"/>
                      <a:pt x="65" y="65"/>
                      <a:pt x="65" y="67"/>
                    </a:cubicBezTo>
                    <a:close/>
                    <a:moveTo>
                      <a:pt x="54" y="67"/>
                    </a:moveTo>
                    <a:cubicBezTo>
                      <a:pt x="54" y="65"/>
                      <a:pt x="55" y="63"/>
                      <a:pt x="57" y="63"/>
                    </a:cubicBezTo>
                    <a:cubicBezTo>
                      <a:pt x="59" y="63"/>
                      <a:pt x="61" y="65"/>
                      <a:pt x="61" y="67"/>
                    </a:cubicBezTo>
                    <a:cubicBezTo>
                      <a:pt x="61" y="69"/>
                      <a:pt x="59" y="70"/>
                      <a:pt x="57" y="70"/>
                    </a:cubicBezTo>
                    <a:cubicBezTo>
                      <a:pt x="55" y="70"/>
                      <a:pt x="54" y="69"/>
                      <a:pt x="54" y="67"/>
                    </a:cubicBezTo>
                    <a:close/>
                    <a:moveTo>
                      <a:pt x="88" y="55"/>
                    </a:moveTo>
                    <a:cubicBezTo>
                      <a:pt x="88" y="54"/>
                      <a:pt x="88" y="54"/>
                      <a:pt x="88" y="53"/>
                    </a:cubicBezTo>
                    <a:cubicBezTo>
                      <a:pt x="88" y="53"/>
                      <a:pt x="88" y="52"/>
                      <a:pt x="88" y="52"/>
                    </a:cubicBezTo>
                    <a:cubicBezTo>
                      <a:pt x="90" y="50"/>
                      <a:pt x="90" y="50"/>
                      <a:pt x="90" y="50"/>
                    </a:cubicBezTo>
                    <a:cubicBezTo>
                      <a:pt x="90" y="50"/>
                      <a:pt x="90" y="49"/>
                      <a:pt x="90" y="49"/>
                    </a:cubicBezTo>
                    <a:cubicBezTo>
                      <a:pt x="90" y="49"/>
                      <a:pt x="90" y="49"/>
                      <a:pt x="90" y="49"/>
                    </a:cubicBezTo>
                    <a:cubicBezTo>
                      <a:pt x="89" y="47"/>
                      <a:pt x="89" y="47"/>
                      <a:pt x="89" y="47"/>
                    </a:cubicBezTo>
                    <a:cubicBezTo>
                      <a:pt x="89" y="47"/>
                      <a:pt x="89" y="47"/>
                      <a:pt x="88" y="47"/>
                    </a:cubicBezTo>
                    <a:cubicBezTo>
                      <a:pt x="88" y="47"/>
                      <a:pt x="88" y="47"/>
                      <a:pt x="88" y="47"/>
                    </a:cubicBezTo>
                    <a:cubicBezTo>
                      <a:pt x="85" y="48"/>
                      <a:pt x="85" y="48"/>
                      <a:pt x="85" y="48"/>
                    </a:cubicBezTo>
                    <a:cubicBezTo>
                      <a:pt x="85" y="47"/>
                      <a:pt x="84" y="47"/>
                      <a:pt x="83" y="46"/>
                    </a:cubicBezTo>
                    <a:cubicBezTo>
                      <a:pt x="82" y="43"/>
                      <a:pt x="82" y="43"/>
                      <a:pt x="82" y="43"/>
                    </a:cubicBezTo>
                    <a:cubicBezTo>
                      <a:pt x="82" y="43"/>
                      <a:pt x="82" y="43"/>
                      <a:pt x="81" y="43"/>
                    </a:cubicBezTo>
                    <a:cubicBezTo>
                      <a:pt x="80" y="43"/>
                      <a:pt x="80" y="43"/>
                      <a:pt x="80" y="43"/>
                    </a:cubicBezTo>
                    <a:cubicBezTo>
                      <a:pt x="79" y="43"/>
                      <a:pt x="79" y="43"/>
                      <a:pt x="79" y="43"/>
                    </a:cubicBezTo>
                    <a:cubicBezTo>
                      <a:pt x="78" y="46"/>
                      <a:pt x="78" y="46"/>
                      <a:pt x="78" y="46"/>
                    </a:cubicBezTo>
                    <a:cubicBezTo>
                      <a:pt x="77" y="47"/>
                      <a:pt x="76" y="47"/>
                      <a:pt x="76" y="48"/>
                    </a:cubicBezTo>
                    <a:cubicBezTo>
                      <a:pt x="73" y="47"/>
                      <a:pt x="73" y="47"/>
                      <a:pt x="73" y="47"/>
                    </a:cubicBezTo>
                    <a:cubicBezTo>
                      <a:pt x="73" y="47"/>
                      <a:pt x="73" y="47"/>
                      <a:pt x="73" y="47"/>
                    </a:cubicBezTo>
                    <a:cubicBezTo>
                      <a:pt x="72" y="47"/>
                      <a:pt x="72" y="47"/>
                      <a:pt x="72" y="47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1" y="50"/>
                      <a:pt x="71" y="50"/>
                    </a:cubicBezTo>
                    <a:cubicBezTo>
                      <a:pt x="73" y="52"/>
                      <a:pt x="73" y="52"/>
                      <a:pt x="73" y="52"/>
                    </a:cubicBezTo>
                    <a:cubicBezTo>
                      <a:pt x="73" y="52"/>
                      <a:pt x="73" y="53"/>
                      <a:pt x="73" y="53"/>
                    </a:cubicBezTo>
                    <a:cubicBezTo>
                      <a:pt x="73" y="54"/>
                      <a:pt x="73" y="54"/>
                      <a:pt x="73" y="55"/>
                    </a:cubicBezTo>
                    <a:cubicBezTo>
                      <a:pt x="71" y="57"/>
                      <a:pt x="71" y="57"/>
                      <a:pt x="71" y="57"/>
                    </a:cubicBezTo>
                    <a:cubicBezTo>
                      <a:pt x="71" y="57"/>
                      <a:pt x="71" y="57"/>
                      <a:pt x="71" y="57"/>
                    </a:cubicBezTo>
                    <a:cubicBezTo>
                      <a:pt x="71" y="57"/>
                      <a:pt x="71" y="57"/>
                      <a:pt x="71" y="58"/>
                    </a:cubicBezTo>
                    <a:cubicBezTo>
                      <a:pt x="72" y="59"/>
                      <a:pt x="72" y="59"/>
                      <a:pt x="72" y="59"/>
                    </a:cubicBezTo>
                    <a:cubicBezTo>
                      <a:pt x="72" y="60"/>
                      <a:pt x="72" y="60"/>
                      <a:pt x="73" y="60"/>
                    </a:cubicBezTo>
                    <a:cubicBezTo>
                      <a:pt x="73" y="60"/>
                      <a:pt x="73" y="60"/>
                      <a:pt x="73" y="60"/>
                    </a:cubicBezTo>
                    <a:cubicBezTo>
                      <a:pt x="76" y="59"/>
                      <a:pt x="76" y="59"/>
                      <a:pt x="76" y="59"/>
                    </a:cubicBezTo>
                    <a:cubicBezTo>
                      <a:pt x="76" y="59"/>
                      <a:pt x="77" y="60"/>
                      <a:pt x="78" y="60"/>
                    </a:cubicBezTo>
                    <a:cubicBezTo>
                      <a:pt x="79" y="63"/>
                      <a:pt x="79" y="63"/>
                      <a:pt x="79" y="63"/>
                    </a:cubicBezTo>
                    <a:cubicBezTo>
                      <a:pt x="79" y="63"/>
                      <a:pt x="79" y="64"/>
                      <a:pt x="80" y="64"/>
                    </a:cubicBezTo>
                    <a:cubicBezTo>
                      <a:pt x="81" y="64"/>
                      <a:pt x="81" y="64"/>
                      <a:pt x="81" y="64"/>
                    </a:cubicBezTo>
                    <a:cubicBezTo>
                      <a:pt x="82" y="64"/>
                      <a:pt x="82" y="63"/>
                      <a:pt x="82" y="63"/>
                    </a:cubicBezTo>
                    <a:cubicBezTo>
                      <a:pt x="83" y="60"/>
                      <a:pt x="83" y="60"/>
                      <a:pt x="83" y="60"/>
                    </a:cubicBezTo>
                    <a:cubicBezTo>
                      <a:pt x="84" y="60"/>
                      <a:pt x="85" y="59"/>
                      <a:pt x="85" y="59"/>
                    </a:cubicBezTo>
                    <a:cubicBezTo>
                      <a:pt x="88" y="60"/>
                      <a:pt x="88" y="60"/>
                      <a:pt x="88" y="60"/>
                    </a:cubicBezTo>
                    <a:cubicBezTo>
                      <a:pt x="88" y="60"/>
                      <a:pt x="88" y="60"/>
                      <a:pt x="88" y="60"/>
                    </a:cubicBezTo>
                    <a:cubicBezTo>
                      <a:pt x="89" y="60"/>
                      <a:pt x="89" y="60"/>
                      <a:pt x="89" y="59"/>
                    </a:cubicBezTo>
                    <a:cubicBezTo>
                      <a:pt x="90" y="58"/>
                      <a:pt x="90" y="58"/>
                      <a:pt x="90" y="58"/>
                    </a:cubicBezTo>
                    <a:cubicBezTo>
                      <a:pt x="90" y="57"/>
                      <a:pt x="90" y="57"/>
                      <a:pt x="90" y="57"/>
                    </a:cubicBezTo>
                    <a:cubicBezTo>
                      <a:pt x="90" y="57"/>
                      <a:pt x="90" y="57"/>
                      <a:pt x="90" y="57"/>
                    </a:cubicBezTo>
                    <a:cubicBezTo>
                      <a:pt x="88" y="55"/>
                      <a:pt x="88" y="55"/>
                      <a:pt x="88" y="55"/>
                    </a:cubicBezTo>
                    <a:cubicBezTo>
                      <a:pt x="88" y="55"/>
                      <a:pt x="88" y="55"/>
                      <a:pt x="88" y="55"/>
                    </a:cubicBezTo>
                    <a:close/>
                    <a:moveTo>
                      <a:pt x="83" y="53"/>
                    </a:moveTo>
                    <a:cubicBezTo>
                      <a:pt x="83" y="55"/>
                      <a:pt x="82" y="56"/>
                      <a:pt x="81" y="56"/>
                    </a:cubicBezTo>
                    <a:cubicBezTo>
                      <a:pt x="79" y="56"/>
                      <a:pt x="78" y="55"/>
                      <a:pt x="78" y="53"/>
                    </a:cubicBezTo>
                    <a:cubicBezTo>
                      <a:pt x="78" y="52"/>
                      <a:pt x="79" y="50"/>
                      <a:pt x="81" y="50"/>
                    </a:cubicBezTo>
                    <a:cubicBezTo>
                      <a:pt x="82" y="50"/>
                      <a:pt x="83" y="52"/>
                      <a:pt x="83" y="53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215" name="Freeform 15"/>
              <p:cNvSpPr>
                <a:spLocks/>
              </p:cNvSpPr>
              <p:nvPr/>
            </p:nvSpPr>
            <p:spPr bwMode="auto">
              <a:xfrm>
                <a:off x="1625813" y="4245343"/>
                <a:ext cx="883867" cy="1886515"/>
              </a:xfrm>
              <a:custGeom>
                <a:avLst/>
                <a:gdLst>
                  <a:gd name="T0" fmla="*/ 277 w 506"/>
                  <a:gd name="T1" fmla="*/ 71 h 664"/>
                  <a:gd name="T2" fmla="*/ 277 w 506"/>
                  <a:gd name="T3" fmla="*/ 0 h 664"/>
                  <a:gd name="T4" fmla="*/ 97 w 506"/>
                  <a:gd name="T5" fmla="*/ 0 h 664"/>
                  <a:gd name="T6" fmla="*/ 97 w 506"/>
                  <a:gd name="T7" fmla="*/ 71 h 664"/>
                  <a:gd name="T8" fmla="*/ 0 w 506"/>
                  <a:gd name="T9" fmla="*/ 71 h 664"/>
                  <a:gd name="T10" fmla="*/ 0 w 506"/>
                  <a:gd name="T11" fmla="*/ 89 h 664"/>
                  <a:gd name="T12" fmla="*/ 22 w 506"/>
                  <a:gd name="T13" fmla="*/ 89 h 664"/>
                  <a:gd name="T14" fmla="*/ 22 w 506"/>
                  <a:gd name="T15" fmla="*/ 664 h 664"/>
                  <a:gd name="T16" fmla="*/ 484 w 506"/>
                  <a:gd name="T17" fmla="*/ 664 h 664"/>
                  <a:gd name="T18" fmla="*/ 484 w 506"/>
                  <a:gd name="T19" fmla="*/ 89 h 664"/>
                  <a:gd name="T20" fmla="*/ 506 w 506"/>
                  <a:gd name="T21" fmla="*/ 89 h 664"/>
                  <a:gd name="T22" fmla="*/ 506 w 506"/>
                  <a:gd name="T23" fmla="*/ 71 h 664"/>
                  <a:gd name="T24" fmla="*/ 277 w 506"/>
                  <a:gd name="T25" fmla="*/ 71 h 6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06" h="664">
                    <a:moveTo>
                      <a:pt x="277" y="71"/>
                    </a:moveTo>
                    <a:lnTo>
                      <a:pt x="277" y="0"/>
                    </a:lnTo>
                    <a:lnTo>
                      <a:pt x="97" y="0"/>
                    </a:lnTo>
                    <a:lnTo>
                      <a:pt x="97" y="71"/>
                    </a:lnTo>
                    <a:lnTo>
                      <a:pt x="0" y="71"/>
                    </a:lnTo>
                    <a:lnTo>
                      <a:pt x="0" y="89"/>
                    </a:lnTo>
                    <a:lnTo>
                      <a:pt x="22" y="89"/>
                    </a:lnTo>
                    <a:lnTo>
                      <a:pt x="22" y="664"/>
                    </a:lnTo>
                    <a:lnTo>
                      <a:pt x="484" y="664"/>
                    </a:lnTo>
                    <a:lnTo>
                      <a:pt x="484" y="89"/>
                    </a:lnTo>
                    <a:lnTo>
                      <a:pt x="506" y="89"/>
                    </a:lnTo>
                    <a:lnTo>
                      <a:pt x="506" y="71"/>
                    </a:lnTo>
                    <a:lnTo>
                      <a:pt x="277" y="71"/>
                    </a:lnTo>
                    <a:close/>
                  </a:path>
                </a:pathLst>
              </a:custGeom>
              <a:solidFill>
                <a:srgbClr val="797A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216" name="Rectangle 16"/>
              <p:cNvSpPr>
                <a:spLocks noChangeArrowheads="1"/>
              </p:cNvSpPr>
              <p:nvPr/>
            </p:nvSpPr>
            <p:spPr bwMode="auto">
              <a:xfrm>
                <a:off x="2109669" y="5929232"/>
                <a:ext cx="104806" cy="20262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217" name="Rectangle 17"/>
              <p:cNvSpPr>
                <a:spLocks noChangeArrowheads="1"/>
              </p:cNvSpPr>
              <p:nvPr/>
            </p:nvSpPr>
            <p:spPr bwMode="auto">
              <a:xfrm>
                <a:off x="1926258" y="5929232"/>
                <a:ext cx="104806" cy="20262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218" name="Rectangle 18"/>
              <p:cNvSpPr>
                <a:spLocks noChangeArrowheads="1"/>
              </p:cNvSpPr>
              <p:nvPr/>
            </p:nvSpPr>
            <p:spPr bwMode="auto">
              <a:xfrm>
                <a:off x="1744593" y="5218296"/>
                <a:ext cx="649800" cy="1030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219" name="Rectangle 19"/>
              <p:cNvSpPr>
                <a:spLocks noChangeArrowheads="1"/>
              </p:cNvSpPr>
              <p:nvPr/>
            </p:nvSpPr>
            <p:spPr bwMode="auto">
              <a:xfrm>
                <a:off x="1744593" y="5399960"/>
                <a:ext cx="649800" cy="10131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220" name="Rectangle 20"/>
              <p:cNvSpPr>
                <a:spLocks noChangeArrowheads="1"/>
              </p:cNvSpPr>
              <p:nvPr/>
            </p:nvSpPr>
            <p:spPr bwMode="auto">
              <a:xfrm>
                <a:off x="1744593" y="5579878"/>
                <a:ext cx="649800" cy="10480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221" name="Rectangle 21"/>
              <p:cNvSpPr>
                <a:spLocks noChangeArrowheads="1"/>
              </p:cNvSpPr>
              <p:nvPr/>
            </p:nvSpPr>
            <p:spPr bwMode="auto">
              <a:xfrm>
                <a:off x="1744593" y="5761542"/>
                <a:ext cx="649800" cy="10480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201" name="Rectangle 8"/>
              <p:cNvSpPr>
                <a:spLocks noChangeArrowheads="1"/>
              </p:cNvSpPr>
              <p:nvPr/>
            </p:nvSpPr>
            <p:spPr bwMode="auto">
              <a:xfrm flipH="1">
                <a:off x="3672473" y="5579877"/>
                <a:ext cx="248580" cy="545352"/>
              </a:xfrm>
              <a:prstGeom prst="rect">
                <a:avLst/>
              </a:prstGeom>
              <a:solidFill>
                <a:srgbClr val="0072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202" name="Rectangle 9"/>
              <p:cNvSpPr>
                <a:spLocks noChangeArrowheads="1"/>
              </p:cNvSpPr>
              <p:nvPr/>
            </p:nvSpPr>
            <p:spPr bwMode="auto">
              <a:xfrm flipH="1">
                <a:off x="3479850" y="6034337"/>
                <a:ext cx="248580" cy="90892"/>
              </a:xfrm>
              <a:prstGeom prst="rect">
                <a:avLst/>
              </a:prstGeom>
              <a:solidFill>
                <a:srgbClr val="BA14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203" name="Rectangle 10"/>
              <p:cNvSpPr>
                <a:spLocks noChangeArrowheads="1"/>
              </p:cNvSpPr>
              <p:nvPr/>
            </p:nvSpPr>
            <p:spPr bwMode="auto">
              <a:xfrm flipH="1">
                <a:off x="3423892" y="5987964"/>
                <a:ext cx="248580" cy="13726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54" name="AutoShape 141"/>
              <p:cNvSpPr>
                <a:spLocks noChangeAspect="1" noChangeArrowheads="1" noTextEdit="1"/>
              </p:cNvSpPr>
              <p:nvPr/>
            </p:nvSpPr>
            <p:spPr bwMode="auto">
              <a:xfrm>
                <a:off x="3992615" y="4945456"/>
                <a:ext cx="662109" cy="11864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55" name="Freeform 143"/>
              <p:cNvSpPr>
                <a:spLocks/>
              </p:cNvSpPr>
              <p:nvPr/>
            </p:nvSpPr>
            <p:spPr bwMode="auto">
              <a:xfrm>
                <a:off x="3993273" y="5584869"/>
                <a:ext cx="660793" cy="497321"/>
              </a:xfrm>
              <a:custGeom>
                <a:avLst/>
                <a:gdLst>
                  <a:gd name="T0" fmla="*/ 850 w 850"/>
                  <a:gd name="T1" fmla="*/ 17 h 640"/>
                  <a:gd name="T2" fmla="*/ 834 w 850"/>
                  <a:gd name="T3" fmla="*/ 0 h 640"/>
                  <a:gd name="T4" fmla="*/ 17 w 850"/>
                  <a:gd name="T5" fmla="*/ 0 h 640"/>
                  <a:gd name="T6" fmla="*/ 0 w 850"/>
                  <a:gd name="T7" fmla="*/ 17 h 640"/>
                  <a:gd name="T8" fmla="*/ 0 w 850"/>
                  <a:gd name="T9" fmla="*/ 573 h 640"/>
                  <a:gd name="T10" fmla="*/ 17 w 850"/>
                  <a:gd name="T11" fmla="*/ 590 h 640"/>
                  <a:gd name="T12" fmla="*/ 395 w 850"/>
                  <a:gd name="T13" fmla="*/ 590 h 640"/>
                  <a:gd name="T14" fmla="*/ 382 w 850"/>
                  <a:gd name="T15" fmla="*/ 627 h 640"/>
                  <a:gd name="T16" fmla="*/ 307 w 850"/>
                  <a:gd name="T17" fmla="*/ 627 h 640"/>
                  <a:gd name="T18" fmla="*/ 307 w 850"/>
                  <a:gd name="T19" fmla="*/ 640 h 640"/>
                  <a:gd name="T20" fmla="*/ 539 w 850"/>
                  <a:gd name="T21" fmla="*/ 640 h 640"/>
                  <a:gd name="T22" fmla="*/ 539 w 850"/>
                  <a:gd name="T23" fmla="*/ 627 h 640"/>
                  <a:gd name="T24" fmla="*/ 478 w 850"/>
                  <a:gd name="T25" fmla="*/ 627 h 640"/>
                  <a:gd name="T26" fmla="*/ 466 w 850"/>
                  <a:gd name="T27" fmla="*/ 590 h 640"/>
                  <a:gd name="T28" fmla="*/ 834 w 850"/>
                  <a:gd name="T29" fmla="*/ 590 h 640"/>
                  <a:gd name="T30" fmla="*/ 850 w 850"/>
                  <a:gd name="T31" fmla="*/ 573 h 640"/>
                  <a:gd name="T32" fmla="*/ 850 w 850"/>
                  <a:gd name="T33" fmla="*/ 17 h 6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50" h="640">
                    <a:moveTo>
                      <a:pt x="850" y="17"/>
                    </a:moveTo>
                    <a:cubicBezTo>
                      <a:pt x="850" y="8"/>
                      <a:pt x="843" y="0"/>
                      <a:pt x="834" y="0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7" y="0"/>
                      <a:pt x="0" y="8"/>
                      <a:pt x="0" y="17"/>
                    </a:cubicBezTo>
                    <a:cubicBezTo>
                      <a:pt x="0" y="573"/>
                      <a:pt x="0" y="573"/>
                      <a:pt x="0" y="573"/>
                    </a:cubicBezTo>
                    <a:cubicBezTo>
                      <a:pt x="0" y="582"/>
                      <a:pt x="7" y="590"/>
                      <a:pt x="17" y="590"/>
                    </a:cubicBezTo>
                    <a:cubicBezTo>
                      <a:pt x="395" y="590"/>
                      <a:pt x="395" y="590"/>
                      <a:pt x="395" y="590"/>
                    </a:cubicBezTo>
                    <a:cubicBezTo>
                      <a:pt x="382" y="627"/>
                      <a:pt x="382" y="627"/>
                      <a:pt x="382" y="627"/>
                    </a:cubicBezTo>
                    <a:cubicBezTo>
                      <a:pt x="307" y="627"/>
                      <a:pt x="307" y="627"/>
                      <a:pt x="307" y="627"/>
                    </a:cubicBezTo>
                    <a:cubicBezTo>
                      <a:pt x="307" y="640"/>
                      <a:pt x="307" y="640"/>
                      <a:pt x="307" y="640"/>
                    </a:cubicBezTo>
                    <a:cubicBezTo>
                      <a:pt x="539" y="640"/>
                      <a:pt x="539" y="640"/>
                      <a:pt x="539" y="640"/>
                    </a:cubicBezTo>
                    <a:cubicBezTo>
                      <a:pt x="539" y="627"/>
                      <a:pt x="539" y="627"/>
                      <a:pt x="539" y="627"/>
                    </a:cubicBezTo>
                    <a:cubicBezTo>
                      <a:pt x="478" y="627"/>
                      <a:pt x="478" y="627"/>
                      <a:pt x="478" y="627"/>
                    </a:cubicBezTo>
                    <a:cubicBezTo>
                      <a:pt x="466" y="590"/>
                      <a:pt x="466" y="590"/>
                      <a:pt x="466" y="590"/>
                    </a:cubicBezTo>
                    <a:cubicBezTo>
                      <a:pt x="834" y="590"/>
                      <a:pt x="834" y="590"/>
                      <a:pt x="834" y="590"/>
                    </a:cubicBezTo>
                    <a:cubicBezTo>
                      <a:pt x="843" y="590"/>
                      <a:pt x="850" y="582"/>
                      <a:pt x="850" y="573"/>
                    </a:cubicBezTo>
                    <a:lnTo>
                      <a:pt x="850" y="17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56" name="Rectangle 144"/>
              <p:cNvSpPr>
                <a:spLocks noChangeArrowheads="1"/>
              </p:cNvSpPr>
              <p:nvPr/>
            </p:nvSpPr>
            <p:spPr bwMode="auto">
              <a:xfrm>
                <a:off x="4009719" y="5601315"/>
                <a:ext cx="628560" cy="353256"/>
              </a:xfrm>
              <a:prstGeom prst="rect">
                <a:avLst/>
              </a:pr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57" name="Freeform 145"/>
              <p:cNvSpPr>
                <a:spLocks/>
              </p:cNvSpPr>
              <p:nvPr/>
            </p:nvSpPr>
            <p:spPr bwMode="auto">
              <a:xfrm>
                <a:off x="4546839" y="6097650"/>
                <a:ext cx="68415" cy="34207"/>
              </a:xfrm>
              <a:custGeom>
                <a:avLst/>
                <a:gdLst>
                  <a:gd name="T0" fmla="*/ 44 w 88"/>
                  <a:gd name="T1" fmla="*/ 0 h 44"/>
                  <a:gd name="T2" fmla="*/ 0 w 88"/>
                  <a:gd name="T3" fmla="*/ 44 h 44"/>
                  <a:gd name="T4" fmla="*/ 88 w 88"/>
                  <a:gd name="T5" fmla="*/ 44 h 44"/>
                  <a:gd name="T6" fmla="*/ 44 w 88"/>
                  <a:gd name="T7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8" h="44">
                    <a:moveTo>
                      <a:pt x="44" y="0"/>
                    </a:moveTo>
                    <a:cubicBezTo>
                      <a:pt x="19" y="0"/>
                      <a:pt x="0" y="20"/>
                      <a:pt x="0" y="44"/>
                    </a:cubicBezTo>
                    <a:cubicBezTo>
                      <a:pt x="88" y="44"/>
                      <a:pt x="88" y="44"/>
                      <a:pt x="88" y="44"/>
                    </a:cubicBezTo>
                    <a:cubicBezTo>
                      <a:pt x="88" y="20"/>
                      <a:pt x="68" y="0"/>
                      <a:pt x="44" y="0"/>
                    </a:cubicBez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58" name="Freeform 146"/>
              <p:cNvSpPr>
                <a:spLocks/>
              </p:cNvSpPr>
              <p:nvPr/>
            </p:nvSpPr>
            <p:spPr bwMode="auto">
              <a:xfrm>
                <a:off x="4009719" y="6095347"/>
                <a:ext cx="512781" cy="35852"/>
              </a:xfrm>
              <a:custGeom>
                <a:avLst/>
                <a:gdLst>
                  <a:gd name="T0" fmla="*/ 1559 w 1559"/>
                  <a:gd name="T1" fmla="*/ 109 h 109"/>
                  <a:gd name="T2" fmla="*/ 0 w 1559"/>
                  <a:gd name="T3" fmla="*/ 109 h 109"/>
                  <a:gd name="T4" fmla="*/ 0 w 1559"/>
                  <a:gd name="T5" fmla="*/ 64 h 109"/>
                  <a:gd name="T6" fmla="*/ 158 w 1559"/>
                  <a:gd name="T7" fmla="*/ 0 h 109"/>
                  <a:gd name="T8" fmla="*/ 1401 w 1559"/>
                  <a:gd name="T9" fmla="*/ 0 h 109"/>
                  <a:gd name="T10" fmla="*/ 1559 w 1559"/>
                  <a:gd name="T11" fmla="*/ 64 h 109"/>
                  <a:gd name="T12" fmla="*/ 1559 w 1559"/>
                  <a:gd name="T13" fmla="*/ 109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59" h="109">
                    <a:moveTo>
                      <a:pt x="1559" y="109"/>
                    </a:moveTo>
                    <a:lnTo>
                      <a:pt x="0" y="109"/>
                    </a:lnTo>
                    <a:lnTo>
                      <a:pt x="0" y="64"/>
                    </a:lnTo>
                    <a:lnTo>
                      <a:pt x="158" y="0"/>
                    </a:lnTo>
                    <a:lnTo>
                      <a:pt x="1401" y="0"/>
                    </a:lnTo>
                    <a:lnTo>
                      <a:pt x="1559" y="64"/>
                    </a:lnTo>
                    <a:lnTo>
                      <a:pt x="1559" y="109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59" name="Freeform 147"/>
              <p:cNvSpPr>
                <a:spLocks/>
              </p:cNvSpPr>
              <p:nvPr/>
            </p:nvSpPr>
            <p:spPr bwMode="auto">
              <a:xfrm>
                <a:off x="4410010" y="6074297"/>
                <a:ext cx="171694" cy="50653"/>
              </a:xfrm>
              <a:custGeom>
                <a:avLst/>
                <a:gdLst>
                  <a:gd name="T0" fmla="*/ 218 w 221"/>
                  <a:gd name="T1" fmla="*/ 65 h 65"/>
                  <a:gd name="T2" fmla="*/ 0 w 221"/>
                  <a:gd name="T3" fmla="*/ 7 h 65"/>
                  <a:gd name="T4" fmla="*/ 0 w 221"/>
                  <a:gd name="T5" fmla="*/ 0 h 65"/>
                  <a:gd name="T6" fmla="*/ 221 w 221"/>
                  <a:gd name="T7" fmla="*/ 59 h 65"/>
                  <a:gd name="T8" fmla="*/ 218 w 221"/>
                  <a:gd name="T9" fmla="*/ 6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1" h="65">
                    <a:moveTo>
                      <a:pt x="218" y="65"/>
                    </a:moveTo>
                    <a:cubicBezTo>
                      <a:pt x="152" y="27"/>
                      <a:pt x="76" y="7"/>
                      <a:pt x="0" y="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7" y="0"/>
                      <a:pt x="154" y="21"/>
                      <a:pt x="221" y="59"/>
                    </a:cubicBezTo>
                    <a:lnTo>
                      <a:pt x="218" y="65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60" name="Freeform 148"/>
              <p:cNvSpPr>
                <a:spLocks/>
              </p:cNvSpPr>
              <p:nvPr/>
            </p:nvSpPr>
            <p:spPr bwMode="auto">
              <a:xfrm>
                <a:off x="4335346" y="4946114"/>
                <a:ext cx="159196" cy="272672"/>
              </a:xfrm>
              <a:custGeom>
                <a:avLst/>
                <a:gdLst>
                  <a:gd name="T0" fmla="*/ 205 w 205"/>
                  <a:gd name="T1" fmla="*/ 116 h 351"/>
                  <a:gd name="T2" fmla="*/ 205 w 205"/>
                  <a:gd name="T3" fmla="*/ 13 h 351"/>
                  <a:gd name="T4" fmla="*/ 191 w 205"/>
                  <a:gd name="T5" fmla="*/ 0 h 351"/>
                  <a:gd name="T6" fmla="*/ 13 w 205"/>
                  <a:gd name="T7" fmla="*/ 0 h 351"/>
                  <a:gd name="T8" fmla="*/ 0 w 205"/>
                  <a:gd name="T9" fmla="*/ 13 h 351"/>
                  <a:gd name="T10" fmla="*/ 0 w 205"/>
                  <a:gd name="T11" fmla="*/ 338 h 351"/>
                  <a:gd name="T12" fmla="*/ 13 w 205"/>
                  <a:gd name="T13" fmla="*/ 351 h 351"/>
                  <a:gd name="T14" fmla="*/ 191 w 205"/>
                  <a:gd name="T15" fmla="*/ 351 h 351"/>
                  <a:gd name="T16" fmla="*/ 205 w 205"/>
                  <a:gd name="T17" fmla="*/ 338 h 351"/>
                  <a:gd name="T18" fmla="*/ 205 w 205"/>
                  <a:gd name="T19" fmla="*/ 187 h 351"/>
                  <a:gd name="T20" fmla="*/ 205 w 205"/>
                  <a:gd name="T21" fmla="*/ 116 h 3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05" h="351">
                    <a:moveTo>
                      <a:pt x="205" y="116"/>
                    </a:moveTo>
                    <a:cubicBezTo>
                      <a:pt x="205" y="13"/>
                      <a:pt x="205" y="13"/>
                      <a:pt x="205" y="13"/>
                    </a:cubicBezTo>
                    <a:cubicBezTo>
                      <a:pt x="205" y="6"/>
                      <a:pt x="199" y="0"/>
                      <a:pt x="191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6" y="0"/>
                      <a:pt x="0" y="6"/>
                      <a:pt x="0" y="13"/>
                    </a:cubicBezTo>
                    <a:cubicBezTo>
                      <a:pt x="0" y="338"/>
                      <a:pt x="0" y="338"/>
                      <a:pt x="0" y="338"/>
                    </a:cubicBezTo>
                    <a:cubicBezTo>
                      <a:pt x="0" y="345"/>
                      <a:pt x="6" y="351"/>
                      <a:pt x="13" y="351"/>
                    </a:cubicBezTo>
                    <a:cubicBezTo>
                      <a:pt x="191" y="351"/>
                      <a:pt x="191" y="351"/>
                      <a:pt x="191" y="351"/>
                    </a:cubicBezTo>
                    <a:cubicBezTo>
                      <a:pt x="199" y="351"/>
                      <a:pt x="205" y="345"/>
                      <a:pt x="205" y="338"/>
                    </a:cubicBezTo>
                    <a:cubicBezTo>
                      <a:pt x="205" y="187"/>
                      <a:pt x="205" y="187"/>
                      <a:pt x="205" y="187"/>
                    </a:cubicBezTo>
                    <a:lnTo>
                      <a:pt x="205" y="116"/>
                    </a:ln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61" name="Freeform 149"/>
              <p:cNvSpPr>
                <a:spLocks/>
              </p:cNvSpPr>
              <p:nvPr/>
            </p:nvSpPr>
            <p:spPr bwMode="auto">
              <a:xfrm>
                <a:off x="4027480" y="5134912"/>
                <a:ext cx="292407" cy="425947"/>
              </a:xfrm>
              <a:custGeom>
                <a:avLst/>
                <a:gdLst>
                  <a:gd name="T0" fmla="*/ 0 w 376"/>
                  <a:gd name="T1" fmla="*/ 253 h 548"/>
                  <a:gd name="T2" fmla="*/ 0 w 376"/>
                  <a:gd name="T3" fmla="*/ 524 h 548"/>
                  <a:gd name="T4" fmla="*/ 25 w 376"/>
                  <a:gd name="T5" fmla="*/ 548 h 548"/>
                  <a:gd name="T6" fmla="*/ 351 w 376"/>
                  <a:gd name="T7" fmla="*/ 548 h 548"/>
                  <a:gd name="T8" fmla="*/ 376 w 376"/>
                  <a:gd name="T9" fmla="*/ 524 h 548"/>
                  <a:gd name="T10" fmla="*/ 376 w 376"/>
                  <a:gd name="T11" fmla="*/ 25 h 548"/>
                  <a:gd name="T12" fmla="*/ 351 w 376"/>
                  <a:gd name="T13" fmla="*/ 0 h 548"/>
                  <a:gd name="T14" fmla="*/ 25 w 376"/>
                  <a:gd name="T15" fmla="*/ 0 h 548"/>
                  <a:gd name="T16" fmla="*/ 0 w 376"/>
                  <a:gd name="T17" fmla="*/ 25 h 548"/>
                  <a:gd name="T18" fmla="*/ 0 w 376"/>
                  <a:gd name="T19" fmla="*/ 173 h 548"/>
                  <a:gd name="T20" fmla="*/ 0 w 376"/>
                  <a:gd name="T21" fmla="*/ 253 h 5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76" h="548">
                    <a:moveTo>
                      <a:pt x="0" y="253"/>
                    </a:moveTo>
                    <a:cubicBezTo>
                      <a:pt x="0" y="524"/>
                      <a:pt x="0" y="524"/>
                      <a:pt x="0" y="524"/>
                    </a:cubicBezTo>
                    <a:cubicBezTo>
                      <a:pt x="0" y="537"/>
                      <a:pt x="11" y="548"/>
                      <a:pt x="25" y="548"/>
                    </a:cubicBezTo>
                    <a:cubicBezTo>
                      <a:pt x="351" y="548"/>
                      <a:pt x="351" y="548"/>
                      <a:pt x="351" y="548"/>
                    </a:cubicBezTo>
                    <a:cubicBezTo>
                      <a:pt x="365" y="548"/>
                      <a:pt x="376" y="537"/>
                      <a:pt x="376" y="524"/>
                    </a:cubicBezTo>
                    <a:cubicBezTo>
                      <a:pt x="376" y="25"/>
                      <a:pt x="376" y="25"/>
                      <a:pt x="376" y="25"/>
                    </a:cubicBezTo>
                    <a:cubicBezTo>
                      <a:pt x="376" y="11"/>
                      <a:pt x="365" y="0"/>
                      <a:pt x="351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11" y="0"/>
                      <a:pt x="0" y="11"/>
                      <a:pt x="0" y="25"/>
                    </a:cubicBezTo>
                    <a:cubicBezTo>
                      <a:pt x="0" y="173"/>
                      <a:pt x="0" y="173"/>
                      <a:pt x="0" y="173"/>
                    </a:cubicBezTo>
                    <a:lnTo>
                      <a:pt x="0" y="253"/>
                    </a:lnTo>
                    <a:close/>
                  </a:path>
                </a:pathLst>
              </a:cu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62" name="Rectangle 150"/>
              <p:cNvSpPr>
                <a:spLocks noChangeArrowheads="1"/>
              </p:cNvSpPr>
              <p:nvPr/>
            </p:nvSpPr>
            <p:spPr bwMode="auto">
              <a:xfrm>
                <a:off x="4055438" y="5162870"/>
                <a:ext cx="236491" cy="370689"/>
              </a:xfrm>
              <a:prstGeom prst="rect">
                <a:avLst/>
              </a:pr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63" name="Rectangle 151"/>
              <p:cNvSpPr>
                <a:spLocks noChangeArrowheads="1"/>
              </p:cNvSpPr>
              <p:nvPr/>
            </p:nvSpPr>
            <p:spPr bwMode="auto">
              <a:xfrm>
                <a:off x="4079778" y="5210563"/>
                <a:ext cx="121041" cy="121041"/>
              </a:xfrm>
              <a:prstGeom prst="rect">
                <a:avLst/>
              </a:prstGeom>
              <a:solidFill>
                <a:srgbClr val="EB3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64" name="Rectangle 152"/>
              <p:cNvSpPr>
                <a:spLocks noChangeArrowheads="1"/>
              </p:cNvSpPr>
              <p:nvPr/>
            </p:nvSpPr>
            <p:spPr bwMode="auto">
              <a:xfrm>
                <a:off x="4213318" y="5210563"/>
                <a:ext cx="54271" cy="54271"/>
              </a:xfrm>
              <a:prstGeom prst="rect">
                <a:avLst/>
              </a:prstGeom>
              <a:solidFill>
                <a:srgbClr val="EB3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65" name="Rectangle 153"/>
              <p:cNvSpPr>
                <a:spLocks noChangeArrowheads="1"/>
              </p:cNvSpPr>
              <p:nvPr/>
            </p:nvSpPr>
            <p:spPr bwMode="auto">
              <a:xfrm>
                <a:off x="4079778" y="5344760"/>
                <a:ext cx="53613" cy="54600"/>
              </a:xfrm>
              <a:prstGeom prst="rect">
                <a:avLst/>
              </a:prstGeom>
              <a:solidFill>
                <a:srgbClr val="EB3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66" name="Rectangle 154"/>
              <p:cNvSpPr>
                <a:spLocks noChangeArrowheads="1"/>
              </p:cNvSpPr>
              <p:nvPr/>
            </p:nvSpPr>
            <p:spPr bwMode="auto">
              <a:xfrm>
                <a:off x="4146548" y="5344760"/>
                <a:ext cx="54271" cy="54600"/>
              </a:xfrm>
              <a:prstGeom prst="rect">
                <a:avLst/>
              </a:prstGeom>
              <a:solidFill>
                <a:srgbClr val="EB3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67" name="Rectangle 155"/>
              <p:cNvSpPr>
                <a:spLocks noChangeArrowheads="1"/>
              </p:cNvSpPr>
              <p:nvPr/>
            </p:nvSpPr>
            <p:spPr bwMode="auto">
              <a:xfrm>
                <a:off x="4213318" y="5344760"/>
                <a:ext cx="54271" cy="54600"/>
              </a:xfrm>
              <a:prstGeom prst="rect">
                <a:avLst/>
              </a:prstGeom>
              <a:solidFill>
                <a:srgbClr val="EB3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68" name="Rectangle 156"/>
              <p:cNvSpPr>
                <a:spLocks noChangeArrowheads="1"/>
              </p:cNvSpPr>
              <p:nvPr/>
            </p:nvSpPr>
            <p:spPr bwMode="auto">
              <a:xfrm>
                <a:off x="4079778" y="5411530"/>
                <a:ext cx="53613" cy="54600"/>
              </a:xfrm>
              <a:prstGeom prst="rect">
                <a:avLst/>
              </a:prstGeom>
              <a:solidFill>
                <a:srgbClr val="EB3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69" name="Rectangle 157"/>
              <p:cNvSpPr>
                <a:spLocks noChangeArrowheads="1"/>
              </p:cNvSpPr>
              <p:nvPr/>
            </p:nvSpPr>
            <p:spPr bwMode="auto">
              <a:xfrm>
                <a:off x="4146548" y="5411530"/>
                <a:ext cx="54271" cy="54600"/>
              </a:xfrm>
              <a:prstGeom prst="rect">
                <a:avLst/>
              </a:prstGeom>
              <a:solidFill>
                <a:srgbClr val="EB3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70" name="Rectangle 158"/>
              <p:cNvSpPr>
                <a:spLocks noChangeArrowheads="1"/>
              </p:cNvSpPr>
              <p:nvPr/>
            </p:nvSpPr>
            <p:spPr bwMode="auto">
              <a:xfrm>
                <a:off x="4213318" y="5411530"/>
                <a:ext cx="54271" cy="54600"/>
              </a:xfrm>
              <a:prstGeom prst="rect">
                <a:avLst/>
              </a:prstGeom>
              <a:solidFill>
                <a:srgbClr val="EB3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71" name="Rectangle 159"/>
              <p:cNvSpPr>
                <a:spLocks noChangeArrowheads="1"/>
              </p:cNvSpPr>
              <p:nvPr/>
            </p:nvSpPr>
            <p:spPr bwMode="auto">
              <a:xfrm>
                <a:off x="4079778" y="5479287"/>
                <a:ext cx="187811" cy="54271"/>
              </a:xfrm>
              <a:prstGeom prst="rect">
                <a:avLst/>
              </a:prstGeom>
              <a:solidFill>
                <a:srgbClr val="EB3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72" name="Rectangle 160"/>
              <p:cNvSpPr>
                <a:spLocks noChangeArrowheads="1"/>
              </p:cNvSpPr>
              <p:nvPr/>
            </p:nvSpPr>
            <p:spPr bwMode="auto">
              <a:xfrm>
                <a:off x="4213318" y="5277333"/>
                <a:ext cx="54271" cy="54271"/>
              </a:xfrm>
              <a:prstGeom prst="rect">
                <a:avLst/>
              </a:prstGeom>
              <a:solidFill>
                <a:srgbClr val="EB3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73" name="Freeform 161"/>
              <p:cNvSpPr>
                <a:spLocks/>
              </p:cNvSpPr>
              <p:nvPr/>
            </p:nvSpPr>
            <p:spPr bwMode="auto">
              <a:xfrm>
                <a:off x="4331399" y="5237534"/>
                <a:ext cx="188798" cy="323325"/>
              </a:xfrm>
              <a:custGeom>
                <a:avLst/>
                <a:gdLst>
                  <a:gd name="T0" fmla="*/ 243 w 243"/>
                  <a:gd name="T1" fmla="*/ 400 h 416"/>
                  <a:gd name="T2" fmla="*/ 227 w 243"/>
                  <a:gd name="T3" fmla="*/ 416 h 416"/>
                  <a:gd name="T4" fmla="*/ 15 w 243"/>
                  <a:gd name="T5" fmla="*/ 416 h 416"/>
                  <a:gd name="T6" fmla="*/ 0 w 243"/>
                  <a:gd name="T7" fmla="*/ 400 h 416"/>
                  <a:gd name="T8" fmla="*/ 0 w 243"/>
                  <a:gd name="T9" fmla="*/ 15 h 416"/>
                  <a:gd name="T10" fmla="*/ 15 w 243"/>
                  <a:gd name="T11" fmla="*/ 0 h 416"/>
                  <a:gd name="T12" fmla="*/ 227 w 243"/>
                  <a:gd name="T13" fmla="*/ 0 h 416"/>
                  <a:gd name="T14" fmla="*/ 243 w 243"/>
                  <a:gd name="T15" fmla="*/ 15 h 416"/>
                  <a:gd name="T16" fmla="*/ 243 w 243"/>
                  <a:gd name="T17" fmla="*/ 400 h 4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3" h="416">
                    <a:moveTo>
                      <a:pt x="243" y="400"/>
                    </a:moveTo>
                    <a:cubicBezTo>
                      <a:pt x="243" y="409"/>
                      <a:pt x="236" y="416"/>
                      <a:pt x="227" y="416"/>
                    </a:cubicBezTo>
                    <a:cubicBezTo>
                      <a:pt x="15" y="416"/>
                      <a:pt x="15" y="416"/>
                      <a:pt x="15" y="416"/>
                    </a:cubicBezTo>
                    <a:cubicBezTo>
                      <a:pt x="7" y="416"/>
                      <a:pt x="0" y="409"/>
                      <a:pt x="0" y="400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7"/>
                      <a:pt x="7" y="0"/>
                      <a:pt x="15" y="0"/>
                    </a:cubicBezTo>
                    <a:cubicBezTo>
                      <a:pt x="227" y="0"/>
                      <a:pt x="227" y="0"/>
                      <a:pt x="227" y="0"/>
                    </a:cubicBezTo>
                    <a:cubicBezTo>
                      <a:pt x="236" y="0"/>
                      <a:pt x="243" y="7"/>
                      <a:pt x="243" y="15"/>
                    </a:cubicBezTo>
                    <a:lnTo>
                      <a:pt x="243" y="400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74" name="Rectangle 162"/>
              <p:cNvSpPr>
                <a:spLocks noChangeArrowheads="1"/>
              </p:cNvSpPr>
              <p:nvPr/>
            </p:nvSpPr>
            <p:spPr bwMode="auto">
              <a:xfrm>
                <a:off x="4349489" y="5255624"/>
                <a:ext cx="152288" cy="254581"/>
              </a:xfrm>
              <a:prstGeom prst="rect">
                <a:avLst/>
              </a:pr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75" name="Rectangle 163"/>
              <p:cNvSpPr>
                <a:spLocks noChangeArrowheads="1"/>
              </p:cNvSpPr>
              <p:nvPr/>
            </p:nvSpPr>
            <p:spPr bwMode="auto">
              <a:xfrm>
                <a:off x="4364949" y="5285884"/>
                <a:ext cx="122028" cy="122028"/>
              </a:xfrm>
              <a:prstGeom prst="rect">
                <a:avLst/>
              </a:prstGeom>
              <a:solidFill>
                <a:srgbClr val="FFB9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76" name="Rectangle 164"/>
              <p:cNvSpPr>
                <a:spLocks noChangeArrowheads="1"/>
              </p:cNvSpPr>
              <p:nvPr/>
            </p:nvSpPr>
            <p:spPr bwMode="auto">
              <a:xfrm>
                <a:off x="4364949" y="5416135"/>
                <a:ext cx="34865" cy="35194"/>
              </a:xfrm>
              <a:prstGeom prst="rect">
                <a:avLst/>
              </a:prstGeom>
              <a:solidFill>
                <a:srgbClr val="FFB9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77" name="Rectangle 165"/>
              <p:cNvSpPr>
                <a:spLocks noChangeArrowheads="1"/>
              </p:cNvSpPr>
              <p:nvPr/>
            </p:nvSpPr>
            <p:spPr bwMode="auto">
              <a:xfrm>
                <a:off x="4408366" y="5416135"/>
                <a:ext cx="34865" cy="35194"/>
              </a:xfrm>
              <a:prstGeom prst="rect">
                <a:avLst/>
              </a:prstGeom>
              <a:solidFill>
                <a:srgbClr val="FFB9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78" name="Rectangle 166"/>
              <p:cNvSpPr>
                <a:spLocks noChangeArrowheads="1"/>
              </p:cNvSpPr>
              <p:nvPr/>
            </p:nvSpPr>
            <p:spPr bwMode="auto">
              <a:xfrm>
                <a:off x="4451782" y="5416135"/>
                <a:ext cx="35194" cy="35194"/>
              </a:xfrm>
              <a:prstGeom prst="rect">
                <a:avLst/>
              </a:prstGeom>
              <a:solidFill>
                <a:srgbClr val="FFB9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79" name="Rectangle 167"/>
              <p:cNvSpPr>
                <a:spLocks noChangeArrowheads="1"/>
              </p:cNvSpPr>
              <p:nvPr/>
            </p:nvSpPr>
            <p:spPr bwMode="auto">
              <a:xfrm>
                <a:off x="4364949" y="5459881"/>
                <a:ext cx="122028" cy="34865"/>
              </a:xfrm>
              <a:prstGeom prst="rect">
                <a:avLst/>
              </a:prstGeom>
              <a:solidFill>
                <a:srgbClr val="FFB9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80" name="Rectangle 168"/>
              <p:cNvSpPr>
                <a:spLocks noChangeArrowheads="1"/>
              </p:cNvSpPr>
              <p:nvPr/>
            </p:nvSpPr>
            <p:spPr bwMode="auto">
              <a:xfrm>
                <a:off x="4350147" y="4961902"/>
                <a:ext cx="128935" cy="214453"/>
              </a:xfrm>
              <a:prstGeom prst="rect">
                <a:avLst/>
              </a:pr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81" name="Rectangle 169"/>
              <p:cNvSpPr>
                <a:spLocks noChangeArrowheads="1"/>
              </p:cNvSpPr>
              <p:nvPr/>
            </p:nvSpPr>
            <p:spPr bwMode="auto">
              <a:xfrm>
                <a:off x="4363304" y="4987557"/>
                <a:ext cx="66112" cy="65783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82" name="Rectangle 170"/>
              <p:cNvSpPr>
                <a:spLocks noChangeArrowheads="1"/>
              </p:cNvSpPr>
              <p:nvPr/>
            </p:nvSpPr>
            <p:spPr bwMode="auto">
              <a:xfrm>
                <a:off x="4436323" y="5024067"/>
                <a:ext cx="29602" cy="2927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83" name="Rectangle 171"/>
              <p:cNvSpPr>
                <a:spLocks noChangeArrowheads="1"/>
              </p:cNvSpPr>
              <p:nvPr/>
            </p:nvSpPr>
            <p:spPr bwMode="auto">
              <a:xfrm>
                <a:off x="4436323" y="4987557"/>
                <a:ext cx="29602" cy="2927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84" name="Rectangle 172"/>
              <p:cNvSpPr>
                <a:spLocks noChangeArrowheads="1"/>
              </p:cNvSpPr>
              <p:nvPr/>
            </p:nvSpPr>
            <p:spPr bwMode="auto">
              <a:xfrm>
                <a:off x="4436323" y="5097086"/>
                <a:ext cx="29602" cy="30260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85" name="Rectangle 173"/>
              <p:cNvSpPr>
                <a:spLocks noChangeArrowheads="1"/>
              </p:cNvSpPr>
              <p:nvPr/>
            </p:nvSpPr>
            <p:spPr bwMode="auto">
              <a:xfrm>
                <a:off x="4399814" y="5097086"/>
                <a:ext cx="29602" cy="30260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86" name="Rectangle 174"/>
              <p:cNvSpPr>
                <a:spLocks noChangeArrowheads="1"/>
              </p:cNvSpPr>
              <p:nvPr/>
            </p:nvSpPr>
            <p:spPr bwMode="auto">
              <a:xfrm>
                <a:off x="4363304" y="5097086"/>
                <a:ext cx="29602" cy="30260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87" name="Rectangle 175"/>
              <p:cNvSpPr>
                <a:spLocks noChangeArrowheads="1"/>
              </p:cNvSpPr>
              <p:nvPr/>
            </p:nvSpPr>
            <p:spPr bwMode="auto">
              <a:xfrm>
                <a:off x="4363304" y="5060577"/>
                <a:ext cx="29602" cy="2927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88" name="Rectangle 176"/>
              <p:cNvSpPr>
                <a:spLocks noChangeArrowheads="1"/>
              </p:cNvSpPr>
              <p:nvPr/>
            </p:nvSpPr>
            <p:spPr bwMode="auto">
              <a:xfrm>
                <a:off x="4399814" y="5060577"/>
                <a:ext cx="29602" cy="2927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89" name="Rectangle 177"/>
              <p:cNvSpPr>
                <a:spLocks noChangeArrowheads="1"/>
              </p:cNvSpPr>
              <p:nvPr/>
            </p:nvSpPr>
            <p:spPr bwMode="auto">
              <a:xfrm>
                <a:off x="4436323" y="5060577"/>
                <a:ext cx="29602" cy="2927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90" name="Rectangle 178"/>
              <p:cNvSpPr>
                <a:spLocks noChangeArrowheads="1"/>
              </p:cNvSpPr>
              <p:nvPr/>
            </p:nvSpPr>
            <p:spPr bwMode="auto">
              <a:xfrm>
                <a:off x="4436323" y="5134254"/>
                <a:ext cx="29602" cy="29602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91" name="Rectangle 179"/>
              <p:cNvSpPr>
                <a:spLocks noChangeArrowheads="1"/>
              </p:cNvSpPr>
              <p:nvPr/>
            </p:nvSpPr>
            <p:spPr bwMode="auto">
              <a:xfrm>
                <a:off x="4399814" y="5134254"/>
                <a:ext cx="29602" cy="29602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92" name="Rectangle 180"/>
              <p:cNvSpPr>
                <a:spLocks noChangeArrowheads="1"/>
              </p:cNvSpPr>
              <p:nvPr/>
            </p:nvSpPr>
            <p:spPr bwMode="auto">
              <a:xfrm>
                <a:off x="4363304" y="5134254"/>
                <a:ext cx="29602" cy="29602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93" name="Rectangle 181"/>
              <p:cNvSpPr>
                <a:spLocks noChangeArrowheads="1"/>
              </p:cNvSpPr>
              <p:nvPr/>
            </p:nvSpPr>
            <p:spPr bwMode="auto">
              <a:xfrm>
                <a:off x="4485990" y="5647034"/>
                <a:ext cx="129922" cy="129922"/>
              </a:xfrm>
              <a:prstGeom prst="rect">
                <a:avLst/>
              </a:prstGeom>
              <a:solidFill>
                <a:srgbClr val="DC3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94" name="Rectangle 182"/>
              <p:cNvSpPr>
                <a:spLocks noChangeArrowheads="1"/>
              </p:cNvSpPr>
              <p:nvPr/>
            </p:nvSpPr>
            <p:spPr bwMode="auto">
              <a:xfrm>
                <a:off x="4344556" y="5647034"/>
                <a:ext cx="130580" cy="129922"/>
              </a:xfrm>
              <a:prstGeom prst="rect">
                <a:avLst/>
              </a:prstGeom>
              <a:solidFill>
                <a:srgbClr val="DC3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95" name="Rectangle 183"/>
              <p:cNvSpPr>
                <a:spLocks noChangeArrowheads="1"/>
              </p:cNvSpPr>
              <p:nvPr/>
            </p:nvSpPr>
            <p:spPr bwMode="auto">
              <a:xfrm>
                <a:off x="4204108" y="5647034"/>
                <a:ext cx="129593" cy="129922"/>
              </a:xfrm>
              <a:prstGeom prst="rect">
                <a:avLst/>
              </a:prstGeom>
              <a:solidFill>
                <a:srgbClr val="DC3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96" name="Rectangle 184"/>
              <p:cNvSpPr>
                <a:spLocks noChangeArrowheads="1"/>
              </p:cNvSpPr>
              <p:nvPr/>
            </p:nvSpPr>
            <p:spPr bwMode="auto">
              <a:xfrm>
                <a:off x="4485990" y="5787811"/>
                <a:ext cx="129922" cy="130251"/>
              </a:xfrm>
              <a:prstGeom prst="rect">
                <a:avLst/>
              </a:prstGeom>
              <a:solidFill>
                <a:srgbClr val="DC3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97" name="Rectangle 185"/>
              <p:cNvSpPr>
                <a:spLocks noChangeArrowheads="1"/>
              </p:cNvSpPr>
              <p:nvPr/>
            </p:nvSpPr>
            <p:spPr bwMode="auto">
              <a:xfrm>
                <a:off x="4344556" y="5787811"/>
                <a:ext cx="130580" cy="130251"/>
              </a:xfrm>
              <a:prstGeom prst="rect">
                <a:avLst/>
              </a:prstGeom>
              <a:solidFill>
                <a:srgbClr val="DC3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98" name="Rectangle 186"/>
              <p:cNvSpPr>
                <a:spLocks noChangeArrowheads="1"/>
              </p:cNvSpPr>
              <p:nvPr/>
            </p:nvSpPr>
            <p:spPr bwMode="auto">
              <a:xfrm>
                <a:off x="4204108" y="5787811"/>
                <a:ext cx="129593" cy="130251"/>
              </a:xfrm>
              <a:prstGeom prst="rect">
                <a:avLst/>
              </a:prstGeom>
              <a:solidFill>
                <a:srgbClr val="DC3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99" name="Rectangle 187"/>
              <p:cNvSpPr>
                <a:spLocks noChangeArrowheads="1"/>
              </p:cNvSpPr>
              <p:nvPr/>
            </p:nvSpPr>
            <p:spPr bwMode="auto">
              <a:xfrm>
                <a:off x="4063332" y="5647034"/>
                <a:ext cx="129922" cy="129922"/>
              </a:xfrm>
              <a:prstGeom prst="rect">
                <a:avLst/>
              </a:prstGeom>
              <a:solidFill>
                <a:srgbClr val="DC3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200" name="Rectangle 188"/>
              <p:cNvSpPr>
                <a:spLocks noChangeArrowheads="1"/>
              </p:cNvSpPr>
              <p:nvPr/>
            </p:nvSpPr>
            <p:spPr bwMode="auto">
              <a:xfrm>
                <a:off x="4063332" y="5787811"/>
                <a:ext cx="129922" cy="130251"/>
              </a:xfrm>
              <a:prstGeom prst="rect">
                <a:avLst/>
              </a:prstGeom>
              <a:solidFill>
                <a:srgbClr val="DC3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</p:grpSp>
      </p:grpSp>
      <p:sp>
        <p:nvSpPr>
          <p:cNvPr id="3" name="TextBox 2"/>
          <p:cNvSpPr txBox="1"/>
          <p:nvPr/>
        </p:nvSpPr>
        <p:spPr>
          <a:xfrm>
            <a:off x="4456370" y="576959"/>
            <a:ext cx="3629841" cy="2369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Learn how to grow your business while spending less.</a:t>
            </a:r>
          </a:p>
          <a:p>
            <a:endParaRPr lang="en-US" sz="1400" dirty="0" smtClean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en-US" sz="14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en-US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Plus, see Microsoft Office 365 and Hyper-V in action today!</a:t>
            </a:r>
            <a:endParaRPr lang="en-US" sz="16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5135981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661208" y="160862"/>
            <a:ext cx="7772400" cy="3200400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1889808" y="367132"/>
            <a:ext cx="7315200" cy="2743200"/>
          </a:xfrm>
          <a:prstGeom prst="rect">
            <a:avLst/>
          </a:prstGeom>
          <a:solidFill>
            <a:srgbClr val="CD00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6461808" y="366553"/>
            <a:ext cx="2743200" cy="2743200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TextBox 76"/>
          <p:cNvSpPr txBox="1"/>
          <p:nvPr/>
        </p:nvSpPr>
        <p:spPr>
          <a:xfrm>
            <a:off x="2104678" y="567815"/>
            <a:ext cx="3916061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latin typeface="Segoe UI" panose="020B0502040204020203" pitchFamily="34" charset="0"/>
                <a:cs typeface="Segoe UI" panose="020B0502040204020203" pitchFamily="34" charset="0"/>
              </a:rPr>
              <a:t>C</a:t>
            </a:r>
            <a:r>
              <a:rPr lang="en-US" sz="28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onnect with your team and collaborate from anywhere.</a:t>
            </a:r>
          </a:p>
          <a:p>
            <a:endParaRPr lang="en-US" sz="1400" dirty="0" smtClean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en-US" sz="14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Plus, see Windows 8.1, Microsoft Outlook, and </a:t>
            </a:r>
            <a:r>
              <a:rPr lang="en-US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Lync 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in action </a:t>
            </a:r>
            <a:r>
              <a:rPr lang="en-US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today!</a:t>
            </a:r>
            <a:endParaRPr lang="en-US" sz="16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31" name="Group 330"/>
          <p:cNvGrpSpPr/>
          <p:nvPr/>
        </p:nvGrpSpPr>
        <p:grpSpPr>
          <a:xfrm>
            <a:off x="5842202" y="3792152"/>
            <a:ext cx="3486603" cy="2747017"/>
            <a:chOff x="5842202" y="3792152"/>
            <a:chExt cx="3486603" cy="2747017"/>
          </a:xfrm>
        </p:grpSpPr>
        <p:sp>
          <p:nvSpPr>
            <p:cNvPr id="253" name="Rectangle 252"/>
            <p:cNvSpPr/>
            <p:nvPr/>
          </p:nvSpPr>
          <p:spPr>
            <a:xfrm>
              <a:off x="5842202" y="3792152"/>
              <a:ext cx="3122757" cy="2743200"/>
            </a:xfrm>
            <a:prstGeom prst="rect">
              <a:avLst/>
            </a:prstGeom>
            <a:solidFill>
              <a:srgbClr val="CD00A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4" name="Rectangle 253"/>
            <p:cNvSpPr/>
            <p:nvPr/>
          </p:nvSpPr>
          <p:spPr>
            <a:xfrm>
              <a:off x="6463764" y="3792152"/>
              <a:ext cx="2501196" cy="2743200"/>
            </a:xfrm>
            <a:prstGeom prst="rect">
              <a:avLst/>
            </a:prstGeom>
            <a:solidFill>
              <a:srgbClr val="E9E9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9" name="Rectangle 218"/>
            <p:cNvSpPr>
              <a:spLocks noChangeArrowheads="1"/>
            </p:cNvSpPr>
            <p:nvPr/>
          </p:nvSpPr>
          <p:spPr bwMode="auto">
            <a:xfrm>
              <a:off x="5842202" y="6340395"/>
              <a:ext cx="381508" cy="81542"/>
            </a:xfrm>
            <a:prstGeom prst="rect">
              <a:avLst/>
            </a:prstGeom>
            <a:solidFill>
              <a:srgbClr val="7FB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0" name="Freeform 219"/>
            <p:cNvSpPr>
              <a:spLocks/>
            </p:cNvSpPr>
            <p:nvPr/>
          </p:nvSpPr>
          <p:spPr bwMode="auto">
            <a:xfrm>
              <a:off x="6363782" y="5708863"/>
              <a:ext cx="704219" cy="713073"/>
            </a:xfrm>
            <a:custGeom>
              <a:avLst/>
              <a:gdLst>
                <a:gd name="T0" fmla="*/ 332 w 603"/>
                <a:gd name="T1" fmla="*/ 86 h 507"/>
                <a:gd name="T2" fmla="*/ 332 w 603"/>
                <a:gd name="T3" fmla="*/ 0 h 507"/>
                <a:gd name="T4" fmla="*/ 398 w 603"/>
                <a:gd name="T5" fmla="*/ 0 h 507"/>
                <a:gd name="T6" fmla="*/ 398 w 603"/>
                <a:gd name="T7" fmla="*/ 86 h 507"/>
                <a:gd name="T8" fmla="*/ 420 w 603"/>
                <a:gd name="T9" fmla="*/ 86 h 507"/>
                <a:gd name="T10" fmla="*/ 420 w 603"/>
                <a:gd name="T11" fmla="*/ 0 h 507"/>
                <a:gd name="T12" fmla="*/ 486 w 603"/>
                <a:gd name="T13" fmla="*/ 0 h 507"/>
                <a:gd name="T14" fmla="*/ 486 w 603"/>
                <a:gd name="T15" fmla="*/ 86 h 507"/>
                <a:gd name="T16" fmla="*/ 603 w 603"/>
                <a:gd name="T17" fmla="*/ 86 h 507"/>
                <a:gd name="T18" fmla="*/ 603 w 603"/>
                <a:gd name="T19" fmla="*/ 106 h 507"/>
                <a:gd name="T20" fmla="*/ 576 w 603"/>
                <a:gd name="T21" fmla="*/ 106 h 507"/>
                <a:gd name="T22" fmla="*/ 576 w 603"/>
                <a:gd name="T23" fmla="*/ 507 h 507"/>
                <a:gd name="T24" fmla="*/ 28 w 603"/>
                <a:gd name="T25" fmla="*/ 507 h 507"/>
                <a:gd name="T26" fmla="*/ 28 w 603"/>
                <a:gd name="T27" fmla="*/ 106 h 507"/>
                <a:gd name="T28" fmla="*/ 0 w 603"/>
                <a:gd name="T29" fmla="*/ 106 h 507"/>
                <a:gd name="T30" fmla="*/ 0 w 603"/>
                <a:gd name="T31" fmla="*/ 86 h 507"/>
                <a:gd name="T32" fmla="*/ 332 w 603"/>
                <a:gd name="T33" fmla="*/ 86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03" h="507">
                  <a:moveTo>
                    <a:pt x="332" y="86"/>
                  </a:moveTo>
                  <a:lnTo>
                    <a:pt x="332" y="0"/>
                  </a:lnTo>
                  <a:lnTo>
                    <a:pt x="398" y="0"/>
                  </a:lnTo>
                  <a:lnTo>
                    <a:pt x="398" y="86"/>
                  </a:lnTo>
                  <a:lnTo>
                    <a:pt x="420" y="86"/>
                  </a:lnTo>
                  <a:lnTo>
                    <a:pt x="420" y="0"/>
                  </a:lnTo>
                  <a:lnTo>
                    <a:pt x="486" y="0"/>
                  </a:lnTo>
                  <a:lnTo>
                    <a:pt x="486" y="86"/>
                  </a:lnTo>
                  <a:lnTo>
                    <a:pt x="603" y="86"/>
                  </a:lnTo>
                  <a:lnTo>
                    <a:pt x="603" y="106"/>
                  </a:lnTo>
                  <a:lnTo>
                    <a:pt x="576" y="106"/>
                  </a:lnTo>
                  <a:lnTo>
                    <a:pt x="576" y="507"/>
                  </a:lnTo>
                  <a:lnTo>
                    <a:pt x="28" y="507"/>
                  </a:lnTo>
                  <a:lnTo>
                    <a:pt x="28" y="106"/>
                  </a:lnTo>
                  <a:lnTo>
                    <a:pt x="0" y="106"/>
                  </a:lnTo>
                  <a:lnTo>
                    <a:pt x="0" y="86"/>
                  </a:lnTo>
                  <a:lnTo>
                    <a:pt x="332" y="86"/>
                  </a:lnTo>
                  <a:close/>
                </a:path>
              </a:pathLst>
            </a:custGeom>
            <a:solidFill>
              <a:sysClr val="window" lastClr="FFFFFF">
                <a:lumMod val="75000"/>
              </a:sys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1" name="Rectangle 220"/>
            <p:cNvSpPr>
              <a:spLocks noChangeArrowheads="1"/>
            </p:cNvSpPr>
            <p:nvPr/>
          </p:nvSpPr>
          <p:spPr bwMode="auto">
            <a:xfrm>
              <a:off x="6687278" y="6340395"/>
              <a:ext cx="240579" cy="81542"/>
            </a:xfrm>
            <a:prstGeom prst="rect">
              <a:avLst/>
            </a:prstGeom>
            <a:solidFill>
              <a:srgbClr val="7FB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2" name="Freeform 221"/>
            <p:cNvSpPr>
              <a:spLocks/>
            </p:cNvSpPr>
            <p:nvPr/>
          </p:nvSpPr>
          <p:spPr bwMode="auto">
            <a:xfrm>
              <a:off x="7101978" y="5708863"/>
              <a:ext cx="704219" cy="713073"/>
            </a:xfrm>
            <a:custGeom>
              <a:avLst/>
              <a:gdLst>
                <a:gd name="T0" fmla="*/ 333 w 603"/>
                <a:gd name="T1" fmla="*/ 86 h 507"/>
                <a:gd name="T2" fmla="*/ 333 w 603"/>
                <a:gd name="T3" fmla="*/ 0 h 507"/>
                <a:gd name="T4" fmla="*/ 397 w 603"/>
                <a:gd name="T5" fmla="*/ 0 h 507"/>
                <a:gd name="T6" fmla="*/ 397 w 603"/>
                <a:gd name="T7" fmla="*/ 86 h 507"/>
                <a:gd name="T8" fmla="*/ 420 w 603"/>
                <a:gd name="T9" fmla="*/ 86 h 507"/>
                <a:gd name="T10" fmla="*/ 420 w 603"/>
                <a:gd name="T11" fmla="*/ 0 h 507"/>
                <a:gd name="T12" fmla="*/ 486 w 603"/>
                <a:gd name="T13" fmla="*/ 0 h 507"/>
                <a:gd name="T14" fmla="*/ 486 w 603"/>
                <a:gd name="T15" fmla="*/ 86 h 507"/>
                <a:gd name="T16" fmla="*/ 603 w 603"/>
                <a:gd name="T17" fmla="*/ 86 h 507"/>
                <a:gd name="T18" fmla="*/ 603 w 603"/>
                <a:gd name="T19" fmla="*/ 106 h 507"/>
                <a:gd name="T20" fmla="*/ 576 w 603"/>
                <a:gd name="T21" fmla="*/ 106 h 507"/>
                <a:gd name="T22" fmla="*/ 576 w 603"/>
                <a:gd name="T23" fmla="*/ 507 h 507"/>
                <a:gd name="T24" fmla="*/ 28 w 603"/>
                <a:gd name="T25" fmla="*/ 507 h 507"/>
                <a:gd name="T26" fmla="*/ 28 w 603"/>
                <a:gd name="T27" fmla="*/ 106 h 507"/>
                <a:gd name="T28" fmla="*/ 0 w 603"/>
                <a:gd name="T29" fmla="*/ 106 h 507"/>
                <a:gd name="T30" fmla="*/ 0 w 603"/>
                <a:gd name="T31" fmla="*/ 86 h 507"/>
                <a:gd name="T32" fmla="*/ 333 w 603"/>
                <a:gd name="T33" fmla="*/ 86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03" h="507">
                  <a:moveTo>
                    <a:pt x="333" y="86"/>
                  </a:moveTo>
                  <a:lnTo>
                    <a:pt x="333" y="0"/>
                  </a:lnTo>
                  <a:lnTo>
                    <a:pt x="397" y="0"/>
                  </a:lnTo>
                  <a:lnTo>
                    <a:pt x="397" y="86"/>
                  </a:lnTo>
                  <a:lnTo>
                    <a:pt x="420" y="86"/>
                  </a:lnTo>
                  <a:lnTo>
                    <a:pt x="420" y="0"/>
                  </a:lnTo>
                  <a:lnTo>
                    <a:pt x="486" y="0"/>
                  </a:lnTo>
                  <a:lnTo>
                    <a:pt x="486" y="86"/>
                  </a:lnTo>
                  <a:lnTo>
                    <a:pt x="603" y="86"/>
                  </a:lnTo>
                  <a:lnTo>
                    <a:pt x="603" y="106"/>
                  </a:lnTo>
                  <a:lnTo>
                    <a:pt x="576" y="106"/>
                  </a:lnTo>
                  <a:lnTo>
                    <a:pt x="576" y="507"/>
                  </a:lnTo>
                  <a:lnTo>
                    <a:pt x="28" y="507"/>
                  </a:lnTo>
                  <a:lnTo>
                    <a:pt x="28" y="106"/>
                  </a:lnTo>
                  <a:lnTo>
                    <a:pt x="0" y="106"/>
                  </a:lnTo>
                  <a:lnTo>
                    <a:pt x="0" y="86"/>
                  </a:lnTo>
                  <a:lnTo>
                    <a:pt x="333" y="86"/>
                  </a:lnTo>
                  <a:close/>
                </a:path>
              </a:pathLst>
            </a:custGeom>
            <a:solidFill>
              <a:sysClr val="window" lastClr="FFFFFF">
                <a:lumMod val="75000"/>
              </a:sys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3" name="Freeform 222"/>
            <p:cNvSpPr>
              <a:spLocks/>
            </p:cNvSpPr>
            <p:nvPr/>
          </p:nvSpPr>
          <p:spPr bwMode="auto">
            <a:xfrm>
              <a:off x="5992403" y="5708863"/>
              <a:ext cx="704219" cy="713073"/>
            </a:xfrm>
            <a:custGeom>
              <a:avLst/>
              <a:gdLst>
                <a:gd name="T0" fmla="*/ 333 w 603"/>
                <a:gd name="T1" fmla="*/ 86 h 507"/>
                <a:gd name="T2" fmla="*/ 333 w 603"/>
                <a:gd name="T3" fmla="*/ 0 h 507"/>
                <a:gd name="T4" fmla="*/ 397 w 603"/>
                <a:gd name="T5" fmla="*/ 0 h 507"/>
                <a:gd name="T6" fmla="*/ 397 w 603"/>
                <a:gd name="T7" fmla="*/ 86 h 507"/>
                <a:gd name="T8" fmla="*/ 420 w 603"/>
                <a:gd name="T9" fmla="*/ 86 h 507"/>
                <a:gd name="T10" fmla="*/ 420 w 603"/>
                <a:gd name="T11" fmla="*/ 0 h 507"/>
                <a:gd name="T12" fmla="*/ 486 w 603"/>
                <a:gd name="T13" fmla="*/ 0 h 507"/>
                <a:gd name="T14" fmla="*/ 486 w 603"/>
                <a:gd name="T15" fmla="*/ 86 h 507"/>
                <a:gd name="T16" fmla="*/ 603 w 603"/>
                <a:gd name="T17" fmla="*/ 86 h 507"/>
                <a:gd name="T18" fmla="*/ 603 w 603"/>
                <a:gd name="T19" fmla="*/ 106 h 507"/>
                <a:gd name="T20" fmla="*/ 576 w 603"/>
                <a:gd name="T21" fmla="*/ 106 h 507"/>
                <a:gd name="T22" fmla="*/ 576 w 603"/>
                <a:gd name="T23" fmla="*/ 507 h 507"/>
                <a:gd name="T24" fmla="*/ 28 w 603"/>
                <a:gd name="T25" fmla="*/ 507 h 507"/>
                <a:gd name="T26" fmla="*/ 28 w 603"/>
                <a:gd name="T27" fmla="*/ 106 h 507"/>
                <a:gd name="T28" fmla="*/ 0 w 603"/>
                <a:gd name="T29" fmla="*/ 106 h 507"/>
                <a:gd name="T30" fmla="*/ 0 w 603"/>
                <a:gd name="T31" fmla="*/ 86 h 507"/>
                <a:gd name="T32" fmla="*/ 333 w 603"/>
                <a:gd name="T33" fmla="*/ 86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03" h="507">
                  <a:moveTo>
                    <a:pt x="333" y="86"/>
                  </a:moveTo>
                  <a:lnTo>
                    <a:pt x="333" y="0"/>
                  </a:lnTo>
                  <a:lnTo>
                    <a:pt x="397" y="0"/>
                  </a:lnTo>
                  <a:lnTo>
                    <a:pt x="397" y="86"/>
                  </a:lnTo>
                  <a:lnTo>
                    <a:pt x="420" y="86"/>
                  </a:lnTo>
                  <a:lnTo>
                    <a:pt x="420" y="0"/>
                  </a:lnTo>
                  <a:lnTo>
                    <a:pt x="486" y="0"/>
                  </a:lnTo>
                  <a:lnTo>
                    <a:pt x="486" y="86"/>
                  </a:lnTo>
                  <a:lnTo>
                    <a:pt x="603" y="86"/>
                  </a:lnTo>
                  <a:lnTo>
                    <a:pt x="603" y="106"/>
                  </a:lnTo>
                  <a:lnTo>
                    <a:pt x="576" y="106"/>
                  </a:lnTo>
                  <a:lnTo>
                    <a:pt x="576" y="507"/>
                  </a:lnTo>
                  <a:lnTo>
                    <a:pt x="28" y="507"/>
                  </a:lnTo>
                  <a:lnTo>
                    <a:pt x="28" y="106"/>
                  </a:lnTo>
                  <a:lnTo>
                    <a:pt x="0" y="106"/>
                  </a:lnTo>
                  <a:lnTo>
                    <a:pt x="0" y="86"/>
                  </a:lnTo>
                  <a:lnTo>
                    <a:pt x="333" y="86"/>
                  </a:lnTo>
                  <a:close/>
                </a:path>
              </a:pathLst>
            </a:custGeom>
            <a:solidFill>
              <a:sysClr val="window" lastClr="FFFFFF">
                <a:lumMod val="75000"/>
              </a:sys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4" name="Rectangle 223"/>
            <p:cNvSpPr>
              <a:spLocks noChangeArrowheads="1"/>
            </p:cNvSpPr>
            <p:nvPr/>
          </p:nvSpPr>
          <p:spPr bwMode="auto">
            <a:xfrm>
              <a:off x="6877639" y="5458514"/>
              <a:ext cx="641154" cy="963423"/>
            </a:xfrm>
            <a:prstGeom prst="rect">
              <a:avLst/>
            </a:prstGeom>
            <a:solidFill>
              <a:srgbClr val="AB008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5" name="Rectangle 224"/>
            <p:cNvSpPr>
              <a:spLocks noChangeArrowheads="1"/>
            </p:cNvSpPr>
            <p:nvPr/>
          </p:nvSpPr>
          <p:spPr bwMode="auto">
            <a:xfrm>
              <a:off x="6846107" y="5428979"/>
              <a:ext cx="703051" cy="29536"/>
            </a:xfrm>
            <a:prstGeom prst="rect">
              <a:avLst/>
            </a:prstGeom>
            <a:solidFill>
              <a:srgbClr val="AB008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6" name="Rectangle 225"/>
            <p:cNvSpPr>
              <a:spLocks noChangeArrowheads="1"/>
            </p:cNvSpPr>
            <p:nvPr/>
          </p:nvSpPr>
          <p:spPr bwMode="auto">
            <a:xfrm>
              <a:off x="7230332" y="6226439"/>
              <a:ext cx="82918" cy="195497"/>
            </a:xfrm>
            <a:prstGeom prst="rect">
              <a:avLst/>
            </a:prstGeom>
            <a:solidFill>
              <a:srgbClr val="AB0086">
                <a:lumMod val="5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7" name="Rectangle 226"/>
            <p:cNvSpPr>
              <a:spLocks noChangeArrowheads="1"/>
            </p:cNvSpPr>
            <p:nvPr/>
          </p:nvSpPr>
          <p:spPr bwMode="auto">
            <a:xfrm>
              <a:off x="7085519" y="6226439"/>
              <a:ext cx="84086" cy="195497"/>
            </a:xfrm>
            <a:prstGeom prst="rect">
              <a:avLst/>
            </a:prstGeom>
            <a:solidFill>
              <a:srgbClr val="AB0086">
                <a:lumMod val="5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8" name="Rectangle 227"/>
            <p:cNvSpPr>
              <a:spLocks noChangeArrowheads="1"/>
            </p:cNvSpPr>
            <p:nvPr/>
          </p:nvSpPr>
          <p:spPr bwMode="auto">
            <a:xfrm>
              <a:off x="6941872" y="5545714"/>
              <a:ext cx="516194" cy="99858"/>
            </a:xfrm>
            <a:prstGeom prst="rect">
              <a:avLst/>
            </a:prstGeom>
            <a:solidFill>
              <a:srgbClr val="AB0086">
                <a:lumMod val="5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9" name="Rectangle 228"/>
            <p:cNvSpPr>
              <a:spLocks noChangeArrowheads="1"/>
            </p:cNvSpPr>
            <p:nvPr/>
          </p:nvSpPr>
          <p:spPr bwMode="auto">
            <a:xfrm>
              <a:off x="6941872" y="5718710"/>
              <a:ext cx="516194" cy="101265"/>
            </a:xfrm>
            <a:prstGeom prst="rect">
              <a:avLst/>
            </a:prstGeom>
            <a:solidFill>
              <a:srgbClr val="AB0086">
                <a:lumMod val="5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0" name="Rectangle 229"/>
            <p:cNvSpPr>
              <a:spLocks noChangeArrowheads="1"/>
            </p:cNvSpPr>
            <p:nvPr/>
          </p:nvSpPr>
          <p:spPr bwMode="auto">
            <a:xfrm>
              <a:off x="6941872" y="5891703"/>
              <a:ext cx="516194" cy="101265"/>
            </a:xfrm>
            <a:prstGeom prst="rect">
              <a:avLst/>
            </a:prstGeom>
            <a:solidFill>
              <a:srgbClr val="AB0086">
                <a:lumMod val="5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1" name="Rectangle 230"/>
            <p:cNvSpPr>
              <a:spLocks noChangeArrowheads="1"/>
            </p:cNvSpPr>
            <p:nvPr/>
          </p:nvSpPr>
          <p:spPr bwMode="auto">
            <a:xfrm>
              <a:off x="6941872" y="6064697"/>
              <a:ext cx="516194" cy="101265"/>
            </a:xfrm>
            <a:prstGeom prst="rect">
              <a:avLst/>
            </a:prstGeom>
            <a:solidFill>
              <a:srgbClr val="AB0086">
                <a:lumMod val="5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2" name="Rectangle 231"/>
            <p:cNvSpPr>
              <a:spLocks noChangeArrowheads="1"/>
            </p:cNvSpPr>
            <p:nvPr/>
          </p:nvSpPr>
          <p:spPr bwMode="auto">
            <a:xfrm>
              <a:off x="7518791" y="6340394"/>
              <a:ext cx="1383559" cy="84160"/>
            </a:xfrm>
            <a:prstGeom prst="rect">
              <a:avLst/>
            </a:prstGeom>
            <a:solidFill>
              <a:srgbClr val="7FB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3" name="Rectangle 232"/>
            <p:cNvSpPr>
              <a:spLocks noChangeArrowheads="1"/>
            </p:cNvSpPr>
            <p:nvPr/>
          </p:nvSpPr>
          <p:spPr bwMode="auto">
            <a:xfrm>
              <a:off x="5924589" y="6206749"/>
              <a:ext cx="37371" cy="164556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4" name="Oval 233"/>
            <p:cNvSpPr>
              <a:spLocks noChangeArrowheads="1"/>
            </p:cNvSpPr>
            <p:nvPr/>
          </p:nvSpPr>
          <p:spPr bwMode="auto">
            <a:xfrm>
              <a:off x="5853349" y="6060477"/>
              <a:ext cx="182186" cy="219407"/>
            </a:xfrm>
            <a:prstGeom prst="ellipse">
              <a:avLst/>
            </a:prstGeom>
            <a:solidFill>
              <a:srgbClr val="7FB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5" name="Oval 234"/>
            <p:cNvSpPr>
              <a:spLocks noChangeArrowheads="1"/>
            </p:cNvSpPr>
            <p:nvPr/>
          </p:nvSpPr>
          <p:spPr bwMode="auto">
            <a:xfrm>
              <a:off x="5876707" y="5947960"/>
              <a:ext cx="135472" cy="160336"/>
            </a:xfrm>
            <a:prstGeom prst="ellipse">
              <a:avLst/>
            </a:prstGeom>
            <a:solidFill>
              <a:srgbClr val="7FB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6" name="Rectangle 235"/>
            <p:cNvSpPr>
              <a:spLocks noChangeArrowheads="1"/>
            </p:cNvSpPr>
            <p:nvPr/>
          </p:nvSpPr>
          <p:spPr bwMode="auto">
            <a:xfrm>
              <a:off x="6981579" y="5309431"/>
              <a:ext cx="248753" cy="119549"/>
            </a:xfrm>
            <a:prstGeom prst="rect">
              <a:avLst/>
            </a:prstGeom>
            <a:solidFill>
              <a:sysClr val="window" lastClr="FFFFFF">
                <a:lumMod val="75000"/>
              </a:sys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7" name="Rectangle 236"/>
            <p:cNvSpPr>
              <a:spLocks noChangeArrowheads="1"/>
            </p:cNvSpPr>
            <p:nvPr/>
          </p:nvSpPr>
          <p:spPr bwMode="auto">
            <a:xfrm>
              <a:off x="6096341" y="5113934"/>
              <a:ext cx="639986" cy="1308003"/>
            </a:xfrm>
            <a:prstGeom prst="rect">
              <a:avLst/>
            </a:prstGeom>
            <a:solidFill>
              <a:srgbClr val="9B4F9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8" name="Rectangle 237"/>
            <p:cNvSpPr>
              <a:spLocks noChangeArrowheads="1"/>
            </p:cNvSpPr>
            <p:nvPr/>
          </p:nvSpPr>
          <p:spPr bwMode="auto">
            <a:xfrm>
              <a:off x="6063642" y="5085804"/>
              <a:ext cx="704219" cy="28130"/>
            </a:xfrm>
            <a:prstGeom prst="rect">
              <a:avLst/>
            </a:prstGeom>
            <a:solidFill>
              <a:srgbClr val="9B4F9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9" name="Rectangle 238"/>
            <p:cNvSpPr>
              <a:spLocks noChangeArrowheads="1"/>
            </p:cNvSpPr>
            <p:nvPr/>
          </p:nvSpPr>
          <p:spPr bwMode="auto">
            <a:xfrm>
              <a:off x="6447867" y="6226439"/>
              <a:ext cx="84086" cy="195497"/>
            </a:xfrm>
            <a:prstGeom prst="rect">
              <a:avLst/>
            </a:prstGeom>
            <a:solidFill>
              <a:srgbClr val="663300">
                <a:lumMod val="7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0" name="Rectangle 239"/>
            <p:cNvSpPr>
              <a:spLocks noChangeArrowheads="1"/>
            </p:cNvSpPr>
            <p:nvPr/>
          </p:nvSpPr>
          <p:spPr bwMode="auto">
            <a:xfrm>
              <a:off x="6303053" y="6226439"/>
              <a:ext cx="82918" cy="195497"/>
            </a:xfrm>
            <a:prstGeom prst="rect">
              <a:avLst/>
            </a:prstGeom>
            <a:solidFill>
              <a:srgbClr val="663300">
                <a:lumMod val="7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1" name="Rectangle 240"/>
            <p:cNvSpPr>
              <a:spLocks noChangeArrowheads="1"/>
            </p:cNvSpPr>
            <p:nvPr/>
          </p:nvSpPr>
          <p:spPr bwMode="auto">
            <a:xfrm>
              <a:off x="6158239" y="5545714"/>
              <a:ext cx="517361" cy="99858"/>
            </a:xfrm>
            <a:prstGeom prst="rect">
              <a:avLst/>
            </a:prstGeom>
            <a:solidFill>
              <a:srgbClr val="663300">
                <a:lumMod val="7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2" name="Rectangle 241"/>
            <p:cNvSpPr>
              <a:spLocks noChangeArrowheads="1"/>
            </p:cNvSpPr>
            <p:nvPr/>
          </p:nvSpPr>
          <p:spPr bwMode="auto">
            <a:xfrm>
              <a:off x="6158239" y="5718710"/>
              <a:ext cx="517361" cy="101265"/>
            </a:xfrm>
            <a:prstGeom prst="rect">
              <a:avLst/>
            </a:prstGeom>
            <a:solidFill>
              <a:srgbClr val="663300">
                <a:lumMod val="7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3" name="Rectangle 242"/>
            <p:cNvSpPr>
              <a:spLocks noChangeArrowheads="1"/>
            </p:cNvSpPr>
            <p:nvPr/>
          </p:nvSpPr>
          <p:spPr bwMode="auto">
            <a:xfrm>
              <a:off x="6158239" y="5891703"/>
              <a:ext cx="517361" cy="101265"/>
            </a:xfrm>
            <a:prstGeom prst="rect">
              <a:avLst/>
            </a:prstGeom>
            <a:solidFill>
              <a:srgbClr val="663300">
                <a:lumMod val="7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4" name="Rectangle 243"/>
            <p:cNvSpPr>
              <a:spLocks noChangeArrowheads="1"/>
            </p:cNvSpPr>
            <p:nvPr/>
          </p:nvSpPr>
          <p:spPr bwMode="auto">
            <a:xfrm>
              <a:off x="6158239" y="6064697"/>
              <a:ext cx="517361" cy="101265"/>
            </a:xfrm>
            <a:prstGeom prst="rect">
              <a:avLst/>
            </a:prstGeom>
            <a:solidFill>
              <a:srgbClr val="663300">
                <a:lumMod val="7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5" name="Rectangle 244"/>
            <p:cNvSpPr>
              <a:spLocks noChangeArrowheads="1"/>
            </p:cNvSpPr>
            <p:nvPr/>
          </p:nvSpPr>
          <p:spPr bwMode="auto">
            <a:xfrm>
              <a:off x="6158239" y="5199727"/>
              <a:ext cx="517361" cy="99858"/>
            </a:xfrm>
            <a:prstGeom prst="rect">
              <a:avLst/>
            </a:prstGeom>
            <a:solidFill>
              <a:srgbClr val="663300">
                <a:lumMod val="7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6" name="Rectangle 245"/>
            <p:cNvSpPr>
              <a:spLocks noChangeArrowheads="1"/>
            </p:cNvSpPr>
            <p:nvPr/>
          </p:nvSpPr>
          <p:spPr bwMode="auto">
            <a:xfrm>
              <a:off x="6158239" y="5372721"/>
              <a:ext cx="517361" cy="99858"/>
            </a:xfrm>
            <a:prstGeom prst="rect">
              <a:avLst/>
            </a:prstGeom>
            <a:solidFill>
              <a:srgbClr val="663300">
                <a:lumMod val="7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7" name="Rectangle 246"/>
            <p:cNvSpPr>
              <a:spLocks noChangeArrowheads="1"/>
            </p:cNvSpPr>
            <p:nvPr/>
          </p:nvSpPr>
          <p:spPr bwMode="auto">
            <a:xfrm>
              <a:off x="6554142" y="4964849"/>
              <a:ext cx="77079" cy="120955"/>
            </a:xfrm>
            <a:prstGeom prst="rect">
              <a:avLst/>
            </a:prstGeom>
            <a:solidFill>
              <a:sysClr val="window" lastClr="FFFFFF">
                <a:lumMod val="75000"/>
              </a:sys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8" name="Rectangle 247"/>
            <p:cNvSpPr>
              <a:spLocks noChangeArrowheads="1"/>
            </p:cNvSpPr>
            <p:nvPr/>
          </p:nvSpPr>
          <p:spPr bwMode="auto">
            <a:xfrm>
              <a:off x="6451371" y="4964849"/>
              <a:ext cx="75910" cy="120955"/>
            </a:xfrm>
            <a:prstGeom prst="rect">
              <a:avLst/>
            </a:prstGeom>
            <a:solidFill>
              <a:sysClr val="window" lastClr="FFFFFF">
                <a:lumMod val="75000"/>
              </a:sys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9" name="Freeform 248"/>
            <p:cNvSpPr>
              <a:spLocks/>
            </p:cNvSpPr>
            <p:nvPr/>
          </p:nvSpPr>
          <p:spPr bwMode="auto">
            <a:xfrm>
              <a:off x="7351790" y="5209572"/>
              <a:ext cx="167004" cy="219407"/>
            </a:xfrm>
            <a:custGeom>
              <a:avLst/>
              <a:gdLst>
                <a:gd name="T0" fmla="*/ 71 w 143"/>
                <a:gd name="T1" fmla="*/ 0 h 156"/>
                <a:gd name="T2" fmla="*/ 71 w 143"/>
                <a:gd name="T3" fmla="*/ 0 h 156"/>
                <a:gd name="T4" fmla="*/ 0 w 143"/>
                <a:gd name="T5" fmla="*/ 156 h 156"/>
                <a:gd name="T6" fmla="*/ 143 w 143"/>
                <a:gd name="T7" fmla="*/ 156 h 156"/>
                <a:gd name="T8" fmla="*/ 71 w 143"/>
                <a:gd name="T9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156">
                  <a:moveTo>
                    <a:pt x="71" y="0"/>
                  </a:moveTo>
                  <a:lnTo>
                    <a:pt x="71" y="0"/>
                  </a:lnTo>
                  <a:lnTo>
                    <a:pt x="0" y="156"/>
                  </a:lnTo>
                  <a:lnTo>
                    <a:pt x="143" y="156"/>
                  </a:lnTo>
                  <a:lnTo>
                    <a:pt x="71" y="0"/>
                  </a:lnTo>
                  <a:close/>
                </a:path>
              </a:pathLst>
            </a:custGeom>
            <a:solidFill>
              <a:srgbClr val="AB008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110" name="Group 109"/>
            <p:cNvGrpSpPr/>
            <p:nvPr/>
          </p:nvGrpSpPr>
          <p:grpSpPr>
            <a:xfrm flipH="1">
              <a:off x="7182974" y="3889344"/>
              <a:ext cx="1719582" cy="467504"/>
              <a:chOff x="9225313" y="1845071"/>
              <a:chExt cx="2633871" cy="716072"/>
            </a:xfrm>
          </p:grpSpPr>
          <p:sp>
            <p:nvSpPr>
              <p:cNvPr id="169" name="Freeform 168"/>
              <p:cNvSpPr>
                <a:spLocks/>
              </p:cNvSpPr>
              <p:nvPr/>
            </p:nvSpPr>
            <p:spPr bwMode="auto">
              <a:xfrm rot="20813856" flipH="1">
                <a:off x="9351002" y="1860594"/>
                <a:ext cx="2486005" cy="676952"/>
              </a:xfrm>
              <a:custGeom>
                <a:avLst/>
                <a:gdLst>
                  <a:gd name="T0" fmla="*/ 1685 w 2153"/>
                  <a:gd name="T1" fmla="*/ 339 h 587"/>
                  <a:gd name="T2" fmla="*/ 2153 w 2153"/>
                  <a:gd name="T3" fmla="*/ 308 h 587"/>
                  <a:gd name="T4" fmla="*/ 1939 w 2153"/>
                  <a:gd name="T5" fmla="*/ 385 h 587"/>
                  <a:gd name="T6" fmla="*/ 1717 w 2153"/>
                  <a:gd name="T7" fmla="*/ 448 h 587"/>
                  <a:gd name="T8" fmla="*/ 1148 w 2153"/>
                  <a:gd name="T9" fmla="*/ 546 h 587"/>
                  <a:gd name="T10" fmla="*/ 475 w 2153"/>
                  <a:gd name="T11" fmla="*/ 489 h 587"/>
                  <a:gd name="T12" fmla="*/ 353 w 2153"/>
                  <a:gd name="T13" fmla="*/ 587 h 587"/>
                  <a:gd name="T14" fmla="*/ 235 w 2153"/>
                  <a:gd name="T15" fmla="*/ 512 h 587"/>
                  <a:gd name="T16" fmla="*/ 230 w 2153"/>
                  <a:gd name="T17" fmla="*/ 493 h 587"/>
                  <a:gd name="T18" fmla="*/ 211 w 2153"/>
                  <a:gd name="T19" fmla="*/ 489 h 587"/>
                  <a:gd name="T20" fmla="*/ 180 w 2153"/>
                  <a:gd name="T21" fmla="*/ 478 h 587"/>
                  <a:gd name="T22" fmla="*/ 141 w 2153"/>
                  <a:gd name="T23" fmla="*/ 463 h 587"/>
                  <a:gd name="T24" fmla="*/ 98 w 2153"/>
                  <a:gd name="T25" fmla="*/ 442 h 587"/>
                  <a:gd name="T26" fmla="*/ 59 w 2153"/>
                  <a:gd name="T27" fmla="*/ 416 h 587"/>
                  <a:gd name="T28" fmla="*/ 26 w 2153"/>
                  <a:gd name="T29" fmla="*/ 384 h 587"/>
                  <a:gd name="T30" fmla="*/ 5 w 2153"/>
                  <a:gd name="T31" fmla="*/ 347 h 587"/>
                  <a:gd name="T32" fmla="*/ 2 w 2153"/>
                  <a:gd name="T33" fmla="*/ 324 h 587"/>
                  <a:gd name="T34" fmla="*/ 13 w 2153"/>
                  <a:gd name="T35" fmla="*/ 307 h 587"/>
                  <a:gd name="T36" fmla="*/ 33 w 2153"/>
                  <a:gd name="T37" fmla="*/ 280 h 587"/>
                  <a:gd name="T38" fmla="*/ 56 w 2153"/>
                  <a:gd name="T39" fmla="*/ 256 h 587"/>
                  <a:gd name="T40" fmla="*/ 81 w 2153"/>
                  <a:gd name="T41" fmla="*/ 238 h 587"/>
                  <a:gd name="T42" fmla="*/ 108 w 2153"/>
                  <a:gd name="T43" fmla="*/ 218 h 587"/>
                  <a:gd name="T44" fmla="*/ 132 w 2153"/>
                  <a:gd name="T45" fmla="*/ 198 h 587"/>
                  <a:gd name="T46" fmla="*/ 147 w 2153"/>
                  <a:gd name="T47" fmla="*/ 186 h 587"/>
                  <a:gd name="T48" fmla="*/ 153 w 2153"/>
                  <a:gd name="T49" fmla="*/ 182 h 587"/>
                  <a:gd name="T50" fmla="*/ 173 w 2153"/>
                  <a:gd name="T51" fmla="*/ 178 h 587"/>
                  <a:gd name="T52" fmla="*/ 209 w 2153"/>
                  <a:gd name="T53" fmla="*/ 171 h 587"/>
                  <a:gd name="T54" fmla="*/ 254 w 2153"/>
                  <a:gd name="T55" fmla="*/ 171 h 587"/>
                  <a:gd name="T56" fmla="*/ 292 w 2153"/>
                  <a:gd name="T57" fmla="*/ 175 h 587"/>
                  <a:gd name="T58" fmla="*/ 328 w 2153"/>
                  <a:gd name="T59" fmla="*/ 181 h 587"/>
                  <a:gd name="T60" fmla="*/ 374 w 2153"/>
                  <a:gd name="T61" fmla="*/ 188 h 587"/>
                  <a:gd name="T62" fmla="*/ 426 w 2153"/>
                  <a:gd name="T63" fmla="*/ 196 h 587"/>
                  <a:gd name="T64" fmla="*/ 477 w 2153"/>
                  <a:gd name="T65" fmla="*/ 205 h 587"/>
                  <a:gd name="T66" fmla="*/ 529 w 2153"/>
                  <a:gd name="T67" fmla="*/ 215 h 587"/>
                  <a:gd name="T68" fmla="*/ 575 w 2153"/>
                  <a:gd name="T69" fmla="*/ 225 h 587"/>
                  <a:gd name="T70" fmla="*/ 611 w 2153"/>
                  <a:gd name="T71" fmla="*/ 235 h 587"/>
                  <a:gd name="T72" fmla="*/ 1382 w 2153"/>
                  <a:gd name="T73" fmla="*/ 331 h 587"/>
                  <a:gd name="T74" fmla="*/ 1385 w 2153"/>
                  <a:gd name="T75" fmla="*/ 327 h 587"/>
                  <a:gd name="T76" fmla="*/ 1396 w 2153"/>
                  <a:gd name="T77" fmla="*/ 318 h 587"/>
                  <a:gd name="T78" fmla="*/ 1413 w 2153"/>
                  <a:gd name="T79" fmla="*/ 301 h 587"/>
                  <a:gd name="T80" fmla="*/ 1437 w 2153"/>
                  <a:gd name="T81" fmla="*/ 276 h 587"/>
                  <a:gd name="T82" fmla="*/ 1458 w 2153"/>
                  <a:gd name="T83" fmla="*/ 253 h 587"/>
                  <a:gd name="T84" fmla="*/ 1490 w 2153"/>
                  <a:gd name="T85" fmla="*/ 216 h 587"/>
                  <a:gd name="T86" fmla="*/ 1528 w 2153"/>
                  <a:gd name="T87" fmla="*/ 171 h 587"/>
                  <a:gd name="T88" fmla="*/ 1570 w 2153"/>
                  <a:gd name="T89" fmla="*/ 122 h 587"/>
                  <a:gd name="T90" fmla="*/ 1609 w 2153"/>
                  <a:gd name="T91" fmla="*/ 76 h 587"/>
                  <a:gd name="T92" fmla="*/ 1641 w 2153"/>
                  <a:gd name="T93" fmla="*/ 37 h 587"/>
                  <a:gd name="T94" fmla="*/ 1665 w 2153"/>
                  <a:gd name="T95" fmla="*/ 11 h 587"/>
                  <a:gd name="T96" fmla="*/ 1673 w 2153"/>
                  <a:gd name="T97" fmla="*/ 0 h 5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153" h="587">
                    <a:moveTo>
                      <a:pt x="1771" y="8"/>
                    </a:moveTo>
                    <a:lnTo>
                      <a:pt x="1685" y="339"/>
                    </a:lnTo>
                    <a:lnTo>
                      <a:pt x="2072" y="302"/>
                    </a:lnTo>
                    <a:lnTo>
                      <a:pt x="2153" y="308"/>
                    </a:lnTo>
                    <a:lnTo>
                      <a:pt x="1951" y="360"/>
                    </a:lnTo>
                    <a:lnTo>
                      <a:pt x="1939" y="385"/>
                    </a:lnTo>
                    <a:lnTo>
                      <a:pt x="1746" y="420"/>
                    </a:lnTo>
                    <a:lnTo>
                      <a:pt x="1717" y="448"/>
                    </a:lnTo>
                    <a:lnTo>
                      <a:pt x="1558" y="472"/>
                    </a:lnTo>
                    <a:lnTo>
                      <a:pt x="1148" y="546"/>
                    </a:lnTo>
                    <a:lnTo>
                      <a:pt x="982" y="529"/>
                    </a:lnTo>
                    <a:lnTo>
                      <a:pt x="475" y="489"/>
                    </a:lnTo>
                    <a:lnTo>
                      <a:pt x="370" y="573"/>
                    </a:lnTo>
                    <a:lnTo>
                      <a:pt x="353" y="587"/>
                    </a:lnTo>
                    <a:lnTo>
                      <a:pt x="192" y="569"/>
                    </a:lnTo>
                    <a:lnTo>
                      <a:pt x="235" y="512"/>
                    </a:lnTo>
                    <a:lnTo>
                      <a:pt x="232" y="495"/>
                    </a:lnTo>
                    <a:lnTo>
                      <a:pt x="230" y="493"/>
                    </a:lnTo>
                    <a:lnTo>
                      <a:pt x="223" y="492"/>
                    </a:lnTo>
                    <a:lnTo>
                      <a:pt x="211" y="489"/>
                    </a:lnTo>
                    <a:lnTo>
                      <a:pt x="197" y="484"/>
                    </a:lnTo>
                    <a:lnTo>
                      <a:pt x="180" y="478"/>
                    </a:lnTo>
                    <a:lnTo>
                      <a:pt x="162" y="472"/>
                    </a:lnTo>
                    <a:lnTo>
                      <a:pt x="141" y="463"/>
                    </a:lnTo>
                    <a:lnTo>
                      <a:pt x="120" y="453"/>
                    </a:lnTo>
                    <a:lnTo>
                      <a:pt x="98" y="442"/>
                    </a:lnTo>
                    <a:lnTo>
                      <a:pt x="79" y="430"/>
                    </a:lnTo>
                    <a:lnTo>
                      <a:pt x="59" y="416"/>
                    </a:lnTo>
                    <a:lnTo>
                      <a:pt x="41" y="401"/>
                    </a:lnTo>
                    <a:lnTo>
                      <a:pt x="26" y="384"/>
                    </a:lnTo>
                    <a:lnTo>
                      <a:pt x="13" y="367"/>
                    </a:lnTo>
                    <a:lnTo>
                      <a:pt x="5" y="347"/>
                    </a:lnTo>
                    <a:lnTo>
                      <a:pt x="0" y="326"/>
                    </a:lnTo>
                    <a:lnTo>
                      <a:pt x="2" y="324"/>
                    </a:lnTo>
                    <a:lnTo>
                      <a:pt x="6" y="317"/>
                    </a:lnTo>
                    <a:lnTo>
                      <a:pt x="13" y="307"/>
                    </a:lnTo>
                    <a:lnTo>
                      <a:pt x="22" y="294"/>
                    </a:lnTo>
                    <a:lnTo>
                      <a:pt x="33" y="280"/>
                    </a:lnTo>
                    <a:lnTo>
                      <a:pt x="44" y="268"/>
                    </a:lnTo>
                    <a:lnTo>
                      <a:pt x="56" y="256"/>
                    </a:lnTo>
                    <a:lnTo>
                      <a:pt x="68" y="247"/>
                    </a:lnTo>
                    <a:lnTo>
                      <a:pt x="81" y="238"/>
                    </a:lnTo>
                    <a:lnTo>
                      <a:pt x="94" y="228"/>
                    </a:lnTo>
                    <a:lnTo>
                      <a:pt x="108" y="218"/>
                    </a:lnTo>
                    <a:lnTo>
                      <a:pt x="120" y="208"/>
                    </a:lnTo>
                    <a:lnTo>
                      <a:pt x="132" y="198"/>
                    </a:lnTo>
                    <a:lnTo>
                      <a:pt x="141" y="190"/>
                    </a:lnTo>
                    <a:lnTo>
                      <a:pt x="147" y="186"/>
                    </a:lnTo>
                    <a:lnTo>
                      <a:pt x="149" y="183"/>
                    </a:lnTo>
                    <a:lnTo>
                      <a:pt x="153" y="182"/>
                    </a:lnTo>
                    <a:lnTo>
                      <a:pt x="161" y="180"/>
                    </a:lnTo>
                    <a:lnTo>
                      <a:pt x="173" y="178"/>
                    </a:lnTo>
                    <a:lnTo>
                      <a:pt x="189" y="174"/>
                    </a:lnTo>
                    <a:lnTo>
                      <a:pt x="209" y="171"/>
                    </a:lnTo>
                    <a:lnTo>
                      <a:pt x="231" y="170"/>
                    </a:lnTo>
                    <a:lnTo>
                      <a:pt x="254" y="171"/>
                    </a:lnTo>
                    <a:lnTo>
                      <a:pt x="278" y="173"/>
                    </a:lnTo>
                    <a:lnTo>
                      <a:pt x="292" y="175"/>
                    </a:lnTo>
                    <a:lnTo>
                      <a:pt x="308" y="178"/>
                    </a:lnTo>
                    <a:lnTo>
                      <a:pt x="328" y="181"/>
                    </a:lnTo>
                    <a:lnTo>
                      <a:pt x="351" y="183"/>
                    </a:lnTo>
                    <a:lnTo>
                      <a:pt x="374" y="188"/>
                    </a:lnTo>
                    <a:lnTo>
                      <a:pt x="399" y="191"/>
                    </a:lnTo>
                    <a:lnTo>
                      <a:pt x="426" y="196"/>
                    </a:lnTo>
                    <a:lnTo>
                      <a:pt x="452" y="200"/>
                    </a:lnTo>
                    <a:lnTo>
                      <a:pt x="477" y="205"/>
                    </a:lnTo>
                    <a:lnTo>
                      <a:pt x="504" y="210"/>
                    </a:lnTo>
                    <a:lnTo>
                      <a:pt x="529" y="215"/>
                    </a:lnTo>
                    <a:lnTo>
                      <a:pt x="553" y="219"/>
                    </a:lnTo>
                    <a:lnTo>
                      <a:pt x="575" y="225"/>
                    </a:lnTo>
                    <a:lnTo>
                      <a:pt x="595" y="231"/>
                    </a:lnTo>
                    <a:lnTo>
                      <a:pt x="611" y="235"/>
                    </a:lnTo>
                    <a:lnTo>
                      <a:pt x="625" y="241"/>
                    </a:lnTo>
                    <a:lnTo>
                      <a:pt x="1382" y="331"/>
                    </a:lnTo>
                    <a:lnTo>
                      <a:pt x="1383" y="330"/>
                    </a:lnTo>
                    <a:lnTo>
                      <a:pt x="1385" y="327"/>
                    </a:lnTo>
                    <a:lnTo>
                      <a:pt x="1389" y="324"/>
                    </a:lnTo>
                    <a:lnTo>
                      <a:pt x="1396" y="318"/>
                    </a:lnTo>
                    <a:lnTo>
                      <a:pt x="1403" y="311"/>
                    </a:lnTo>
                    <a:lnTo>
                      <a:pt x="1413" y="301"/>
                    </a:lnTo>
                    <a:lnTo>
                      <a:pt x="1423" y="289"/>
                    </a:lnTo>
                    <a:lnTo>
                      <a:pt x="1437" y="276"/>
                    </a:lnTo>
                    <a:lnTo>
                      <a:pt x="1446" y="266"/>
                    </a:lnTo>
                    <a:lnTo>
                      <a:pt x="1458" y="253"/>
                    </a:lnTo>
                    <a:lnTo>
                      <a:pt x="1473" y="235"/>
                    </a:lnTo>
                    <a:lnTo>
                      <a:pt x="1490" y="216"/>
                    </a:lnTo>
                    <a:lnTo>
                      <a:pt x="1509" y="194"/>
                    </a:lnTo>
                    <a:lnTo>
                      <a:pt x="1528" y="171"/>
                    </a:lnTo>
                    <a:lnTo>
                      <a:pt x="1549" y="147"/>
                    </a:lnTo>
                    <a:lnTo>
                      <a:pt x="1570" y="122"/>
                    </a:lnTo>
                    <a:lnTo>
                      <a:pt x="1589" y="99"/>
                    </a:lnTo>
                    <a:lnTo>
                      <a:pt x="1609" y="76"/>
                    </a:lnTo>
                    <a:lnTo>
                      <a:pt x="1626" y="56"/>
                    </a:lnTo>
                    <a:lnTo>
                      <a:pt x="1641" y="37"/>
                    </a:lnTo>
                    <a:lnTo>
                      <a:pt x="1655" y="22"/>
                    </a:lnTo>
                    <a:lnTo>
                      <a:pt x="1665" y="11"/>
                    </a:lnTo>
                    <a:lnTo>
                      <a:pt x="1671" y="2"/>
                    </a:lnTo>
                    <a:lnTo>
                      <a:pt x="1673" y="0"/>
                    </a:lnTo>
                    <a:lnTo>
                      <a:pt x="1771" y="8"/>
                    </a:lnTo>
                    <a:close/>
                  </a:path>
                </a:pathLst>
              </a:custGeom>
              <a:solidFill>
                <a:srgbClr val="AB008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0" name="Freeform 169"/>
              <p:cNvSpPr>
                <a:spLocks/>
              </p:cNvSpPr>
              <p:nvPr/>
            </p:nvSpPr>
            <p:spPr bwMode="auto">
              <a:xfrm rot="20813856" flipH="1">
                <a:off x="10531854" y="2136768"/>
                <a:ext cx="1319247" cy="152487"/>
              </a:xfrm>
              <a:custGeom>
                <a:avLst/>
                <a:gdLst>
                  <a:gd name="T0" fmla="*/ 2 w 1142"/>
                  <a:gd name="T1" fmla="*/ 1 h 133"/>
                  <a:gd name="T2" fmla="*/ 19 w 1142"/>
                  <a:gd name="T3" fmla="*/ 6 h 133"/>
                  <a:gd name="T4" fmla="*/ 53 w 1142"/>
                  <a:gd name="T5" fmla="*/ 15 h 133"/>
                  <a:gd name="T6" fmla="*/ 101 w 1142"/>
                  <a:gd name="T7" fmla="*/ 28 h 133"/>
                  <a:gd name="T8" fmla="*/ 162 w 1142"/>
                  <a:gd name="T9" fmla="*/ 39 h 133"/>
                  <a:gd name="T10" fmla="*/ 234 w 1142"/>
                  <a:gd name="T11" fmla="*/ 52 h 133"/>
                  <a:gd name="T12" fmla="*/ 314 w 1142"/>
                  <a:gd name="T13" fmla="*/ 61 h 133"/>
                  <a:gd name="T14" fmla="*/ 403 w 1142"/>
                  <a:gd name="T15" fmla="*/ 66 h 133"/>
                  <a:gd name="T16" fmla="*/ 494 w 1142"/>
                  <a:gd name="T17" fmla="*/ 67 h 133"/>
                  <a:gd name="T18" fmla="*/ 563 w 1142"/>
                  <a:gd name="T19" fmla="*/ 69 h 133"/>
                  <a:gd name="T20" fmla="*/ 609 w 1142"/>
                  <a:gd name="T21" fmla="*/ 72 h 133"/>
                  <a:gd name="T22" fmla="*/ 639 w 1142"/>
                  <a:gd name="T23" fmla="*/ 75 h 133"/>
                  <a:gd name="T24" fmla="*/ 659 w 1142"/>
                  <a:gd name="T25" fmla="*/ 80 h 133"/>
                  <a:gd name="T26" fmla="*/ 670 w 1142"/>
                  <a:gd name="T27" fmla="*/ 83 h 133"/>
                  <a:gd name="T28" fmla="*/ 682 w 1142"/>
                  <a:gd name="T29" fmla="*/ 87 h 133"/>
                  <a:gd name="T30" fmla="*/ 697 w 1142"/>
                  <a:gd name="T31" fmla="*/ 89 h 133"/>
                  <a:gd name="T32" fmla="*/ 721 w 1142"/>
                  <a:gd name="T33" fmla="*/ 90 h 133"/>
                  <a:gd name="T34" fmla="*/ 760 w 1142"/>
                  <a:gd name="T35" fmla="*/ 89 h 133"/>
                  <a:gd name="T36" fmla="*/ 811 w 1142"/>
                  <a:gd name="T37" fmla="*/ 86 h 133"/>
                  <a:gd name="T38" fmla="*/ 866 w 1142"/>
                  <a:gd name="T39" fmla="*/ 82 h 133"/>
                  <a:gd name="T40" fmla="*/ 920 w 1142"/>
                  <a:gd name="T41" fmla="*/ 78 h 133"/>
                  <a:gd name="T42" fmla="*/ 970 w 1142"/>
                  <a:gd name="T43" fmla="*/ 73 h 133"/>
                  <a:gd name="T44" fmla="*/ 1008 w 1142"/>
                  <a:gd name="T45" fmla="*/ 69 h 133"/>
                  <a:gd name="T46" fmla="*/ 1029 w 1142"/>
                  <a:gd name="T47" fmla="*/ 67 h 133"/>
                  <a:gd name="T48" fmla="*/ 1120 w 1142"/>
                  <a:gd name="T49" fmla="*/ 53 h 133"/>
                  <a:gd name="T50" fmla="*/ 1075 w 1142"/>
                  <a:gd name="T51" fmla="*/ 81 h 133"/>
                  <a:gd name="T52" fmla="*/ 1007 w 1142"/>
                  <a:gd name="T53" fmla="*/ 80 h 133"/>
                  <a:gd name="T54" fmla="*/ 988 w 1142"/>
                  <a:gd name="T55" fmla="*/ 87 h 133"/>
                  <a:gd name="T56" fmla="*/ 978 w 1142"/>
                  <a:gd name="T57" fmla="*/ 98 h 133"/>
                  <a:gd name="T58" fmla="*/ 957 w 1142"/>
                  <a:gd name="T59" fmla="*/ 105 h 133"/>
                  <a:gd name="T60" fmla="*/ 923 w 1142"/>
                  <a:gd name="T61" fmla="*/ 111 h 133"/>
                  <a:gd name="T62" fmla="*/ 880 w 1142"/>
                  <a:gd name="T63" fmla="*/ 118 h 133"/>
                  <a:gd name="T64" fmla="*/ 833 w 1142"/>
                  <a:gd name="T65" fmla="*/ 124 h 133"/>
                  <a:gd name="T66" fmla="*/ 786 w 1142"/>
                  <a:gd name="T67" fmla="*/ 128 h 133"/>
                  <a:gd name="T68" fmla="*/ 744 w 1142"/>
                  <a:gd name="T69" fmla="*/ 132 h 133"/>
                  <a:gd name="T70" fmla="*/ 712 w 1142"/>
                  <a:gd name="T71" fmla="*/ 133 h 133"/>
                  <a:gd name="T72" fmla="*/ 687 w 1142"/>
                  <a:gd name="T73" fmla="*/ 133 h 133"/>
                  <a:gd name="T74" fmla="*/ 625 w 1142"/>
                  <a:gd name="T75" fmla="*/ 133 h 133"/>
                  <a:gd name="T76" fmla="*/ 531 w 1142"/>
                  <a:gd name="T77" fmla="*/ 131 h 133"/>
                  <a:gd name="T78" fmla="*/ 418 w 1142"/>
                  <a:gd name="T79" fmla="*/ 126 h 133"/>
                  <a:gd name="T80" fmla="*/ 297 w 1142"/>
                  <a:gd name="T81" fmla="*/ 114 h 133"/>
                  <a:gd name="T82" fmla="*/ 182 w 1142"/>
                  <a:gd name="T83" fmla="*/ 96 h 133"/>
                  <a:gd name="T84" fmla="*/ 85 w 1142"/>
                  <a:gd name="T85" fmla="*/ 67 h 133"/>
                  <a:gd name="T86" fmla="*/ 18 w 1142"/>
                  <a:gd name="T87" fmla="*/ 26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142" h="133">
                    <a:moveTo>
                      <a:pt x="0" y="0"/>
                    </a:moveTo>
                    <a:lnTo>
                      <a:pt x="2" y="1"/>
                    </a:lnTo>
                    <a:lnTo>
                      <a:pt x="9" y="3"/>
                    </a:lnTo>
                    <a:lnTo>
                      <a:pt x="19" y="6"/>
                    </a:lnTo>
                    <a:lnTo>
                      <a:pt x="34" y="11"/>
                    </a:lnTo>
                    <a:lnTo>
                      <a:pt x="53" y="15"/>
                    </a:lnTo>
                    <a:lnTo>
                      <a:pt x="76" y="21"/>
                    </a:lnTo>
                    <a:lnTo>
                      <a:pt x="101" y="28"/>
                    </a:lnTo>
                    <a:lnTo>
                      <a:pt x="130" y="34"/>
                    </a:lnTo>
                    <a:lnTo>
                      <a:pt x="162" y="39"/>
                    </a:lnTo>
                    <a:lnTo>
                      <a:pt x="197" y="46"/>
                    </a:lnTo>
                    <a:lnTo>
                      <a:pt x="234" y="52"/>
                    </a:lnTo>
                    <a:lnTo>
                      <a:pt x="273" y="57"/>
                    </a:lnTo>
                    <a:lnTo>
                      <a:pt x="314" y="61"/>
                    </a:lnTo>
                    <a:lnTo>
                      <a:pt x="358" y="65"/>
                    </a:lnTo>
                    <a:lnTo>
                      <a:pt x="403" y="66"/>
                    </a:lnTo>
                    <a:lnTo>
                      <a:pt x="450" y="67"/>
                    </a:lnTo>
                    <a:lnTo>
                      <a:pt x="494" y="67"/>
                    </a:lnTo>
                    <a:lnTo>
                      <a:pt x="531" y="68"/>
                    </a:lnTo>
                    <a:lnTo>
                      <a:pt x="563" y="69"/>
                    </a:lnTo>
                    <a:lnTo>
                      <a:pt x="589" y="71"/>
                    </a:lnTo>
                    <a:lnTo>
                      <a:pt x="609" y="72"/>
                    </a:lnTo>
                    <a:lnTo>
                      <a:pt x="627" y="74"/>
                    </a:lnTo>
                    <a:lnTo>
                      <a:pt x="639" y="75"/>
                    </a:lnTo>
                    <a:lnTo>
                      <a:pt x="650" y="78"/>
                    </a:lnTo>
                    <a:lnTo>
                      <a:pt x="659" y="80"/>
                    </a:lnTo>
                    <a:lnTo>
                      <a:pt x="665" y="81"/>
                    </a:lnTo>
                    <a:lnTo>
                      <a:pt x="670" y="83"/>
                    </a:lnTo>
                    <a:lnTo>
                      <a:pt x="676" y="86"/>
                    </a:lnTo>
                    <a:lnTo>
                      <a:pt x="682" y="87"/>
                    </a:lnTo>
                    <a:lnTo>
                      <a:pt x="689" y="88"/>
                    </a:lnTo>
                    <a:lnTo>
                      <a:pt x="697" y="89"/>
                    </a:lnTo>
                    <a:lnTo>
                      <a:pt x="707" y="90"/>
                    </a:lnTo>
                    <a:lnTo>
                      <a:pt x="721" y="90"/>
                    </a:lnTo>
                    <a:lnTo>
                      <a:pt x="740" y="90"/>
                    </a:lnTo>
                    <a:lnTo>
                      <a:pt x="760" y="89"/>
                    </a:lnTo>
                    <a:lnTo>
                      <a:pt x="784" y="88"/>
                    </a:lnTo>
                    <a:lnTo>
                      <a:pt x="811" y="86"/>
                    </a:lnTo>
                    <a:lnTo>
                      <a:pt x="837" y="84"/>
                    </a:lnTo>
                    <a:lnTo>
                      <a:pt x="866" y="82"/>
                    </a:lnTo>
                    <a:lnTo>
                      <a:pt x="894" y="80"/>
                    </a:lnTo>
                    <a:lnTo>
                      <a:pt x="920" y="78"/>
                    </a:lnTo>
                    <a:lnTo>
                      <a:pt x="946" y="75"/>
                    </a:lnTo>
                    <a:lnTo>
                      <a:pt x="970" y="73"/>
                    </a:lnTo>
                    <a:lnTo>
                      <a:pt x="991" y="71"/>
                    </a:lnTo>
                    <a:lnTo>
                      <a:pt x="1008" y="69"/>
                    </a:lnTo>
                    <a:lnTo>
                      <a:pt x="1021" y="68"/>
                    </a:lnTo>
                    <a:lnTo>
                      <a:pt x="1029" y="67"/>
                    </a:lnTo>
                    <a:lnTo>
                      <a:pt x="1032" y="67"/>
                    </a:lnTo>
                    <a:lnTo>
                      <a:pt x="1120" y="53"/>
                    </a:lnTo>
                    <a:lnTo>
                      <a:pt x="1142" y="61"/>
                    </a:lnTo>
                    <a:lnTo>
                      <a:pt x="1075" y="81"/>
                    </a:lnTo>
                    <a:lnTo>
                      <a:pt x="1010" y="79"/>
                    </a:lnTo>
                    <a:lnTo>
                      <a:pt x="1007" y="80"/>
                    </a:lnTo>
                    <a:lnTo>
                      <a:pt x="998" y="82"/>
                    </a:lnTo>
                    <a:lnTo>
                      <a:pt x="988" y="87"/>
                    </a:lnTo>
                    <a:lnTo>
                      <a:pt x="981" y="96"/>
                    </a:lnTo>
                    <a:lnTo>
                      <a:pt x="978" y="98"/>
                    </a:lnTo>
                    <a:lnTo>
                      <a:pt x="970" y="102"/>
                    </a:lnTo>
                    <a:lnTo>
                      <a:pt x="957" y="105"/>
                    </a:lnTo>
                    <a:lnTo>
                      <a:pt x="942" y="107"/>
                    </a:lnTo>
                    <a:lnTo>
                      <a:pt x="923" y="111"/>
                    </a:lnTo>
                    <a:lnTo>
                      <a:pt x="902" y="114"/>
                    </a:lnTo>
                    <a:lnTo>
                      <a:pt x="880" y="118"/>
                    </a:lnTo>
                    <a:lnTo>
                      <a:pt x="857" y="121"/>
                    </a:lnTo>
                    <a:lnTo>
                      <a:pt x="833" y="124"/>
                    </a:lnTo>
                    <a:lnTo>
                      <a:pt x="809" y="126"/>
                    </a:lnTo>
                    <a:lnTo>
                      <a:pt x="786" y="128"/>
                    </a:lnTo>
                    <a:lnTo>
                      <a:pt x="764" y="131"/>
                    </a:lnTo>
                    <a:lnTo>
                      <a:pt x="744" y="132"/>
                    </a:lnTo>
                    <a:lnTo>
                      <a:pt x="727" y="133"/>
                    </a:lnTo>
                    <a:lnTo>
                      <a:pt x="712" y="133"/>
                    </a:lnTo>
                    <a:lnTo>
                      <a:pt x="702" y="133"/>
                    </a:lnTo>
                    <a:lnTo>
                      <a:pt x="687" y="133"/>
                    </a:lnTo>
                    <a:lnTo>
                      <a:pt x="661" y="133"/>
                    </a:lnTo>
                    <a:lnTo>
                      <a:pt x="625" y="133"/>
                    </a:lnTo>
                    <a:lnTo>
                      <a:pt x="582" y="132"/>
                    </a:lnTo>
                    <a:lnTo>
                      <a:pt x="531" y="131"/>
                    </a:lnTo>
                    <a:lnTo>
                      <a:pt x="476" y="128"/>
                    </a:lnTo>
                    <a:lnTo>
                      <a:pt x="418" y="126"/>
                    </a:lnTo>
                    <a:lnTo>
                      <a:pt x="358" y="121"/>
                    </a:lnTo>
                    <a:lnTo>
                      <a:pt x="297" y="114"/>
                    </a:lnTo>
                    <a:lnTo>
                      <a:pt x="238" y="106"/>
                    </a:lnTo>
                    <a:lnTo>
                      <a:pt x="182" y="96"/>
                    </a:lnTo>
                    <a:lnTo>
                      <a:pt x="130" y="83"/>
                    </a:lnTo>
                    <a:lnTo>
                      <a:pt x="85" y="67"/>
                    </a:lnTo>
                    <a:lnTo>
                      <a:pt x="47" y="49"/>
                    </a:lnTo>
                    <a:lnTo>
                      <a:pt x="18" y="2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B0086">
                  <a:lumMod val="75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1" name="Freeform 170"/>
              <p:cNvSpPr>
                <a:spLocks/>
              </p:cNvSpPr>
              <p:nvPr/>
            </p:nvSpPr>
            <p:spPr bwMode="auto">
              <a:xfrm rot="20813856" flipH="1">
                <a:off x="10171067" y="2373667"/>
                <a:ext cx="512912" cy="136315"/>
              </a:xfrm>
              <a:custGeom>
                <a:avLst/>
                <a:gdLst>
                  <a:gd name="T0" fmla="*/ 144 w 443"/>
                  <a:gd name="T1" fmla="*/ 117 h 117"/>
                  <a:gd name="T2" fmla="*/ 6 w 443"/>
                  <a:gd name="T3" fmla="*/ 102 h 117"/>
                  <a:gd name="T4" fmla="*/ 0 w 443"/>
                  <a:gd name="T5" fmla="*/ 57 h 117"/>
                  <a:gd name="T6" fmla="*/ 94 w 443"/>
                  <a:gd name="T7" fmla="*/ 66 h 117"/>
                  <a:gd name="T8" fmla="*/ 119 w 443"/>
                  <a:gd name="T9" fmla="*/ 40 h 117"/>
                  <a:gd name="T10" fmla="*/ 443 w 443"/>
                  <a:gd name="T11" fmla="*/ 0 h 117"/>
                  <a:gd name="T12" fmla="*/ 430 w 443"/>
                  <a:gd name="T13" fmla="*/ 19 h 117"/>
                  <a:gd name="T14" fmla="*/ 144 w 443"/>
                  <a:gd name="T15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43" h="117">
                    <a:moveTo>
                      <a:pt x="144" y="117"/>
                    </a:moveTo>
                    <a:lnTo>
                      <a:pt x="6" y="102"/>
                    </a:lnTo>
                    <a:lnTo>
                      <a:pt x="0" y="57"/>
                    </a:lnTo>
                    <a:lnTo>
                      <a:pt x="94" y="66"/>
                    </a:lnTo>
                    <a:lnTo>
                      <a:pt x="119" y="40"/>
                    </a:lnTo>
                    <a:lnTo>
                      <a:pt x="443" y="0"/>
                    </a:lnTo>
                    <a:lnTo>
                      <a:pt x="430" y="19"/>
                    </a:lnTo>
                    <a:lnTo>
                      <a:pt x="144" y="117"/>
                    </a:lnTo>
                    <a:close/>
                  </a:path>
                </a:pathLst>
              </a:custGeom>
              <a:solidFill>
                <a:srgbClr val="AB0086">
                  <a:lumMod val="75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2" name="Freeform 171"/>
              <p:cNvSpPr>
                <a:spLocks/>
              </p:cNvSpPr>
              <p:nvPr/>
            </p:nvSpPr>
            <p:spPr bwMode="auto">
              <a:xfrm rot="20813856" flipH="1">
                <a:off x="9459474" y="2421743"/>
                <a:ext cx="457462" cy="87796"/>
              </a:xfrm>
              <a:custGeom>
                <a:avLst/>
                <a:gdLst>
                  <a:gd name="T0" fmla="*/ 395 w 395"/>
                  <a:gd name="T1" fmla="*/ 0 h 75"/>
                  <a:gd name="T2" fmla="*/ 0 w 395"/>
                  <a:gd name="T3" fmla="*/ 69 h 75"/>
                  <a:gd name="T4" fmla="*/ 133 w 395"/>
                  <a:gd name="T5" fmla="*/ 75 h 75"/>
                  <a:gd name="T6" fmla="*/ 395 w 395"/>
                  <a:gd name="T7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95" h="75">
                    <a:moveTo>
                      <a:pt x="395" y="0"/>
                    </a:moveTo>
                    <a:lnTo>
                      <a:pt x="0" y="69"/>
                    </a:lnTo>
                    <a:lnTo>
                      <a:pt x="133" y="75"/>
                    </a:lnTo>
                    <a:lnTo>
                      <a:pt x="395" y="0"/>
                    </a:lnTo>
                    <a:close/>
                  </a:path>
                </a:pathLst>
              </a:custGeom>
              <a:solidFill>
                <a:srgbClr val="AB0086">
                  <a:lumMod val="75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3" name="Freeform 172"/>
              <p:cNvSpPr>
                <a:spLocks/>
              </p:cNvSpPr>
              <p:nvPr/>
            </p:nvSpPr>
            <p:spPr bwMode="auto">
              <a:xfrm rot="20813856" flipH="1">
                <a:off x="9787518" y="2012821"/>
                <a:ext cx="436669" cy="404323"/>
              </a:xfrm>
              <a:custGeom>
                <a:avLst/>
                <a:gdLst>
                  <a:gd name="T0" fmla="*/ 0 w 377"/>
                  <a:gd name="T1" fmla="*/ 323 h 350"/>
                  <a:gd name="T2" fmla="*/ 5 w 377"/>
                  <a:gd name="T3" fmla="*/ 324 h 350"/>
                  <a:gd name="T4" fmla="*/ 18 w 377"/>
                  <a:gd name="T5" fmla="*/ 326 h 350"/>
                  <a:gd name="T6" fmla="*/ 35 w 377"/>
                  <a:gd name="T7" fmla="*/ 330 h 350"/>
                  <a:gd name="T8" fmla="*/ 57 w 377"/>
                  <a:gd name="T9" fmla="*/ 335 h 350"/>
                  <a:gd name="T10" fmla="*/ 78 w 377"/>
                  <a:gd name="T11" fmla="*/ 339 h 350"/>
                  <a:gd name="T12" fmla="*/ 97 w 377"/>
                  <a:gd name="T13" fmla="*/ 344 h 350"/>
                  <a:gd name="T14" fmla="*/ 113 w 377"/>
                  <a:gd name="T15" fmla="*/ 347 h 350"/>
                  <a:gd name="T16" fmla="*/ 123 w 377"/>
                  <a:gd name="T17" fmla="*/ 350 h 350"/>
                  <a:gd name="T18" fmla="*/ 134 w 377"/>
                  <a:gd name="T19" fmla="*/ 350 h 350"/>
                  <a:gd name="T20" fmla="*/ 156 w 377"/>
                  <a:gd name="T21" fmla="*/ 348 h 350"/>
                  <a:gd name="T22" fmla="*/ 184 w 377"/>
                  <a:gd name="T23" fmla="*/ 346 h 350"/>
                  <a:gd name="T24" fmla="*/ 215 w 377"/>
                  <a:gd name="T25" fmla="*/ 343 h 350"/>
                  <a:gd name="T26" fmla="*/ 246 w 377"/>
                  <a:gd name="T27" fmla="*/ 340 h 350"/>
                  <a:gd name="T28" fmla="*/ 271 w 377"/>
                  <a:gd name="T29" fmla="*/ 337 h 350"/>
                  <a:gd name="T30" fmla="*/ 290 w 377"/>
                  <a:gd name="T31" fmla="*/ 336 h 350"/>
                  <a:gd name="T32" fmla="*/ 296 w 377"/>
                  <a:gd name="T33" fmla="*/ 335 h 350"/>
                  <a:gd name="T34" fmla="*/ 377 w 377"/>
                  <a:gd name="T35" fmla="*/ 0 h 350"/>
                  <a:gd name="T36" fmla="*/ 134 w 377"/>
                  <a:gd name="T37" fmla="*/ 303 h 350"/>
                  <a:gd name="T38" fmla="*/ 0 w 377"/>
                  <a:gd name="T39" fmla="*/ 323 h 3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77" h="350">
                    <a:moveTo>
                      <a:pt x="0" y="323"/>
                    </a:moveTo>
                    <a:lnTo>
                      <a:pt x="5" y="324"/>
                    </a:lnTo>
                    <a:lnTo>
                      <a:pt x="18" y="326"/>
                    </a:lnTo>
                    <a:lnTo>
                      <a:pt x="35" y="330"/>
                    </a:lnTo>
                    <a:lnTo>
                      <a:pt x="57" y="335"/>
                    </a:lnTo>
                    <a:lnTo>
                      <a:pt x="78" y="339"/>
                    </a:lnTo>
                    <a:lnTo>
                      <a:pt x="97" y="344"/>
                    </a:lnTo>
                    <a:lnTo>
                      <a:pt x="113" y="347"/>
                    </a:lnTo>
                    <a:lnTo>
                      <a:pt x="123" y="350"/>
                    </a:lnTo>
                    <a:lnTo>
                      <a:pt x="134" y="350"/>
                    </a:lnTo>
                    <a:lnTo>
                      <a:pt x="156" y="348"/>
                    </a:lnTo>
                    <a:lnTo>
                      <a:pt x="184" y="346"/>
                    </a:lnTo>
                    <a:lnTo>
                      <a:pt x="215" y="343"/>
                    </a:lnTo>
                    <a:lnTo>
                      <a:pt x="246" y="340"/>
                    </a:lnTo>
                    <a:lnTo>
                      <a:pt x="271" y="337"/>
                    </a:lnTo>
                    <a:lnTo>
                      <a:pt x="290" y="336"/>
                    </a:lnTo>
                    <a:lnTo>
                      <a:pt x="296" y="335"/>
                    </a:lnTo>
                    <a:lnTo>
                      <a:pt x="377" y="0"/>
                    </a:lnTo>
                    <a:lnTo>
                      <a:pt x="134" y="303"/>
                    </a:lnTo>
                    <a:lnTo>
                      <a:pt x="0" y="323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4" name="Freeform 173"/>
              <p:cNvSpPr>
                <a:spLocks/>
              </p:cNvSpPr>
              <p:nvPr/>
            </p:nvSpPr>
            <p:spPr bwMode="auto">
              <a:xfrm rot="20813856" flipH="1">
                <a:off x="9364894" y="2214426"/>
                <a:ext cx="2474453" cy="314216"/>
              </a:xfrm>
              <a:custGeom>
                <a:avLst/>
                <a:gdLst>
                  <a:gd name="T0" fmla="*/ 24 w 2140"/>
                  <a:gd name="T1" fmla="*/ 94 h 271"/>
                  <a:gd name="T2" fmla="*/ 128 w 2140"/>
                  <a:gd name="T3" fmla="*/ 117 h 271"/>
                  <a:gd name="T4" fmla="*/ 300 w 2140"/>
                  <a:gd name="T5" fmla="*/ 140 h 271"/>
                  <a:gd name="T6" fmla="*/ 534 w 2140"/>
                  <a:gd name="T7" fmla="*/ 147 h 271"/>
                  <a:gd name="T8" fmla="*/ 607 w 2140"/>
                  <a:gd name="T9" fmla="*/ 147 h 271"/>
                  <a:gd name="T10" fmla="*/ 638 w 2140"/>
                  <a:gd name="T11" fmla="*/ 154 h 271"/>
                  <a:gd name="T12" fmla="*/ 692 w 2140"/>
                  <a:gd name="T13" fmla="*/ 159 h 271"/>
                  <a:gd name="T14" fmla="*/ 766 w 2140"/>
                  <a:gd name="T15" fmla="*/ 158 h 271"/>
                  <a:gd name="T16" fmla="*/ 893 w 2140"/>
                  <a:gd name="T17" fmla="*/ 148 h 271"/>
                  <a:gd name="T18" fmla="*/ 950 w 2140"/>
                  <a:gd name="T19" fmla="*/ 148 h 271"/>
                  <a:gd name="T20" fmla="*/ 958 w 2140"/>
                  <a:gd name="T21" fmla="*/ 202 h 271"/>
                  <a:gd name="T22" fmla="*/ 999 w 2140"/>
                  <a:gd name="T23" fmla="*/ 208 h 271"/>
                  <a:gd name="T24" fmla="*/ 1024 w 2140"/>
                  <a:gd name="T25" fmla="*/ 195 h 271"/>
                  <a:gd name="T26" fmla="*/ 1122 w 2140"/>
                  <a:gd name="T27" fmla="*/ 211 h 271"/>
                  <a:gd name="T28" fmla="*/ 1156 w 2140"/>
                  <a:gd name="T29" fmla="*/ 196 h 271"/>
                  <a:gd name="T30" fmla="*/ 1197 w 2140"/>
                  <a:gd name="T31" fmla="*/ 139 h 271"/>
                  <a:gd name="T32" fmla="*/ 1454 w 2140"/>
                  <a:gd name="T33" fmla="*/ 131 h 271"/>
                  <a:gd name="T34" fmla="*/ 1473 w 2140"/>
                  <a:gd name="T35" fmla="*/ 162 h 271"/>
                  <a:gd name="T36" fmla="*/ 1493 w 2140"/>
                  <a:gd name="T37" fmla="*/ 161 h 271"/>
                  <a:gd name="T38" fmla="*/ 1522 w 2140"/>
                  <a:gd name="T39" fmla="*/ 149 h 271"/>
                  <a:gd name="T40" fmla="*/ 1661 w 2140"/>
                  <a:gd name="T41" fmla="*/ 87 h 271"/>
                  <a:gd name="T42" fmla="*/ 1966 w 2140"/>
                  <a:gd name="T43" fmla="*/ 64 h 271"/>
                  <a:gd name="T44" fmla="*/ 1684 w 2140"/>
                  <a:gd name="T45" fmla="*/ 144 h 271"/>
                  <a:gd name="T46" fmla="*/ 1671 w 2140"/>
                  <a:gd name="T47" fmla="*/ 162 h 271"/>
                  <a:gd name="T48" fmla="*/ 1621 w 2140"/>
                  <a:gd name="T49" fmla="*/ 185 h 271"/>
                  <a:gd name="T50" fmla="*/ 1549 w 2140"/>
                  <a:gd name="T51" fmla="*/ 196 h 271"/>
                  <a:gd name="T52" fmla="*/ 1502 w 2140"/>
                  <a:gd name="T53" fmla="*/ 200 h 271"/>
                  <a:gd name="T54" fmla="*/ 1216 w 2140"/>
                  <a:gd name="T55" fmla="*/ 265 h 271"/>
                  <a:gd name="T56" fmla="*/ 1160 w 2140"/>
                  <a:gd name="T57" fmla="*/ 263 h 271"/>
                  <a:gd name="T58" fmla="*/ 1079 w 2140"/>
                  <a:gd name="T59" fmla="*/ 262 h 271"/>
                  <a:gd name="T60" fmla="*/ 1012 w 2140"/>
                  <a:gd name="T61" fmla="*/ 260 h 271"/>
                  <a:gd name="T62" fmla="*/ 970 w 2140"/>
                  <a:gd name="T63" fmla="*/ 259 h 271"/>
                  <a:gd name="T64" fmla="*/ 845 w 2140"/>
                  <a:gd name="T65" fmla="*/ 252 h 271"/>
                  <a:gd name="T66" fmla="*/ 686 w 2140"/>
                  <a:gd name="T67" fmla="*/ 241 h 271"/>
                  <a:gd name="T68" fmla="*/ 563 w 2140"/>
                  <a:gd name="T69" fmla="*/ 232 h 271"/>
                  <a:gd name="T70" fmla="*/ 512 w 2140"/>
                  <a:gd name="T71" fmla="*/ 224 h 271"/>
                  <a:gd name="T72" fmla="*/ 463 w 2140"/>
                  <a:gd name="T73" fmla="*/ 215 h 271"/>
                  <a:gd name="T74" fmla="*/ 409 w 2140"/>
                  <a:gd name="T75" fmla="*/ 224 h 271"/>
                  <a:gd name="T76" fmla="*/ 409 w 2140"/>
                  <a:gd name="T77" fmla="*/ 245 h 271"/>
                  <a:gd name="T78" fmla="*/ 401 w 2140"/>
                  <a:gd name="T79" fmla="*/ 262 h 271"/>
                  <a:gd name="T80" fmla="*/ 333 w 2140"/>
                  <a:gd name="T81" fmla="*/ 257 h 271"/>
                  <a:gd name="T82" fmla="*/ 265 w 2140"/>
                  <a:gd name="T83" fmla="*/ 263 h 271"/>
                  <a:gd name="T84" fmla="*/ 226 w 2140"/>
                  <a:gd name="T85" fmla="*/ 268 h 271"/>
                  <a:gd name="T86" fmla="*/ 214 w 2140"/>
                  <a:gd name="T87" fmla="*/ 194 h 271"/>
                  <a:gd name="T88" fmla="*/ 185 w 2140"/>
                  <a:gd name="T89" fmla="*/ 184 h 271"/>
                  <a:gd name="T90" fmla="*/ 120 w 2140"/>
                  <a:gd name="T91" fmla="*/ 157 h 271"/>
                  <a:gd name="T92" fmla="*/ 47 w 2140"/>
                  <a:gd name="T93" fmla="*/ 123 h 271"/>
                  <a:gd name="T94" fmla="*/ 0 w 2140"/>
                  <a:gd name="T95" fmla="*/ 87 h 2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140" h="271">
                    <a:moveTo>
                      <a:pt x="0" y="87"/>
                    </a:moveTo>
                    <a:lnTo>
                      <a:pt x="2" y="88"/>
                    </a:lnTo>
                    <a:lnTo>
                      <a:pt x="11" y="90"/>
                    </a:lnTo>
                    <a:lnTo>
                      <a:pt x="24" y="94"/>
                    </a:lnTo>
                    <a:lnTo>
                      <a:pt x="42" y="98"/>
                    </a:lnTo>
                    <a:lnTo>
                      <a:pt x="67" y="104"/>
                    </a:lnTo>
                    <a:lnTo>
                      <a:pt x="94" y="111"/>
                    </a:lnTo>
                    <a:lnTo>
                      <a:pt x="128" y="117"/>
                    </a:lnTo>
                    <a:lnTo>
                      <a:pt x="164" y="124"/>
                    </a:lnTo>
                    <a:lnTo>
                      <a:pt x="206" y="130"/>
                    </a:lnTo>
                    <a:lnTo>
                      <a:pt x="252" y="135"/>
                    </a:lnTo>
                    <a:lnTo>
                      <a:pt x="300" y="140"/>
                    </a:lnTo>
                    <a:lnTo>
                      <a:pt x="355" y="144"/>
                    </a:lnTo>
                    <a:lnTo>
                      <a:pt x="411" y="147"/>
                    </a:lnTo>
                    <a:lnTo>
                      <a:pt x="471" y="148"/>
                    </a:lnTo>
                    <a:lnTo>
                      <a:pt x="534" y="147"/>
                    </a:lnTo>
                    <a:lnTo>
                      <a:pt x="600" y="144"/>
                    </a:lnTo>
                    <a:lnTo>
                      <a:pt x="601" y="144"/>
                    </a:lnTo>
                    <a:lnTo>
                      <a:pt x="603" y="146"/>
                    </a:lnTo>
                    <a:lnTo>
                      <a:pt x="607" y="147"/>
                    </a:lnTo>
                    <a:lnTo>
                      <a:pt x="613" y="148"/>
                    </a:lnTo>
                    <a:lnTo>
                      <a:pt x="620" y="150"/>
                    </a:lnTo>
                    <a:lnTo>
                      <a:pt x="628" y="153"/>
                    </a:lnTo>
                    <a:lnTo>
                      <a:pt x="638" y="154"/>
                    </a:lnTo>
                    <a:lnTo>
                      <a:pt x="649" y="156"/>
                    </a:lnTo>
                    <a:lnTo>
                      <a:pt x="662" y="157"/>
                    </a:lnTo>
                    <a:lnTo>
                      <a:pt x="676" y="159"/>
                    </a:lnTo>
                    <a:lnTo>
                      <a:pt x="692" y="159"/>
                    </a:lnTo>
                    <a:lnTo>
                      <a:pt x="708" y="161"/>
                    </a:lnTo>
                    <a:lnTo>
                      <a:pt x="727" y="161"/>
                    </a:lnTo>
                    <a:lnTo>
                      <a:pt x="745" y="159"/>
                    </a:lnTo>
                    <a:lnTo>
                      <a:pt x="766" y="158"/>
                    </a:lnTo>
                    <a:lnTo>
                      <a:pt x="788" y="156"/>
                    </a:lnTo>
                    <a:lnTo>
                      <a:pt x="829" y="151"/>
                    </a:lnTo>
                    <a:lnTo>
                      <a:pt x="864" y="149"/>
                    </a:lnTo>
                    <a:lnTo>
                      <a:pt x="893" y="148"/>
                    </a:lnTo>
                    <a:lnTo>
                      <a:pt x="914" y="147"/>
                    </a:lnTo>
                    <a:lnTo>
                      <a:pt x="932" y="147"/>
                    </a:lnTo>
                    <a:lnTo>
                      <a:pt x="943" y="147"/>
                    </a:lnTo>
                    <a:lnTo>
                      <a:pt x="950" y="148"/>
                    </a:lnTo>
                    <a:lnTo>
                      <a:pt x="952" y="148"/>
                    </a:lnTo>
                    <a:lnTo>
                      <a:pt x="949" y="185"/>
                    </a:lnTo>
                    <a:lnTo>
                      <a:pt x="951" y="191"/>
                    </a:lnTo>
                    <a:lnTo>
                      <a:pt x="958" y="202"/>
                    </a:lnTo>
                    <a:lnTo>
                      <a:pt x="967" y="215"/>
                    </a:lnTo>
                    <a:lnTo>
                      <a:pt x="981" y="223"/>
                    </a:lnTo>
                    <a:lnTo>
                      <a:pt x="992" y="219"/>
                    </a:lnTo>
                    <a:lnTo>
                      <a:pt x="999" y="208"/>
                    </a:lnTo>
                    <a:lnTo>
                      <a:pt x="1002" y="196"/>
                    </a:lnTo>
                    <a:lnTo>
                      <a:pt x="1003" y="191"/>
                    </a:lnTo>
                    <a:lnTo>
                      <a:pt x="1009" y="192"/>
                    </a:lnTo>
                    <a:lnTo>
                      <a:pt x="1024" y="195"/>
                    </a:lnTo>
                    <a:lnTo>
                      <a:pt x="1046" y="200"/>
                    </a:lnTo>
                    <a:lnTo>
                      <a:pt x="1071" y="204"/>
                    </a:lnTo>
                    <a:lnTo>
                      <a:pt x="1098" y="208"/>
                    </a:lnTo>
                    <a:lnTo>
                      <a:pt x="1122" y="211"/>
                    </a:lnTo>
                    <a:lnTo>
                      <a:pt x="1140" y="212"/>
                    </a:lnTo>
                    <a:lnTo>
                      <a:pt x="1151" y="211"/>
                    </a:lnTo>
                    <a:lnTo>
                      <a:pt x="1156" y="204"/>
                    </a:lnTo>
                    <a:lnTo>
                      <a:pt x="1156" y="196"/>
                    </a:lnTo>
                    <a:lnTo>
                      <a:pt x="1153" y="191"/>
                    </a:lnTo>
                    <a:lnTo>
                      <a:pt x="1151" y="188"/>
                    </a:lnTo>
                    <a:lnTo>
                      <a:pt x="1139" y="162"/>
                    </a:lnTo>
                    <a:lnTo>
                      <a:pt x="1197" y="139"/>
                    </a:lnTo>
                    <a:lnTo>
                      <a:pt x="1381" y="121"/>
                    </a:lnTo>
                    <a:lnTo>
                      <a:pt x="1458" y="113"/>
                    </a:lnTo>
                    <a:lnTo>
                      <a:pt x="1456" y="118"/>
                    </a:lnTo>
                    <a:lnTo>
                      <a:pt x="1454" y="131"/>
                    </a:lnTo>
                    <a:lnTo>
                      <a:pt x="1454" y="144"/>
                    </a:lnTo>
                    <a:lnTo>
                      <a:pt x="1462" y="156"/>
                    </a:lnTo>
                    <a:lnTo>
                      <a:pt x="1467" y="159"/>
                    </a:lnTo>
                    <a:lnTo>
                      <a:pt x="1473" y="162"/>
                    </a:lnTo>
                    <a:lnTo>
                      <a:pt x="1478" y="162"/>
                    </a:lnTo>
                    <a:lnTo>
                      <a:pt x="1482" y="162"/>
                    </a:lnTo>
                    <a:lnTo>
                      <a:pt x="1487" y="162"/>
                    </a:lnTo>
                    <a:lnTo>
                      <a:pt x="1493" y="161"/>
                    </a:lnTo>
                    <a:lnTo>
                      <a:pt x="1497" y="161"/>
                    </a:lnTo>
                    <a:lnTo>
                      <a:pt x="1503" y="161"/>
                    </a:lnTo>
                    <a:lnTo>
                      <a:pt x="1514" y="157"/>
                    </a:lnTo>
                    <a:lnTo>
                      <a:pt x="1522" y="149"/>
                    </a:lnTo>
                    <a:lnTo>
                      <a:pt x="1527" y="140"/>
                    </a:lnTo>
                    <a:lnTo>
                      <a:pt x="1529" y="136"/>
                    </a:lnTo>
                    <a:lnTo>
                      <a:pt x="1668" y="135"/>
                    </a:lnTo>
                    <a:lnTo>
                      <a:pt x="1661" y="87"/>
                    </a:lnTo>
                    <a:lnTo>
                      <a:pt x="2085" y="0"/>
                    </a:lnTo>
                    <a:lnTo>
                      <a:pt x="2140" y="10"/>
                    </a:lnTo>
                    <a:lnTo>
                      <a:pt x="1943" y="50"/>
                    </a:lnTo>
                    <a:lnTo>
                      <a:pt x="1966" y="64"/>
                    </a:lnTo>
                    <a:lnTo>
                      <a:pt x="1952" y="75"/>
                    </a:lnTo>
                    <a:lnTo>
                      <a:pt x="1767" y="104"/>
                    </a:lnTo>
                    <a:lnTo>
                      <a:pt x="1770" y="125"/>
                    </a:lnTo>
                    <a:lnTo>
                      <a:pt x="1684" y="144"/>
                    </a:lnTo>
                    <a:lnTo>
                      <a:pt x="1683" y="146"/>
                    </a:lnTo>
                    <a:lnTo>
                      <a:pt x="1682" y="149"/>
                    </a:lnTo>
                    <a:lnTo>
                      <a:pt x="1677" y="155"/>
                    </a:lnTo>
                    <a:lnTo>
                      <a:pt x="1671" y="162"/>
                    </a:lnTo>
                    <a:lnTo>
                      <a:pt x="1663" y="169"/>
                    </a:lnTo>
                    <a:lnTo>
                      <a:pt x="1653" y="176"/>
                    </a:lnTo>
                    <a:lnTo>
                      <a:pt x="1638" y="180"/>
                    </a:lnTo>
                    <a:lnTo>
                      <a:pt x="1621" y="185"/>
                    </a:lnTo>
                    <a:lnTo>
                      <a:pt x="1601" y="188"/>
                    </a:lnTo>
                    <a:lnTo>
                      <a:pt x="1583" y="192"/>
                    </a:lnTo>
                    <a:lnTo>
                      <a:pt x="1565" y="194"/>
                    </a:lnTo>
                    <a:lnTo>
                      <a:pt x="1549" y="196"/>
                    </a:lnTo>
                    <a:lnTo>
                      <a:pt x="1535" y="199"/>
                    </a:lnTo>
                    <a:lnTo>
                      <a:pt x="1522" y="200"/>
                    </a:lnTo>
                    <a:lnTo>
                      <a:pt x="1511" y="200"/>
                    </a:lnTo>
                    <a:lnTo>
                      <a:pt x="1502" y="200"/>
                    </a:lnTo>
                    <a:lnTo>
                      <a:pt x="1476" y="202"/>
                    </a:lnTo>
                    <a:lnTo>
                      <a:pt x="1226" y="265"/>
                    </a:lnTo>
                    <a:lnTo>
                      <a:pt x="1223" y="265"/>
                    </a:lnTo>
                    <a:lnTo>
                      <a:pt x="1216" y="265"/>
                    </a:lnTo>
                    <a:lnTo>
                      <a:pt x="1206" y="265"/>
                    </a:lnTo>
                    <a:lnTo>
                      <a:pt x="1193" y="264"/>
                    </a:lnTo>
                    <a:lnTo>
                      <a:pt x="1177" y="264"/>
                    </a:lnTo>
                    <a:lnTo>
                      <a:pt x="1160" y="263"/>
                    </a:lnTo>
                    <a:lnTo>
                      <a:pt x="1140" y="263"/>
                    </a:lnTo>
                    <a:lnTo>
                      <a:pt x="1120" y="262"/>
                    </a:lnTo>
                    <a:lnTo>
                      <a:pt x="1099" y="262"/>
                    </a:lnTo>
                    <a:lnTo>
                      <a:pt x="1079" y="262"/>
                    </a:lnTo>
                    <a:lnTo>
                      <a:pt x="1060" y="261"/>
                    </a:lnTo>
                    <a:lnTo>
                      <a:pt x="1042" y="261"/>
                    </a:lnTo>
                    <a:lnTo>
                      <a:pt x="1026" y="260"/>
                    </a:lnTo>
                    <a:lnTo>
                      <a:pt x="1012" y="260"/>
                    </a:lnTo>
                    <a:lnTo>
                      <a:pt x="1002" y="260"/>
                    </a:lnTo>
                    <a:lnTo>
                      <a:pt x="995" y="260"/>
                    </a:lnTo>
                    <a:lnTo>
                      <a:pt x="986" y="260"/>
                    </a:lnTo>
                    <a:lnTo>
                      <a:pt x="970" y="259"/>
                    </a:lnTo>
                    <a:lnTo>
                      <a:pt x="946" y="257"/>
                    </a:lnTo>
                    <a:lnTo>
                      <a:pt x="917" y="255"/>
                    </a:lnTo>
                    <a:lnTo>
                      <a:pt x="883" y="254"/>
                    </a:lnTo>
                    <a:lnTo>
                      <a:pt x="845" y="252"/>
                    </a:lnTo>
                    <a:lnTo>
                      <a:pt x="806" y="249"/>
                    </a:lnTo>
                    <a:lnTo>
                      <a:pt x="766" y="246"/>
                    </a:lnTo>
                    <a:lnTo>
                      <a:pt x="726" y="244"/>
                    </a:lnTo>
                    <a:lnTo>
                      <a:pt x="686" y="241"/>
                    </a:lnTo>
                    <a:lnTo>
                      <a:pt x="649" y="238"/>
                    </a:lnTo>
                    <a:lnTo>
                      <a:pt x="616" y="236"/>
                    </a:lnTo>
                    <a:lnTo>
                      <a:pt x="586" y="233"/>
                    </a:lnTo>
                    <a:lnTo>
                      <a:pt x="563" y="232"/>
                    </a:lnTo>
                    <a:lnTo>
                      <a:pt x="546" y="230"/>
                    </a:lnTo>
                    <a:lnTo>
                      <a:pt x="537" y="229"/>
                    </a:lnTo>
                    <a:lnTo>
                      <a:pt x="526" y="226"/>
                    </a:lnTo>
                    <a:lnTo>
                      <a:pt x="512" y="224"/>
                    </a:lnTo>
                    <a:lnTo>
                      <a:pt x="500" y="222"/>
                    </a:lnTo>
                    <a:lnTo>
                      <a:pt x="486" y="219"/>
                    </a:lnTo>
                    <a:lnTo>
                      <a:pt x="473" y="217"/>
                    </a:lnTo>
                    <a:lnTo>
                      <a:pt x="463" y="215"/>
                    </a:lnTo>
                    <a:lnTo>
                      <a:pt x="456" y="214"/>
                    </a:lnTo>
                    <a:lnTo>
                      <a:pt x="454" y="214"/>
                    </a:lnTo>
                    <a:lnTo>
                      <a:pt x="410" y="223"/>
                    </a:lnTo>
                    <a:lnTo>
                      <a:pt x="409" y="224"/>
                    </a:lnTo>
                    <a:lnTo>
                      <a:pt x="408" y="227"/>
                    </a:lnTo>
                    <a:lnTo>
                      <a:pt x="406" y="232"/>
                    </a:lnTo>
                    <a:lnTo>
                      <a:pt x="408" y="240"/>
                    </a:lnTo>
                    <a:lnTo>
                      <a:pt x="409" y="245"/>
                    </a:lnTo>
                    <a:lnTo>
                      <a:pt x="408" y="249"/>
                    </a:lnTo>
                    <a:lnTo>
                      <a:pt x="406" y="254"/>
                    </a:lnTo>
                    <a:lnTo>
                      <a:pt x="404" y="259"/>
                    </a:lnTo>
                    <a:lnTo>
                      <a:pt x="401" y="262"/>
                    </a:lnTo>
                    <a:lnTo>
                      <a:pt x="394" y="264"/>
                    </a:lnTo>
                    <a:lnTo>
                      <a:pt x="386" y="265"/>
                    </a:lnTo>
                    <a:lnTo>
                      <a:pt x="375" y="265"/>
                    </a:lnTo>
                    <a:lnTo>
                      <a:pt x="333" y="257"/>
                    </a:lnTo>
                    <a:lnTo>
                      <a:pt x="326" y="271"/>
                    </a:lnTo>
                    <a:lnTo>
                      <a:pt x="272" y="260"/>
                    </a:lnTo>
                    <a:lnTo>
                      <a:pt x="269" y="261"/>
                    </a:lnTo>
                    <a:lnTo>
                      <a:pt x="265" y="263"/>
                    </a:lnTo>
                    <a:lnTo>
                      <a:pt x="258" y="265"/>
                    </a:lnTo>
                    <a:lnTo>
                      <a:pt x="249" y="268"/>
                    </a:lnTo>
                    <a:lnTo>
                      <a:pt x="237" y="269"/>
                    </a:lnTo>
                    <a:lnTo>
                      <a:pt x="226" y="268"/>
                    </a:lnTo>
                    <a:lnTo>
                      <a:pt x="214" y="264"/>
                    </a:lnTo>
                    <a:lnTo>
                      <a:pt x="204" y="259"/>
                    </a:lnTo>
                    <a:lnTo>
                      <a:pt x="202" y="240"/>
                    </a:lnTo>
                    <a:lnTo>
                      <a:pt x="214" y="194"/>
                    </a:lnTo>
                    <a:lnTo>
                      <a:pt x="212" y="193"/>
                    </a:lnTo>
                    <a:lnTo>
                      <a:pt x="206" y="192"/>
                    </a:lnTo>
                    <a:lnTo>
                      <a:pt x="197" y="188"/>
                    </a:lnTo>
                    <a:lnTo>
                      <a:pt x="185" y="184"/>
                    </a:lnTo>
                    <a:lnTo>
                      <a:pt x="171" y="178"/>
                    </a:lnTo>
                    <a:lnTo>
                      <a:pt x="155" y="172"/>
                    </a:lnTo>
                    <a:lnTo>
                      <a:pt x="137" y="165"/>
                    </a:lnTo>
                    <a:lnTo>
                      <a:pt x="120" y="157"/>
                    </a:lnTo>
                    <a:lnTo>
                      <a:pt x="100" y="149"/>
                    </a:lnTo>
                    <a:lnTo>
                      <a:pt x="81" y="141"/>
                    </a:lnTo>
                    <a:lnTo>
                      <a:pt x="64" y="132"/>
                    </a:lnTo>
                    <a:lnTo>
                      <a:pt x="47" y="123"/>
                    </a:lnTo>
                    <a:lnTo>
                      <a:pt x="32" y="113"/>
                    </a:lnTo>
                    <a:lnTo>
                      <a:pt x="18" y="104"/>
                    </a:lnTo>
                    <a:lnTo>
                      <a:pt x="8" y="96"/>
                    </a:lnTo>
                    <a:lnTo>
                      <a:pt x="0" y="87"/>
                    </a:lnTo>
                    <a:close/>
                  </a:path>
                </a:pathLst>
              </a:custGeom>
              <a:solidFill>
                <a:srgbClr val="AB008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5" name="Freeform 174"/>
              <p:cNvSpPr>
                <a:spLocks/>
              </p:cNvSpPr>
              <p:nvPr/>
            </p:nvSpPr>
            <p:spPr bwMode="auto">
              <a:xfrm rot="20813856" flipH="1">
                <a:off x="11317575" y="2208210"/>
                <a:ext cx="286491" cy="71624"/>
              </a:xfrm>
              <a:custGeom>
                <a:avLst/>
                <a:gdLst>
                  <a:gd name="T0" fmla="*/ 0 w 247"/>
                  <a:gd name="T1" fmla="*/ 0 h 64"/>
                  <a:gd name="T2" fmla="*/ 5 w 247"/>
                  <a:gd name="T3" fmla="*/ 0 h 64"/>
                  <a:gd name="T4" fmla="*/ 20 w 247"/>
                  <a:gd name="T5" fmla="*/ 0 h 64"/>
                  <a:gd name="T6" fmla="*/ 43 w 247"/>
                  <a:gd name="T7" fmla="*/ 1 h 64"/>
                  <a:gd name="T8" fmla="*/ 71 w 247"/>
                  <a:gd name="T9" fmla="*/ 3 h 64"/>
                  <a:gd name="T10" fmla="*/ 101 w 247"/>
                  <a:gd name="T11" fmla="*/ 4 h 64"/>
                  <a:gd name="T12" fmla="*/ 130 w 247"/>
                  <a:gd name="T13" fmla="*/ 6 h 64"/>
                  <a:gd name="T14" fmla="*/ 158 w 247"/>
                  <a:gd name="T15" fmla="*/ 8 h 64"/>
                  <a:gd name="T16" fmla="*/ 181 w 247"/>
                  <a:gd name="T17" fmla="*/ 12 h 64"/>
                  <a:gd name="T18" fmla="*/ 199 w 247"/>
                  <a:gd name="T19" fmla="*/ 15 h 64"/>
                  <a:gd name="T20" fmla="*/ 213 w 247"/>
                  <a:gd name="T21" fmla="*/ 18 h 64"/>
                  <a:gd name="T22" fmla="*/ 226 w 247"/>
                  <a:gd name="T23" fmla="*/ 21 h 64"/>
                  <a:gd name="T24" fmla="*/ 234 w 247"/>
                  <a:gd name="T25" fmla="*/ 23 h 64"/>
                  <a:gd name="T26" fmla="*/ 240 w 247"/>
                  <a:gd name="T27" fmla="*/ 26 h 64"/>
                  <a:gd name="T28" fmla="*/ 244 w 247"/>
                  <a:gd name="T29" fmla="*/ 28 h 64"/>
                  <a:gd name="T30" fmla="*/ 246 w 247"/>
                  <a:gd name="T31" fmla="*/ 29 h 64"/>
                  <a:gd name="T32" fmla="*/ 247 w 247"/>
                  <a:gd name="T33" fmla="*/ 29 h 64"/>
                  <a:gd name="T34" fmla="*/ 167 w 247"/>
                  <a:gd name="T35" fmla="*/ 64 h 64"/>
                  <a:gd name="T36" fmla="*/ 92 w 247"/>
                  <a:gd name="T37" fmla="*/ 54 h 64"/>
                  <a:gd name="T38" fmla="*/ 92 w 247"/>
                  <a:gd name="T39" fmla="*/ 53 h 64"/>
                  <a:gd name="T40" fmla="*/ 90 w 247"/>
                  <a:gd name="T41" fmla="*/ 51 h 64"/>
                  <a:gd name="T42" fmla="*/ 87 w 247"/>
                  <a:gd name="T43" fmla="*/ 47 h 64"/>
                  <a:gd name="T44" fmla="*/ 84 w 247"/>
                  <a:gd name="T45" fmla="*/ 43 h 64"/>
                  <a:gd name="T46" fmla="*/ 79 w 247"/>
                  <a:gd name="T47" fmla="*/ 38 h 64"/>
                  <a:gd name="T48" fmla="*/ 73 w 247"/>
                  <a:gd name="T49" fmla="*/ 35 h 64"/>
                  <a:gd name="T50" fmla="*/ 67 w 247"/>
                  <a:gd name="T51" fmla="*/ 33 h 64"/>
                  <a:gd name="T52" fmla="*/ 57 w 247"/>
                  <a:gd name="T53" fmla="*/ 31 h 64"/>
                  <a:gd name="T54" fmla="*/ 47 w 247"/>
                  <a:gd name="T55" fmla="*/ 30 h 64"/>
                  <a:gd name="T56" fmla="*/ 37 w 247"/>
                  <a:gd name="T57" fmla="*/ 27 h 64"/>
                  <a:gd name="T58" fmla="*/ 27 w 247"/>
                  <a:gd name="T59" fmla="*/ 21 h 64"/>
                  <a:gd name="T60" fmla="*/ 18 w 247"/>
                  <a:gd name="T61" fmla="*/ 15 h 64"/>
                  <a:gd name="T62" fmla="*/ 11 w 247"/>
                  <a:gd name="T63" fmla="*/ 11 h 64"/>
                  <a:gd name="T64" fmla="*/ 5 w 247"/>
                  <a:gd name="T65" fmla="*/ 5 h 64"/>
                  <a:gd name="T66" fmla="*/ 1 w 247"/>
                  <a:gd name="T67" fmla="*/ 1 h 64"/>
                  <a:gd name="T68" fmla="*/ 0 w 247"/>
                  <a:gd name="T69" fmla="*/ 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47" h="64">
                    <a:moveTo>
                      <a:pt x="0" y="0"/>
                    </a:moveTo>
                    <a:lnTo>
                      <a:pt x="5" y="0"/>
                    </a:lnTo>
                    <a:lnTo>
                      <a:pt x="20" y="0"/>
                    </a:lnTo>
                    <a:lnTo>
                      <a:pt x="43" y="1"/>
                    </a:lnTo>
                    <a:lnTo>
                      <a:pt x="71" y="3"/>
                    </a:lnTo>
                    <a:lnTo>
                      <a:pt x="101" y="4"/>
                    </a:lnTo>
                    <a:lnTo>
                      <a:pt x="130" y="6"/>
                    </a:lnTo>
                    <a:lnTo>
                      <a:pt x="158" y="8"/>
                    </a:lnTo>
                    <a:lnTo>
                      <a:pt x="181" y="12"/>
                    </a:lnTo>
                    <a:lnTo>
                      <a:pt x="199" y="15"/>
                    </a:lnTo>
                    <a:lnTo>
                      <a:pt x="213" y="18"/>
                    </a:lnTo>
                    <a:lnTo>
                      <a:pt x="226" y="21"/>
                    </a:lnTo>
                    <a:lnTo>
                      <a:pt x="234" y="23"/>
                    </a:lnTo>
                    <a:lnTo>
                      <a:pt x="240" y="26"/>
                    </a:lnTo>
                    <a:lnTo>
                      <a:pt x="244" y="28"/>
                    </a:lnTo>
                    <a:lnTo>
                      <a:pt x="246" y="29"/>
                    </a:lnTo>
                    <a:lnTo>
                      <a:pt x="247" y="29"/>
                    </a:lnTo>
                    <a:lnTo>
                      <a:pt x="167" y="64"/>
                    </a:lnTo>
                    <a:lnTo>
                      <a:pt x="92" y="54"/>
                    </a:lnTo>
                    <a:lnTo>
                      <a:pt x="92" y="53"/>
                    </a:lnTo>
                    <a:lnTo>
                      <a:pt x="90" y="51"/>
                    </a:lnTo>
                    <a:lnTo>
                      <a:pt x="87" y="47"/>
                    </a:lnTo>
                    <a:lnTo>
                      <a:pt x="84" y="43"/>
                    </a:lnTo>
                    <a:lnTo>
                      <a:pt x="79" y="38"/>
                    </a:lnTo>
                    <a:lnTo>
                      <a:pt x="73" y="35"/>
                    </a:lnTo>
                    <a:lnTo>
                      <a:pt x="67" y="33"/>
                    </a:lnTo>
                    <a:lnTo>
                      <a:pt x="57" y="31"/>
                    </a:lnTo>
                    <a:lnTo>
                      <a:pt x="47" y="30"/>
                    </a:lnTo>
                    <a:lnTo>
                      <a:pt x="37" y="27"/>
                    </a:lnTo>
                    <a:lnTo>
                      <a:pt x="27" y="21"/>
                    </a:lnTo>
                    <a:lnTo>
                      <a:pt x="18" y="15"/>
                    </a:lnTo>
                    <a:lnTo>
                      <a:pt x="11" y="11"/>
                    </a:lnTo>
                    <a:lnTo>
                      <a:pt x="5" y="5"/>
                    </a:lnTo>
                    <a:lnTo>
                      <a:pt x="1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B0086">
                  <a:lumMod val="75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6" name="Freeform 175"/>
              <p:cNvSpPr>
                <a:spLocks/>
              </p:cNvSpPr>
              <p:nvPr/>
            </p:nvSpPr>
            <p:spPr bwMode="auto">
              <a:xfrm rot="20813856" flipH="1">
                <a:off x="9608154" y="2467050"/>
                <a:ext cx="321148" cy="87796"/>
              </a:xfrm>
              <a:custGeom>
                <a:avLst/>
                <a:gdLst>
                  <a:gd name="T0" fmla="*/ 0 w 279"/>
                  <a:gd name="T1" fmla="*/ 35 h 75"/>
                  <a:gd name="T2" fmla="*/ 8 w 279"/>
                  <a:gd name="T3" fmla="*/ 75 h 75"/>
                  <a:gd name="T4" fmla="*/ 279 w 279"/>
                  <a:gd name="T5" fmla="*/ 20 h 75"/>
                  <a:gd name="T6" fmla="*/ 219 w 279"/>
                  <a:gd name="T7" fmla="*/ 0 h 75"/>
                  <a:gd name="T8" fmla="*/ 0 w 279"/>
                  <a:gd name="T9" fmla="*/ 35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9" h="75">
                    <a:moveTo>
                      <a:pt x="0" y="35"/>
                    </a:moveTo>
                    <a:lnTo>
                      <a:pt x="8" y="75"/>
                    </a:lnTo>
                    <a:lnTo>
                      <a:pt x="279" y="20"/>
                    </a:lnTo>
                    <a:lnTo>
                      <a:pt x="219" y="0"/>
                    </a:lnTo>
                    <a:lnTo>
                      <a:pt x="0" y="35"/>
                    </a:lnTo>
                    <a:close/>
                  </a:path>
                </a:pathLst>
              </a:custGeom>
              <a:solidFill>
                <a:srgbClr val="AB0086">
                  <a:lumMod val="75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7" name="Freeform 176"/>
              <p:cNvSpPr>
                <a:spLocks/>
              </p:cNvSpPr>
              <p:nvPr/>
            </p:nvSpPr>
            <p:spPr bwMode="auto">
              <a:xfrm rot="20813856" flipH="1">
                <a:off x="10142897" y="2440357"/>
                <a:ext cx="402012" cy="120141"/>
              </a:xfrm>
              <a:custGeom>
                <a:avLst/>
                <a:gdLst>
                  <a:gd name="T0" fmla="*/ 12 w 348"/>
                  <a:gd name="T1" fmla="*/ 46 h 104"/>
                  <a:gd name="T2" fmla="*/ 14 w 348"/>
                  <a:gd name="T3" fmla="*/ 46 h 104"/>
                  <a:gd name="T4" fmla="*/ 20 w 348"/>
                  <a:gd name="T5" fmla="*/ 45 h 104"/>
                  <a:gd name="T6" fmla="*/ 29 w 348"/>
                  <a:gd name="T7" fmla="*/ 43 h 104"/>
                  <a:gd name="T8" fmla="*/ 42 w 348"/>
                  <a:gd name="T9" fmla="*/ 42 h 104"/>
                  <a:gd name="T10" fmla="*/ 55 w 348"/>
                  <a:gd name="T11" fmla="*/ 38 h 104"/>
                  <a:gd name="T12" fmla="*/ 72 w 348"/>
                  <a:gd name="T13" fmla="*/ 36 h 104"/>
                  <a:gd name="T14" fmla="*/ 89 w 348"/>
                  <a:gd name="T15" fmla="*/ 32 h 104"/>
                  <a:gd name="T16" fmla="*/ 107 w 348"/>
                  <a:gd name="T17" fmla="*/ 30 h 104"/>
                  <a:gd name="T18" fmla="*/ 125 w 348"/>
                  <a:gd name="T19" fmla="*/ 27 h 104"/>
                  <a:gd name="T20" fmla="*/ 143 w 348"/>
                  <a:gd name="T21" fmla="*/ 23 h 104"/>
                  <a:gd name="T22" fmla="*/ 160 w 348"/>
                  <a:gd name="T23" fmla="*/ 21 h 104"/>
                  <a:gd name="T24" fmla="*/ 175 w 348"/>
                  <a:gd name="T25" fmla="*/ 19 h 104"/>
                  <a:gd name="T26" fmla="*/ 189 w 348"/>
                  <a:gd name="T27" fmla="*/ 16 h 104"/>
                  <a:gd name="T28" fmla="*/ 201 w 348"/>
                  <a:gd name="T29" fmla="*/ 14 h 104"/>
                  <a:gd name="T30" fmla="*/ 209 w 348"/>
                  <a:gd name="T31" fmla="*/ 13 h 104"/>
                  <a:gd name="T32" fmla="*/ 213 w 348"/>
                  <a:gd name="T33" fmla="*/ 12 h 104"/>
                  <a:gd name="T34" fmla="*/ 221 w 348"/>
                  <a:gd name="T35" fmla="*/ 11 h 104"/>
                  <a:gd name="T36" fmla="*/ 235 w 348"/>
                  <a:gd name="T37" fmla="*/ 8 h 104"/>
                  <a:gd name="T38" fmla="*/ 251 w 348"/>
                  <a:gd name="T39" fmla="*/ 7 h 104"/>
                  <a:gd name="T40" fmla="*/ 269 w 348"/>
                  <a:gd name="T41" fmla="*/ 5 h 104"/>
                  <a:gd name="T42" fmla="*/ 286 w 348"/>
                  <a:gd name="T43" fmla="*/ 2 h 104"/>
                  <a:gd name="T44" fmla="*/ 300 w 348"/>
                  <a:gd name="T45" fmla="*/ 1 h 104"/>
                  <a:gd name="T46" fmla="*/ 310 w 348"/>
                  <a:gd name="T47" fmla="*/ 0 h 104"/>
                  <a:gd name="T48" fmla="*/ 313 w 348"/>
                  <a:gd name="T49" fmla="*/ 0 h 104"/>
                  <a:gd name="T50" fmla="*/ 348 w 348"/>
                  <a:gd name="T51" fmla="*/ 35 h 104"/>
                  <a:gd name="T52" fmla="*/ 58 w 348"/>
                  <a:gd name="T53" fmla="*/ 104 h 104"/>
                  <a:gd name="T54" fmla="*/ 0 w 348"/>
                  <a:gd name="T55" fmla="*/ 87 h 104"/>
                  <a:gd name="T56" fmla="*/ 4 w 348"/>
                  <a:gd name="T57" fmla="*/ 85 h 104"/>
                  <a:gd name="T58" fmla="*/ 9 w 348"/>
                  <a:gd name="T59" fmla="*/ 80 h 104"/>
                  <a:gd name="T60" fmla="*/ 13 w 348"/>
                  <a:gd name="T61" fmla="*/ 67 h 104"/>
                  <a:gd name="T62" fmla="*/ 12 w 348"/>
                  <a:gd name="T63" fmla="*/ 46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48" h="104">
                    <a:moveTo>
                      <a:pt x="12" y="46"/>
                    </a:moveTo>
                    <a:lnTo>
                      <a:pt x="14" y="46"/>
                    </a:lnTo>
                    <a:lnTo>
                      <a:pt x="20" y="45"/>
                    </a:lnTo>
                    <a:lnTo>
                      <a:pt x="29" y="43"/>
                    </a:lnTo>
                    <a:lnTo>
                      <a:pt x="42" y="42"/>
                    </a:lnTo>
                    <a:lnTo>
                      <a:pt x="55" y="38"/>
                    </a:lnTo>
                    <a:lnTo>
                      <a:pt x="72" y="36"/>
                    </a:lnTo>
                    <a:lnTo>
                      <a:pt x="89" y="32"/>
                    </a:lnTo>
                    <a:lnTo>
                      <a:pt x="107" y="30"/>
                    </a:lnTo>
                    <a:lnTo>
                      <a:pt x="125" y="27"/>
                    </a:lnTo>
                    <a:lnTo>
                      <a:pt x="143" y="23"/>
                    </a:lnTo>
                    <a:lnTo>
                      <a:pt x="160" y="21"/>
                    </a:lnTo>
                    <a:lnTo>
                      <a:pt x="175" y="19"/>
                    </a:lnTo>
                    <a:lnTo>
                      <a:pt x="189" y="16"/>
                    </a:lnTo>
                    <a:lnTo>
                      <a:pt x="201" y="14"/>
                    </a:lnTo>
                    <a:lnTo>
                      <a:pt x="209" y="13"/>
                    </a:lnTo>
                    <a:lnTo>
                      <a:pt x="213" y="12"/>
                    </a:lnTo>
                    <a:lnTo>
                      <a:pt x="221" y="11"/>
                    </a:lnTo>
                    <a:lnTo>
                      <a:pt x="235" y="8"/>
                    </a:lnTo>
                    <a:lnTo>
                      <a:pt x="251" y="7"/>
                    </a:lnTo>
                    <a:lnTo>
                      <a:pt x="269" y="5"/>
                    </a:lnTo>
                    <a:lnTo>
                      <a:pt x="286" y="2"/>
                    </a:lnTo>
                    <a:lnTo>
                      <a:pt x="300" y="1"/>
                    </a:lnTo>
                    <a:lnTo>
                      <a:pt x="310" y="0"/>
                    </a:lnTo>
                    <a:lnTo>
                      <a:pt x="313" y="0"/>
                    </a:lnTo>
                    <a:lnTo>
                      <a:pt x="348" y="35"/>
                    </a:lnTo>
                    <a:lnTo>
                      <a:pt x="58" y="104"/>
                    </a:lnTo>
                    <a:lnTo>
                      <a:pt x="0" y="87"/>
                    </a:lnTo>
                    <a:lnTo>
                      <a:pt x="4" y="85"/>
                    </a:lnTo>
                    <a:lnTo>
                      <a:pt x="9" y="80"/>
                    </a:lnTo>
                    <a:lnTo>
                      <a:pt x="13" y="67"/>
                    </a:lnTo>
                    <a:lnTo>
                      <a:pt x="12" y="46"/>
                    </a:lnTo>
                    <a:close/>
                  </a:path>
                </a:pathLst>
              </a:custGeom>
              <a:solidFill>
                <a:srgbClr val="AB0086">
                  <a:lumMod val="75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8" name="Freeform 177"/>
              <p:cNvSpPr>
                <a:spLocks/>
              </p:cNvSpPr>
              <p:nvPr/>
            </p:nvSpPr>
            <p:spPr bwMode="auto">
              <a:xfrm rot="20813856" flipH="1">
                <a:off x="10711312" y="2320785"/>
                <a:ext cx="471324" cy="78554"/>
              </a:xfrm>
              <a:custGeom>
                <a:avLst/>
                <a:gdLst>
                  <a:gd name="T0" fmla="*/ 59 w 408"/>
                  <a:gd name="T1" fmla="*/ 0 h 70"/>
                  <a:gd name="T2" fmla="*/ 58 w 408"/>
                  <a:gd name="T3" fmla="*/ 2 h 70"/>
                  <a:gd name="T4" fmla="*/ 55 w 408"/>
                  <a:gd name="T5" fmla="*/ 6 h 70"/>
                  <a:gd name="T6" fmla="*/ 50 w 408"/>
                  <a:gd name="T7" fmla="*/ 12 h 70"/>
                  <a:gd name="T8" fmla="*/ 43 w 408"/>
                  <a:gd name="T9" fmla="*/ 19 h 70"/>
                  <a:gd name="T10" fmla="*/ 35 w 408"/>
                  <a:gd name="T11" fmla="*/ 26 h 70"/>
                  <a:gd name="T12" fmla="*/ 25 w 408"/>
                  <a:gd name="T13" fmla="*/ 33 h 70"/>
                  <a:gd name="T14" fmla="*/ 14 w 408"/>
                  <a:gd name="T15" fmla="*/ 39 h 70"/>
                  <a:gd name="T16" fmla="*/ 2 w 408"/>
                  <a:gd name="T17" fmla="*/ 43 h 70"/>
                  <a:gd name="T18" fmla="*/ 0 w 408"/>
                  <a:gd name="T19" fmla="*/ 45 h 70"/>
                  <a:gd name="T20" fmla="*/ 9 w 408"/>
                  <a:gd name="T21" fmla="*/ 47 h 70"/>
                  <a:gd name="T22" fmla="*/ 25 w 408"/>
                  <a:gd name="T23" fmla="*/ 49 h 70"/>
                  <a:gd name="T24" fmla="*/ 48 w 408"/>
                  <a:gd name="T25" fmla="*/ 51 h 70"/>
                  <a:gd name="T26" fmla="*/ 75 w 408"/>
                  <a:gd name="T27" fmla="*/ 53 h 70"/>
                  <a:gd name="T28" fmla="*/ 109 w 408"/>
                  <a:gd name="T29" fmla="*/ 56 h 70"/>
                  <a:gd name="T30" fmla="*/ 144 w 408"/>
                  <a:gd name="T31" fmla="*/ 58 h 70"/>
                  <a:gd name="T32" fmla="*/ 181 w 408"/>
                  <a:gd name="T33" fmla="*/ 59 h 70"/>
                  <a:gd name="T34" fmla="*/ 219 w 408"/>
                  <a:gd name="T35" fmla="*/ 62 h 70"/>
                  <a:gd name="T36" fmla="*/ 256 w 408"/>
                  <a:gd name="T37" fmla="*/ 64 h 70"/>
                  <a:gd name="T38" fmla="*/ 291 w 408"/>
                  <a:gd name="T39" fmla="*/ 65 h 70"/>
                  <a:gd name="T40" fmla="*/ 322 w 408"/>
                  <a:gd name="T41" fmla="*/ 67 h 70"/>
                  <a:gd name="T42" fmla="*/ 350 w 408"/>
                  <a:gd name="T43" fmla="*/ 68 h 70"/>
                  <a:gd name="T44" fmla="*/ 369 w 408"/>
                  <a:gd name="T45" fmla="*/ 68 h 70"/>
                  <a:gd name="T46" fmla="*/ 383 w 408"/>
                  <a:gd name="T47" fmla="*/ 70 h 70"/>
                  <a:gd name="T48" fmla="*/ 388 w 408"/>
                  <a:gd name="T49" fmla="*/ 70 h 70"/>
                  <a:gd name="T50" fmla="*/ 408 w 408"/>
                  <a:gd name="T51" fmla="*/ 64 h 70"/>
                  <a:gd name="T52" fmla="*/ 406 w 408"/>
                  <a:gd name="T53" fmla="*/ 62 h 70"/>
                  <a:gd name="T54" fmla="*/ 399 w 408"/>
                  <a:gd name="T55" fmla="*/ 57 h 70"/>
                  <a:gd name="T56" fmla="*/ 391 w 408"/>
                  <a:gd name="T57" fmla="*/ 47 h 70"/>
                  <a:gd name="T58" fmla="*/ 384 w 408"/>
                  <a:gd name="T59" fmla="*/ 33 h 70"/>
                  <a:gd name="T60" fmla="*/ 381 w 408"/>
                  <a:gd name="T61" fmla="*/ 33 h 70"/>
                  <a:gd name="T62" fmla="*/ 371 w 408"/>
                  <a:gd name="T63" fmla="*/ 33 h 70"/>
                  <a:gd name="T64" fmla="*/ 358 w 408"/>
                  <a:gd name="T65" fmla="*/ 33 h 70"/>
                  <a:gd name="T66" fmla="*/ 338 w 408"/>
                  <a:gd name="T67" fmla="*/ 33 h 70"/>
                  <a:gd name="T68" fmla="*/ 316 w 408"/>
                  <a:gd name="T69" fmla="*/ 33 h 70"/>
                  <a:gd name="T70" fmla="*/ 291 w 408"/>
                  <a:gd name="T71" fmla="*/ 33 h 70"/>
                  <a:gd name="T72" fmla="*/ 264 w 408"/>
                  <a:gd name="T73" fmla="*/ 32 h 70"/>
                  <a:gd name="T74" fmla="*/ 235 w 408"/>
                  <a:gd name="T75" fmla="*/ 30 h 70"/>
                  <a:gd name="T76" fmla="*/ 207 w 408"/>
                  <a:gd name="T77" fmla="*/ 29 h 70"/>
                  <a:gd name="T78" fmla="*/ 178 w 408"/>
                  <a:gd name="T79" fmla="*/ 27 h 70"/>
                  <a:gd name="T80" fmla="*/ 151 w 408"/>
                  <a:gd name="T81" fmla="*/ 25 h 70"/>
                  <a:gd name="T82" fmla="*/ 126 w 408"/>
                  <a:gd name="T83" fmla="*/ 21 h 70"/>
                  <a:gd name="T84" fmla="*/ 103 w 408"/>
                  <a:gd name="T85" fmla="*/ 17 h 70"/>
                  <a:gd name="T86" fmla="*/ 83 w 408"/>
                  <a:gd name="T87" fmla="*/ 12 h 70"/>
                  <a:gd name="T88" fmla="*/ 68 w 408"/>
                  <a:gd name="T89" fmla="*/ 7 h 70"/>
                  <a:gd name="T90" fmla="*/ 59 w 408"/>
                  <a:gd name="T91" fmla="*/ 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08" h="70">
                    <a:moveTo>
                      <a:pt x="59" y="0"/>
                    </a:moveTo>
                    <a:lnTo>
                      <a:pt x="58" y="2"/>
                    </a:lnTo>
                    <a:lnTo>
                      <a:pt x="55" y="6"/>
                    </a:lnTo>
                    <a:lnTo>
                      <a:pt x="50" y="12"/>
                    </a:lnTo>
                    <a:lnTo>
                      <a:pt x="43" y="19"/>
                    </a:lnTo>
                    <a:lnTo>
                      <a:pt x="35" y="26"/>
                    </a:lnTo>
                    <a:lnTo>
                      <a:pt x="25" y="33"/>
                    </a:lnTo>
                    <a:lnTo>
                      <a:pt x="14" y="39"/>
                    </a:lnTo>
                    <a:lnTo>
                      <a:pt x="2" y="43"/>
                    </a:lnTo>
                    <a:lnTo>
                      <a:pt x="0" y="45"/>
                    </a:lnTo>
                    <a:lnTo>
                      <a:pt x="9" y="47"/>
                    </a:lnTo>
                    <a:lnTo>
                      <a:pt x="25" y="49"/>
                    </a:lnTo>
                    <a:lnTo>
                      <a:pt x="48" y="51"/>
                    </a:lnTo>
                    <a:lnTo>
                      <a:pt x="75" y="53"/>
                    </a:lnTo>
                    <a:lnTo>
                      <a:pt x="109" y="56"/>
                    </a:lnTo>
                    <a:lnTo>
                      <a:pt x="144" y="58"/>
                    </a:lnTo>
                    <a:lnTo>
                      <a:pt x="181" y="59"/>
                    </a:lnTo>
                    <a:lnTo>
                      <a:pt x="219" y="62"/>
                    </a:lnTo>
                    <a:lnTo>
                      <a:pt x="256" y="64"/>
                    </a:lnTo>
                    <a:lnTo>
                      <a:pt x="291" y="65"/>
                    </a:lnTo>
                    <a:lnTo>
                      <a:pt x="322" y="67"/>
                    </a:lnTo>
                    <a:lnTo>
                      <a:pt x="350" y="68"/>
                    </a:lnTo>
                    <a:lnTo>
                      <a:pt x="369" y="68"/>
                    </a:lnTo>
                    <a:lnTo>
                      <a:pt x="383" y="70"/>
                    </a:lnTo>
                    <a:lnTo>
                      <a:pt x="388" y="70"/>
                    </a:lnTo>
                    <a:lnTo>
                      <a:pt x="408" y="64"/>
                    </a:lnTo>
                    <a:lnTo>
                      <a:pt x="406" y="62"/>
                    </a:lnTo>
                    <a:lnTo>
                      <a:pt x="399" y="57"/>
                    </a:lnTo>
                    <a:lnTo>
                      <a:pt x="391" y="47"/>
                    </a:lnTo>
                    <a:lnTo>
                      <a:pt x="384" y="33"/>
                    </a:lnTo>
                    <a:lnTo>
                      <a:pt x="381" y="33"/>
                    </a:lnTo>
                    <a:lnTo>
                      <a:pt x="371" y="33"/>
                    </a:lnTo>
                    <a:lnTo>
                      <a:pt x="358" y="33"/>
                    </a:lnTo>
                    <a:lnTo>
                      <a:pt x="338" y="33"/>
                    </a:lnTo>
                    <a:lnTo>
                      <a:pt x="316" y="33"/>
                    </a:lnTo>
                    <a:lnTo>
                      <a:pt x="291" y="33"/>
                    </a:lnTo>
                    <a:lnTo>
                      <a:pt x="264" y="32"/>
                    </a:lnTo>
                    <a:lnTo>
                      <a:pt x="235" y="30"/>
                    </a:lnTo>
                    <a:lnTo>
                      <a:pt x="207" y="29"/>
                    </a:lnTo>
                    <a:lnTo>
                      <a:pt x="178" y="27"/>
                    </a:lnTo>
                    <a:lnTo>
                      <a:pt x="151" y="25"/>
                    </a:lnTo>
                    <a:lnTo>
                      <a:pt x="126" y="21"/>
                    </a:lnTo>
                    <a:lnTo>
                      <a:pt x="103" y="17"/>
                    </a:lnTo>
                    <a:lnTo>
                      <a:pt x="83" y="12"/>
                    </a:lnTo>
                    <a:lnTo>
                      <a:pt x="68" y="7"/>
                    </a:lnTo>
                    <a:lnTo>
                      <a:pt x="59" y="0"/>
                    </a:lnTo>
                    <a:close/>
                  </a:path>
                </a:pathLst>
              </a:custGeom>
              <a:solidFill>
                <a:srgbClr val="AB0086">
                  <a:lumMod val="75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9" name="Freeform 178"/>
              <p:cNvSpPr>
                <a:spLocks/>
              </p:cNvSpPr>
              <p:nvPr/>
            </p:nvSpPr>
            <p:spPr bwMode="auto">
              <a:xfrm rot="20813856" flipH="1">
                <a:off x="10681344" y="2355360"/>
                <a:ext cx="71624" cy="83175"/>
              </a:xfrm>
              <a:custGeom>
                <a:avLst/>
                <a:gdLst>
                  <a:gd name="T0" fmla="*/ 62 w 62"/>
                  <a:gd name="T1" fmla="*/ 36 h 73"/>
                  <a:gd name="T2" fmla="*/ 60 w 62"/>
                  <a:gd name="T3" fmla="*/ 51 h 73"/>
                  <a:gd name="T4" fmla="*/ 53 w 62"/>
                  <a:gd name="T5" fmla="*/ 63 h 73"/>
                  <a:gd name="T6" fmla="*/ 43 w 62"/>
                  <a:gd name="T7" fmla="*/ 71 h 73"/>
                  <a:gd name="T8" fmla="*/ 31 w 62"/>
                  <a:gd name="T9" fmla="*/ 73 h 73"/>
                  <a:gd name="T10" fmla="*/ 18 w 62"/>
                  <a:gd name="T11" fmla="*/ 71 h 73"/>
                  <a:gd name="T12" fmla="*/ 9 w 62"/>
                  <a:gd name="T13" fmla="*/ 63 h 73"/>
                  <a:gd name="T14" fmla="*/ 2 w 62"/>
                  <a:gd name="T15" fmla="*/ 51 h 73"/>
                  <a:gd name="T16" fmla="*/ 0 w 62"/>
                  <a:gd name="T17" fmla="*/ 36 h 73"/>
                  <a:gd name="T18" fmla="*/ 2 w 62"/>
                  <a:gd name="T19" fmla="*/ 22 h 73"/>
                  <a:gd name="T20" fmla="*/ 9 w 62"/>
                  <a:gd name="T21" fmla="*/ 11 h 73"/>
                  <a:gd name="T22" fmla="*/ 18 w 62"/>
                  <a:gd name="T23" fmla="*/ 3 h 73"/>
                  <a:gd name="T24" fmla="*/ 31 w 62"/>
                  <a:gd name="T25" fmla="*/ 0 h 73"/>
                  <a:gd name="T26" fmla="*/ 43 w 62"/>
                  <a:gd name="T27" fmla="*/ 3 h 73"/>
                  <a:gd name="T28" fmla="*/ 53 w 62"/>
                  <a:gd name="T29" fmla="*/ 11 h 73"/>
                  <a:gd name="T30" fmla="*/ 60 w 62"/>
                  <a:gd name="T31" fmla="*/ 22 h 73"/>
                  <a:gd name="T32" fmla="*/ 62 w 62"/>
                  <a:gd name="T33" fmla="*/ 36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2" h="73">
                    <a:moveTo>
                      <a:pt x="62" y="36"/>
                    </a:moveTo>
                    <a:lnTo>
                      <a:pt x="60" y="51"/>
                    </a:lnTo>
                    <a:lnTo>
                      <a:pt x="53" y="63"/>
                    </a:lnTo>
                    <a:lnTo>
                      <a:pt x="43" y="71"/>
                    </a:lnTo>
                    <a:lnTo>
                      <a:pt x="31" y="73"/>
                    </a:lnTo>
                    <a:lnTo>
                      <a:pt x="18" y="71"/>
                    </a:lnTo>
                    <a:lnTo>
                      <a:pt x="9" y="63"/>
                    </a:lnTo>
                    <a:lnTo>
                      <a:pt x="2" y="51"/>
                    </a:lnTo>
                    <a:lnTo>
                      <a:pt x="0" y="36"/>
                    </a:lnTo>
                    <a:lnTo>
                      <a:pt x="2" y="22"/>
                    </a:lnTo>
                    <a:lnTo>
                      <a:pt x="9" y="11"/>
                    </a:lnTo>
                    <a:lnTo>
                      <a:pt x="18" y="3"/>
                    </a:lnTo>
                    <a:lnTo>
                      <a:pt x="31" y="0"/>
                    </a:lnTo>
                    <a:lnTo>
                      <a:pt x="43" y="3"/>
                    </a:lnTo>
                    <a:lnTo>
                      <a:pt x="53" y="11"/>
                    </a:lnTo>
                    <a:lnTo>
                      <a:pt x="60" y="22"/>
                    </a:lnTo>
                    <a:lnTo>
                      <a:pt x="62" y="36"/>
                    </a:lnTo>
                    <a:close/>
                  </a:path>
                </a:pathLst>
              </a:custGeom>
              <a:solidFill>
                <a:srgbClr val="4B004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1" name="Freeform 24"/>
              <p:cNvSpPr>
                <a:spLocks/>
              </p:cNvSpPr>
              <p:nvPr/>
            </p:nvSpPr>
            <p:spPr bwMode="auto">
              <a:xfrm rot="20813856" flipH="1">
                <a:off x="10088700" y="2438469"/>
                <a:ext cx="73933" cy="83175"/>
              </a:xfrm>
              <a:prstGeom prst="ellipse">
                <a:avLst/>
              </a:prstGeom>
              <a:solidFill>
                <a:srgbClr val="4B004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2" name="Freeform 181"/>
              <p:cNvSpPr>
                <a:spLocks/>
              </p:cNvSpPr>
              <p:nvPr/>
            </p:nvSpPr>
            <p:spPr bwMode="auto">
              <a:xfrm rot="20813856" flipH="1">
                <a:off x="9225313" y="1861087"/>
                <a:ext cx="2633871" cy="700056"/>
              </a:xfrm>
              <a:custGeom>
                <a:avLst/>
                <a:gdLst>
                  <a:gd name="T0" fmla="*/ 1424 w 2280"/>
                  <a:gd name="T1" fmla="*/ 315 h 605"/>
                  <a:gd name="T2" fmla="*/ 1008 w 2280"/>
                  <a:gd name="T3" fmla="*/ 287 h 605"/>
                  <a:gd name="T4" fmla="*/ 576 w 2280"/>
                  <a:gd name="T5" fmla="*/ 222 h 605"/>
                  <a:gd name="T6" fmla="*/ 202 w 2280"/>
                  <a:gd name="T7" fmla="*/ 173 h 605"/>
                  <a:gd name="T8" fmla="*/ 228 w 2280"/>
                  <a:gd name="T9" fmla="*/ 224 h 605"/>
                  <a:gd name="T10" fmla="*/ 62 w 2280"/>
                  <a:gd name="T11" fmla="*/ 264 h 605"/>
                  <a:gd name="T12" fmla="*/ 26 w 2280"/>
                  <a:gd name="T13" fmla="*/ 396 h 605"/>
                  <a:gd name="T14" fmla="*/ 241 w 2280"/>
                  <a:gd name="T15" fmla="*/ 516 h 605"/>
                  <a:gd name="T16" fmla="*/ 319 w 2280"/>
                  <a:gd name="T17" fmla="*/ 534 h 605"/>
                  <a:gd name="T18" fmla="*/ 397 w 2280"/>
                  <a:gd name="T19" fmla="*/ 590 h 605"/>
                  <a:gd name="T20" fmla="*/ 471 w 2280"/>
                  <a:gd name="T21" fmla="*/ 555 h 605"/>
                  <a:gd name="T22" fmla="*/ 1016 w 2280"/>
                  <a:gd name="T23" fmla="*/ 580 h 605"/>
                  <a:gd name="T24" fmla="*/ 1067 w 2280"/>
                  <a:gd name="T25" fmla="*/ 476 h 605"/>
                  <a:gd name="T26" fmla="*/ 945 w 2280"/>
                  <a:gd name="T27" fmla="*/ 492 h 605"/>
                  <a:gd name="T28" fmla="*/ 676 w 2280"/>
                  <a:gd name="T29" fmla="*/ 461 h 605"/>
                  <a:gd name="T30" fmla="*/ 910 w 2280"/>
                  <a:gd name="T31" fmla="*/ 428 h 605"/>
                  <a:gd name="T32" fmla="*/ 255 w 2280"/>
                  <a:gd name="T33" fmla="*/ 303 h 605"/>
                  <a:gd name="T34" fmla="*/ 202 w 2280"/>
                  <a:gd name="T35" fmla="*/ 364 h 605"/>
                  <a:gd name="T36" fmla="*/ 391 w 2280"/>
                  <a:gd name="T37" fmla="*/ 357 h 605"/>
                  <a:gd name="T38" fmla="*/ 183 w 2280"/>
                  <a:gd name="T39" fmla="*/ 318 h 605"/>
                  <a:gd name="T40" fmla="*/ 782 w 2280"/>
                  <a:gd name="T41" fmla="*/ 370 h 605"/>
                  <a:gd name="T42" fmla="*/ 798 w 2280"/>
                  <a:gd name="T43" fmla="*/ 417 h 605"/>
                  <a:gd name="T44" fmla="*/ 667 w 2280"/>
                  <a:gd name="T45" fmla="*/ 477 h 605"/>
                  <a:gd name="T46" fmla="*/ 1010 w 2280"/>
                  <a:gd name="T47" fmla="*/ 484 h 605"/>
                  <a:gd name="T48" fmla="*/ 992 w 2280"/>
                  <a:gd name="T49" fmla="*/ 549 h 605"/>
                  <a:gd name="T50" fmla="*/ 865 w 2280"/>
                  <a:gd name="T51" fmla="*/ 553 h 605"/>
                  <a:gd name="T52" fmla="*/ 447 w 2280"/>
                  <a:gd name="T53" fmla="*/ 569 h 605"/>
                  <a:gd name="T54" fmla="*/ 340 w 2280"/>
                  <a:gd name="T55" fmla="*/ 549 h 605"/>
                  <a:gd name="T56" fmla="*/ 255 w 2280"/>
                  <a:gd name="T57" fmla="*/ 575 h 605"/>
                  <a:gd name="T58" fmla="*/ 211 w 2280"/>
                  <a:gd name="T59" fmla="*/ 479 h 605"/>
                  <a:gd name="T60" fmla="*/ 22 w 2280"/>
                  <a:gd name="T61" fmla="*/ 320 h 605"/>
                  <a:gd name="T62" fmla="*/ 154 w 2280"/>
                  <a:gd name="T63" fmla="*/ 239 h 605"/>
                  <a:gd name="T64" fmla="*/ 220 w 2280"/>
                  <a:gd name="T65" fmla="*/ 195 h 605"/>
                  <a:gd name="T66" fmla="*/ 460 w 2280"/>
                  <a:gd name="T67" fmla="*/ 214 h 605"/>
                  <a:gd name="T68" fmla="*/ 824 w 2280"/>
                  <a:gd name="T69" fmla="*/ 285 h 605"/>
                  <a:gd name="T70" fmla="*/ 1388 w 2280"/>
                  <a:gd name="T71" fmla="*/ 347 h 605"/>
                  <a:gd name="T72" fmla="*/ 1595 w 2280"/>
                  <a:gd name="T73" fmla="*/ 142 h 605"/>
                  <a:gd name="T74" fmla="*/ 1715 w 2280"/>
                  <a:gd name="T75" fmla="*/ 262 h 605"/>
                  <a:gd name="T76" fmla="*/ 2105 w 2280"/>
                  <a:gd name="T77" fmla="*/ 322 h 605"/>
                  <a:gd name="T78" fmla="*/ 1999 w 2280"/>
                  <a:gd name="T79" fmla="*/ 355 h 605"/>
                  <a:gd name="T80" fmla="*/ 1869 w 2280"/>
                  <a:gd name="T81" fmla="*/ 402 h 605"/>
                  <a:gd name="T82" fmla="*/ 1719 w 2280"/>
                  <a:gd name="T83" fmla="*/ 448 h 605"/>
                  <a:gd name="T84" fmla="*/ 1593 w 2280"/>
                  <a:gd name="T85" fmla="*/ 505 h 605"/>
                  <a:gd name="T86" fmla="*/ 1297 w 2280"/>
                  <a:gd name="T87" fmla="*/ 565 h 605"/>
                  <a:gd name="T88" fmla="*/ 1203 w 2280"/>
                  <a:gd name="T89" fmla="*/ 546 h 605"/>
                  <a:gd name="T90" fmla="*/ 1152 w 2280"/>
                  <a:gd name="T91" fmla="*/ 468 h 605"/>
                  <a:gd name="T92" fmla="*/ 1244 w 2280"/>
                  <a:gd name="T93" fmla="*/ 424 h 605"/>
                  <a:gd name="T94" fmla="*/ 1700 w 2280"/>
                  <a:gd name="T95" fmla="*/ 389 h 605"/>
                  <a:gd name="T96" fmla="*/ 1695 w 2280"/>
                  <a:gd name="T97" fmla="*/ 411 h 605"/>
                  <a:gd name="T98" fmla="*/ 1562 w 2280"/>
                  <a:gd name="T99" fmla="*/ 470 h 605"/>
                  <a:gd name="T100" fmla="*/ 1330 w 2280"/>
                  <a:gd name="T101" fmla="*/ 453 h 605"/>
                  <a:gd name="T102" fmla="*/ 1521 w 2280"/>
                  <a:gd name="T103" fmla="*/ 489 h 605"/>
                  <a:gd name="T104" fmla="*/ 1612 w 2280"/>
                  <a:gd name="T105" fmla="*/ 429 h 605"/>
                  <a:gd name="T106" fmla="*/ 1677 w 2280"/>
                  <a:gd name="T107" fmla="*/ 364 h 605"/>
                  <a:gd name="T108" fmla="*/ 1138 w 2280"/>
                  <a:gd name="T109" fmla="*/ 482 h 605"/>
                  <a:gd name="T110" fmla="*/ 1189 w 2280"/>
                  <a:gd name="T111" fmla="*/ 534 h 605"/>
                  <a:gd name="T112" fmla="*/ 1311 w 2280"/>
                  <a:gd name="T113" fmla="*/ 580 h 605"/>
                  <a:gd name="T114" fmla="*/ 1628 w 2280"/>
                  <a:gd name="T115" fmla="*/ 515 h 605"/>
                  <a:gd name="T116" fmla="*/ 1740 w 2280"/>
                  <a:gd name="T117" fmla="*/ 474 h 605"/>
                  <a:gd name="T118" fmla="*/ 1914 w 2280"/>
                  <a:gd name="T119" fmla="*/ 415 h 605"/>
                  <a:gd name="T120" fmla="*/ 2045 w 2280"/>
                  <a:gd name="T121" fmla="*/ 368 h 605"/>
                  <a:gd name="T122" fmla="*/ 2068 w 2280"/>
                  <a:gd name="T123" fmla="*/ 307 h 605"/>
                  <a:gd name="T124" fmla="*/ 1802 w 2280"/>
                  <a:gd name="T125" fmla="*/ 23 h 6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280" h="605">
                    <a:moveTo>
                      <a:pt x="1686" y="3"/>
                    </a:moveTo>
                    <a:lnTo>
                      <a:pt x="1682" y="8"/>
                    </a:lnTo>
                    <a:lnTo>
                      <a:pt x="1673" y="18"/>
                    </a:lnTo>
                    <a:lnTo>
                      <a:pt x="1661" y="32"/>
                    </a:lnTo>
                    <a:lnTo>
                      <a:pt x="1646" y="50"/>
                    </a:lnTo>
                    <a:lnTo>
                      <a:pt x="1629" y="70"/>
                    </a:lnTo>
                    <a:lnTo>
                      <a:pt x="1609" y="93"/>
                    </a:lnTo>
                    <a:lnTo>
                      <a:pt x="1590" y="118"/>
                    </a:lnTo>
                    <a:lnTo>
                      <a:pt x="1568" y="143"/>
                    </a:lnTo>
                    <a:lnTo>
                      <a:pt x="1547" y="168"/>
                    </a:lnTo>
                    <a:lnTo>
                      <a:pt x="1525" y="194"/>
                    </a:lnTo>
                    <a:lnTo>
                      <a:pt x="1506" y="218"/>
                    </a:lnTo>
                    <a:lnTo>
                      <a:pt x="1487" y="240"/>
                    </a:lnTo>
                    <a:lnTo>
                      <a:pt x="1471" y="259"/>
                    </a:lnTo>
                    <a:lnTo>
                      <a:pt x="1457" y="275"/>
                    </a:lnTo>
                    <a:lnTo>
                      <a:pt x="1447" y="287"/>
                    </a:lnTo>
                    <a:lnTo>
                      <a:pt x="1441" y="295"/>
                    </a:lnTo>
                    <a:lnTo>
                      <a:pt x="1436" y="302"/>
                    </a:lnTo>
                    <a:lnTo>
                      <a:pt x="1430" y="309"/>
                    </a:lnTo>
                    <a:lnTo>
                      <a:pt x="1424" y="315"/>
                    </a:lnTo>
                    <a:lnTo>
                      <a:pt x="1418" y="319"/>
                    </a:lnTo>
                    <a:lnTo>
                      <a:pt x="1414" y="323"/>
                    </a:lnTo>
                    <a:lnTo>
                      <a:pt x="1409" y="326"/>
                    </a:lnTo>
                    <a:lnTo>
                      <a:pt x="1406" y="328"/>
                    </a:lnTo>
                    <a:lnTo>
                      <a:pt x="1403" y="330"/>
                    </a:lnTo>
                    <a:lnTo>
                      <a:pt x="1387" y="328"/>
                    </a:lnTo>
                    <a:lnTo>
                      <a:pt x="1369" y="326"/>
                    </a:lnTo>
                    <a:lnTo>
                      <a:pt x="1349" y="324"/>
                    </a:lnTo>
                    <a:lnTo>
                      <a:pt x="1326" y="322"/>
                    </a:lnTo>
                    <a:lnTo>
                      <a:pt x="1303" y="319"/>
                    </a:lnTo>
                    <a:lnTo>
                      <a:pt x="1278" y="317"/>
                    </a:lnTo>
                    <a:lnTo>
                      <a:pt x="1250" y="313"/>
                    </a:lnTo>
                    <a:lnTo>
                      <a:pt x="1222" y="311"/>
                    </a:lnTo>
                    <a:lnTo>
                      <a:pt x="1194" y="308"/>
                    </a:lnTo>
                    <a:lnTo>
                      <a:pt x="1164" y="304"/>
                    </a:lnTo>
                    <a:lnTo>
                      <a:pt x="1134" y="301"/>
                    </a:lnTo>
                    <a:lnTo>
                      <a:pt x="1103" y="297"/>
                    </a:lnTo>
                    <a:lnTo>
                      <a:pt x="1071" y="294"/>
                    </a:lnTo>
                    <a:lnTo>
                      <a:pt x="1040" y="290"/>
                    </a:lnTo>
                    <a:lnTo>
                      <a:pt x="1008" y="287"/>
                    </a:lnTo>
                    <a:lnTo>
                      <a:pt x="977" y="283"/>
                    </a:lnTo>
                    <a:lnTo>
                      <a:pt x="947" y="280"/>
                    </a:lnTo>
                    <a:lnTo>
                      <a:pt x="917" y="277"/>
                    </a:lnTo>
                    <a:lnTo>
                      <a:pt x="887" y="273"/>
                    </a:lnTo>
                    <a:lnTo>
                      <a:pt x="858" y="270"/>
                    </a:lnTo>
                    <a:lnTo>
                      <a:pt x="832" y="266"/>
                    </a:lnTo>
                    <a:lnTo>
                      <a:pt x="805" y="263"/>
                    </a:lnTo>
                    <a:lnTo>
                      <a:pt x="781" y="260"/>
                    </a:lnTo>
                    <a:lnTo>
                      <a:pt x="758" y="258"/>
                    </a:lnTo>
                    <a:lnTo>
                      <a:pt x="737" y="255"/>
                    </a:lnTo>
                    <a:lnTo>
                      <a:pt x="718" y="252"/>
                    </a:lnTo>
                    <a:lnTo>
                      <a:pt x="700" y="251"/>
                    </a:lnTo>
                    <a:lnTo>
                      <a:pt x="685" y="249"/>
                    </a:lnTo>
                    <a:lnTo>
                      <a:pt x="674" y="248"/>
                    </a:lnTo>
                    <a:lnTo>
                      <a:pt x="665" y="247"/>
                    </a:lnTo>
                    <a:lnTo>
                      <a:pt x="658" y="245"/>
                    </a:lnTo>
                    <a:lnTo>
                      <a:pt x="654" y="245"/>
                    </a:lnTo>
                    <a:lnTo>
                      <a:pt x="629" y="237"/>
                    </a:lnTo>
                    <a:lnTo>
                      <a:pt x="603" y="229"/>
                    </a:lnTo>
                    <a:lnTo>
                      <a:pt x="576" y="222"/>
                    </a:lnTo>
                    <a:lnTo>
                      <a:pt x="547" y="214"/>
                    </a:lnTo>
                    <a:lnTo>
                      <a:pt x="520" y="209"/>
                    </a:lnTo>
                    <a:lnTo>
                      <a:pt x="491" y="202"/>
                    </a:lnTo>
                    <a:lnTo>
                      <a:pt x="462" y="196"/>
                    </a:lnTo>
                    <a:lnTo>
                      <a:pt x="434" y="191"/>
                    </a:lnTo>
                    <a:lnTo>
                      <a:pt x="407" y="186"/>
                    </a:lnTo>
                    <a:lnTo>
                      <a:pt x="380" y="182"/>
                    </a:lnTo>
                    <a:lnTo>
                      <a:pt x="354" y="179"/>
                    </a:lnTo>
                    <a:lnTo>
                      <a:pt x="329" y="175"/>
                    </a:lnTo>
                    <a:lnTo>
                      <a:pt x="308" y="173"/>
                    </a:lnTo>
                    <a:lnTo>
                      <a:pt x="287" y="171"/>
                    </a:lnTo>
                    <a:lnTo>
                      <a:pt x="267" y="169"/>
                    </a:lnTo>
                    <a:lnTo>
                      <a:pt x="251" y="168"/>
                    </a:lnTo>
                    <a:lnTo>
                      <a:pt x="248" y="168"/>
                    </a:lnTo>
                    <a:lnTo>
                      <a:pt x="244" y="168"/>
                    </a:lnTo>
                    <a:lnTo>
                      <a:pt x="241" y="168"/>
                    </a:lnTo>
                    <a:lnTo>
                      <a:pt x="237" y="168"/>
                    </a:lnTo>
                    <a:lnTo>
                      <a:pt x="225" y="169"/>
                    </a:lnTo>
                    <a:lnTo>
                      <a:pt x="213" y="171"/>
                    </a:lnTo>
                    <a:lnTo>
                      <a:pt x="202" y="173"/>
                    </a:lnTo>
                    <a:lnTo>
                      <a:pt x="190" y="175"/>
                    </a:lnTo>
                    <a:lnTo>
                      <a:pt x="180" y="179"/>
                    </a:lnTo>
                    <a:lnTo>
                      <a:pt x="171" y="182"/>
                    </a:lnTo>
                    <a:lnTo>
                      <a:pt x="161" y="187"/>
                    </a:lnTo>
                    <a:lnTo>
                      <a:pt x="152" y="192"/>
                    </a:lnTo>
                    <a:lnTo>
                      <a:pt x="134" y="205"/>
                    </a:lnTo>
                    <a:lnTo>
                      <a:pt x="172" y="212"/>
                    </a:lnTo>
                    <a:lnTo>
                      <a:pt x="173" y="212"/>
                    </a:lnTo>
                    <a:lnTo>
                      <a:pt x="182" y="211"/>
                    </a:lnTo>
                    <a:lnTo>
                      <a:pt x="191" y="211"/>
                    </a:lnTo>
                    <a:lnTo>
                      <a:pt x="199" y="211"/>
                    </a:lnTo>
                    <a:lnTo>
                      <a:pt x="206" y="211"/>
                    </a:lnTo>
                    <a:lnTo>
                      <a:pt x="212" y="212"/>
                    </a:lnTo>
                    <a:lnTo>
                      <a:pt x="218" y="212"/>
                    </a:lnTo>
                    <a:lnTo>
                      <a:pt x="222" y="213"/>
                    </a:lnTo>
                    <a:lnTo>
                      <a:pt x="226" y="214"/>
                    </a:lnTo>
                    <a:lnTo>
                      <a:pt x="227" y="217"/>
                    </a:lnTo>
                    <a:lnTo>
                      <a:pt x="227" y="219"/>
                    </a:lnTo>
                    <a:lnTo>
                      <a:pt x="227" y="220"/>
                    </a:lnTo>
                    <a:lnTo>
                      <a:pt x="228" y="224"/>
                    </a:lnTo>
                    <a:lnTo>
                      <a:pt x="221" y="222"/>
                    </a:lnTo>
                    <a:lnTo>
                      <a:pt x="213" y="221"/>
                    </a:lnTo>
                    <a:lnTo>
                      <a:pt x="206" y="221"/>
                    </a:lnTo>
                    <a:lnTo>
                      <a:pt x="199" y="220"/>
                    </a:lnTo>
                    <a:lnTo>
                      <a:pt x="191" y="220"/>
                    </a:lnTo>
                    <a:lnTo>
                      <a:pt x="184" y="220"/>
                    </a:lnTo>
                    <a:lnTo>
                      <a:pt x="176" y="220"/>
                    </a:lnTo>
                    <a:lnTo>
                      <a:pt x="169" y="220"/>
                    </a:lnTo>
                    <a:lnTo>
                      <a:pt x="153" y="220"/>
                    </a:lnTo>
                    <a:lnTo>
                      <a:pt x="121" y="222"/>
                    </a:lnTo>
                    <a:lnTo>
                      <a:pt x="119" y="225"/>
                    </a:lnTo>
                    <a:lnTo>
                      <a:pt x="114" y="229"/>
                    </a:lnTo>
                    <a:lnTo>
                      <a:pt x="107" y="234"/>
                    </a:lnTo>
                    <a:lnTo>
                      <a:pt x="98" y="240"/>
                    </a:lnTo>
                    <a:lnTo>
                      <a:pt x="88" y="247"/>
                    </a:lnTo>
                    <a:lnTo>
                      <a:pt x="83" y="250"/>
                    </a:lnTo>
                    <a:lnTo>
                      <a:pt x="78" y="254"/>
                    </a:lnTo>
                    <a:lnTo>
                      <a:pt x="73" y="257"/>
                    </a:lnTo>
                    <a:lnTo>
                      <a:pt x="68" y="260"/>
                    </a:lnTo>
                    <a:lnTo>
                      <a:pt x="62" y="264"/>
                    </a:lnTo>
                    <a:lnTo>
                      <a:pt x="58" y="267"/>
                    </a:lnTo>
                    <a:lnTo>
                      <a:pt x="52" y="271"/>
                    </a:lnTo>
                    <a:lnTo>
                      <a:pt x="47" y="274"/>
                    </a:lnTo>
                    <a:lnTo>
                      <a:pt x="40" y="280"/>
                    </a:lnTo>
                    <a:lnTo>
                      <a:pt x="33" y="285"/>
                    </a:lnTo>
                    <a:lnTo>
                      <a:pt x="28" y="289"/>
                    </a:lnTo>
                    <a:lnTo>
                      <a:pt x="21" y="294"/>
                    </a:lnTo>
                    <a:lnTo>
                      <a:pt x="15" y="300"/>
                    </a:lnTo>
                    <a:lnTo>
                      <a:pt x="9" y="305"/>
                    </a:lnTo>
                    <a:lnTo>
                      <a:pt x="6" y="312"/>
                    </a:lnTo>
                    <a:lnTo>
                      <a:pt x="2" y="319"/>
                    </a:lnTo>
                    <a:lnTo>
                      <a:pt x="0" y="327"/>
                    </a:lnTo>
                    <a:lnTo>
                      <a:pt x="0" y="330"/>
                    </a:lnTo>
                    <a:lnTo>
                      <a:pt x="0" y="332"/>
                    </a:lnTo>
                    <a:lnTo>
                      <a:pt x="0" y="333"/>
                    </a:lnTo>
                    <a:lnTo>
                      <a:pt x="0" y="335"/>
                    </a:lnTo>
                    <a:lnTo>
                      <a:pt x="1" y="349"/>
                    </a:lnTo>
                    <a:lnTo>
                      <a:pt x="7" y="364"/>
                    </a:lnTo>
                    <a:lnTo>
                      <a:pt x="15" y="379"/>
                    </a:lnTo>
                    <a:lnTo>
                      <a:pt x="26" y="396"/>
                    </a:lnTo>
                    <a:lnTo>
                      <a:pt x="37" y="408"/>
                    </a:lnTo>
                    <a:lnTo>
                      <a:pt x="48" y="419"/>
                    </a:lnTo>
                    <a:lnTo>
                      <a:pt x="61" y="430"/>
                    </a:lnTo>
                    <a:lnTo>
                      <a:pt x="76" y="439"/>
                    </a:lnTo>
                    <a:lnTo>
                      <a:pt x="91" y="448"/>
                    </a:lnTo>
                    <a:lnTo>
                      <a:pt x="107" y="457"/>
                    </a:lnTo>
                    <a:lnTo>
                      <a:pt x="123" y="466"/>
                    </a:lnTo>
                    <a:lnTo>
                      <a:pt x="139" y="472"/>
                    </a:lnTo>
                    <a:lnTo>
                      <a:pt x="156" y="479"/>
                    </a:lnTo>
                    <a:lnTo>
                      <a:pt x="172" y="486"/>
                    </a:lnTo>
                    <a:lnTo>
                      <a:pt x="187" y="491"/>
                    </a:lnTo>
                    <a:lnTo>
                      <a:pt x="200" y="497"/>
                    </a:lnTo>
                    <a:lnTo>
                      <a:pt x="213" y="500"/>
                    </a:lnTo>
                    <a:lnTo>
                      <a:pt x="224" y="504"/>
                    </a:lnTo>
                    <a:lnTo>
                      <a:pt x="233" y="506"/>
                    </a:lnTo>
                    <a:lnTo>
                      <a:pt x="240" y="508"/>
                    </a:lnTo>
                    <a:lnTo>
                      <a:pt x="241" y="511"/>
                    </a:lnTo>
                    <a:lnTo>
                      <a:pt x="241" y="512"/>
                    </a:lnTo>
                    <a:lnTo>
                      <a:pt x="241" y="514"/>
                    </a:lnTo>
                    <a:lnTo>
                      <a:pt x="241" y="516"/>
                    </a:lnTo>
                    <a:lnTo>
                      <a:pt x="237" y="521"/>
                    </a:lnTo>
                    <a:lnTo>
                      <a:pt x="232" y="530"/>
                    </a:lnTo>
                    <a:lnTo>
                      <a:pt x="222" y="543"/>
                    </a:lnTo>
                    <a:lnTo>
                      <a:pt x="213" y="557"/>
                    </a:lnTo>
                    <a:lnTo>
                      <a:pt x="204" y="570"/>
                    </a:lnTo>
                    <a:lnTo>
                      <a:pt x="196" y="582"/>
                    </a:lnTo>
                    <a:lnTo>
                      <a:pt x="190" y="590"/>
                    </a:lnTo>
                    <a:lnTo>
                      <a:pt x="188" y="593"/>
                    </a:lnTo>
                    <a:lnTo>
                      <a:pt x="275" y="595"/>
                    </a:lnTo>
                    <a:lnTo>
                      <a:pt x="274" y="584"/>
                    </a:lnTo>
                    <a:lnTo>
                      <a:pt x="273" y="573"/>
                    </a:lnTo>
                    <a:lnTo>
                      <a:pt x="274" y="557"/>
                    </a:lnTo>
                    <a:lnTo>
                      <a:pt x="278" y="540"/>
                    </a:lnTo>
                    <a:lnTo>
                      <a:pt x="286" y="528"/>
                    </a:lnTo>
                    <a:lnTo>
                      <a:pt x="289" y="524"/>
                    </a:lnTo>
                    <a:lnTo>
                      <a:pt x="293" y="523"/>
                    </a:lnTo>
                    <a:lnTo>
                      <a:pt x="298" y="522"/>
                    </a:lnTo>
                    <a:lnTo>
                      <a:pt x="303" y="522"/>
                    </a:lnTo>
                    <a:lnTo>
                      <a:pt x="313" y="525"/>
                    </a:lnTo>
                    <a:lnTo>
                      <a:pt x="319" y="534"/>
                    </a:lnTo>
                    <a:lnTo>
                      <a:pt x="321" y="543"/>
                    </a:lnTo>
                    <a:lnTo>
                      <a:pt x="321" y="549"/>
                    </a:lnTo>
                    <a:lnTo>
                      <a:pt x="320" y="560"/>
                    </a:lnTo>
                    <a:lnTo>
                      <a:pt x="316" y="569"/>
                    </a:lnTo>
                    <a:lnTo>
                      <a:pt x="309" y="577"/>
                    </a:lnTo>
                    <a:lnTo>
                      <a:pt x="301" y="581"/>
                    </a:lnTo>
                    <a:lnTo>
                      <a:pt x="291" y="581"/>
                    </a:lnTo>
                    <a:lnTo>
                      <a:pt x="291" y="590"/>
                    </a:lnTo>
                    <a:lnTo>
                      <a:pt x="293" y="595"/>
                    </a:lnTo>
                    <a:lnTo>
                      <a:pt x="296" y="598"/>
                    </a:lnTo>
                    <a:lnTo>
                      <a:pt x="302" y="599"/>
                    </a:lnTo>
                    <a:lnTo>
                      <a:pt x="309" y="600"/>
                    </a:lnTo>
                    <a:lnTo>
                      <a:pt x="331" y="603"/>
                    </a:lnTo>
                    <a:lnTo>
                      <a:pt x="362" y="605"/>
                    </a:lnTo>
                    <a:lnTo>
                      <a:pt x="362" y="605"/>
                    </a:lnTo>
                    <a:lnTo>
                      <a:pt x="373" y="603"/>
                    </a:lnTo>
                    <a:lnTo>
                      <a:pt x="381" y="599"/>
                    </a:lnTo>
                    <a:lnTo>
                      <a:pt x="388" y="595"/>
                    </a:lnTo>
                    <a:lnTo>
                      <a:pt x="393" y="590"/>
                    </a:lnTo>
                    <a:lnTo>
                      <a:pt x="397" y="590"/>
                    </a:lnTo>
                    <a:lnTo>
                      <a:pt x="403" y="590"/>
                    </a:lnTo>
                    <a:lnTo>
                      <a:pt x="410" y="590"/>
                    </a:lnTo>
                    <a:lnTo>
                      <a:pt x="417" y="590"/>
                    </a:lnTo>
                    <a:lnTo>
                      <a:pt x="424" y="590"/>
                    </a:lnTo>
                    <a:lnTo>
                      <a:pt x="430" y="590"/>
                    </a:lnTo>
                    <a:lnTo>
                      <a:pt x="434" y="590"/>
                    </a:lnTo>
                    <a:lnTo>
                      <a:pt x="435" y="590"/>
                    </a:lnTo>
                    <a:lnTo>
                      <a:pt x="444" y="589"/>
                    </a:lnTo>
                    <a:lnTo>
                      <a:pt x="452" y="588"/>
                    </a:lnTo>
                    <a:lnTo>
                      <a:pt x="457" y="584"/>
                    </a:lnTo>
                    <a:lnTo>
                      <a:pt x="463" y="580"/>
                    </a:lnTo>
                    <a:lnTo>
                      <a:pt x="468" y="573"/>
                    </a:lnTo>
                    <a:lnTo>
                      <a:pt x="470" y="567"/>
                    </a:lnTo>
                    <a:lnTo>
                      <a:pt x="471" y="561"/>
                    </a:lnTo>
                    <a:lnTo>
                      <a:pt x="471" y="558"/>
                    </a:lnTo>
                    <a:lnTo>
                      <a:pt x="471" y="558"/>
                    </a:lnTo>
                    <a:lnTo>
                      <a:pt x="471" y="557"/>
                    </a:lnTo>
                    <a:lnTo>
                      <a:pt x="471" y="557"/>
                    </a:lnTo>
                    <a:lnTo>
                      <a:pt x="471" y="557"/>
                    </a:lnTo>
                    <a:lnTo>
                      <a:pt x="471" y="555"/>
                    </a:lnTo>
                    <a:lnTo>
                      <a:pt x="471" y="554"/>
                    </a:lnTo>
                    <a:lnTo>
                      <a:pt x="470" y="553"/>
                    </a:lnTo>
                    <a:lnTo>
                      <a:pt x="469" y="550"/>
                    </a:lnTo>
                    <a:lnTo>
                      <a:pt x="468" y="547"/>
                    </a:lnTo>
                    <a:lnTo>
                      <a:pt x="477" y="544"/>
                    </a:lnTo>
                    <a:lnTo>
                      <a:pt x="486" y="540"/>
                    </a:lnTo>
                    <a:lnTo>
                      <a:pt x="494" y="538"/>
                    </a:lnTo>
                    <a:lnTo>
                      <a:pt x="499" y="536"/>
                    </a:lnTo>
                    <a:lnTo>
                      <a:pt x="539" y="542"/>
                    </a:lnTo>
                    <a:lnTo>
                      <a:pt x="583" y="547"/>
                    </a:lnTo>
                    <a:lnTo>
                      <a:pt x="629" y="553"/>
                    </a:lnTo>
                    <a:lnTo>
                      <a:pt x="676" y="558"/>
                    </a:lnTo>
                    <a:lnTo>
                      <a:pt x="725" y="562"/>
                    </a:lnTo>
                    <a:lnTo>
                      <a:pt x="773" y="566"/>
                    </a:lnTo>
                    <a:lnTo>
                      <a:pt x="820" y="569"/>
                    </a:lnTo>
                    <a:lnTo>
                      <a:pt x="865" y="572"/>
                    </a:lnTo>
                    <a:lnTo>
                      <a:pt x="909" y="574"/>
                    </a:lnTo>
                    <a:lnTo>
                      <a:pt x="949" y="576"/>
                    </a:lnTo>
                    <a:lnTo>
                      <a:pt x="985" y="578"/>
                    </a:lnTo>
                    <a:lnTo>
                      <a:pt x="1016" y="580"/>
                    </a:lnTo>
                    <a:lnTo>
                      <a:pt x="1043" y="581"/>
                    </a:lnTo>
                    <a:lnTo>
                      <a:pt x="1062" y="582"/>
                    </a:lnTo>
                    <a:lnTo>
                      <a:pt x="1075" y="582"/>
                    </a:lnTo>
                    <a:lnTo>
                      <a:pt x="1080" y="582"/>
                    </a:lnTo>
                    <a:lnTo>
                      <a:pt x="1094" y="582"/>
                    </a:lnTo>
                    <a:lnTo>
                      <a:pt x="1078" y="545"/>
                    </a:lnTo>
                    <a:lnTo>
                      <a:pt x="1076" y="545"/>
                    </a:lnTo>
                    <a:lnTo>
                      <a:pt x="1068" y="543"/>
                    </a:lnTo>
                    <a:lnTo>
                      <a:pt x="1059" y="542"/>
                    </a:lnTo>
                    <a:lnTo>
                      <a:pt x="1050" y="540"/>
                    </a:lnTo>
                    <a:lnTo>
                      <a:pt x="1054" y="536"/>
                    </a:lnTo>
                    <a:lnTo>
                      <a:pt x="1058" y="530"/>
                    </a:lnTo>
                    <a:lnTo>
                      <a:pt x="1062" y="524"/>
                    </a:lnTo>
                    <a:lnTo>
                      <a:pt x="1066" y="517"/>
                    </a:lnTo>
                    <a:lnTo>
                      <a:pt x="1067" y="512"/>
                    </a:lnTo>
                    <a:lnTo>
                      <a:pt x="1068" y="507"/>
                    </a:lnTo>
                    <a:lnTo>
                      <a:pt x="1069" y="501"/>
                    </a:lnTo>
                    <a:lnTo>
                      <a:pt x="1069" y="496"/>
                    </a:lnTo>
                    <a:lnTo>
                      <a:pt x="1068" y="486"/>
                    </a:lnTo>
                    <a:lnTo>
                      <a:pt x="1067" y="476"/>
                    </a:lnTo>
                    <a:lnTo>
                      <a:pt x="1063" y="466"/>
                    </a:lnTo>
                    <a:lnTo>
                      <a:pt x="1058" y="454"/>
                    </a:lnTo>
                    <a:lnTo>
                      <a:pt x="1056" y="452"/>
                    </a:lnTo>
                    <a:lnTo>
                      <a:pt x="1054" y="451"/>
                    </a:lnTo>
                    <a:lnTo>
                      <a:pt x="1053" y="449"/>
                    </a:lnTo>
                    <a:lnTo>
                      <a:pt x="1051" y="448"/>
                    </a:lnTo>
                    <a:lnTo>
                      <a:pt x="1046" y="446"/>
                    </a:lnTo>
                    <a:lnTo>
                      <a:pt x="1040" y="444"/>
                    </a:lnTo>
                    <a:lnTo>
                      <a:pt x="1035" y="443"/>
                    </a:lnTo>
                    <a:lnTo>
                      <a:pt x="1028" y="443"/>
                    </a:lnTo>
                    <a:lnTo>
                      <a:pt x="1020" y="444"/>
                    </a:lnTo>
                    <a:lnTo>
                      <a:pt x="1013" y="446"/>
                    </a:lnTo>
                    <a:lnTo>
                      <a:pt x="1005" y="453"/>
                    </a:lnTo>
                    <a:lnTo>
                      <a:pt x="998" y="461"/>
                    </a:lnTo>
                    <a:lnTo>
                      <a:pt x="993" y="474"/>
                    </a:lnTo>
                    <a:lnTo>
                      <a:pt x="991" y="487"/>
                    </a:lnTo>
                    <a:lnTo>
                      <a:pt x="984" y="489"/>
                    </a:lnTo>
                    <a:lnTo>
                      <a:pt x="972" y="490"/>
                    </a:lnTo>
                    <a:lnTo>
                      <a:pt x="959" y="491"/>
                    </a:lnTo>
                    <a:lnTo>
                      <a:pt x="945" y="492"/>
                    </a:lnTo>
                    <a:lnTo>
                      <a:pt x="931" y="493"/>
                    </a:lnTo>
                    <a:lnTo>
                      <a:pt x="918" y="494"/>
                    </a:lnTo>
                    <a:lnTo>
                      <a:pt x="910" y="496"/>
                    </a:lnTo>
                    <a:lnTo>
                      <a:pt x="907" y="496"/>
                    </a:lnTo>
                    <a:lnTo>
                      <a:pt x="904" y="496"/>
                    </a:lnTo>
                    <a:lnTo>
                      <a:pt x="897" y="496"/>
                    </a:lnTo>
                    <a:lnTo>
                      <a:pt x="888" y="496"/>
                    </a:lnTo>
                    <a:lnTo>
                      <a:pt x="877" y="494"/>
                    </a:lnTo>
                    <a:lnTo>
                      <a:pt x="863" y="494"/>
                    </a:lnTo>
                    <a:lnTo>
                      <a:pt x="847" y="493"/>
                    </a:lnTo>
                    <a:lnTo>
                      <a:pt x="830" y="492"/>
                    </a:lnTo>
                    <a:lnTo>
                      <a:pt x="812" y="491"/>
                    </a:lnTo>
                    <a:lnTo>
                      <a:pt x="793" y="489"/>
                    </a:lnTo>
                    <a:lnTo>
                      <a:pt x="774" y="486"/>
                    </a:lnTo>
                    <a:lnTo>
                      <a:pt x="755" y="484"/>
                    </a:lnTo>
                    <a:lnTo>
                      <a:pt x="736" y="481"/>
                    </a:lnTo>
                    <a:lnTo>
                      <a:pt x="719" y="477"/>
                    </a:lnTo>
                    <a:lnTo>
                      <a:pt x="703" y="472"/>
                    </a:lnTo>
                    <a:lnTo>
                      <a:pt x="689" y="467"/>
                    </a:lnTo>
                    <a:lnTo>
                      <a:pt x="676" y="461"/>
                    </a:lnTo>
                    <a:lnTo>
                      <a:pt x="671" y="457"/>
                    </a:lnTo>
                    <a:lnTo>
                      <a:pt x="666" y="455"/>
                    </a:lnTo>
                    <a:lnTo>
                      <a:pt x="664" y="453"/>
                    </a:lnTo>
                    <a:lnTo>
                      <a:pt x="662" y="452"/>
                    </a:lnTo>
                    <a:lnTo>
                      <a:pt x="667" y="449"/>
                    </a:lnTo>
                    <a:lnTo>
                      <a:pt x="674" y="447"/>
                    </a:lnTo>
                    <a:lnTo>
                      <a:pt x="683" y="445"/>
                    </a:lnTo>
                    <a:lnTo>
                      <a:pt x="695" y="443"/>
                    </a:lnTo>
                    <a:lnTo>
                      <a:pt x="707" y="440"/>
                    </a:lnTo>
                    <a:lnTo>
                      <a:pt x="721" y="439"/>
                    </a:lnTo>
                    <a:lnTo>
                      <a:pt x="735" y="438"/>
                    </a:lnTo>
                    <a:lnTo>
                      <a:pt x="750" y="438"/>
                    </a:lnTo>
                    <a:lnTo>
                      <a:pt x="758" y="438"/>
                    </a:lnTo>
                    <a:lnTo>
                      <a:pt x="771" y="437"/>
                    </a:lnTo>
                    <a:lnTo>
                      <a:pt x="788" y="436"/>
                    </a:lnTo>
                    <a:lnTo>
                      <a:pt x="808" y="434"/>
                    </a:lnTo>
                    <a:lnTo>
                      <a:pt x="832" y="433"/>
                    </a:lnTo>
                    <a:lnTo>
                      <a:pt x="857" y="432"/>
                    </a:lnTo>
                    <a:lnTo>
                      <a:pt x="884" y="430"/>
                    </a:lnTo>
                    <a:lnTo>
                      <a:pt x="910" y="428"/>
                    </a:lnTo>
                    <a:lnTo>
                      <a:pt x="938" y="426"/>
                    </a:lnTo>
                    <a:lnTo>
                      <a:pt x="964" y="424"/>
                    </a:lnTo>
                    <a:lnTo>
                      <a:pt x="988" y="423"/>
                    </a:lnTo>
                    <a:lnTo>
                      <a:pt x="1010" y="421"/>
                    </a:lnTo>
                    <a:lnTo>
                      <a:pt x="1029" y="419"/>
                    </a:lnTo>
                    <a:lnTo>
                      <a:pt x="1045" y="418"/>
                    </a:lnTo>
                    <a:lnTo>
                      <a:pt x="1055" y="417"/>
                    </a:lnTo>
                    <a:lnTo>
                      <a:pt x="1060" y="417"/>
                    </a:lnTo>
                    <a:lnTo>
                      <a:pt x="1069" y="416"/>
                    </a:lnTo>
                    <a:lnTo>
                      <a:pt x="1069" y="384"/>
                    </a:lnTo>
                    <a:lnTo>
                      <a:pt x="537" y="324"/>
                    </a:lnTo>
                    <a:lnTo>
                      <a:pt x="520" y="323"/>
                    </a:lnTo>
                    <a:lnTo>
                      <a:pt x="498" y="320"/>
                    </a:lnTo>
                    <a:lnTo>
                      <a:pt x="470" y="318"/>
                    </a:lnTo>
                    <a:lnTo>
                      <a:pt x="439" y="316"/>
                    </a:lnTo>
                    <a:lnTo>
                      <a:pt x="404" y="313"/>
                    </a:lnTo>
                    <a:lnTo>
                      <a:pt x="369" y="311"/>
                    </a:lnTo>
                    <a:lnTo>
                      <a:pt x="331" y="309"/>
                    </a:lnTo>
                    <a:lnTo>
                      <a:pt x="293" y="305"/>
                    </a:lnTo>
                    <a:lnTo>
                      <a:pt x="255" y="303"/>
                    </a:lnTo>
                    <a:lnTo>
                      <a:pt x="219" y="301"/>
                    </a:lnTo>
                    <a:lnTo>
                      <a:pt x="185" y="300"/>
                    </a:lnTo>
                    <a:lnTo>
                      <a:pt x="154" y="297"/>
                    </a:lnTo>
                    <a:lnTo>
                      <a:pt x="128" y="296"/>
                    </a:lnTo>
                    <a:lnTo>
                      <a:pt x="105" y="295"/>
                    </a:lnTo>
                    <a:lnTo>
                      <a:pt x="89" y="294"/>
                    </a:lnTo>
                    <a:lnTo>
                      <a:pt x="79" y="294"/>
                    </a:lnTo>
                    <a:lnTo>
                      <a:pt x="63" y="294"/>
                    </a:lnTo>
                    <a:lnTo>
                      <a:pt x="71" y="309"/>
                    </a:lnTo>
                    <a:lnTo>
                      <a:pt x="73" y="312"/>
                    </a:lnTo>
                    <a:lnTo>
                      <a:pt x="75" y="319"/>
                    </a:lnTo>
                    <a:lnTo>
                      <a:pt x="74" y="330"/>
                    </a:lnTo>
                    <a:lnTo>
                      <a:pt x="67" y="341"/>
                    </a:lnTo>
                    <a:lnTo>
                      <a:pt x="54" y="356"/>
                    </a:lnTo>
                    <a:lnTo>
                      <a:pt x="74" y="356"/>
                    </a:lnTo>
                    <a:lnTo>
                      <a:pt x="81" y="356"/>
                    </a:lnTo>
                    <a:lnTo>
                      <a:pt x="98" y="357"/>
                    </a:lnTo>
                    <a:lnTo>
                      <a:pt x="124" y="360"/>
                    </a:lnTo>
                    <a:lnTo>
                      <a:pt x="159" y="362"/>
                    </a:lnTo>
                    <a:lnTo>
                      <a:pt x="202" y="364"/>
                    </a:lnTo>
                    <a:lnTo>
                      <a:pt x="249" y="368"/>
                    </a:lnTo>
                    <a:lnTo>
                      <a:pt x="301" y="371"/>
                    </a:lnTo>
                    <a:lnTo>
                      <a:pt x="357" y="375"/>
                    </a:lnTo>
                    <a:lnTo>
                      <a:pt x="415" y="379"/>
                    </a:lnTo>
                    <a:lnTo>
                      <a:pt x="475" y="383"/>
                    </a:lnTo>
                    <a:lnTo>
                      <a:pt x="533" y="387"/>
                    </a:lnTo>
                    <a:lnTo>
                      <a:pt x="591" y="392"/>
                    </a:lnTo>
                    <a:lnTo>
                      <a:pt x="646" y="395"/>
                    </a:lnTo>
                    <a:lnTo>
                      <a:pt x="697" y="400"/>
                    </a:lnTo>
                    <a:lnTo>
                      <a:pt x="744" y="404"/>
                    </a:lnTo>
                    <a:lnTo>
                      <a:pt x="785" y="408"/>
                    </a:lnTo>
                    <a:lnTo>
                      <a:pt x="787" y="389"/>
                    </a:lnTo>
                    <a:lnTo>
                      <a:pt x="743" y="385"/>
                    </a:lnTo>
                    <a:lnTo>
                      <a:pt x="697" y="381"/>
                    </a:lnTo>
                    <a:lnTo>
                      <a:pt x="649" y="377"/>
                    </a:lnTo>
                    <a:lnTo>
                      <a:pt x="598" y="373"/>
                    </a:lnTo>
                    <a:lnTo>
                      <a:pt x="546" y="369"/>
                    </a:lnTo>
                    <a:lnTo>
                      <a:pt x="494" y="365"/>
                    </a:lnTo>
                    <a:lnTo>
                      <a:pt x="442" y="362"/>
                    </a:lnTo>
                    <a:lnTo>
                      <a:pt x="391" y="357"/>
                    </a:lnTo>
                    <a:lnTo>
                      <a:pt x="341" y="354"/>
                    </a:lnTo>
                    <a:lnTo>
                      <a:pt x="294" y="351"/>
                    </a:lnTo>
                    <a:lnTo>
                      <a:pt x="249" y="348"/>
                    </a:lnTo>
                    <a:lnTo>
                      <a:pt x="207" y="346"/>
                    </a:lnTo>
                    <a:lnTo>
                      <a:pt x="171" y="343"/>
                    </a:lnTo>
                    <a:lnTo>
                      <a:pt x="138" y="341"/>
                    </a:lnTo>
                    <a:lnTo>
                      <a:pt x="111" y="340"/>
                    </a:lnTo>
                    <a:lnTo>
                      <a:pt x="90" y="339"/>
                    </a:lnTo>
                    <a:lnTo>
                      <a:pt x="92" y="334"/>
                    </a:lnTo>
                    <a:lnTo>
                      <a:pt x="93" y="330"/>
                    </a:lnTo>
                    <a:lnTo>
                      <a:pt x="93" y="326"/>
                    </a:lnTo>
                    <a:lnTo>
                      <a:pt x="93" y="322"/>
                    </a:lnTo>
                    <a:lnTo>
                      <a:pt x="93" y="319"/>
                    </a:lnTo>
                    <a:lnTo>
                      <a:pt x="93" y="317"/>
                    </a:lnTo>
                    <a:lnTo>
                      <a:pt x="93" y="316"/>
                    </a:lnTo>
                    <a:lnTo>
                      <a:pt x="93" y="313"/>
                    </a:lnTo>
                    <a:lnTo>
                      <a:pt x="109" y="315"/>
                    </a:lnTo>
                    <a:lnTo>
                      <a:pt x="130" y="316"/>
                    </a:lnTo>
                    <a:lnTo>
                      <a:pt x="156" y="317"/>
                    </a:lnTo>
                    <a:lnTo>
                      <a:pt x="183" y="318"/>
                    </a:lnTo>
                    <a:lnTo>
                      <a:pt x="214" y="320"/>
                    </a:lnTo>
                    <a:lnTo>
                      <a:pt x="248" y="323"/>
                    </a:lnTo>
                    <a:lnTo>
                      <a:pt x="281" y="325"/>
                    </a:lnTo>
                    <a:lnTo>
                      <a:pt x="317" y="326"/>
                    </a:lnTo>
                    <a:lnTo>
                      <a:pt x="351" y="328"/>
                    </a:lnTo>
                    <a:lnTo>
                      <a:pt x="386" y="331"/>
                    </a:lnTo>
                    <a:lnTo>
                      <a:pt x="418" y="333"/>
                    </a:lnTo>
                    <a:lnTo>
                      <a:pt x="448" y="335"/>
                    </a:lnTo>
                    <a:lnTo>
                      <a:pt x="476" y="338"/>
                    </a:lnTo>
                    <a:lnTo>
                      <a:pt x="500" y="340"/>
                    </a:lnTo>
                    <a:lnTo>
                      <a:pt x="520" y="342"/>
                    </a:lnTo>
                    <a:lnTo>
                      <a:pt x="535" y="343"/>
                    </a:lnTo>
                    <a:lnTo>
                      <a:pt x="540" y="345"/>
                    </a:lnTo>
                    <a:lnTo>
                      <a:pt x="555" y="346"/>
                    </a:lnTo>
                    <a:lnTo>
                      <a:pt x="580" y="348"/>
                    </a:lnTo>
                    <a:lnTo>
                      <a:pt x="612" y="351"/>
                    </a:lnTo>
                    <a:lnTo>
                      <a:pt x="649" y="356"/>
                    </a:lnTo>
                    <a:lnTo>
                      <a:pt x="690" y="361"/>
                    </a:lnTo>
                    <a:lnTo>
                      <a:pt x="735" y="365"/>
                    </a:lnTo>
                    <a:lnTo>
                      <a:pt x="782" y="370"/>
                    </a:lnTo>
                    <a:lnTo>
                      <a:pt x="828" y="376"/>
                    </a:lnTo>
                    <a:lnTo>
                      <a:pt x="874" y="380"/>
                    </a:lnTo>
                    <a:lnTo>
                      <a:pt x="917" y="385"/>
                    </a:lnTo>
                    <a:lnTo>
                      <a:pt x="956" y="389"/>
                    </a:lnTo>
                    <a:lnTo>
                      <a:pt x="991" y="393"/>
                    </a:lnTo>
                    <a:lnTo>
                      <a:pt x="1017" y="396"/>
                    </a:lnTo>
                    <a:lnTo>
                      <a:pt x="1037" y="399"/>
                    </a:lnTo>
                    <a:lnTo>
                      <a:pt x="1046" y="400"/>
                    </a:lnTo>
                    <a:lnTo>
                      <a:pt x="1035" y="401"/>
                    </a:lnTo>
                    <a:lnTo>
                      <a:pt x="1018" y="402"/>
                    </a:lnTo>
                    <a:lnTo>
                      <a:pt x="1001" y="403"/>
                    </a:lnTo>
                    <a:lnTo>
                      <a:pt x="980" y="404"/>
                    </a:lnTo>
                    <a:lnTo>
                      <a:pt x="959" y="406"/>
                    </a:lnTo>
                    <a:lnTo>
                      <a:pt x="934" y="408"/>
                    </a:lnTo>
                    <a:lnTo>
                      <a:pt x="910" y="409"/>
                    </a:lnTo>
                    <a:lnTo>
                      <a:pt x="886" y="411"/>
                    </a:lnTo>
                    <a:lnTo>
                      <a:pt x="863" y="413"/>
                    </a:lnTo>
                    <a:lnTo>
                      <a:pt x="840" y="414"/>
                    </a:lnTo>
                    <a:lnTo>
                      <a:pt x="818" y="416"/>
                    </a:lnTo>
                    <a:lnTo>
                      <a:pt x="798" y="417"/>
                    </a:lnTo>
                    <a:lnTo>
                      <a:pt x="781" y="418"/>
                    </a:lnTo>
                    <a:lnTo>
                      <a:pt x="767" y="418"/>
                    </a:lnTo>
                    <a:lnTo>
                      <a:pt x="757" y="419"/>
                    </a:lnTo>
                    <a:lnTo>
                      <a:pt x="750" y="419"/>
                    </a:lnTo>
                    <a:lnTo>
                      <a:pt x="737" y="419"/>
                    </a:lnTo>
                    <a:lnTo>
                      <a:pt x="722" y="421"/>
                    </a:lnTo>
                    <a:lnTo>
                      <a:pt x="705" y="422"/>
                    </a:lnTo>
                    <a:lnTo>
                      <a:pt x="689" y="424"/>
                    </a:lnTo>
                    <a:lnTo>
                      <a:pt x="673" y="428"/>
                    </a:lnTo>
                    <a:lnTo>
                      <a:pt x="659" y="432"/>
                    </a:lnTo>
                    <a:lnTo>
                      <a:pt x="650" y="439"/>
                    </a:lnTo>
                    <a:lnTo>
                      <a:pt x="644" y="447"/>
                    </a:lnTo>
                    <a:lnTo>
                      <a:pt x="644" y="448"/>
                    </a:lnTo>
                    <a:lnTo>
                      <a:pt x="644" y="448"/>
                    </a:lnTo>
                    <a:lnTo>
                      <a:pt x="643" y="449"/>
                    </a:lnTo>
                    <a:lnTo>
                      <a:pt x="643" y="451"/>
                    </a:lnTo>
                    <a:lnTo>
                      <a:pt x="645" y="460"/>
                    </a:lnTo>
                    <a:lnTo>
                      <a:pt x="652" y="468"/>
                    </a:lnTo>
                    <a:lnTo>
                      <a:pt x="660" y="474"/>
                    </a:lnTo>
                    <a:lnTo>
                      <a:pt x="667" y="477"/>
                    </a:lnTo>
                    <a:lnTo>
                      <a:pt x="680" y="484"/>
                    </a:lnTo>
                    <a:lnTo>
                      <a:pt x="695" y="490"/>
                    </a:lnTo>
                    <a:lnTo>
                      <a:pt x="712" y="494"/>
                    </a:lnTo>
                    <a:lnTo>
                      <a:pt x="730" y="498"/>
                    </a:lnTo>
                    <a:lnTo>
                      <a:pt x="749" y="502"/>
                    </a:lnTo>
                    <a:lnTo>
                      <a:pt x="768" y="505"/>
                    </a:lnTo>
                    <a:lnTo>
                      <a:pt x="789" y="507"/>
                    </a:lnTo>
                    <a:lnTo>
                      <a:pt x="808" y="509"/>
                    </a:lnTo>
                    <a:lnTo>
                      <a:pt x="827" y="511"/>
                    </a:lnTo>
                    <a:lnTo>
                      <a:pt x="844" y="512"/>
                    </a:lnTo>
                    <a:lnTo>
                      <a:pt x="861" y="513"/>
                    </a:lnTo>
                    <a:lnTo>
                      <a:pt x="876" y="513"/>
                    </a:lnTo>
                    <a:lnTo>
                      <a:pt x="887" y="514"/>
                    </a:lnTo>
                    <a:lnTo>
                      <a:pt x="897" y="514"/>
                    </a:lnTo>
                    <a:lnTo>
                      <a:pt x="903" y="514"/>
                    </a:lnTo>
                    <a:lnTo>
                      <a:pt x="907" y="514"/>
                    </a:lnTo>
                    <a:lnTo>
                      <a:pt x="908" y="514"/>
                    </a:lnTo>
                    <a:lnTo>
                      <a:pt x="1008" y="505"/>
                    </a:lnTo>
                    <a:lnTo>
                      <a:pt x="1009" y="497"/>
                    </a:lnTo>
                    <a:lnTo>
                      <a:pt x="1010" y="484"/>
                    </a:lnTo>
                    <a:lnTo>
                      <a:pt x="1013" y="475"/>
                    </a:lnTo>
                    <a:lnTo>
                      <a:pt x="1016" y="468"/>
                    </a:lnTo>
                    <a:lnTo>
                      <a:pt x="1021" y="463"/>
                    </a:lnTo>
                    <a:lnTo>
                      <a:pt x="1027" y="461"/>
                    </a:lnTo>
                    <a:lnTo>
                      <a:pt x="1032" y="461"/>
                    </a:lnTo>
                    <a:lnTo>
                      <a:pt x="1039" y="463"/>
                    </a:lnTo>
                    <a:lnTo>
                      <a:pt x="1044" y="466"/>
                    </a:lnTo>
                    <a:lnTo>
                      <a:pt x="1046" y="474"/>
                    </a:lnTo>
                    <a:lnTo>
                      <a:pt x="1048" y="481"/>
                    </a:lnTo>
                    <a:lnTo>
                      <a:pt x="1050" y="489"/>
                    </a:lnTo>
                    <a:lnTo>
                      <a:pt x="1051" y="496"/>
                    </a:lnTo>
                    <a:lnTo>
                      <a:pt x="1051" y="500"/>
                    </a:lnTo>
                    <a:lnTo>
                      <a:pt x="1050" y="504"/>
                    </a:lnTo>
                    <a:lnTo>
                      <a:pt x="1048" y="507"/>
                    </a:lnTo>
                    <a:lnTo>
                      <a:pt x="1047" y="511"/>
                    </a:lnTo>
                    <a:lnTo>
                      <a:pt x="1041" y="522"/>
                    </a:lnTo>
                    <a:lnTo>
                      <a:pt x="1033" y="530"/>
                    </a:lnTo>
                    <a:lnTo>
                      <a:pt x="1027" y="536"/>
                    </a:lnTo>
                    <a:lnTo>
                      <a:pt x="1023" y="537"/>
                    </a:lnTo>
                    <a:lnTo>
                      <a:pt x="992" y="549"/>
                    </a:lnTo>
                    <a:lnTo>
                      <a:pt x="1025" y="554"/>
                    </a:lnTo>
                    <a:lnTo>
                      <a:pt x="1027" y="554"/>
                    </a:lnTo>
                    <a:lnTo>
                      <a:pt x="1030" y="555"/>
                    </a:lnTo>
                    <a:lnTo>
                      <a:pt x="1036" y="557"/>
                    </a:lnTo>
                    <a:lnTo>
                      <a:pt x="1041" y="558"/>
                    </a:lnTo>
                    <a:lnTo>
                      <a:pt x="1048" y="559"/>
                    </a:lnTo>
                    <a:lnTo>
                      <a:pt x="1055" y="560"/>
                    </a:lnTo>
                    <a:lnTo>
                      <a:pt x="1061" y="560"/>
                    </a:lnTo>
                    <a:lnTo>
                      <a:pt x="1065" y="561"/>
                    </a:lnTo>
                    <a:lnTo>
                      <a:pt x="1065" y="562"/>
                    </a:lnTo>
                    <a:lnTo>
                      <a:pt x="1066" y="562"/>
                    </a:lnTo>
                    <a:lnTo>
                      <a:pt x="1066" y="562"/>
                    </a:lnTo>
                    <a:lnTo>
                      <a:pt x="1066" y="562"/>
                    </a:lnTo>
                    <a:lnTo>
                      <a:pt x="1050" y="562"/>
                    </a:lnTo>
                    <a:lnTo>
                      <a:pt x="1029" y="561"/>
                    </a:lnTo>
                    <a:lnTo>
                      <a:pt x="1003" y="560"/>
                    </a:lnTo>
                    <a:lnTo>
                      <a:pt x="974" y="559"/>
                    </a:lnTo>
                    <a:lnTo>
                      <a:pt x="940" y="557"/>
                    </a:lnTo>
                    <a:lnTo>
                      <a:pt x="903" y="555"/>
                    </a:lnTo>
                    <a:lnTo>
                      <a:pt x="865" y="553"/>
                    </a:lnTo>
                    <a:lnTo>
                      <a:pt x="825" y="550"/>
                    </a:lnTo>
                    <a:lnTo>
                      <a:pt x="782" y="547"/>
                    </a:lnTo>
                    <a:lnTo>
                      <a:pt x="740" y="544"/>
                    </a:lnTo>
                    <a:lnTo>
                      <a:pt x="697" y="540"/>
                    </a:lnTo>
                    <a:lnTo>
                      <a:pt x="654" y="537"/>
                    </a:lnTo>
                    <a:lnTo>
                      <a:pt x="613" y="532"/>
                    </a:lnTo>
                    <a:lnTo>
                      <a:pt x="573" y="528"/>
                    </a:lnTo>
                    <a:lnTo>
                      <a:pt x="535" y="523"/>
                    </a:lnTo>
                    <a:lnTo>
                      <a:pt x="499" y="517"/>
                    </a:lnTo>
                    <a:lnTo>
                      <a:pt x="497" y="516"/>
                    </a:lnTo>
                    <a:lnTo>
                      <a:pt x="441" y="537"/>
                    </a:lnTo>
                    <a:lnTo>
                      <a:pt x="442" y="540"/>
                    </a:lnTo>
                    <a:lnTo>
                      <a:pt x="446" y="547"/>
                    </a:lnTo>
                    <a:lnTo>
                      <a:pt x="450" y="555"/>
                    </a:lnTo>
                    <a:lnTo>
                      <a:pt x="453" y="560"/>
                    </a:lnTo>
                    <a:lnTo>
                      <a:pt x="452" y="561"/>
                    </a:lnTo>
                    <a:lnTo>
                      <a:pt x="452" y="564"/>
                    </a:lnTo>
                    <a:lnTo>
                      <a:pt x="450" y="565"/>
                    </a:lnTo>
                    <a:lnTo>
                      <a:pt x="449" y="567"/>
                    </a:lnTo>
                    <a:lnTo>
                      <a:pt x="447" y="569"/>
                    </a:lnTo>
                    <a:lnTo>
                      <a:pt x="444" y="570"/>
                    </a:lnTo>
                    <a:lnTo>
                      <a:pt x="440" y="572"/>
                    </a:lnTo>
                    <a:lnTo>
                      <a:pt x="435" y="572"/>
                    </a:lnTo>
                    <a:lnTo>
                      <a:pt x="384" y="570"/>
                    </a:lnTo>
                    <a:lnTo>
                      <a:pt x="380" y="575"/>
                    </a:lnTo>
                    <a:lnTo>
                      <a:pt x="379" y="577"/>
                    </a:lnTo>
                    <a:lnTo>
                      <a:pt x="376" y="581"/>
                    </a:lnTo>
                    <a:lnTo>
                      <a:pt x="370" y="584"/>
                    </a:lnTo>
                    <a:lnTo>
                      <a:pt x="361" y="587"/>
                    </a:lnTo>
                    <a:lnTo>
                      <a:pt x="353" y="585"/>
                    </a:lnTo>
                    <a:lnTo>
                      <a:pt x="344" y="584"/>
                    </a:lnTo>
                    <a:lnTo>
                      <a:pt x="336" y="584"/>
                    </a:lnTo>
                    <a:lnTo>
                      <a:pt x="329" y="583"/>
                    </a:lnTo>
                    <a:lnTo>
                      <a:pt x="334" y="575"/>
                    </a:lnTo>
                    <a:lnTo>
                      <a:pt x="338" y="567"/>
                    </a:lnTo>
                    <a:lnTo>
                      <a:pt x="339" y="558"/>
                    </a:lnTo>
                    <a:lnTo>
                      <a:pt x="340" y="549"/>
                    </a:lnTo>
                    <a:lnTo>
                      <a:pt x="340" y="549"/>
                    </a:lnTo>
                    <a:lnTo>
                      <a:pt x="340" y="549"/>
                    </a:lnTo>
                    <a:lnTo>
                      <a:pt x="340" y="549"/>
                    </a:lnTo>
                    <a:lnTo>
                      <a:pt x="340" y="547"/>
                    </a:lnTo>
                    <a:lnTo>
                      <a:pt x="339" y="538"/>
                    </a:lnTo>
                    <a:lnTo>
                      <a:pt x="338" y="530"/>
                    </a:lnTo>
                    <a:lnTo>
                      <a:pt x="334" y="523"/>
                    </a:lnTo>
                    <a:lnTo>
                      <a:pt x="331" y="516"/>
                    </a:lnTo>
                    <a:lnTo>
                      <a:pt x="325" y="511"/>
                    </a:lnTo>
                    <a:lnTo>
                      <a:pt x="319" y="507"/>
                    </a:lnTo>
                    <a:lnTo>
                      <a:pt x="312" y="504"/>
                    </a:lnTo>
                    <a:lnTo>
                      <a:pt x="305" y="502"/>
                    </a:lnTo>
                    <a:lnTo>
                      <a:pt x="295" y="504"/>
                    </a:lnTo>
                    <a:lnTo>
                      <a:pt x="287" y="505"/>
                    </a:lnTo>
                    <a:lnTo>
                      <a:pt x="279" y="509"/>
                    </a:lnTo>
                    <a:lnTo>
                      <a:pt x="272" y="515"/>
                    </a:lnTo>
                    <a:lnTo>
                      <a:pt x="263" y="528"/>
                    </a:lnTo>
                    <a:lnTo>
                      <a:pt x="258" y="543"/>
                    </a:lnTo>
                    <a:lnTo>
                      <a:pt x="256" y="558"/>
                    </a:lnTo>
                    <a:lnTo>
                      <a:pt x="255" y="572"/>
                    </a:lnTo>
                    <a:lnTo>
                      <a:pt x="255" y="573"/>
                    </a:lnTo>
                    <a:lnTo>
                      <a:pt x="255" y="574"/>
                    </a:lnTo>
                    <a:lnTo>
                      <a:pt x="255" y="575"/>
                    </a:lnTo>
                    <a:lnTo>
                      <a:pt x="255" y="576"/>
                    </a:lnTo>
                    <a:lnTo>
                      <a:pt x="248" y="576"/>
                    </a:lnTo>
                    <a:lnTo>
                      <a:pt x="241" y="575"/>
                    </a:lnTo>
                    <a:lnTo>
                      <a:pt x="232" y="575"/>
                    </a:lnTo>
                    <a:lnTo>
                      <a:pt x="222" y="575"/>
                    </a:lnTo>
                    <a:lnTo>
                      <a:pt x="228" y="568"/>
                    </a:lnTo>
                    <a:lnTo>
                      <a:pt x="234" y="559"/>
                    </a:lnTo>
                    <a:lnTo>
                      <a:pt x="240" y="551"/>
                    </a:lnTo>
                    <a:lnTo>
                      <a:pt x="247" y="542"/>
                    </a:lnTo>
                    <a:lnTo>
                      <a:pt x="251" y="534"/>
                    </a:lnTo>
                    <a:lnTo>
                      <a:pt x="256" y="527"/>
                    </a:lnTo>
                    <a:lnTo>
                      <a:pt x="259" y="522"/>
                    </a:lnTo>
                    <a:lnTo>
                      <a:pt x="260" y="521"/>
                    </a:lnTo>
                    <a:lnTo>
                      <a:pt x="257" y="493"/>
                    </a:lnTo>
                    <a:lnTo>
                      <a:pt x="251" y="492"/>
                    </a:lnTo>
                    <a:lnTo>
                      <a:pt x="249" y="491"/>
                    </a:lnTo>
                    <a:lnTo>
                      <a:pt x="243" y="490"/>
                    </a:lnTo>
                    <a:lnTo>
                      <a:pt x="235" y="487"/>
                    </a:lnTo>
                    <a:lnTo>
                      <a:pt x="225" y="484"/>
                    </a:lnTo>
                    <a:lnTo>
                      <a:pt x="211" y="479"/>
                    </a:lnTo>
                    <a:lnTo>
                      <a:pt x="197" y="475"/>
                    </a:lnTo>
                    <a:lnTo>
                      <a:pt x="181" y="469"/>
                    </a:lnTo>
                    <a:lnTo>
                      <a:pt x="164" y="462"/>
                    </a:lnTo>
                    <a:lnTo>
                      <a:pt x="146" y="455"/>
                    </a:lnTo>
                    <a:lnTo>
                      <a:pt x="129" y="447"/>
                    </a:lnTo>
                    <a:lnTo>
                      <a:pt x="111" y="438"/>
                    </a:lnTo>
                    <a:lnTo>
                      <a:pt x="94" y="429"/>
                    </a:lnTo>
                    <a:lnTo>
                      <a:pt x="78" y="418"/>
                    </a:lnTo>
                    <a:lnTo>
                      <a:pt x="65" y="408"/>
                    </a:lnTo>
                    <a:lnTo>
                      <a:pt x="52" y="396"/>
                    </a:lnTo>
                    <a:lnTo>
                      <a:pt x="41" y="385"/>
                    </a:lnTo>
                    <a:lnTo>
                      <a:pt x="31" y="371"/>
                    </a:lnTo>
                    <a:lnTo>
                      <a:pt x="24" y="357"/>
                    </a:lnTo>
                    <a:lnTo>
                      <a:pt x="20" y="346"/>
                    </a:lnTo>
                    <a:lnTo>
                      <a:pt x="18" y="335"/>
                    </a:lnTo>
                    <a:lnTo>
                      <a:pt x="18" y="334"/>
                    </a:lnTo>
                    <a:lnTo>
                      <a:pt x="18" y="333"/>
                    </a:lnTo>
                    <a:lnTo>
                      <a:pt x="18" y="332"/>
                    </a:lnTo>
                    <a:lnTo>
                      <a:pt x="18" y="331"/>
                    </a:lnTo>
                    <a:lnTo>
                      <a:pt x="22" y="320"/>
                    </a:lnTo>
                    <a:lnTo>
                      <a:pt x="30" y="311"/>
                    </a:lnTo>
                    <a:lnTo>
                      <a:pt x="39" y="303"/>
                    </a:lnTo>
                    <a:lnTo>
                      <a:pt x="51" y="295"/>
                    </a:lnTo>
                    <a:lnTo>
                      <a:pt x="59" y="289"/>
                    </a:lnTo>
                    <a:lnTo>
                      <a:pt x="63" y="286"/>
                    </a:lnTo>
                    <a:lnTo>
                      <a:pt x="68" y="282"/>
                    </a:lnTo>
                    <a:lnTo>
                      <a:pt x="74" y="279"/>
                    </a:lnTo>
                    <a:lnTo>
                      <a:pt x="78" y="275"/>
                    </a:lnTo>
                    <a:lnTo>
                      <a:pt x="83" y="272"/>
                    </a:lnTo>
                    <a:lnTo>
                      <a:pt x="89" y="268"/>
                    </a:lnTo>
                    <a:lnTo>
                      <a:pt x="93" y="266"/>
                    </a:lnTo>
                    <a:lnTo>
                      <a:pt x="98" y="263"/>
                    </a:lnTo>
                    <a:lnTo>
                      <a:pt x="107" y="256"/>
                    </a:lnTo>
                    <a:lnTo>
                      <a:pt x="116" y="250"/>
                    </a:lnTo>
                    <a:lnTo>
                      <a:pt x="123" y="244"/>
                    </a:lnTo>
                    <a:lnTo>
                      <a:pt x="129" y="241"/>
                    </a:lnTo>
                    <a:lnTo>
                      <a:pt x="135" y="241"/>
                    </a:lnTo>
                    <a:lnTo>
                      <a:pt x="143" y="240"/>
                    </a:lnTo>
                    <a:lnTo>
                      <a:pt x="151" y="239"/>
                    </a:lnTo>
                    <a:lnTo>
                      <a:pt x="154" y="239"/>
                    </a:lnTo>
                    <a:lnTo>
                      <a:pt x="157" y="239"/>
                    </a:lnTo>
                    <a:lnTo>
                      <a:pt x="162" y="239"/>
                    </a:lnTo>
                    <a:lnTo>
                      <a:pt x="167" y="239"/>
                    </a:lnTo>
                    <a:lnTo>
                      <a:pt x="169" y="239"/>
                    </a:lnTo>
                    <a:lnTo>
                      <a:pt x="179" y="239"/>
                    </a:lnTo>
                    <a:lnTo>
                      <a:pt x="188" y="239"/>
                    </a:lnTo>
                    <a:lnTo>
                      <a:pt x="196" y="239"/>
                    </a:lnTo>
                    <a:lnTo>
                      <a:pt x="205" y="240"/>
                    </a:lnTo>
                    <a:lnTo>
                      <a:pt x="213" y="240"/>
                    </a:lnTo>
                    <a:lnTo>
                      <a:pt x="221" y="242"/>
                    </a:lnTo>
                    <a:lnTo>
                      <a:pt x="230" y="243"/>
                    </a:lnTo>
                    <a:lnTo>
                      <a:pt x="238" y="245"/>
                    </a:lnTo>
                    <a:lnTo>
                      <a:pt x="253" y="250"/>
                    </a:lnTo>
                    <a:lnTo>
                      <a:pt x="242" y="200"/>
                    </a:lnTo>
                    <a:lnTo>
                      <a:pt x="237" y="198"/>
                    </a:lnTo>
                    <a:lnTo>
                      <a:pt x="236" y="198"/>
                    </a:lnTo>
                    <a:lnTo>
                      <a:pt x="234" y="197"/>
                    </a:lnTo>
                    <a:lnTo>
                      <a:pt x="230" y="196"/>
                    </a:lnTo>
                    <a:lnTo>
                      <a:pt x="226" y="195"/>
                    </a:lnTo>
                    <a:lnTo>
                      <a:pt x="220" y="195"/>
                    </a:lnTo>
                    <a:lnTo>
                      <a:pt x="213" y="194"/>
                    </a:lnTo>
                    <a:lnTo>
                      <a:pt x="205" y="192"/>
                    </a:lnTo>
                    <a:lnTo>
                      <a:pt x="196" y="192"/>
                    </a:lnTo>
                    <a:lnTo>
                      <a:pt x="202" y="190"/>
                    </a:lnTo>
                    <a:lnTo>
                      <a:pt x="209" y="189"/>
                    </a:lnTo>
                    <a:lnTo>
                      <a:pt x="215" y="188"/>
                    </a:lnTo>
                    <a:lnTo>
                      <a:pt x="221" y="187"/>
                    </a:lnTo>
                    <a:lnTo>
                      <a:pt x="228" y="186"/>
                    </a:lnTo>
                    <a:lnTo>
                      <a:pt x="235" y="186"/>
                    </a:lnTo>
                    <a:lnTo>
                      <a:pt x="243" y="186"/>
                    </a:lnTo>
                    <a:lnTo>
                      <a:pt x="250" y="186"/>
                    </a:lnTo>
                    <a:lnTo>
                      <a:pt x="266" y="187"/>
                    </a:lnTo>
                    <a:lnTo>
                      <a:pt x="285" y="188"/>
                    </a:lnTo>
                    <a:lnTo>
                      <a:pt x="305" y="190"/>
                    </a:lnTo>
                    <a:lnTo>
                      <a:pt x="328" y="192"/>
                    </a:lnTo>
                    <a:lnTo>
                      <a:pt x="353" y="196"/>
                    </a:lnTo>
                    <a:lnTo>
                      <a:pt x="378" y="199"/>
                    </a:lnTo>
                    <a:lnTo>
                      <a:pt x="404" y="204"/>
                    </a:lnTo>
                    <a:lnTo>
                      <a:pt x="432" y="209"/>
                    </a:lnTo>
                    <a:lnTo>
                      <a:pt x="460" y="214"/>
                    </a:lnTo>
                    <a:lnTo>
                      <a:pt x="487" y="220"/>
                    </a:lnTo>
                    <a:lnTo>
                      <a:pt x="516" y="226"/>
                    </a:lnTo>
                    <a:lnTo>
                      <a:pt x="544" y="233"/>
                    </a:lnTo>
                    <a:lnTo>
                      <a:pt x="571" y="240"/>
                    </a:lnTo>
                    <a:lnTo>
                      <a:pt x="598" y="248"/>
                    </a:lnTo>
                    <a:lnTo>
                      <a:pt x="624" y="256"/>
                    </a:lnTo>
                    <a:lnTo>
                      <a:pt x="649" y="264"/>
                    </a:lnTo>
                    <a:lnTo>
                      <a:pt x="650" y="264"/>
                    </a:lnTo>
                    <a:lnTo>
                      <a:pt x="651" y="264"/>
                    </a:lnTo>
                    <a:lnTo>
                      <a:pt x="653" y="264"/>
                    </a:lnTo>
                    <a:lnTo>
                      <a:pt x="659" y="265"/>
                    </a:lnTo>
                    <a:lnTo>
                      <a:pt x="667" y="266"/>
                    </a:lnTo>
                    <a:lnTo>
                      <a:pt x="679" y="267"/>
                    </a:lnTo>
                    <a:lnTo>
                      <a:pt x="692" y="268"/>
                    </a:lnTo>
                    <a:lnTo>
                      <a:pt x="710" y="271"/>
                    </a:lnTo>
                    <a:lnTo>
                      <a:pt x="728" y="273"/>
                    </a:lnTo>
                    <a:lnTo>
                      <a:pt x="749" y="275"/>
                    </a:lnTo>
                    <a:lnTo>
                      <a:pt x="772" y="279"/>
                    </a:lnTo>
                    <a:lnTo>
                      <a:pt x="797" y="281"/>
                    </a:lnTo>
                    <a:lnTo>
                      <a:pt x="824" y="285"/>
                    </a:lnTo>
                    <a:lnTo>
                      <a:pt x="851" y="288"/>
                    </a:lnTo>
                    <a:lnTo>
                      <a:pt x="880" y="292"/>
                    </a:lnTo>
                    <a:lnTo>
                      <a:pt x="909" y="295"/>
                    </a:lnTo>
                    <a:lnTo>
                      <a:pt x="940" y="298"/>
                    </a:lnTo>
                    <a:lnTo>
                      <a:pt x="971" y="302"/>
                    </a:lnTo>
                    <a:lnTo>
                      <a:pt x="1003" y="305"/>
                    </a:lnTo>
                    <a:lnTo>
                      <a:pt x="1036" y="309"/>
                    </a:lnTo>
                    <a:lnTo>
                      <a:pt x="1067" y="312"/>
                    </a:lnTo>
                    <a:lnTo>
                      <a:pt x="1099" y="316"/>
                    </a:lnTo>
                    <a:lnTo>
                      <a:pt x="1130" y="319"/>
                    </a:lnTo>
                    <a:lnTo>
                      <a:pt x="1162" y="323"/>
                    </a:lnTo>
                    <a:lnTo>
                      <a:pt x="1192" y="326"/>
                    </a:lnTo>
                    <a:lnTo>
                      <a:pt x="1222" y="330"/>
                    </a:lnTo>
                    <a:lnTo>
                      <a:pt x="1250" y="333"/>
                    </a:lnTo>
                    <a:lnTo>
                      <a:pt x="1278" y="335"/>
                    </a:lnTo>
                    <a:lnTo>
                      <a:pt x="1303" y="339"/>
                    </a:lnTo>
                    <a:lnTo>
                      <a:pt x="1327" y="341"/>
                    </a:lnTo>
                    <a:lnTo>
                      <a:pt x="1350" y="343"/>
                    </a:lnTo>
                    <a:lnTo>
                      <a:pt x="1370" y="345"/>
                    </a:lnTo>
                    <a:lnTo>
                      <a:pt x="1388" y="347"/>
                    </a:lnTo>
                    <a:lnTo>
                      <a:pt x="1404" y="348"/>
                    </a:lnTo>
                    <a:lnTo>
                      <a:pt x="1407" y="348"/>
                    </a:lnTo>
                    <a:lnTo>
                      <a:pt x="1409" y="347"/>
                    </a:lnTo>
                    <a:lnTo>
                      <a:pt x="1410" y="347"/>
                    </a:lnTo>
                    <a:lnTo>
                      <a:pt x="1414" y="345"/>
                    </a:lnTo>
                    <a:lnTo>
                      <a:pt x="1418" y="342"/>
                    </a:lnTo>
                    <a:lnTo>
                      <a:pt x="1424" y="338"/>
                    </a:lnTo>
                    <a:lnTo>
                      <a:pt x="1432" y="332"/>
                    </a:lnTo>
                    <a:lnTo>
                      <a:pt x="1439" y="325"/>
                    </a:lnTo>
                    <a:lnTo>
                      <a:pt x="1448" y="317"/>
                    </a:lnTo>
                    <a:lnTo>
                      <a:pt x="1456" y="307"/>
                    </a:lnTo>
                    <a:lnTo>
                      <a:pt x="1462" y="300"/>
                    </a:lnTo>
                    <a:lnTo>
                      <a:pt x="1471" y="288"/>
                    </a:lnTo>
                    <a:lnTo>
                      <a:pt x="1484" y="274"/>
                    </a:lnTo>
                    <a:lnTo>
                      <a:pt x="1498" y="256"/>
                    </a:lnTo>
                    <a:lnTo>
                      <a:pt x="1515" y="235"/>
                    </a:lnTo>
                    <a:lnTo>
                      <a:pt x="1533" y="213"/>
                    </a:lnTo>
                    <a:lnTo>
                      <a:pt x="1553" y="190"/>
                    </a:lnTo>
                    <a:lnTo>
                      <a:pt x="1574" y="166"/>
                    </a:lnTo>
                    <a:lnTo>
                      <a:pt x="1595" y="142"/>
                    </a:lnTo>
                    <a:lnTo>
                      <a:pt x="1614" y="118"/>
                    </a:lnTo>
                    <a:lnTo>
                      <a:pt x="1633" y="94"/>
                    </a:lnTo>
                    <a:lnTo>
                      <a:pt x="1651" y="74"/>
                    </a:lnTo>
                    <a:lnTo>
                      <a:pt x="1666" y="55"/>
                    </a:lnTo>
                    <a:lnTo>
                      <a:pt x="1680" y="39"/>
                    </a:lnTo>
                    <a:lnTo>
                      <a:pt x="1690" y="26"/>
                    </a:lnTo>
                    <a:lnTo>
                      <a:pt x="1697" y="18"/>
                    </a:lnTo>
                    <a:lnTo>
                      <a:pt x="1702" y="20"/>
                    </a:lnTo>
                    <a:lnTo>
                      <a:pt x="1711" y="20"/>
                    </a:lnTo>
                    <a:lnTo>
                      <a:pt x="1722" y="21"/>
                    </a:lnTo>
                    <a:lnTo>
                      <a:pt x="1735" y="22"/>
                    </a:lnTo>
                    <a:lnTo>
                      <a:pt x="1749" y="23"/>
                    </a:lnTo>
                    <a:lnTo>
                      <a:pt x="1762" y="24"/>
                    </a:lnTo>
                    <a:lnTo>
                      <a:pt x="1773" y="24"/>
                    </a:lnTo>
                    <a:lnTo>
                      <a:pt x="1781" y="25"/>
                    </a:lnTo>
                    <a:lnTo>
                      <a:pt x="1775" y="46"/>
                    </a:lnTo>
                    <a:lnTo>
                      <a:pt x="1764" y="86"/>
                    </a:lnTo>
                    <a:lnTo>
                      <a:pt x="1749" y="142"/>
                    </a:lnTo>
                    <a:lnTo>
                      <a:pt x="1733" y="202"/>
                    </a:lnTo>
                    <a:lnTo>
                      <a:pt x="1715" y="262"/>
                    </a:lnTo>
                    <a:lnTo>
                      <a:pt x="1702" y="313"/>
                    </a:lnTo>
                    <a:lnTo>
                      <a:pt x="1691" y="349"/>
                    </a:lnTo>
                    <a:lnTo>
                      <a:pt x="1688" y="363"/>
                    </a:lnTo>
                    <a:lnTo>
                      <a:pt x="1692" y="363"/>
                    </a:lnTo>
                    <a:lnTo>
                      <a:pt x="1705" y="361"/>
                    </a:lnTo>
                    <a:lnTo>
                      <a:pt x="1726" y="360"/>
                    </a:lnTo>
                    <a:lnTo>
                      <a:pt x="1752" y="356"/>
                    </a:lnTo>
                    <a:lnTo>
                      <a:pt x="1783" y="354"/>
                    </a:lnTo>
                    <a:lnTo>
                      <a:pt x="1819" y="350"/>
                    </a:lnTo>
                    <a:lnTo>
                      <a:pt x="1856" y="346"/>
                    </a:lnTo>
                    <a:lnTo>
                      <a:pt x="1895" y="342"/>
                    </a:lnTo>
                    <a:lnTo>
                      <a:pt x="1933" y="339"/>
                    </a:lnTo>
                    <a:lnTo>
                      <a:pt x="1971" y="334"/>
                    </a:lnTo>
                    <a:lnTo>
                      <a:pt x="2006" y="331"/>
                    </a:lnTo>
                    <a:lnTo>
                      <a:pt x="2037" y="328"/>
                    </a:lnTo>
                    <a:lnTo>
                      <a:pt x="2063" y="325"/>
                    </a:lnTo>
                    <a:lnTo>
                      <a:pt x="2084" y="324"/>
                    </a:lnTo>
                    <a:lnTo>
                      <a:pt x="2098" y="322"/>
                    </a:lnTo>
                    <a:lnTo>
                      <a:pt x="2103" y="322"/>
                    </a:lnTo>
                    <a:lnTo>
                      <a:pt x="2105" y="322"/>
                    </a:lnTo>
                    <a:lnTo>
                      <a:pt x="2111" y="322"/>
                    </a:lnTo>
                    <a:lnTo>
                      <a:pt x="2120" y="322"/>
                    </a:lnTo>
                    <a:lnTo>
                      <a:pt x="2130" y="322"/>
                    </a:lnTo>
                    <a:lnTo>
                      <a:pt x="2144" y="322"/>
                    </a:lnTo>
                    <a:lnTo>
                      <a:pt x="2159" y="322"/>
                    </a:lnTo>
                    <a:lnTo>
                      <a:pt x="2175" y="323"/>
                    </a:lnTo>
                    <a:lnTo>
                      <a:pt x="2191" y="323"/>
                    </a:lnTo>
                    <a:lnTo>
                      <a:pt x="2174" y="326"/>
                    </a:lnTo>
                    <a:lnTo>
                      <a:pt x="2158" y="330"/>
                    </a:lnTo>
                    <a:lnTo>
                      <a:pt x="2143" y="333"/>
                    </a:lnTo>
                    <a:lnTo>
                      <a:pt x="2129" y="335"/>
                    </a:lnTo>
                    <a:lnTo>
                      <a:pt x="2118" y="338"/>
                    </a:lnTo>
                    <a:lnTo>
                      <a:pt x="2108" y="340"/>
                    </a:lnTo>
                    <a:lnTo>
                      <a:pt x="2103" y="341"/>
                    </a:lnTo>
                    <a:lnTo>
                      <a:pt x="2100" y="341"/>
                    </a:lnTo>
                    <a:lnTo>
                      <a:pt x="2093" y="342"/>
                    </a:lnTo>
                    <a:lnTo>
                      <a:pt x="2077" y="345"/>
                    </a:lnTo>
                    <a:lnTo>
                      <a:pt x="2053" y="348"/>
                    </a:lnTo>
                    <a:lnTo>
                      <a:pt x="2027" y="351"/>
                    </a:lnTo>
                    <a:lnTo>
                      <a:pt x="1999" y="355"/>
                    </a:lnTo>
                    <a:lnTo>
                      <a:pt x="1975" y="358"/>
                    </a:lnTo>
                    <a:lnTo>
                      <a:pt x="1959" y="361"/>
                    </a:lnTo>
                    <a:lnTo>
                      <a:pt x="1952" y="362"/>
                    </a:lnTo>
                    <a:lnTo>
                      <a:pt x="1952" y="381"/>
                    </a:lnTo>
                    <a:lnTo>
                      <a:pt x="1953" y="381"/>
                    </a:lnTo>
                    <a:lnTo>
                      <a:pt x="1955" y="381"/>
                    </a:lnTo>
                    <a:lnTo>
                      <a:pt x="1960" y="381"/>
                    </a:lnTo>
                    <a:lnTo>
                      <a:pt x="1964" y="383"/>
                    </a:lnTo>
                    <a:lnTo>
                      <a:pt x="1971" y="383"/>
                    </a:lnTo>
                    <a:lnTo>
                      <a:pt x="1977" y="384"/>
                    </a:lnTo>
                    <a:lnTo>
                      <a:pt x="1984" y="384"/>
                    </a:lnTo>
                    <a:lnTo>
                      <a:pt x="1991" y="385"/>
                    </a:lnTo>
                    <a:lnTo>
                      <a:pt x="1976" y="387"/>
                    </a:lnTo>
                    <a:lnTo>
                      <a:pt x="1961" y="389"/>
                    </a:lnTo>
                    <a:lnTo>
                      <a:pt x="1946" y="392"/>
                    </a:lnTo>
                    <a:lnTo>
                      <a:pt x="1930" y="394"/>
                    </a:lnTo>
                    <a:lnTo>
                      <a:pt x="1914" y="396"/>
                    </a:lnTo>
                    <a:lnTo>
                      <a:pt x="1899" y="399"/>
                    </a:lnTo>
                    <a:lnTo>
                      <a:pt x="1883" y="400"/>
                    </a:lnTo>
                    <a:lnTo>
                      <a:pt x="1869" y="402"/>
                    </a:lnTo>
                    <a:lnTo>
                      <a:pt x="1855" y="404"/>
                    </a:lnTo>
                    <a:lnTo>
                      <a:pt x="1842" y="407"/>
                    </a:lnTo>
                    <a:lnTo>
                      <a:pt x="1831" y="408"/>
                    </a:lnTo>
                    <a:lnTo>
                      <a:pt x="1820" y="410"/>
                    </a:lnTo>
                    <a:lnTo>
                      <a:pt x="1813" y="411"/>
                    </a:lnTo>
                    <a:lnTo>
                      <a:pt x="1806" y="411"/>
                    </a:lnTo>
                    <a:lnTo>
                      <a:pt x="1803" y="413"/>
                    </a:lnTo>
                    <a:lnTo>
                      <a:pt x="1802" y="413"/>
                    </a:lnTo>
                    <a:lnTo>
                      <a:pt x="1803" y="415"/>
                    </a:lnTo>
                    <a:lnTo>
                      <a:pt x="1805" y="421"/>
                    </a:lnTo>
                    <a:lnTo>
                      <a:pt x="1808" y="428"/>
                    </a:lnTo>
                    <a:lnTo>
                      <a:pt x="1810" y="432"/>
                    </a:lnTo>
                    <a:lnTo>
                      <a:pt x="1801" y="433"/>
                    </a:lnTo>
                    <a:lnTo>
                      <a:pt x="1788" y="436"/>
                    </a:lnTo>
                    <a:lnTo>
                      <a:pt x="1773" y="439"/>
                    </a:lnTo>
                    <a:lnTo>
                      <a:pt x="1758" y="441"/>
                    </a:lnTo>
                    <a:lnTo>
                      <a:pt x="1743" y="444"/>
                    </a:lnTo>
                    <a:lnTo>
                      <a:pt x="1730" y="446"/>
                    </a:lnTo>
                    <a:lnTo>
                      <a:pt x="1722" y="448"/>
                    </a:lnTo>
                    <a:lnTo>
                      <a:pt x="1719" y="448"/>
                    </a:lnTo>
                    <a:lnTo>
                      <a:pt x="1721" y="459"/>
                    </a:lnTo>
                    <a:lnTo>
                      <a:pt x="1721" y="459"/>
                    </a:lnTo>
                    <a:lnTo>
                      <a:pt x="1722" y="460"/>
                    </a:lnTo>
                    <a:lnTo>
                      <a:pt x="1722" y="462"/>
                    </a:lnTo>
                    <a:lnTo>
                      <a:pt x="1722" y="463"/>
                    </a:lnTo>
                    <a:lnTo>
                      <a:pt x="1722" y="466"/>
                    </a:lnTo>
                    <a:lnTo>
                      <a:pt x="1721" y="468"/>
                    </a:lnTo>
                    <a:lnTo>
                      <a:pt x="1720" y="471"/>
                    </a:lnTo>
                    <a:lnTo>
                      <a:pt x="1719" y="474"/>
                    </a:lnTo>
                    <a:lnTo>
                      <a:pt x="1714" y="478"/>
                    </a:lnTo>
                    <a:lnTo>
                      <a:pt x="1707" y="482"/>
                    </a:lnTo>
                    <a:lnTo>
                      <a:pt x="1699" y="485"/>
                    </a:lnTo>
                    <a:lnTo>
                      <a:pt x="1689" y="487"/>
                    </a:lnTo>
                    <a:lnTo>
                      <a:pt x="1636" y="493"/>
                    </a:lnTo>
                    <a:lnTo>
                      <a:pt x="1635" y="493"/>
                    </a:lnTo>
                    <a:lnTo>
                      <a:pt x="1633" y="494"/>
                    </a:lnTo>
                    <a:lnTo>
                      <a:pt x="1627" y="497"/>
                    </a:lnTo>
                    <a:lnTo>
                      <a:pt x="1618" y="499"/>
                    </a:lnTo>
                    <a:lnTo>
                      <a:pt x="1606" y="502"/>
                    </a:lnTo>
                    <a:lnTo>
                      <a:pt x="1593" y="505"/>
                    </a:lnTo>
                    <a:lnTo>
                      <a:pt x="1578" y="506"/>
                    </a:lnTo>
                    <a:lnTo>
                      <a:pt x="1565" y="506"/>
                    </a:lnTo>
                    <a:lnTo>
                      <a:pt x="1552" y="504"/>
                    </a:lnTo>
                    <a:lnTo>
                      <a:pt x="1550" y="502"/>
                    </a:lnTo>
                    <a:lnTo>
                      <a:pt x="1546" y="504"/>
                    </a:lnTo>
                    <a:lnTo>
                      <a:pt x="1543" y="505"/>
                    </a:lnTo>
                    <a:lnTo>
                      <a:pt x="1536" y="506"/>
                    </a:lnTo>
                    <a:lnTo>
                      <a:pt x="1524" y="509"/>
                    </a:lnTo>
                    <a:lnTo>
                      <a:pt x="1509" y="513"/>
                    </a:lnTo>
                    <a:lnTo>
                      <a:pt x="1492" y="517"/>
                    </a:lnTo>
                    <a:lnTo>
                      <a:pt x="1472" y="522"/>
                    </a:lnTo>
                    <a:lnTo>
                      <a:pt x="1452" y="528"/>
                    </a:lnTo>
                    <a:lnTo>
                      <a:pt x="1429" y="532"/>
                    </a:lnTo>
                    <a:lnTo>
                      <a:pt x="1407" y="538"/>
                    </a:lnTo>
                    <a:lnTo>
                      <a:pt x="1384" y="544"/>
                    </a:lnTo>
                    <a:lnTo>
                      <a:pt x="1363" y="549"/>
                    </a:lnTo>
                    <a:lnTo>
                      <a:pt x="1342" y="554"/>
                    </a:lnTo>
                    <a:lnTo>
                      <a:pt x="1325" y="558"/>
                    </a:lnTo>
                    <a:lnTo>
                      <a:pt x="1310" y="561"/>
                    </a:lnTo>
                    <a:lnTo>
                      <a:pt x="1297" y="565"/>
                    </a:lnTo>
                    <a:lnTo>
                      <a:pt x="1289" y="566"/>
                    </a:lnTo>
                    <a:lnTo>
                      <a:pt x="1278" y="567"/>
                    </a:lnTo>
                    <a:lnTo>
                      <a:pt x="1263" y="569"/>
                    </a:lnTo>
                    <a:lnTo>
                      <a:pt x="1245" y="570"/>
                    </a:lnTo>
                    <a:lnTo>
                      <a:pt x="1227" y="572"/>
                    </a:lnTo>
                    <a:lnTo>
                      <a:pt x="1210" y="572"/>
                    </a:lnTo>
                    <a:lnTo>
                      <a:pt x="1194" y="573"/>
                    </a:lnTo>
                    <a:lnTo>
                      <a:pt x="1180" y="574"/>
                    </a:lnTo>
                    <a:lnTo>
                      <a:pt x="1171" y="574"/>
                    </a:lnTo>
                    <a:lnTo>
                      <a:pt x="1168" y="572"/>
                    </a:lnTo>
                    <a:lnTo>
                      <a:pt x="1166" y="567"/>
                    </a:lnTo>
                    <a:lnTo>
                      <a:pt x="1162" y="564"/>
                    </a:lnTo>
                    <a:lnTo>
                      <a:pt x="1158" y="558"/>
                    </a:lnTo>
                    <a:lnTo>
                      <a:pt x="1165" y="558"/>
                    </a:lnTo>
                    <a:lnTo>
                      <a:pt x="1172" y="557"/>
                    </a:lnTo>
                    <a:lnTo>
                      <a:pt x="1179" y="555"/>
                    </a:lnTo>
                    <a:lnTo>
                      <a:pt x="1186" y="554"/>
                    </a:lnTo>
                    <a:lnTo>
                      <a:pt x="1191" y="552"/>
                    </a:lnTo>
                    <a:lnTo>
                      <a:pt x="1197" y="550"/>
                    </a:lnTo>
                    <a:lnTo>
                      <a:pt x="1203" y="546"/>
                    </a:lnTo>
                    <a:lnTo>
                      <a:pt x="1206" y="543"/>
                    </a:lnTo>
                    <a:lnTo>
                      <a:pt x="1211" y="536"/>
                    </a:lnTo>
                    <a:lnTo>
                      <a:pt x="1213" y="529"/>
                    </a:lnTo>
                    <a:lnTo>
                      <a:pt x="1215" y="523"/>
                    </a:lnTo>
                    <a:lnTo>
                      <a:pt x="1215" y="516"/>
                    </a:lnTo>
                    <a:lnTo>
                      <a:pt x="1215" y="512"/>
                    </a:lnTo>
                    <a:lnTo>
                      <a:pt x="1214" y="508"/>
                    </a:lnTo>
                    <a:lnTo>
                      <a:pt x="1214" y="505"/>
                    </a:lnTo>
                    <a:lnTo>
                      <a:pt x="1213" y="502"/>
                    </a:lnTo>
                    <a:lnTo>
                      <a:pt x="1211" y="497"/>
                    </a:lnTo>
                    <a:lnTo>
                      <a:pt x="1207" y="492"/>
                    </a:lnTo>
                    <a:lnTo>
                      <a:pt x="1203" y="489"/>
                    </a:lnTo>
                    <a:lnTo>
                      <a:pt x="1198" y="487"/>
                    </a:lnTo>
                    <a:lnTo>
                      <a:pt x="1195" y="486"/>
                    </a:lnTo>
                    <a:lnTo>
                      <a:pt x="1189" y="484"/>
                    </a:lnTo>
                    <a:lnTo>
                      <a:pt x="1183" y="482"/>
                    </a:lnTo>
                    <a:lnTo>
                      <a:pt x="1175" y="478"/>
                    </a:lnTo>
                    <a:lnTo>
                      <a:pt x="1168" y="475"/>
                    </a:lnTo>
                    <a:lnTo>
                      <a:pt x="1160" y="471"/>
                    </a:lnTo>
                    <a:lnTo>
                      <a:pt x="1152" y="468"/>
                    </a:lnTo>
                    <a:lnTo>
                      <a:pt x="1145" y="464"/>
                    </a:lnTo>
                    <a:lnTo>
                      <a:pt x="1143" y="461"/>
                    </a:lnTo>
                    <a:lnTo>
                      <a:pt x="1138" y="457"/>
                    </a:lnTo>
                    <a:lnTo>
                      <a:pt x="1135" y="453"/>
                    </a:lnTo>
                    <a:lnTo>
                      <a:pt x="1134" y="452"/>
                    </a:lnTo>
                    <a:lnTo>
                      <a:pt x="1133" y="452"/>
                    </a:lnTo>
                    <a:lnTo>
                      <a:pt x="1130" y="451"/>
                    </a:lnTo>
                    <a:lnTo>
                      <a:pt x="1128" y="449"/>
                    </a:lnTo>
                    <a:lnTo>
                      <a:pt x="1127" y="448"/>
                    </a:lnTo>
                    <a:lnTo>
                      <a:pt x="1138" y="446"/>
                    </a:lnTo>
                    <a:lnTo>
                      <a:pt x="1151" y="443"/>
                    </a:lnTo>
                    <a:lnTo>
                      <a:pt x="1164" y="439"/>
                    </a:lnTo>
                    <a:lnTo>
                      <a:pt x="1175" y="436"/>
                    </a:lnTo>
                    <a:lnTo>
                      <a:pt x="1187" y="433"/>
                    </a:lnTo>
                    <a:lnTo>
                      <a:pt x="1195" y="431"/>
                    </a:lnTo>
                    <a:lnTo>
                      <a:pt x="1200" y="429"/>
                    </a:lnTo>
                    <a:lnTo>
                      <a:pt x="1203" y="429"/>
                    </a:lnTo>
                    <a:lnTo>
                      <a:pt x="1209" y="429"/>
                    </a:lnTo>
                    <a:lnTo>
                      <a:pt x="1222" y="426"/>
                    </a:lnTo>
                    <a:lnTo>
                      <a:pt x="1244" y="424"/>
                    </a:lnTo>
                    <a:lnTo>
                      <a:pt x="1273" y="421"/>
                    </a:lnTo>
                    <a:lnTo>
                      <a:pt x="1308" y="417"/>
                    </a:lnTo>
                    <a:lnTo>
                      <a:pt x="1344" y="413"/>
                    </a:lnTo>
                    <a:lnTo>
                      <a:pt x="1385" y="408"/>
                    </a:lnTo>
                    <a:lnTo>
                      <a:pt x="1427" y="403"/>
                    </a:lnTo>
                    <a:lnTo>
                      <a:pt x="1469" y="399"/>
                    </a:lnTo>
                    <a:lnTo>
                      <a:pt x="1509" y="394"/>
                    </a:lnTo>
                    <a:lnTo>
                      <a:pt x="1547" y="391"/>
                    </a:lnTo>
                    <a:lnTo>
                      <a:pt x="1581" y="386"/>
                    </a:lnTo>
                    <a:lnTo>
                      <a:pt x="1609" y="383"/>
                    </a:lnTo>
                    <a:lnTo>
                      <a:pt x="1631" y="380"/>
                    </a:lnTo>
                    <a:lnTo>
                      <a:pt x="1646" y="379"/>
                    </a:lnTo>
                    <a:lnTo>
                      <a:pt x="1652" y="378"/>
                    </a:lnTo>
                    <a:lnTo>
                      <a:pt x="1654" y="379"/>
                    </a:lnTo>
                    <a:lnTo>
                      <a:pt x="1661" y="380"/>
                    </a:lnTo>
                    <a:lnTo>
                      <a:pt x="1669" y="383"/>
                    </a:lnTo>
                    <a:lnTo>
                      <a:pt x="1679" y="384"/>
                    </a:lnTo>
                    <a:lnTo>
                      <a:pt x="1688" y="386"/>
                    </a:lnTo>
                    <a:lnTo>
                      <a:pt x="1695" y="388"/>
                    </a:lnTo>
                    <a:lnTo>
                      <a:pt x="1700" y="389"/>
                    </a:lnTo>
                    <a:lnTo>
                      <a:pt x="1703" y="389"/>
                    </a:lnTo>
                    <a:lnTo>
                      <a:pt x="1705" y="389"/>
                    </a:lnTo>
                    <a:lnTo>
                      <a:pt x="1710" y="389"/>
                    </a:lnTo>
                    <a:lnTo>
                      <a:pt x="1718" y="388"/>
                    </a:lnTo>
                    <a:lnTo>
                      <a:pt x="1728" y="388"/>
                    </a:lnTo>
                    <a:lnTo>
                      <a:pt x="1740" y="387"/>
                    </a:lnTo>
                    <a:lnTo>
                      <a:pt x="1753" y="387"/>
                    </a:lnTo>
                    <a:lnTo>
                      <a:pt x="1767" y="386"/>
                    </a:lnTo>
                    <a:lnTo>
                      <a:pt x="1781" y="386"/>
                    </a:lnTo>
                    <a:lnTo>
                      <a:pt x="1770" y="391"/>
                    </a:lnTo>
                    <a:lnTo>
                      <a:pt x="1759" y="395"/>
                    </a:lnTo>
                    <a:lnTo>
                      <a:pt x="1749" y="400"/>
                    </a:lnTo>
                    <a:lnTo>
                      <a:pt x="1741" y="403"/>
                    </a:lnTo>
                    <a:lnTo>
                      <a:pt x="1733" y="406"/>
                    </a:lnTo>
                    <a:lnTo>
                      <a:pt x="1726" y="409"/>
                    </a:lnTo>
                    <a:lnTo>
                      <a:pt x="1722" y="410"/>
                    </a:lnTo>
                    <a:lnTo>
                      <a:pt x="1720" y="411"/>
                    </a:lnTo>
                    <a:lnTo>
                      <a:pt x="1715" y="411"/>
                    </a:lnTo>
                    <a:lnTo>
                      <a:pt x="1706" y="411"/>
                    </a:lnTo>
                    <a:lnTo>
                      <a:pt x="1695" y="411"/>
                    </a:lnTo>
                    <a:lnTo>
                      <a:pt x="1681" y="411"/>
                    </a:lnTo>
                    <a:lnTo>
                      <a:pt x="1667" y="411"/>
                    </a:lnTo>
                    <a:lnTo>
                      <a:pt x="1656" y="411"/>
                    </a:lnTo>
                    <a:lnTo>
                      <a:pt x="1647" y="411"/>
                    </a:lnTo>
                    <a:lnTo>
                      <a:pt x="1644" y="411"/>
                    </a:lnTo>
                    <a:lnTo>
                      <a:pt x="1641" y="411"/>
                    </a:lnTo>
                    <a:lnTo>
                      <a:pt x="1630" y="411"/>
                    </a:lnTo>
                    <a:lnTo>
                      <a:pt x="1618" y="410"/>
                    </a:lnTo>
                    <a:lnTo>
                      <a:pt x="1601" y="409"/>
                    </a:lnTo>
                    <a:lnTo>
                      <a:pt x="1585" y="409"/>
                    </a:lnTo>
                    <a:lnTo>
                      <a:pt x="1573" y="408"/>
                    </a:lnTo>
                    <a:lnTo>
                      <a:pt x="1562" y="408"/>
                    </a:lnTo>
                    <a:lnTo>
                      <a:pt x="1559" y="408"/>
                    </a:lnTo>
                    <a:lnTo>
                      <a:pt x="1565" y="422"/>
                    </a:lnTo>
                    <a:lnTo>
                      <a:pt x="1567" y="430"/>
                    </a:lnTo>
                    <a:lnTo>
                      <a:pt x="1570" y="440"/>
                    </a:lnTo>
                    <a:lnTo>
                      <a:pt x="1570" y="453"/>
                    </a:lnTo>
                    <a:lnTo>
                      <a:pt x="1568" y="463"/>
                    </a:lnTo>
                    <a:lnTo>
                      <a:pt x="1566" y="467"/>
                    </a:lnTo>
                    <a:lnTo>
                      <a:pt x="1562" y="470"/>
                    </a:lnTo>
                    <a:lnTo>
                      <a:pt x="1559" y="472"/>
                    </a:lnTo>
                    <a:lnTo>
                      <a:pt x="1554" y="474"/>
                    </a:lnTo>
                    <a:lnTo>
                      <a:pt x="1545" y="476"/>
                    </a:lnTo>
                    <a:lnTo>
                      <a:pt x="1537" y="475"/>
                    </a:lnTo>
                    <a:lnTo>
                      <a:pt x="1530" y="472"/>
                    </a:lnTo>
                    <a:lnTo>
                      <a:pt x="1524" y="467"/>
                    </a:lnTo>
                    <a:lnTo>
                      <a:pt x="1520" y="457"/>
                    </a:lnTo>
                    <a:lnTo>
                      <a:pt x="1518" y="446"/>
                    </a:lnTo>
                    <a:lnTo>
                      <a:pt x="1518" y="436"/>
                    </a:lnTo>
                    <a:lnTo>
                      <a:pt x="1522" y="428"/>
                    </a:lnTo>
                    <a:lnTo>
                      <a:pt x="1532" y="411"/>
                    </a:lnTo>
                    <a:lnTo>
                      <a:pt x="1225" y="446"/>
                    </a:lnTo>
                    <a:lnTo>
                      <a:pt x="1227" y="464"/>
                    </a:lnTo>
                    <a:lnTo>
                      <a:pt x="1229" y="464"/>
                    </a:lnTo>
                    <a:lnTo>
                      <a:pt x="1237" y="463"/>
                    </a:lnTo>
                    <a:lnTo>
                      <a:pt x="1250" y="462"/>
                    </a:lnTo>
                    <a:lnTo>
                      <a:pt x="1266" y="460"/>
                    </a:lnTo>
                    <a:lnTo>
                      <a:pt x="1285" y="457"/>
                    </a:lnTo>
                    <a:lnTo>
                      <a:pt x="1306" y="455"/>
                    </a:lnTo>
                    <a:lnTo>
                      <a:pt x="1330" y="453"/>
                    </a:lnTo>
                    <a:lnTo>
                      <a:pt x="1354" y="451"/>
                    </a:lnTo>
                    <a:lnTo>
                      <a:pt x="1378" y="447"/>
                    </a:lnTo>
                    <a:lnTo>
                      <a:pt x="1402" y="445"/>
                    </a:lnTo>
                    <a:lnTo>
                      <a:pt x="1425" y="443"/>
                    </a:lnTo>
                    <a:lnTo>
                      <a:pt x="1446" y="440"/>
                    </a:lnTo>
                    <a:lnTo>
                      <a:pt x="1465" y="438"/>
                    </a:lnTo>
                    <a:lnTo>
                      <a:pt x="1480" y="437"/>
                    </a:lnTo>
                    <a:lnTo>
                      <a:pt x="1493" y="436"/>
                    </a:lnTo>
                    <a:lnTo>
                      <a:pt x="1500" y="434"/>
                    </a:lnTo>
                    <a:lnTo>
                      <a:pt x="1500" y="437"/>
                    </a:lnTo>
                    <a:lnTo>
                      <a:pt x="1500" y="439"/>
                    </a:lnTo>
                    <a:lnTo>
                      <a:pt x="1499" y="443"/>
                    </a:lnTo>
                    <a:lnTo>
                      <a:pt x="1499" y="445"/>
                    </a:lnTo>
                    <a:lnTo>
                      <a:pt x="1500" y="454"/>
                    </a:lnTo>
                    <a:lnTo>
                      <a:pt x="1501" y="462"/>
                    </a:lnTo>
                    <a:lnTo>
                      <a:pt x="1505" y="470"/>
                    </a:lnTo>
                    <a:lnTo>
                      <a:pt x="1509" y="478"/>
                    </a:lnTo>
                    <a:lnTo>
                      <a:pt x="1513" y="482"/>
                    </a:lnTo>
                    <a:lnTo>
                      <a:pt x="1516" y="485"/>
                    </a:lnTo>
                    <a:lnTo>
                      <a:pt x="1521" y="489"/>
                    </a:lnTo>
                    <a:lnTo>
                      <a:pt x="1527" y="491"/>
                    </a:lnTo>
                    <a:lnTo>
                      <a:pt x="1533" y="493"/>
                    </a:lnTo>
                    <a:lnTo>
                      <a:pt x="1540" y="494"/>
                    </a:lnTo>
                    <a:lnTo>
                      <a:pt x="1550" y="494"/>
                    </a:lnTo>
                    <a:lnTo>
                      <a:pt x="1560" y="492"/>
                    </a:lnTo>
                    <a:lnTo>
                      <a:pt x="1568" y="489"/>
                    </a:lnTo>
                    <a:lnTo>
                      <a:pt x="1575" y="484"/>
                    </a:lnTo>
                    <a:lnTo>
                      <a:pt x="1580" y="478"/>
                    </a:lnTo>
                    <a:lnTo>
                      <a:pt x="1584" y="471"/>
                    </a:lnTo>
                    <a:lnTo>
                      <a:pt x="1586" y="466"/>
                    </a:lnTo>
                    <a:lnTo>
                      <a:pt x="1588" y="460"/>
                    </a:lnTo>
                    <a:lnTo>
                      <a:pt x="1589" y="455"/>
                    </a:lnTo>
                    <a:lnTo>
                      <a:pt x="1589" y="449"/>
                    </a:lnTo>
                    <a:lnTo>
                      <a:pt x="1589" y="444"/>
                    </a:lnTo>
                    <a:lnTo>
                      <a:pt x="1588" y="438"/>
                    </a:lnTo>
                    <a:lnTo>
                      <a:pt x="1588" y="432"/>
                    </a:lnTo>
                    <a:lnTo>
                      <a:pt x="1586" y="428"/>
                    </a:lnTo>
                    <a:lnTo>
                      <a:pt x="1593" y="428"/>
                    </a:lnTo>
                    <a:lnTo>
                      <a:pt x="1603" y="429"/>
                    </a:lnTo>
                    <a:lnTo>
                      <a:pt x="1612" y="429"/>
                    </a:lnTo>
                    <a:lnTo>
                      <a:pt x="1622" y="429"/>
                    </a:lnTo>
                    <a:lnTo>
                      <a:pt x="1630" y="430"/>
                    </a:lnTo>
                    <a:lnTo>
                      <a:pt x="1637" y="430"/>
                    </a:lnTo>
                    <a:lnTo>
                      <a:pt x="1642" y="430"/>
                    </a:lnTo>
                    <a:lnTo>
                      <a:pt x="1644" y="430"/>
                    </a:lnTo>
                    <a:lnTo>
                      <a:pt x="1725" y="430"/>
                    </a:lnTo>
                    <a:lnTo>
                      <a:pt x="1838" y="383"/>
                    </a:lnTo>
                    <a:lnTo>
                      <a:pt x="1833" y="365"/>
                    </a:lnTo>
                    <a:lnTo>
                      <a:pt x="1827" y="365"/>
                    </a:lnTo>
                    <a:lnTo>
                      <a:pt x="1813" y="366"/>
                    </a:lnTo>
                    <a:lnTo>
                      <a:pt x="1793" y="366"/>
                    </a:lnTo>
                    <a:lnTo>
                      <a:pt x="1770" y="368"/>
                    </a:lnTo>
                    <a:lnTo>
                      <a:pt x="1745" y="369"/>
                    </a:lnTo>
                    <a:lnTo>
                      <a:pt x="1725" y="369"/>
                    </a:lnTo>
                    <a:lnTo>
                      <a:pt x="1710" y="370"/>
                    </a:lnTo>
                    <a:lnTo>
                      <a:pt x="1704" y="370"/>
                    </a:lnTo>
                    <a:lnTo>
                      <a:pt x="1700" y="370"/>
                    </a:lnTo>
                    <a:lnTo>
                      <a:pt x="1695" y="369"/>
                    </a:lnTo>
                    <a:lnTo>
                      <a:pt x="1687" y="366"/>
                    </a:lnTo>
                    <a:lnTo>
                      <a:pt x="1677" y="364"/>
                    </a:lnTo>
                    <a:lnTo>
                      <a:pt x="1668" y="363"/>
                    </a:lnTo>
                    <a:lnTo>
                      <a:pt x="1660" y="361"/>
                    </a:lnTo>
                    <a:lnTo>
                      <a:pt x="1654" y="360"/>
                    </a:lnTo>
                    <a:lnTo>
                      <a:pt x="1652" y="360"/>
                    </a:lnTo>
                    <a:lnTo>
                      <a:pt x="1199" y="410"/>
                    </a:lnTo>
                    <a:lnTo>
                      <a:pt x="1070" y="445"/>
                    </a:lnTo>
                    <a:lnTo>
                      <a:pt x="1073" y="446"/>
                    </a:lnTo>
                    <a:lnTo>
                      <a:pt x="1078" y="448"/>
                    </a:lnTo>
                    <a:lnTo>
                      <a:pt x="1086" y="452"/>
                    </a:lnTo>
                    <a:lnTo>
                      <a:pt x="1096" y="455"/>
                    </a:lnTo>
                    <a:lnTo>
                      <a:pt x="1105" y="460"/>
                    </a:lnTo>
                    <a:lnTo>
                      <a:pt x="1113" y="463"/>
                    </a:lnTo>
                    <a:lnTo>
                      <a:pt x="1119" y="466"/>
                    </a:lnTo>
                    <a:lnTo>
                      <a:pt x="1122" y="467"/>
                    </a:lnTo>
                    <a:lnTo>
                      <a:pt x="1124" y="470"/>
                    </a:lnTo>
                    <a:lnTo>
                      <a:pt x="1129" y="474"/>
                    </a:lnTo>
                    <a:lnTo>
                      <a:pt x="1133" y="478"/>
                    </a:lnTo>
                    <a:lnTo>
                      <a:pt x="1134" y="479"/>
                    </a:lnTo>
                    <a:lnTo>
                      <a:pt x="1135" y="481"/>
                    </a:lnTo>
                    <a:lnTo>
                      <a:pt x="1138" y="482"/>
                    </a:lnTo>
                    <a:lnTo>
                      <a:pt x="1145" y="485"/>
                    </a:lnTo>
                    <a:lnTo>
                      <a:pt x="1153" y="489"/>
                    </a:lnTo>
                    <a:lnTo>
                      <a:pt x="1162" y="493"/>
                    </a:lnTo>
                    <a:lnTo>
                      <a:pt x="1172" y="497"/>
                    </a:lnTo>
                    <a:lnTo>
                      <a:pt x="1181" y="501"/>
                    </a:lnTo>
                    <a:lnTo>
                      <a:pt x="1188" y="504"/>
                    </a:lnTo>
                    <a:lnTo>
                      <a:pt x="1194" y="506"/>
                    </a:lnTo>
                    <a:lnTo>
                      <a:pt x="1194" y="506"/>
                    </a:lnTo>
                    <a:lnTo>
                      <a:pt x="1195" y="507"/>
                    </a:lnTo>
                    <a:lnTo>
                      <a:pt x="1196" y="509"/>
                    </a:lnTo>
                    <a:lnTo>
                      <a:pt x="1196" y="512"/>
                    </a:lnTo>
                    <a:lnTo>
                      <a:pt x="1196" y="513"/>
                    </a:lnTo>
                    <a:lnTo>
                      <a:pt x="1197" y="513"/>
                    </a:lnTo>
                    <a:lnTo>
                      <a:pt x="1197" y="514"/>
                    </a:lnTo>
                    <a:lnTo>
                      <a:pt x="1197" y="515"/>
                    </a:lnTo>
                    <a:lnTo>
                      <a:pt x="1197" y="520"/>
                    </a:lnTo>
                    <a:lnTo>
                      <a:pt x="1196" y="523"/>
                    </a:lnTo>
                    <a:lnTo>
                      <a:pt x="1194" y="528"/>
                    </a:lnTo>
                    <a:lnTo>
                      <a:pt x="1191" y="531"/>
                    </a:lnTo>
                    <a:lnTo>
                      <a:pt x="1189" y="534"/>
                    </a:lnTo>
                    <a:lnTo>
                      <a:pt x="1184" y="535"/>
                    </a:lnTo>
                    <a:lnTo>
                      <a:pt x="1179" y="536"/>
                    </a:lnTo>
                    <a:lnTo>
                      <a:pt x="1172" y="537"/>
                    </a:lnTo>
                    <a:lnTo>
                      <a:pt x="1164" y="538"/>
                    </a:lnTo>
                    <a:lnTo>
                      <a:pt x="1156" y="538"/>
                    </a:lnTo>
                    <a:lnTo>
                      <a:pt x="1147" y="538"/>
                    </a:lnTo>
                    <a:lnTo>
                      <a:pt x="1139" y="538"/>
                    </a:lnTo>
                    <a:lnTo>
                      <a:pt x="1120" y="537"/>
                    </a:lnTo>
                    <a:lnTo>
                      <a:pt x="1162" y="592"/>
                    </a:lnTo>
                    <a:lnTo>
                      <a:pt x="1167" y="592"/>
                    </a:lnTo>
                    <a:lnTo>
                      <a:pt x="1172" y="592"/>
                    </a:lnTo>
                    <a:lnTo>
                      <a:pt x="1183" y="592"/>
                    </a:lnTo>
                    <a:lnTo>
                      <a:pt x="1199" y="591"/>
                    </a:lnTo>
                    <a:lnTo>
                      <a:pt x="1219" y="590"/>
                    </a:lnTo>
                    <a:lnTo>
                      <a:pt x="1240" y="589"/>
                    </a:lnTo>
                    <a:lnTo>
                      <a:pt x="1260" y="588"/>
                    </a:lnTo>
                    <a:lnTo>
                      <a:pt x="1278" y="587"/>
                    </a:lnTo>
                    <a:lnTo>
                      <a:pt x="1293" y="584"/>
                    </a:lnTo>
                    <a:lnTo>
                      <a:pt x="1301" y="583"/>
                    </a:lnTo>
                    <a:lnTo>
                      <a:pt x="1311" y="580"/>
                    </a:lnTo>
                    <a:lnTo>
                      <a:pt x="1326" y="577"/>
                    </a:lnTo>
                    <a:lnTo>
                      <a:pt x="1342" y="573"/>
                    </a:lnTo>
                    <a:lnTo>
                      <a:pt x="1361" y="568"/>
                    </a:lnTo>
                    <a:lnTo>
                      <a:pt x="1381" y="564"/>
                    </a:lnTo>
                    <a:lnTo>
                      <a:pt x="1402" y="559"/>
                    </a:lnTo>
                    <a:lnTo>
                      <a:pt x="1424" y="553"/>
                    </a:lnTo>
                    <a:lnTo>
                      <a:pt x="1445" y="547"/>
                    </a:lnTo>
                    <a:lnTo>
                      <a:pt x="1465" y="543"/>
                    </a:lnTo>
                    <a:lnTo>
                      <a:pt x="1485" y="538"/>
                    </a:lnTo>
                    <a:lnTo>
                      <a:pt x="1503" y="534"/>
                    </a:lnTo>
                    <a:lnTo>
                      <a:pt x="1520" y="529"/>
                    </a:lnTo>
                    <a:lnTo>
                      <a:pt x="1532" y="527"/>
                    </a:lnTo>
                    <a:lnTo>
                      <a:pt x="1543" y="523"/>
                    </a:lnTo>
                    <a:lnTo>
                      <a:pt x="1550" y="522"/>
                    </a:lnTo>
                    <a:lnTo>
                      <a:pt x="1563" y="524"/>
                    </a:lnTo>
                    <a:lnTo>
                      <a:pt x="1578" y="524"/>
                    </a:lnTo>
                    <a:lnTo>
                      <a:pt x="1592" y="523"/>
                    </a:lnTo>
                    <a:lnTo>
                      <a:pt x="1606" y="521"/>
                    </a:lnTo>
                    <a:lnTo>
                      <a:pt x="1618" y="519"/>
                    </a:lnTo>
                    <a:lnTo>
                      <a:pt x="1628" y="515"/>
                    </a:lnTo>
                    <a:lnTo>
                      <a:pt x="1636" y="513"/>
                    </a:lnTo>
                    <a:lnTo>
                      <a:pt x="1641" y="511"/>
                    </a:lnTo>
                    <a:lnTo>
                      <a:pt x="1643" y="511"/>
                    </a:lnTo>
                    <a:lnTo>
                      <a:pt x="1650" y="509"/>
                    </a:lnTo>
                    <a:lnTo>
                      <a:pt x="1658" y="509"/>
                    </a:lnTo>
                    <a:lnTo>
                      <a:pt x="1667" y="508"/>
                    </a:lnTo>
                    <a:lnTo>
                      <a:pt x="1676" y="507"/>
                    </a:lnTo>
                    <a:lnTo>
                      <a:pt x="1683" y="507"/>
                    </a:lnTo>
                    <a:lnTo>
                      <a:pt x="1689" y="506"/>
                    </a:lnTo>
                    <a:lnTo>
                      <a:pt x="1691" y="506"/>
                    </a:lnTo>
                    <a:lnTo>
                      <a:pt x="1699" y="505"/>
                    </a:lnTo>
                    <a:lnTo>
                      <a:pt x="1706" y="504"/>
                    </a:lnTo>
                    <a:lnTo>
                      <a:pt x="1712" y="501"/>
                    </a:lnTo>
                    <a:lnTo>
                      <a:pt x="1718" y="499"/>
                    </a:lnTo>
                    <a:lnTo>
                      <a:pt x="1724" y="496"/>
                    </a:lnTo>
                    <a:lnTo>
                      <a:pt x="1728" y="492"/>
                    </a:lnTo>
                    <a:lnTo>
                      <a:pt x="1732" y="489"/>
                    </a:lnTo>
                    <a:lnTo>
                      <a:pt x="1735" y="484"/>
                    </a:lnTo>
                    <a:lnTo>
                      <a:pt x="1737" y="478"/>
                    </a:lnTo>
                    <a:lnTo>
                      <a:pt x="1740" y="474"/>
                    </a:lnTo>
                    <a:lnTo>
                      <a:pt x="1741" y="468"/>
                    </a:lnTo>
                    <a:lnTo>
                      <a:pt x="1741" y="463"/>
                    </a:lnTo>
                    <a:lnTo>
                      <a:pt x="1749" y="462"/>
                    </a:lnTo>
                    <a:lnTo>
                      <a:pt x="1762" y="460"/>
                    </a:lnTo>
                    <a:lnTo>
                      <a:pt x="1778" y="457"/>
                    </a:lnTo>
                    <a:lnTo>
                      <a:pt x="1794" y="454"/>
                    </a:lnTo>
                    <a:lnTo>
                      <a:pt x="1810" y="452"/>
                    </a:lnTo>
                    <a:lnTo>
                      <a:pt x="1824" y="449"/>
                    </a:lnTo>
                    <a:lnTo>
                      <a:pt x="1833" y="448"/>
                    </a:lnTo>
                    <a:lnTo>
                      <a:pt x="1836" y="447"/>
                    </a:lnTo>
                    <a:lnTo>
                      <a:pt x="1835" y="445"/>
                    </a:lnTo>
                    <a:lnTo>
                      <a:pt x="1833" y="439"/>
                    </a:lnTo>
                    <a:lnTo>
                      <a:pt x="1831" y="432"/>
                    </a:lnTo>
                    <a:lnTo>
                      <a:pt x="1828" y="428"/>
                    </a:lnTo>
                    <a:lnTo>
                      <a:pt x="1834" y="426"/>
                    </a:lnTo>
                    <a:lnTo>
                      <a:pt x="1845" y="425"/>
                    </a:lnTo>
                    <a:lnTo>
                      <a:pt x="1858" y="423"/>
                    </a:lnTo>
                    <a:lnTo>
                      <a:pt x="1876" y="421"/>
                    </a:lnTo>
                    <a:lnTo>
                      <a:pt x="1894" y="417"/>
                    </a:lnTo>
                    <a:lnTo>
                      <a:pt x="1914" y="415"/>
                    </a:lnTo>
                    <a:lnTo>
                      <a:pt x="1934" y="411"/>
                    </a:lnTo>
                    <a:lnTo>
                      <a:pt x="1956" y="408"/>
                    </a:lnTo>
                    <a:lnTo>
                      <a:pt x="1978" y="406"/>
                    </a:lnTo>
                    <a:lnTo>
                      <a:pt x="1998" y="402"/>
                    </a:lnTo>
                    <a:lnTo>
                      <a:pt x="2017" y="400"/>
                    </a:lnTo>
                    <a:lnTo>
                      <a:pt x="2033" y="396"/>
                    </a:lnTo>
                    <a:lnTo>
                      <a:pt x="2047" y="395"/>
                    </a:lnTo>
                    <a:lnTo>
                      <a:pt x="2059" y="393"/>
                    </a:lnTo>
                    <a:lnTo>
                      <a:pt x="2066" y="392"/>
                    </a:lnTo>
                    <a:lnTo>
                      <a:pt x="2068" y="392"/>
                    </a:lnTo>
                    <a:lnTo>
                      <a:pt x="2068" y="373"/>
                    </a:lnTo>
                    <a:lnTo>
                      <a:pt x="2067" y="373"/>
                    </a:lnTo>
                    <a:lnTo>
                      <a:pt x="2065" y="373"/>
                    </a:lnTo>
                    <a:lnTo>
                      <a:pt x="2061" y="372"/>
                    </a:lnTo>
                    <a:lnTo>
                      <a:pt x="2055" y="372"/>
                    </a:lnTo>
                    <a:lnTo>
                      <a:pt x="2050" y="371"/>
                    </a:lnTo>
                    <a:lnTo>
                      <a:pt x="2044" y="371"/>
                    </a:lnTo>
                    <a:lnTo>
                      <a:pt x="2037" y="370"/>
                    </a:lnTo>
                    <a:lnTo>
                      <a:pt x="2031" y="370"/>
                    </a:lnTo>
                    <a:lnTo>
                      <a:pt x="2045" y="368"/>
                    </a:lnTo>
                    <a:lnTo>
                      <a:pt x="2058" y="365"/>
                    </a:lnTo>
                    <a:lnTo>
                      <a:pt x="2070" y="364"/>
                    </a:lnTo>
                    <a:lnTo>
                      <a:pt x="2081" y="363"/>
                    </a:lnTo>
                    <a:lnTo>
                      <a:pt x="2090" y="362"/>
                    </a:lnTo>
                    <a:lnTo>
                      <a:pt x="2098" y="361"/>
                    </a:lnTo>
                    <a:lnTo>
                      <a:pt x="2103" y="360"/>
                    </a:lnTo>
                    <a:lnTo>
                      <a:pt x="2104" y="360"/>
                    </a:lnTo>
                    <a:lnTo>
                      <a:pt x="2112" y="358"/>
                    </a:lnTo>
                    <a:lnTo>
                      <a:pt x="2131" y="354"/>
                    </a:lnTo>
                    <a:lnTo>
                      <a:pt x="2159" y="348"/>
                    </a:lnTo>
                    <a:lnTo>
                      <a:pt x="2192" y="341"/>
                    </a:lnTo>
                    <a:lnTo>
                      <a:pt x="2225" y="335"/>
                    </a:lnTo>
                    <a:lnTo>
                      <a:pt x="2252" y="330"/>
                    </a:lnTo>
                    <a:lnTo>
                      <a:pt x="2272" y="325"/>
                    </a:lnTo>
                    <a:lnTo>
                      <a:pt x="2280" y="324"/>
                    </a:lnTo>
                    <a:lnTo>
                      <a:pt x="2279" y="305"/>
                    </a:lnTo>
                    <a:lnTo>
                      <a:pt x="2101" y="303"/>
                    </a:lnTo>
                    <a:lnTo>
                      <a:pt x="2097" y="303"/>
                    </a:lnTo>
                    <a:lnTo>
                      <a:pt x="2085" y="304"/>
                    </a:lnTo>
                    <a:lnTo>
                      <a:pt x="2068" y="307"/>
                    </a:lnTo>
                    <a:lnTo>
                      <a:pt x="2044" y="309"/>
                    </a:lnTo>
                    <a:lnTo>
                      <a:pt x="2016" y="311"/>
                    </a:lnTo>
                    <a:lnTo>
                      <a:pt x="1985" y="315"/>
                    </a:lnTo>
                    <a:lnTo>
                      <a:pt x="1952" y="318"/>
                    </a:lnTo>
                    <a:lnTo>
                      <a:pt x="1917" y="322"/>
                    </a:lnTo>
                    <a:lnTo>
                      <a:pt x="1881" y="325"/>
                    </a:lnTo>
                    <a:lnTo>
                      <a:pt x="1847" y="328"/>
                    </a:lnTo>
                    <a:lnTo>
                      <a:pt x="1815" y="332"/>
                    </a:lnTo>
                    <a:lnTo>
                      <a:pt x="1785" y="334"/>
                    </a:lnTo>
                    <a:lnTo>
                      <a:pt x="1758" y="338"/>
                    </a:lnTo>
                    <a:lnTo>
                      <a:pt x="1737" y="340"/>
                    </a:lnTo>
                    <a:lnTo>
                      <a:pt x="1721" y="341"/>
                    </a:lnTo>
                    <a:lnTo>
                      <a:pt x="1713" y="342"/>
                    </a:lnTo>
                    <a:lnTo>
                      <a:pt x="1719" y="322"/>
                    </a:lnTo>
                    <a:lnTo>
                      <a:pt x="1730" y="280"/>
                    </a:lnTo>
                    <a:lnTo>
                      <a:pt x="1745" y="226"/>
                    </a:lnTo>
                    <a:lnTo>
                      <a:pt x="1762" y="167"/>
                    </a:lnTo>
                    <a:lnTo>
                      <a:pt x="1778" y="108"/>
                    </a:lnTo>
                    <a:lnTo>
                      <a:pt x="1792" y="58"/>
                    </a:lnTo>
                    <a:lnTo>
                      <a:pt x="1802" y="23"/>
                    </a:lnTo>
                    <a:lnTo>
                      <a:pt x="1805" y="9"/>
                    </a:lnTo>
                    <a:lnTo>
                      <a:pt x="1689" y="0"/>
                    </a:lnTo>
                    <a:lnTo>
                      <a:pt x="1686" y="3"/>
                    </a:lnTo>
                    <a:close/>
                  </a:path>
                </a:pathLst>
              </a:custGeom>
              <a:solidFill>
                <a:srgbClr val="AB008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3" name="Freeform 182"/>
              <p:cNvSpPr>
                <a:spLocks/>
              </p:cNvSpPr>
              <p:nvPr/>
            </p:nvSpPr>
            <p:spPr bwMode="auto">
              <a:xfrm rot="20813856" flipH="1">
                <a:off x="9828655" y="2045870"/>
                <a:ext cx="247215" cy="346562"/>
              </a:xfrm>
              <a:custGeom>
                <a:avLst/>
                <a:gdLst>
                  <a:gd name="T0" fmla="*/ 130 w 216"/>
                  <a:gd name="T1" fmla="*/ 199 h 299"/>
                  <a:gd name="T2" fmla="*/ 0 w 216"/>
                  <a:gd name="T3" fmla="*/ 299 h 299"/>
                  <a:gd name="T4" fmla="*/ 130 w 216"/>
                  <a:gd name="T5" fmla="*/ 299 h 299"/>
                  <a:gd name="T6" fmla="*/ 216 w 216"/>
                  <a:gd name="T7" fmla="*/ 3 h 299"/>
                  <a:gd name="T8" fmla="*/ 204 w 216"/>
                  <a:gd name="T9" fmla="*/ 0 h 299"/>
                  <a:gd name="T10" fmla="*/ 130 w 216"/>
                  <a:gd name="T11" fmla="*/ 199 h 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6" h="299">
                    <a:moveTo>
                      <a:pt x="130" y="199"/>
                    </a:moveTo>
                    <a:lnTo>
                      <a:pt x="0" y="299"/>
                    </a:lnTo>
                    <a:lnTo>
                      <a:pt x="130" y="299"/>
                    </a:lnTo>
                    <a:lnTo>
                      <a:pt x="216" y="3"/>
                    </a:lnTo>
                    <a:lnTo>
                      <a:pt x="204" y="0"/>
                    </a:lnTo>
                    <a:lnTo>
                      <a:pt x="130" y="199"/>
                    </a:lnTo>
                    <a:close/>
                  </a:path>
                </a:pathLst>
              </a:custGeom>
              <a:solidFill>
                <a:srgbClr val="AB008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5" name="Freeform 214"/>
              <p:cNvSpPr>
                <a:spLocks/>
              </p:cNvSpPr>
              <p:nvPr/>
            </p:nvSpPr>
            <p:spPr bwMode="auto">
              <a:xfrm rot="20813856" flipH="1">
                <a:off x="10913021" y="1976824"/>
                <a:ext cx="522153" cy="129383"/>
              </a:xfrm>
              <a:custGeom>
                <a:avLst/>
                <a:gdLst>
                  <a:gd name="T0" fmla="*/ 0 w 453"/>
                  <a:gd name="T1" fmla="*/ 0 h 113"/>
                  <a:gd name="T2" fmla="*/ 3 w 453"/>
                  <a:gd name="T3" fmla="*/ 0 h 113"/>
                  <a:gd name="T4" fmla="*/ 13 w 453"/>
                  <a:gd name="T5" fmla="*/ 2 h 113"/>
                  <a:gd name="T6" fmla="*/ 28 w 453"/>
                  <a:gd name="T7" fmla="*/ 3 h 113"/>
                  <a:gd name="T8" fmla="*/ 47 w 453"/>
                  <a:gd name="T9" fmla="*/ 7 h 113"/>
                  <a:gd name="T10" fmla="*/ 71 w 453"/>
                  <a:gd name="T11" fmla="*/ 10 h 113"/>
                  <a:gd name="T12" fmla="*/ 99 w 453"/>
                  <a:gd name="T13" fmla="*/ 16 h 113"/>
                  <a:gd name="T14" fmla="*/ 129 w 453"/>
                  <a:gd name="T15" fmla="*/ 22 h 113"/>
                  <a:gd name="T16" fmla="*/ 162 w 453"/>
                  <a:gd name="T17" fmla="*/ 28 h 113"/>
                  <a:gd name="T18" fmla="*/ 198 w 453"/>
                  <a:gd name="T19" fmla="*/ 36 h 113"/>
                  <a:gd name="T20" fmla="*/ 235 w 453"/>
                  <a:gd name="T21" fmla="*/ 44 h 113"/>
                  <a:gd name="T22" fmla="*/ 273 w 453"/>
                  <a:gd name="T23" fmla="*/ 53 h 113"/>
                  <a:gd name="T24" fmla="*/ 311 w 453"/>
                  <a:gd name="T25" fmla="*/ 63 h 113"/>
                  <a:gd name="T26" fmla="*/ 348 w 453"/>
                  <a:gd name="T27" fmla="*/ 74 h 113"/>
                  <a:gd name="T28" fmla="*/ 385 w 453"/>
                  <a:gd name="T29" fmla="*/ 86 h 113"/>
                  <a:gd name="T30" fmla="*/ 419 w 453"/>
                  <a:gd name="T31" fmla="*/ 99 h 113"/>
                  <a:gd name="T32" fmla="*/ 453 w 453"/>
                  <a:gd name="T33" fmla="*/ 113 h 113"/>
                  <a:gd name="T34" fmla="*/ 448 w 453"/>
                  <a:gd name="T35" fmla="*/ 112 h 113"/>
                  <a:gd name="T36" fmla="*/ 437 w 453"/>
                  <a:gd name="T37" fmla="*/ 111 h 113"/>
                  <a:gd name="T38" fmla="*/ 417 w 453"/>
                  <a:gd name="T39" fmla="*/ 107 h 113"/>
                  <a:gd name="T40" fmla="*/ 393 w 453"/>
                  <a:gd name="T41" fmla="*/ 103 h 113"/>
                  <a:gd name="T42" fmla="*/ 363 w 453"/>
                  <a:gd name="T43" fmla="*/ 98 h 113"/>
                  <a:gd name="T44" fmla="*/ 329 w 453"/>
                  <a:gd name="T45" fmla="*/ 92 h 113"/>
                  <a:gd name="T46" fmla="*/ 294 w 453"/>
                  <a:gd name="T47" fmla="*/ 85 h 113"/>
                  <a:gd name="T48" fmla="*/ 256 w 453"/>
                  <a:gd name="T49" fmla="*/ 80 h 113"/>
                  <a:gd name="T50" fmla="*/ 218 w 453"/>
                  <a:gd name="T51" fmla="*/ 74 h 113"/>
                  <a:gd name="T52" fmla="*/ 180 w 453"/>
                  <a:gd name="T53" fmla="*/ 67 h 113"/>
                  <a:gd name="T54" fmla="*/ 144 w 453"/>
                  <a:gd name="T55" fmla="*/ 61 h 113"/>
                  <a:gd name="T56" fmla="*/ 111 w 453"/>
                  <a:gd name="T57" fmla="*/ 56 h 113"/>
                  <a:gd name="T58" fmla="*/ 79 w 453"/>
                  <a:gd name="T59" fmla="*/ 52 h 113"/>
                  <a:gd name="T60" fmla="*/ 54 w 453"/>
                  <a:gd name="T61" fmla="*/ 48 h 113"/>
                  <a:gd name="T62" fmla="*/ 34 w 453"/>
                  <a:gd name="T63" fmla="*/ 47 h 113"/>
                  <a:gd name="T64" fmla="*/ 21 w 453"/>
                  <a:gd name="T65" fmla="*/ 46 h 113"/>
                  <a:gd name="T66" fmla="*/ 0 w 453"/>
                  <a:gd name="T67" fmla="*/ 0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453" h="113">
                    <a:moveTo>
                      <a:pt x="0" y="0"/>
                    </a:moveTo>
                    <a:lnTo>
                      <a:pt x="3" y="0"/>
                    </a:lnTo>
                    <a:lnTo>
                      <a:pt x="13" y="2"/>
                    </a:lnTo>
                    <a:lnTo>
                      <a:pt x="28" y="3"/>
                    </a:lnTo>
                    <a:lnTo>
                      <a:pt x="47" y="7"/>
                    </a:lnTo>
                    <a:lnTo>
                      <a:pt x="71" y="10"/>
                    </a:lnTo>
                    <a:lnTo>
                      <a:pt x="99" y="16"/>
                    </a:lnTo>
                    <a:lnTo>
                      <a:pt x="129" y="22"/>
                    </a:lnTo>
                    <a:lnTo>
                      <a:pt x="162" y="28"/>
                    </a:lnTo>
                    <a:lnTo>
                      <a:pt x="198" y="36"/>
                    </a:lnTo>
                    <a:lnTo>
                      <a:pt x="235" y="44"/>
                    </a:lnTo>
                    <a:lnTo>
                      <a:pt x="273" y="53"/>
                    </a:lnTo>
                    <a:lnTo>
                      <a:pt x="311" y="63"/>
                    </a:lnTo>
                    <a:lnTo>
                      <a:pt x="348" y="74"/>
                    </a:lnTo>
                    <a:lnTo>
                      <a:pt x="385" y="86"/>
                    </a:lnTo>
                    <a:lnTo>
                      <a:pt x="419" y="99"/>
                    </a:lnTo>
                    <a:lnTo>
                      <a:pt x="453" y="113"/>
                    </a:lnTo>
                    <a:lnTo>
                      <a:pt x="448" y="112"/>
                    </a:lnTo>
                    <a:lnTo>
                      <a:pt x="437" y="111"/>
                    </a:lnTo>
                    <a:lnTo>
                      <a:pt x="417" y="107"/>
                    </a:lnTo>
                    <a:lnTo>
                      <a:pt x="393" y="103"/>
                    </a:lnTo>
                    <a:lnTo>
                      <a:pt x="363" y="98"/>
                    </a:lnTo>
                    <a:lnTo>
                      <a:pt x="329" y="92"/>
                    </a:lnTo>
                    <a:lnTo>
                      <a:pt x="294" y="85"/>
                    </a:lnTo>
                    <a:lnTo>
                      <a:pt x="256" y="80"/>
                    </a:lnTo>
                    <a:lnTo>
                      <a:pt x="218" y="74"/>
                    </a:lnTo>
                    <a:lnTo>
                      <a:pt x="180" y="67"/>
                    </a:lnTo>
                    <a:lnTo>
                      <a:pt x="144" y="61"/>
                    </a:lnTo>
                    <a:lnTo>
                      <a:pt x="111" y="56"/>
                    </a:lnTo>
                    <a:lnTo>
                      <a:pt x="79" y="52"/>
                    </a:lnTo>
                    <a:lnTo>
                      <a:pt x="54" y="48"/>
                    </a:lnTo>
                    <a:lnTo>
                      <a:pt x="34" y="47"/>
                    </a:lnTo>
                    <a:lnTo>
                      <a:pt x="21" y="4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 w="952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6" name="Freeform 215"/>
              <p:cNvSpPr>
                <a:spLocks/>
              </p:cNvSpPr>
              <p:nvPr/>
            </p:nvSpPr>
            <p:spPr bwMode="auto">
              <a:xfrm rot="20813856" flipH="1">
                <a:off x="11525154" y="2230127"/>
                <a:ext cx="71624" cy="83175"/>
              </a:xfrm>
              <a:custGeom>
                <a:avLst/>
                <a:gdLst>
                  <a:gd name="T0" fmla="*/ 63 w 63"/>
                  <a:gd name="T1" fmla="*/ 36 h 72"/>
                  <a:gd name="T2" fmla="*/ 61 w 63"/>
                  <a:gd name="T3" fmla="*/ 50 h 72"/>
                  <a:gd name="T4" fmla="*/ 54 w 63"/>
                  <a:gd name="T5" fmla="*/ 61 h 72"/>
                  <a:gd name="T6" fmla="*/ 44 w 63"/>
                  <a:gd name="T7" fmla="*/ 70 h 72"/>
                  <a:gd name="T8" fmla="*/ 32 w 63"/>
                  <a:gd name="T9" fmla="*/ 72 h 72"/>
                  <a:gd name="T10" fmla="*/ 19 w 63"/>
                  <a:gd name="T11" fmla="*/ 70 h 72"/>
                  <a:gd name="T12" fmla="*/ 9 w 63"/>
                  <a:gd name="T13" fmla="*/ 61 h 72"/>
                  <a:gd name="T14" fmla="*/ 2 w 63"/>
                  <a:gd name="T15" fmla="*/ 50 h 72"/>
                  <a:gd name="T16" fmla="*/ 0 w 63"/>
                  <a:gd name="T17" fmla="*/ 36 h 72"/>
                  <a:gd name="T18" fmla="*/ 2 w 63"/>
                  <a:gd name="T19" fmla="*/ 22 h 72"/>
                  <a:gd name="T20" fmla="*/ 9 w 63"/>
                  <a:gd name="T21" fmla="*/ 11 h 72"/>
                  <a:gd name="T22" fmla="*/ 19 w 63"/>
                  <a:gd name="T23" fmla="*/ 3 h 72"/>
                  <a:gd name="T24" fmla="*/ 32 w 63"/>
                  <a:gd name="T25" fmla="*/ 0 h 72"/>
                  <a:gd name="T26" fmla="*/ 44 w 63"/>
                  <a:gd name="T27" fmla="*/ 3 h 72"/>
                  <a:gd name="T28" fmla="*/ 54 w 63"/>
                  <a:gd name="T29" fmla="*/ 11 h 72"/>
                  <a:gd name="T30" fmla="*/ 61 w 63"/>
                  <a:gd name="T31" fmla="*/ 22 h 72"/>
                  <a:gd name="T32" fmla="*/ 63 w 63"/>
                  <a:gd name="T33" fmla="*/ 36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3" h="72">
                    <a:moveTo>
                      <a:pt x="63" y="36"/>
                    </a:moveTo>
                    <a:lnTo>
                      <a:pt x="61" y="50"/>
                    </a:lnTo>
                    <a:lnTo>
                      <a:pt x="54" y="61"/>
                    </a:lnTo>
                    <a:lnTo>
                      <a:pt x="44" y="70"/>
                    </a:lnTo>
                    <a:lnTo>
                      <a:pt x="32" y="72"/>
                    </a:lnTo>
                    <a:lnTo>
                      <a:pt x="19" y="70"/>
                    </a:lnTo>
                    <a:lnTo>
                      <a:pt x="9" y="61"/>
                    </a:lnTo>
                    <a:lnTo>
                      <a:pt x="2" y="50"/>
                    </a:lnTo>
                    <a:lnTo>
                      <a:pt x="0" y="36"/>
                    </a:lnTo>
                    <a:lnTo>
                      <a:pt x="2" y="22"/>
                    </a:lnTo>
                    <a:lnTo>
                      <a:pt x="9" y="11"/>
                    </a:lnTo>
                    <a:lnTo>
                      <a:pt x="19" y="3"/>
                    </a:lnTo>
                    <a:lnTo>
                      <a:pt x="32" y="0"/>
                    </a:lnTo>
                    <a:lnTo>
                      <a:pt x="44" y="3"/>
                    </a:lnTo>
                    <a:lnTo>
                      <a:pt x="54" y="11"/>
                    </a:lnTo>
                    <a:lnTo>
                      <a:pt x="61" y="22"/>
                    </a:lnTo>
                    <a:lnTo>
                      <a:pt x="63" y="36"/>
                    </a:lnTo>
                    <a:close/>
                  </a:path>
                </a:pathLst>
              </a:custGeom>
              <a:solidFill>
                <a:srgbClr val="4B004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7" name="Freeform 216"/>
              <p:cNvSpPr>
                <a:spLocks/>
              </p:cNvSpPr>
              <p:nvPr/>
            </p:nvSpPr>
            <p:spPr bwMode="auto">
              <a:xfrm rot="20813856" flipH="1">
                <a:off x="11535365" y="1845071"/>
                <a:ext cx="134004" cy="36967"/>
              </a:xfrm>
              <a:custGeom>
                <a:avLst/>
                <a:gdLst>
                  <a:gd name="T0" fmla="*/ 35 w 115"/>
                  <a:gd name="T1" fmla="*/ 0 h 33"/>
                  <a:gd name="T2" fmla="*/ 33 w 115"/>
                  <a:gd name="T3" fmla="*/ 0 h 33"/>
                  <a:gd name="T4" fmla="*/ 31 w 115"/>
                  <a:gd name="T5" fmla="*/ 2 h 33"/>
                  <a:gd name="T6" fmla="*/ 26 w 115"/>
                  <a:gd name="T7" fmla="*/ 4 h 33"/>
                  <a:gd name="T8" fmla="*/ 22 w 115"/>
                  <a:gd name="T9" fmla="*/ 6 h 33"/>
                  <a:gd name="T10" fmla="*/ 16 w 115"/>
                  <a:gd name="T11" fmla="*/ 9 h 33"/>
                  <a:gd name="T12" fmla="*/ 10 w 115"/>
                  <a:gd name="T13" fmla="*/ 13 h 33"/>
                  <a:gd name="T14" fmla="*/ 5 w 115"/>
                  <a:gd name="T15" fmla="*/ 17 h 33"/>
                  <a:gd name="T16" fmla="*/ 0 w 115"/>
                  <a:gd name="T17" fmla="*/ 22 h 33"/>
                  <a:gd name="T18" fmla="*/ 8 w 115"/>
                  <a:gd name="T19" fmla="*/ 27 h 33"/>
                  <a:gd name="T20" fmla="*/ 13 w 115"/>
                  <a:gd name="T21" fmla="*/ 27 h 33"/>
                  <a:gd name="T22" fmla="*/ 23 w 115"/>
                  <a:gd name="T23" fmla="*/ 27 h 33"/>
                  <a:gd name="T24" fmla="*/ 39 w 115"/>
                  <a:gd name="T25" fmla="*/ 27 h 33"/>
                  <a:gd name="T26" fmla="*/ 58 w 115"/>
                  <a:gd name="T27" fmla="*/ 28 h 33"/>
                  <a:gd name="T28" fmla="*/ 76 w 115"/>
                  <a:gd name="T29" fmla="*/ 28 h 33"/>
                  <a:gd name="T30" fmla="*/ 93 w 115"/>
                  <a:gd name="T31" fmla="*/ 29 h 33"/>
                  <a:gd name="T32" fmla="*/ 107 w 115"/>
                  <a:gd name="T33" fmla="*/ 30 h 33"/>
                  <a:gd name="T34" fmla="*/ 115 w 115"/>
                  <a:gd name="T35" fmla="*/ 33 h 33"/>
                  <a:gd name="T36" fmla="*/ 115 w 115"/>
                  <a:gd name="T37" fmla="*/ 6 h 33"/>
                  <a:gd name="T38" fmla="*/ 113 w 115"/>
                  <a:gd name="T39" fmla="*/ 6 h 33"/>
                  <a:gd name="T40" fmla="*/ 106 w 115"/>
                  <a:gd name="T41" fmla="*/ 5 h 33"/>
                  <a:gd name="T42" fmla="*/ 96 w 115"/>
                  <a:gd name="T43" fmla="*/ 4 h 33"/>
                  <a:gd name="T44" fmla="*/ 84 w 115"/>
                  <a:gd name="T45" fmla="*/ 3 h 33"/>
                  <a:gd name="T46" fmla="*/ 70 w 115"/>
                  <a:gd name="T47" fmla="*/ 2 h 33"/>
                  <a:gd name="T48" fmla="*/ 56 w 115"/>
                  <a:gd name="T49" fmla="*/ 0 h 33"/>
                  <a:gd name="T50" fmla="*/ 45 w 115"/>
                  <a:gd name="T51" fmla="*/ 0 h 33"/>
                  <a:gd name="T52" fmla="*/ 35 w 115"/>
                  <a:gd name="T5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15" h="33">
                    <a:moveTo>
                      <a:pt x="35" y="0"/>
                    </a:moveTo>
                    <a:lnTo>
                      <a:pt x="33" y="0"/>
                    </a:lnTo>
                    <a:lnTo>
                      <a:pt x="31" y="2"/>
                    </a:lnTo>
                    <a:lnTo>
                      <a:pt x="26" y="4"/>
                    </a:lnTo>
                    <a:lnTo>
                      <a:pt x="22" y="6"/>
                    </a:lnTo>
                    <a:lnTo>
                      <a:pt x="16" y="9"/>
                    </a:lnTo>
                    <a:lnTo>
                      <a:pt x="10" y="13"/>
                    </a:lnTo>
                    <a:lnTo>
                      <a:pt x="5" y="17"/>
                    </a:lnTo>
                    <a:lnTo>
                      <a:pt x="0" y="22"/>
                    </a:lnTo>
                    <a:lnTo>
                      <a:pt x="8" y="27"/>
                    </a:lnTo>
                    <a:lnTo>
                      <a:pt x="13" y="27"/>
                    </a:lnTo>
                    <a:lnTo>
                      <a:pt x="23" y="27"/>
                    </a:lnTo>
                    <a:lnTo>
                      <a:pt x="39" y="27"/>
                    </a:lnTo>
                    <a:lnTo>
                      <a:pt x="58" y="28"/>
                    </a:lnTo>
                    <a:lnTo>
                      <a:pt x="76" y="28"/>
                    </a:lnTo>
                    <a:lnTo>
                      <a:pt x="93" y="29"/>
                    </a:lnTo>
                    <a:lnTo>
                      <a:pt x="107" y="30"/>
                    </a:lnTo>
                    <a:lnTo>
                      <a:pt x="115" y="33"/>
                    </a:lnTo>
                    <a:lnTo>
                      <a:pt x="115" y="6"/>
                    </a:lnTo>
                    <a:lnTo>
                      <a:pt x="113" y="6"/>
                    </a:lnTo>
                    <a:lnTo>
                      <a:pt x="106" y="5"/>
                    </a:lnTo>
                    <a:lnTo>
                      <a:pt x="96" y="4"/>
                    </a:lnTo>
                    <a:lnTo>
                      <a:pt x="84" y="3"/>
                    </a:lnTo>
                    <a:lnTo>
                      <a:pt x="70" y="2"/>
                    </a:lnTo>
                    <a:lnTo>
                      <a:pt x="56" y="0"/>
                    </a:lnTo>
                    <a:lnTo>
                      <a:pt x="45" y="0"/>
                    </a:lnTo>
                    <a:lnTo>
                      <a:pt x="35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solidFill>
                  <a:sysClr val="window" lastClr="FFFFFF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8" name="Freeform 217"/>
              <p:cNvSpPr/>
              <p:nvPr/>
            </p:nvSpPr>
            <p:spPr bwMode="auto">
              <a:xfrm>
                <a:off x="11750366" y="1907996"/>
                <a:ext cx="79116" cy="91024"/>
              </a:xfrm>
              <a:custGeom>
                <a:avLst/>
                <a:gdLst>
                  <a:gd name="connsiteX0" fmla="*/ 180975 w 833437"/>
                  <a:gd name="connsiteY0" fmla="*/ 0 h 952500"/>
                  <a:gd name="connsiteX1" fmla="*/ 833437 w 833437"/>
                  <a:gd name="connsiteY1" fmla="*/ 414338 h 952500"/>
                  <a:gd name="connsiteX2" fmla="*/ 795337 w 833437"/>
                  <a:gd name="connsiteY2" fmla="*/ 952500 h 952500"/>
                  <a:gd name="connsiteX3" fmla="*/ 0 w 833437"/>
                  <a:gd name="connsiteY3" fmla="*/ 495300 h 952500"/>
                  <a:gd name="connsiteX4" fmla="*/ 180975 w 833437"/>
                  <a:gd name="connsiteY4" fmla="*/ 0 h 952500"/>
                  <a:gd name="connsiteX0" fmla="*/ 180975 w 905488"/>
                  <a:gd name="connsiteY0" fmla="*/ 488 h 952988"/>
                  <a:gd name="connsiteX1" fmla="*/ 833437 w 905488"/>
                  <a:gd name="connsiteY1" fmla="*/ 414826 h 952988"/>
                  <a:gd name="connsiteX2" fmla="*/ 795337 w 905488"/>
                  <a:gd name="connsiteY2" fmla="*/ 952988 h 952988"/>
                  <a:gd name="connsiteX3" fmla="*/ 0 w 905488"/>
                  <a:gd name="connsiteY3" fmla="*/ 495788 h 952988"/>
                  <a:gd name="connsiteX4" fmla="*/ 180975 w 905488"/>
                  <a:gd name="connsiteY4" fmla="*/ 488 h 952988"/>
                  <a:gd name="connsiteX0" fmla="*/ 285337 w 1009850"/>
                  <a:gd name="connsiteY0" fmla="*/ 488 h 952988"/>
                  <a:gd name="connsiteX1" fmla="*/ 937799 w 1009850"/>
                  <a:gd name="connsiteY1" fmla="*/ 414826 h 952988"/>
                  <a:gd name="connsiteX2" fmla="*/ 899699 w 1009850"/>
                  <a:gd name="connsiteY2" fmla="*/ 952988 h 952988"/>
                  <a:gd name="connsiteX3" fmla="*/ 104362 w 1009850"/>
                  <a:gd name="connsiteY3" fmla="*/ 495788 h 952988"/>
                  <a:gd name="connsiteX4" fmla="*/ 285337 w 1009850"/>
                  <a:gd name="connsiteY4" fmla="*/ 488 h 952988"/>
                  <a:gd name="connsiteX0" fmla="*/ 285337 w 982980"/>
                  <a:gd name="connsiteY0" fmla="*/ 887 h 953387"/>
                  <a:gd name="connsiteX1" fmla="*/ 937799 w 982980"/>
                  <a:gd name="connsiteY1" fmla="*/ 415225 h 953387"/>
                  <a:gd name="connsiteX2" fmla="*/ 899699 w 982980"/>
                  <a:gd name="connsiteY2" fmla="*/ 953387 h 953387"/>
                  <a:gd name="connsiteX3" fmla="*/ 104362 w 982980"/>
                  <a:gd name="connsiteY3" fmla="*/ 496187 h 953387"/>
                  <a:gd name="connsiteX4" fmla="*/ 285337 w 982980"/>
                  <a:gd name="connsiteY4" fmla="*/ 887 h 953387"/>
                  <a:gd name="connsiteX0" fmla="*/ 285337 w 1002273"/>
                  <a:gd name="connsiteY0" fmla="*/ 958 h 953458"/>
                  <a:gd name="connsiteX1" fmla="*/ 937799 w 1002273"/>
                  <a:gd name="connsiteY1" fmla="*/ 415296 h 953458"/>
                  <a:gd name="connsiteX2" fmla="*/ 899699 w 1002273"/>
                  <a:gd name="connsiteY2" fmla="*/ 953458 h 953458"/>
                  <a:gd name="connsiteX3" fmla="*/ 104362 w 1002273"/>
                  <a:gd name="connsiteY3" fmla="*/ 496258 h 953458"/>
                  <a:gd name="connsiteX4" fmla="*/ 285337 w 1002273"/>
                  <a:gd name="connsiteY4" fmla="*/ 958 h 953458"/>
                  <a:gd name="connsiteX0" fmla="*/ 285337 w 986297"/>
                  <a:gd name="connsiteY0" fmla="*/ 2645 h 955145"/>
                  <a:gd name="connsiteX1" fmla="*/ 904461 w 986297"/>
                  <a:gd name="connsiteY1" fmla="*/ 316971 h 955145"/>
                  <a:gd name="connsiteX2" fmla="*/ 899699 w 986297"/>
                  <a:gd name="connsiteY2" fmla="*/ 955145 h 955145"/>
                  <a:gd name="connsiteX3" fmla="*/ 104362 w 986297"/>
                  <a:gd name="connsiteY3" fmla="*/ 497945 h 955145"/>
                  <a:gd name="connsiteX4" fmla="*/ 285337 w 986297"/>
                  <a:gd name="connsiteY4" fmla="*/ 2645 h 955145"/>
                  <a:gd name="connsiteX0" fmla="*/ 285337 w 987095"/>
                  <a:gd name="connsiteY0" fmla="*/ 2174 h 954674"/>
                  <a:gd name="connsiteX1" fmla="*/ 904461 w 987095"/>
                  <a:gd name="connsiteY1" fmla="*/ 316500 h 954674"/>
                  <a:gd name="connsiteX2" fmla="*/ 899699 w 987095"/>
                  <a:gd name="connsiteY2" fmla="*/ 954674 h 954674"/>
                  <a:gd name="connsiteX3" fmla="*/ 104362 w 987095"/>
                  <a:gd name="connsiteY3" fmla="*/ 497474 h 954674"/>
                  <a:gd name="connsiteX4" fmla="*/ 285337 w 987095"/>
                  <a:gd name="connsiteY4" fmla="*/ 2174 h 954674"/>
                  <a:gd name="connsiteX0" fmla="*/ 201431 w 903189"/>
                  <a:gd name="connsiteY0" fmla="*/ 2174 h 954674"/>
                  <a:gd name="connsiteX1" fmla="*/ 820555 w 903189"/>
                  <a:gd name="connsiteY1" fmla="*/ 316500 h 954674"/>
                  <a:gd name="connsiteX2" fmla="*/ 815793 w 903189"/>
                  <a:gd name="connsiteY2" fmla="*/ 954674 h 954674"/>
                  <a:gd name="connsiteX3" fmla="*/ 20456 w 903189"/>
                  <a:gd name="connsiteY3" fmla="*/ 497474 h 954674"/>
                  <a:gd name="connsiteX4" fmla="*/ 201431 w 903189"/>
                  <a:gd name="connsiteY4" fmla="*/ 2174 h 954674"/>
                  <a:gd name="connsiteX0" fmla="*/ 170574 w 872332"/>
                  <a:gd name="connsiteY0" fmla="*/ 2174 h 954674"/>
                  <a:gd name="connsiteX1" fmla="*/ 789698 w 872332"/>
                  <a:gd name="connsiteY1" fmla="*/ 316500 h 954674"/>
                  <a:gd name="connsiteX2" fmla="*/ 784936 w 872332"/>
                  <a:gd name="connsiteY2" fmla="*/ 954674 h 954674"/>
                  <a:gd name="connsiteX3" fmla="*/ 25317 w 872332"/>
                  <a:gd name="connsiteY3" fmla="*/ 704642 h 954674"/>
                  <a:gd name="connsiteX4" fmla="*/ 170574 w 872332"/>
                  <a:gd name="connsiteY4" fmla="*/ 2174 h 954674"/>
                  <a:gd name="connsiteX0" fmla="*/ 156697 w 858455"/>
                  <a:gd name="connsiteY0" fmla="*/ 2174 h 954674"/>
                  <a:gd name="connsiteX1" fmla="*/ 775821 w 858455"/>
                  <a:gd name="connsiteY1" fmla="*/ 316500 h 954674"/>
                  <a:gd name="connsiteX2" fmla="*/ 771059 w 858455"/>
                  <a:gd name="connsiteY2" fmla="*/ 954674 h 954674"/>
                  <a:gd name="connsiteX3" fmla="*/ 11440 w 858455"/>
                  <a:gd name="connsiteY3" fmla="*/ 704642 h 954674"/>
                  <a:gd name="connsiteX4" fmla="*/ 156697 w 858455"/>
                  <a:gd name="connsiteY4" fmla="*/ 2174 h 954674"/>
                  <a:gd name="connsiteX0" fmla="*/ 156697 w 858455"/>
                  <a:gd name="connsiteY0" fmla="*/ 2174 h 954674"/>
                  <a:gd name="connsiteX1" fmla="*/ 775821 w 858455"/>
                  <a:gd name="connsiteY1" fmla="*/ 316500 h 954674"/>
                  <a:gd name="connsiteX2" fmla="*/ 771059 w 858455"/>
                  <a:gd name="connsiteY2" fmla="*/ 954674 h 954674"/>
                  <a:gd name="connsiteX3" fmla="*/ 11440 w 858455"/>
                  <a:gd name="connsiteY3" fmla="*/ 704642 h 954674"/>
                  <a:gd name="connsiteX4" fmla="*/ 156697 w 858455"/>
                  <a:gd name="connsiteY4" fmla="*/ 2174 h 954674"/>
                  <a:gd name="connsiteX0" fmla="*/ 156697 w 858455"/>
                  <a:gd name="connsiteY0" fmla="*/ 2174 h 954674"/>
                  <a:gd name="connsiteX1" fmla="*/ 775821 w 858455"/>
                  <a:gd name="connsiteY1" fmla="*/ 316500 h 954674"/>
                  <a:gd name="connsiteX2" fmla="*/ 771059 w 858455"/>
                  <a:gd name="connsiteY2" fmla="*/ 954674 h 954674"/>
                  <a:gd name="connsiteX3" fmla="*/ 11440 w 858455"/>
                  <a:gd name="connsiteY3" fmla="*/ 704642 h 954674"/>
                  <a:gd name="connsiteX4" fmla="*/ 156697 w 858455"/>
                  <a:gd name="connsiteY4" fmla="*/ 2174 h 954674"/>
                  <a:gd name="connsiteX0" fmla="*/ 156697 w 851751"/>
                  <a:gd name="connsiteY0" fmla="*/ 2174 h 954674"/>
                  <a:gd name="connsiteX1" fmla="*/ 775821 w 851751"/>
                  <a:gd name="connsiteY1" fmla="*/ 316500 h 954674"/>
                  <a:gd name="connsiteX2" fmla="*/ 771059 w 851751"/>
                  <a:gd name="connsiteY2" fmla="*/ 954674 h 954674"/>
                  <a:gd name="connsiteX3" fmla="*/ 11440 w 851751"/>
                  <a:gd name="connsiteY3" fmla="*/ 704642 h 954674"/>
                  <a:gd name="connsiteX4" fmla="*/ 156697 w 851751"/>
                  <a:gd name="connsiteY4" fmla="*/ 2174 h 954674"/>
                  <a:gd name="connsiteX0" fmla="*/ 156697 w 851751"/>
                  <a:gd name="connsiteY0" fmla="*/ 2174 h 969306"/>
                  <a:gd name="connsiteX1" fmla="*/ 775821 w 851751"/>
                  <a:gd name="connsiteY1" fmla="*/ 316500 h 969306"/>
                  <a:gd name="connsiteX2" fmla="*/ 771059 w 851751"/>
                  <a:gd name="connsiteY2" fmla="*/ 954674 h 969306"/>
                  <a:gd name="connsiteX3" fmla="*/ 11440 w 851751"/>
                  <a:gd name="connsiteY3" fmla="*/ 704642 h 969306"/>
                  <a:gd name="connsiteX4" fmla="*/ 156697 w 851751"/>
                  <a:gd name="connsiteY4" fmla="*/ 2174 h 969306"/>
                  <a:gd name="connsiteX0" fmla="*/ 156697 w 842501"/>
                  <a:gd name="connsiteY0" fmla="*/ 2174 h 969306"/>
                  <a:gd name="connsiteX1" fmla="*/ 775821 w 842501"/>
                  <a:gd name="connsiteY1" fmla="*/ 316500 h 969306"/>
                  <a:gd name="connsiteX2" fmla="*/ 771059 w 842501"/>
                  <a:gd name="connsiteY2" fmla="*/ 954674 h 969306"/>
                  <a:gd name="connsiteX3" fmla="*/ 11440 w 842501"/>
                  <a:gd name="connsiteY3" fmla="*/ 704642 h 969306"/>
                  <a:gd name="connsiteX4" fmla="*/ 156697 w 842501"/>
                  <a:gd name="connsiteY4" fmla="*/ 2174 h 9693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42501" h="969306">
                    <a:moveTo>
                      <a:pt x="156697" y="2174"/>
                    </a:moveTo>
                    <a:cubicBezTo>
                      <a:pt x="295603" y="-11320"/>
                      <a:pt x="690095" y="31544"/>
                      <a:pt x="775821" y="316500"/>
                    </a:cubicBezTo>
                    <a:cubicBezTo>
                      <a:pt x="861547" y="601456"/>
                      <a:pt x="869483" y="767348"/>
                      <a:pt x="771059" y="954674"/>
                    </a:cubicBezTo>
                    <a:cubicBezTo>
                      <a:pt x="460703" y="961818"/>
                      <a:pt x="133678" y="1047542"/>
                      <a:pt x="11440" y="704642"/>
                    </a:cubicBezTo>
                    <a:cubicBezTo>
                      <a:pt x="-22692" y="526048"/>
                      <a:pt x="17791" y="15668"/>
                      <a:pt x="156697" y="2174"/>
                    </a:cubicBezTo>
                    <a:close/>
                  </a:path>
                </a:pathLst>
              </a:custGeom>
              <a:solidFill>
                <a:sysClr val="window" lastClr="FFFFFF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255" name="AutoShape 3"/>
            <p:cNvSpPr>
              <a:spLocks noChangeAspect="1" noChangeArrowheads="1" noTextEdit="1"/>
            </p:cNvSpPr>
            <p:nvPr/>
          </p:nvSpPr>
          <p:spPr bwMode="auto">
            <a:xfrm>
              <a:off x="6018186" y="4331177"/>
              <a:ext cx="3310619" cy="22079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36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</a:endParaRPr>
            </a:p>
          </p:txBody>
        </p:sp>
        <p:grpSp>
          <p:nvGrpSpPr>
            <p:cNvPr id="328" name="Group 327"/>
            <p:cNvGrpSpPr/>
            <p:nvPr/>
          </p:nvGrpSpPr>
          <p:grpSpPr>
            <a:xfrm>
              <a:off x="7774962" y="5299585"/>
              <a:ext cx="1189997" cy="1084348"/>
              <a:chOff x="7796007" y="1876696"/>
              <a:chExt cx="1582573" cy="1442070"/>
            </a:xfrm>
          </p:grpSpPr>
          <p:sp>
            <p:nvSpPr>
              <p:cNvPr id="99" name="Freeform 98"/>
              <p:cNvSpPr/>
              <p:nvPr/>
            </p:nvSpPr>
            <p:spPr bwMode="auto">
              <a:xfrm>
                <a:off x="8032195" y="2912673"/>
                <a:ext cx="80144" cy="385778"/>
              </a:xfrm>
              <a:custGeom>
                <a:avLst/>
                <a:gdLst>
                  <a:gd name="connsiteX0" fmla="*/ 0 w 140494"/>
                  <a:gd name="connsiteY0" fmla="*/ 14288 h 676275"/>
                  <a:gd name="connsiteX1" fmla="*/ 19050 w 140494"/>
                  <a:gd name="connsiteY1" fmla="*/ 676275 h 676275"/>
                  <a:gd name="connsiteX2" fmla="*/ 133350 w 140494"/>
                  <a:gd name="connsiteY2" fmla="*/ 664369 h 676275"/>
                  <a:gd name="connsiteX3" fmla="*/ 140494 w 140494"/>
                  <a:gd name="connsiteY3" fmla="*/ 0 h 676275"/>
                  <a:gd name="connsiteX4" fmla="*/ 0 w 140494"/>
                  <a:gd name="connsiteY4" fmla="*/ 14288 h 676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0494" h="676275">
                    <a:moveTo>
                      <a:pt x="0" y="14288"/>
                    </a:moveTo>
                    <a:lnTo>
                      <a:pt x="19050" y="676275"/>
                    </a:lnTo>
                    <a:lnTo>
                      <a:pt x="133350" y="664369"/>
                    </a:lnTo>
                    <a:cubicBezTo>
                      <a:pt x="135731" y="442913"/>
                      <a:pt x="138113" y="221456"/>
                      <a:pt x="140494" y="0"/>
                    </a:cubicBezTo>
                    <a:lnTo>
                      <a:pt x="0" y="14288"/>
                    </a:lnTo>
                    <a:close/>
                  </a:path>
                </a:pathLst>
              </a:custGeom>
              <a:solidFill>
                <a:srgbClr val="FFC000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00" name="Freeform 99"/>
              <p:cNvSpPr/>
              <p:nvPr/>
            </p:nvSpPr>
            <p:spPr bwMode="auto">
              <a:xfrm>
                <a:off x="8125923" y="2912673"/>
                <a:ext cx="80144" cy="385778"/>
              </a:xfrm>
              <a:custGeom>
                <a:avLst/>
                <a:gdLst>
                  <a:gd name="connsiteX0" fmla="*/ 0 w 140494"/>
                  <a:gd name="connsiteY0" fmla="*/ 14288 h 676275"/>
                  <a:gd name="connsiteX1" fmla="*/ 19050 w 140494"/>
                  <a:gd name="connsiteY1" fmla="*/ 676275 h 676275"/>
                  <a:gd name="connsiteX2" fmla="*/ 133350 w 140494"/>
                  <a:gd name="connsiteY2" fmla="*/ 664369 h 676275"/>
                  <a:gd name="connsiteX3" fmla="*/ 140494 w 140494"/>
                  <a:gd name="connsiteY3" fmla="*/ 0 h 676275"/>
                  <a:gd name="connsiteX4" fmla="*/ 0 w 140494"/>
                  <a:gd name="connsiteY4" fmla="*/ 14288 h 676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0494" h="676275">
                    <a:moveTo>
                      <a:pt x="0" y="14288"/>
                    </a:moveTo>
                    <a:lnTo>
                      <a:pt x="19050" y="676275"/>
                    </a:lnTo>
                    <a:lnTo>
                      <a:pt x="133350" y="664369"/>
                    </a:lnTo>
                    <a:cubicBezTo>
                      <a:pt x="135731" y="442913"/>
                      <a:pt x="138113" y="221456"/>
                      <a:pt x="140494" y="0"/>
                    </a:cubicBezTo>
                    <a:lnTo>
                      <a:pt x="0" y="14288"/>
                    </a:lnTo>
                    <a:close/>
                  </a:path>
                </a:pathLst>
              </a:custGeom>
              <a:solidFill>
                <a:srgbClr val="FFC000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01" name="Freeform 100"/>
              <p:cNvSpPr/>
              <p:nvPr/>
            </p:nvSpPr>
            <p:spPr bwMode="auto">
              <a:xfrm>
                <a:off x="7990085" y="2636924"/>
                <a:ext cx="248583" cy="292050"/>
              </a:xfrm>
              <a:custGeom>
                <a:avLst/>
                <a:gdLst>
                  <a:gd name="connsiteX0" fmla="*/ 0 w 435769"/>
                  <a:gd name="connsiteY0" fmla="*/ 14287 h 511968"/>
                  <a:gd name="connsiteX1" fmla="*/ 23813 w 435769"/>
                  <a:gd name="connsiteY1" fmla="*/ 511968 h 511968"/>
                  <a:gd name="connsiteX2" fmla="*/ 421482 w 435769"/>
                  <a:gd name="connsiteY2" fmla="*/ 511968 h 511968"/>
                  <a:gd name="connsiteX3" fmla="*/ 435769 w 435769"/>
                  <a:gd name="connsiteY3" fmla="*/ 0 h 511968"/>
                  <a:gd name="connsiteX4" fmla="*/ 0 w 435769"/>
                  <a:gd name="connsiteY4" fmla="*/ 14287 h 511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35769" h="511968">
                    <a:moveTo>
                      <a:pt x="0" y="14287"/>
                    </a:moveTo>
                    <a:lnTo>
                      <a:pt x="23813" y="511968"/>
                    </a:lnTo>
                    <a:lnTo>
                      <a:pt x="421482" y="511968"/>
                    </a:lnTo>
                    <a:lnTo>
                      <a:pt x="435769" y="0"/>
                    </a:lnTo>
                    <a:lnTo>
                      <a:pt x="0" y="14287"/>
                    </a:lnTo>
                    <a:close/>
                  </a:path>
                </a:pathLst>
              </a:custGeom>
              <a:solidFill>
                <a:srgbClr val="FD7425">
                  <a:lumMod val="75000"/>
                </a:srgb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02" name="Freeform 101"/>
              <p:cNvSpPr/>
              <p:nvPr/>
            </p:nvSpPr>
            <p:spPr bwMode="auto">
              <a:xfrm>
                <a:off x="8007188" y="2101724"/>
                <a:ext cx="81153" cy="74876"/>
              </a:xfrm>
              <a:custGeom>
                <a:avLst/>
                <a:gdLst>
                  <a:gd name="connsiteX0" fmla="*/ 41275 w 123825"/>
                  <a:gd name="connsiteY0" fmla="*/ 0 h 127000"/>
                  <a:gd name="connsiteX1" fmla="*/ 0 w 123825"/>
                  <a:gd name="connsiteY1" fmla="*/ 34925 h 127000"/>
                  <a:gd name="connsiteX2" fmla="*/ 104775 w 123825"/>
                  <a:gd name="connsiteY2" fmla="*/ 127000 h 127000"/>
                  <a:gd name="connsiteX3" fmla="*/ 123825 w 123825"/>
                  <a:gd name="connsiteY3" fmla="*/ 15875 h 127000"/>
                  <a:gd name="connsiteX4" fmla="*/ 41275 w 123825"/>
                  <a:gd name="connsiteY4" fmla="*/ 0 h 127000"/>
                  <a:gd name="connsiteX0" fmla="*/ 57150 w 139700"/>
                  <a:gd name="connsiteY0" fmla="*/ 0 h 127000"/>
                  <a:gd name="connsiteX1" fmla="*/ 0 w 139700"/>
                  <a:gd name="connsiteY1" fmla="*/ 34925 h 127000"/>
                  <a:gd name="connsiteX2" fmla="*/ 120650 w 139700"/>
                  <a:gd name="connsiteY2" fmla="*/ 127000 h 127000"/>
                  <a:gd name="connsiteX3" fmla="*/ 139700 w 139700"/>
                  <a:gd name="connsiteY3" fmla="*/ 15875 h 127000"/>
                  <a:gd name="connsiteX4" fmla="*/ 57150 w 139700"/>
                  <a:gd name="connsiteY4" fmla="*/ 0 h 127000"/>
                  <a:gd name="connsiteX0" fmla="*/ 57150 w 139700"/>
                  <a:gd name="connsiteY0" fmla="*/ 0 h 127000"/>
                  <a:gd name="connsiteX1" fmla="*/ 0 w 139700"/>
                  <a:gd name="connsiteY1" fmla="*/ 34925 h 127000"/>
                  <a:gd name="connsiteX2" fmla="*/ 120650 w 139700"/>
                  <a:gd name="connsiteY2" fmla="*/ 127000 h 127000"/>
                  <a:gd name="connsiteX3" fmla="*/ 139700 w 139700"/>
                  <a:gd name="connsiteY3" fmla="*/ 15875 h 127000"/>
                  <a:gd name="connsiteX4" fmla="*/ 57150 w 139700"/>
                  <a:gd name="connsiteY4" fmla="*/ 0 h 127000"/>
                  <a:gd name="connsiteX0" fmla="*/ 59779 w 142329"/>
                  <a:gd name="connsiteY0" fmla="*/ 0 h 127000"/>
                  <a:gd name="connsiteX1" fmla="*/ 2629 w 142329"/>
                  <a:gd name="connsiteY1" fmla="*/ 34925 h 127000"/>
                  <a:gd name="connsiteX2" fmla="*/ 123279 w 142329"/>
                  <a:gd name="connsiteY2" fmla="*/ 127000 h 127000"/>
                  <a:gd name="connsiteX3" fmla="*/ 142329 w 142329"/>
                  <a:gd name="connsiteY3" fmla="*/ 15875 h 127000"/>
                  <a:gd name="connsiteX4" fmla="*/ 59779 w 142329"/>
                  <a:gd name="connsiteY4" fmla="*/ 0 h 127000"/>
                  <a:gd name="connsiteX0" fmla="*/ 59712 w 142262"/>
                  <a:gd name="connsiteY0" fmla="*/ 0 h 131258"/>
                  <a:gd name="connsiteX1" fmla="*/ 2562 w 142262"/>
                  <a:gd name="connsiteY1" fmla="*/ 34925 h 131258"/>
                  <a:gd name="connsiteX2" fmla="*/ 123212 w 142262"/>
                  <a:gd name="connsiteY2" fmla="*/ 127000 h 131258"/>
                  <a:gd name="connsiteX3" fmla="*/ 142262 w 142262"/>
                  <a:gd name="connsiteY3" fmla="*/ 15875 h 131258"/>
                  <a:gd name="connsiteX4" fmla="*/ 59712 w 142262"/>
                  <a:gd name="connsiteY4" fmla="*/ 0 h 131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2262" h="131258">
                    <a:moveTo>
                      <a:pt x="59712" y="0"/>
                    </a:moveTo>
                    <a:cubicBezTo>
                      <a:pt x="78762" y="94192"/>
                      <a:pt x="21612" y="23283"/>
                      <a:pt x="2562" y="34925"/>
                    </a:cubicBezTo>
                    <a:cubicBezTo>
                      <a:pt x="-17546" y="144992"/>
                      <a:pt x="86170" y="134408"/>
                      <a:pt x="123212" y="127000"/>
                    </a:cubicBezTo>
                    <a:lnTo>
                      <a:pt x="142262" y="15875"/>
                    </a:lnTo>
                    <a:lnTo>
                      <a:pt x="59712" y="0"/>
                    </a:lnTo>
                    <a:close/>
                  </a:path>
                </a:pathLst>
              </a:custGeom>
              <a:solidFill>
                <a:srgbClr val="3F3F3F">
                  <a:lumMod val="95000"/>
                  <a:lumOff val="5000"/>
                </a:srgb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03" name="Freeform 102"/>
              <p:cNvSpPr/>
              <p:nvPr/>
            </p:nvSpPr>
            <p:spPr bwMode="auto">
              <a:xfrm flipH="1">
                <a:off x="8153893" y="2101724"/>
                <a:ext cx="81153" cy="74876"/>
              </a:xfrm>
              <a:custGeom>
                <a:avLst/>
                <a:gdLst>
                  <a:gd name="connsiteX0" fmla="*/ 41275 w 123825"/>
                  <a:gd name="connsiteY0" fmla="*/ 0 h 127000"/>
                  <a:gd name="connsiteX1" fmla="*/ 0 w 123825"/>
                  <a:gd name="connsiteY1" fmla="*/ 34925 h 127000"/>
                  <a:gd name="connsiteX2" fmla="*/ 104775 w 123825"/>
                  <a:gd name="connsiteY2" fmla="*/ 127000 h 127000"/>
                  <a:gd name="connsiteX3" fmla="*/ 123825 w 123825"/>
                  <a:gd name="connsiteY3" fmla="*/ 15875 h 127000"/>
                  <a:gd name="connsiteX4" fmla="*/ 41275 w 123825"/>
                  <a:gd name="connsiteY4" fmla="*/ 0 h 127000"/>
                  <a:gd name="connsiteX0" fmla="*/ 57150 w 139700"/>
                  <a:gd name="connsiteY0" fmla="*/ 0 h 127000"/>
                  <a:gd name="connsiteX1" fmla="*/ 0 w 139700"/>
                  <a:gd name="connsiteY1" fmla="*/ 34925 h 127000"/>
                  <a:gd name="connsiteX2" fmla="*/ 120650 w 139700"/>
                  <a:gd name="connsiteY2" fmla="*/ 127000 h 127000"/>
                  <a:gd name="connsiteX3" fmla="*/ 139700 w 139700"/>
                  <a:gd name="connsiteY3" fmla="*/ 15875 h 127000"/>
                  <a:gd name="connsiteX4" fmla="*/ 57150 w 139700"/>
                  <a:gd name="connsiteY4" fmla="*/ 0 h 127000"/>
                  <a:gd name="connsiteX0" fmla="*/ 57150 w 139700"/>
                  <a:gd name="connsiteY0" fmla="*/ 0 h 127000"/>
                  <a:gd name="connsiteX1" fmla="*/ 0 w 139700"/>
                  <a:gd name="connsiteY1" fmla="*/ 34925 h 127000"/>
                  <a:gd name="connsiteX2" fmla="*/ 120650 w 139700"/>
                  <a:gd name="connsiteY2" fmla="*/ 127000 h 127000"/>
                  <a:gd name="connsiteX3" fmla="*/ 139700 w 139700"/>
                  <a:gd name="connsiteY3" fmla="*/ 15875 h 127000"/>
                  <a:gd name="connsiteX4" fmla="*/ 57150 w 139700"/>
                  <a:gd name="connsiteY4" fmla="*/ 0 h 127000"/>
                  <a:gd name="connsiteX0" fmla="*/ 59779 w 142329"/>
                  <a:gd name="connsiteY0" fmla="*/ 0 h 127000"/>
                  <a:gd name="connsiteX1" fmla="*/ 2629 w 142329"/>
                  <a:gd name="connsiteY1" fmla="*/ 34925 h 127000"/>
                  <a:gd name="connsiteX2" fmla="*/ 123279 w 142329"/>
                  <a:gd name="connsiteY2" fmla="*/ 127000 h 127000"/>
                  <a:gd name="connsiteX3" fmla="*/ 142329 w 142329"/>
                  <a:gd name="connsiteY3" fmla="*/ 15875 h 127000"/>
                  <a:gd name="connsiteX4" fmla="*/ 59779 w 142329"/>
                  <a:gd name="connsiteY4" fmla="*/ 0 h 127000"/>
                  <a:gd name="connsiteX0" fmla="*/ 59712 w 142262"/>
                  <a:gd name="connsiteY0" fmla="*/ 0 h 131258"/>
                  <a:gd name="connsiteX1" fmla="*/ 2562 w 142262"/>
                  <a:gd name="connsiteY1" fmla="*/ 34925 h 131258"/>
                  <a:gd name="connsiteX2" fmla="*/ 123212 w 142262"/>
                  <a:gd name="connsiteY2" fmla="*/ 127000 h 131258"/>
                  <a:gd name="connsiteX3" fmla="*/ 142262 w 142262"/>
                  <a:gd name="connsiteY3" fmla="*/ 15875 h 131258"/>
                  <a:gd name="connsiteX4" fmla="*/ 59712 w 142262"/>
                  <a:gd name="connsiteY4" fmla="*/ 0 h 131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2262" h="131258">
                    <a:moveTo>
                      <a:pt x="59712" y="0"/>
                    </a:moveTo>
                    <a:cubicBezTo>
                      <a:pt x="78762" y="94192"/>
                      <a:pt x="21612" y="23283"/>
                      <a:pt x="2562" y="34925"/>
                    </a:cubicBezTo>
                    <a:cubicBezTo>
                      <a:pt x="-17546" y="144992"/>
                      <a:pt x="86170" y="134408"/>
                      <a:pt x="123212" y="127000"/>
                    </a:cubicBezTo>
                    <a:lnTo>
                      <a:pt x="142262" y="15875"/>
                    </a:lnTo>
                    <a:lnTo>
                      <a:pt x="59712" y="0"/>
                    </a:lnTo>
                    <a:close/>
                  </a:path>
                </a:pathLst>
              </a:custGeom>
              <a:solidFill>
                <a:srgbClr val="3F3F3F">
                  <a:lumMod val="95000"/>
                  <a:lumOff val="5000"/>
                </a:srgb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04" name="Rectangle 103"/>
              <p:cNvSpPr/>
              <p:nvPr/>
            </p:nvSpPr>
            <p:spPr bwMode="auto">
              <a:xfrm>
                <a:off x="8070230" y="2185038"/>
                <a:ext cx="93728" cy="232735"/>
              </a:xfrm>
              <a:prstGeom prst="rect">
                <a:avLst/>
              </a:prstGeom>
              <a:solidFill>
                <a:sysClr val="window" lastClr="FFFFFF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05" name="Freeform 104"/>
              <p:cNvSpPr/>
              <p:nvPr/>
            </p:nvSpPr>
            <p:spPr bwMode="auto">
              <a:xfrm>
                <a:off x="7856647" y="2185038"/>
                <a:ext cx="407379" cy="465470"/>
              </a:xfrm>
              <a:custGeom>
                <a:avLst/>
                <a:gdLst>
                  <a:gd name="connsiteX0" fmla="*/ 336550 w 825500"/>
                  <a:gd name="connsiteY0" fmla="*/ 0 h 815975"/>
                  <a:gd name="connsiteX1" fmla="*/ 415925 w 825500"/>
                  <a:gd name="connsiteY1" fmla="*/ 574675 h 815975"/>
                  <a:gd name="connsiteX2" fmla="*/ 492125 w 825500"/>
                  <a:gd name="connsiteY2" fmla="*/ 3175 h 815975"/>
                  <a:gd name="connsiteX3" fmla="*/ 676275 w 825500"/>
                  <a:gd name="connsiteY3" fmla="*/ 19050 h 815975"/>
                  <a:gd name="connsiteX4" fmla="*/ 825500 w 825500"/>
                  <a:gd name="connsiteY4" fmla="*/ 654050 h 815975"/>
                  <a:gd name="connsiteX5" fmla="*/ 717550 w 825500"/>
                  <a:gd name="connsiteY5" fmla="*/ 657225 h 815975"/>
                  <a:gd name="connsiteX6" fmla="*/ 676275 w 825500"/>
                  <a:gd name="connsiteY6" fmla="*/ 285750 h 815975"/>
                  <a:gd name="connsiteX7" fmla="*/ 638175 w 825500"/>
                  <a:gd name="connsiteY7" fmla="*/ 815975 h 815975"/>
                  <a:gd name="connsiteX8" fmla="*/ 187325 w 825500"/>
                  <a:gd name="connsiteY8" fmla="*/ 815975 h 815975"/>
                  <a:gd name="connsiteX9" fmla="*/ 171450 w 825500"/>
                  <a:gd name="connsiteY9" fmla="*/ 285750 h 815975"/>
                  <a:gd name="connsiteX10" fmla="*/ 98425 w 825500"/>
                  <a:gd name="connsiteY10" fmla="*/ 657225 h 815975"/>
                  <a:gd name="connsiteX11" fmla="*/ 0 w 825500"/>
                  <a:gd name="connsiteY11" fmla="*/ 657225 h 815975"/>
                  <a:gd name="connsiteX12" fmla="*/ 149225 w 825500"/>
                  <a:gd name="connsiteY12" fmla="*/ 28575 h 815975"/>
                  <a:gd name="connsiteX13" fmla="*/ 336550 w 825500"/>
                  <a:gd name="connsiteY13" fmla="*/ 0 h 815975"/>
                  <a:gd name="connsiteX0" fmla="*/ 336550 w 825500"/>
                  <a:gd name="connsiteY0" fmla="*/ 0 h 815975"/>
                  <a:gd name="connsiteX1" fmla="*/ 415925 w 825500"/>
                  <a:gd name="connsiteY1" fmla="*/ 574675 h 815975"/>
                  <a:gd name="connsiteX2" fmla="*/ 492125 w 825500"/>
                  <a:gd name="connsiteY2" fmla="*/ 3175 h 815975"/>
                  <a:gd name="connsiteX3" fmla="*/ 676275 w 825500"/>
                  <a:gd name="connsiteY3" fmla="*/ 19050 h 815975"/>
                  <a:gd name="connsiteX4" fmla="*/ 825500 w 825500"/>
                  <a:gd name="connsiteY4" fmla="*/ 654050 h 815975"/>
                  <a:gd name="connsiteX5" fmla="*/ 717550 w 825500"/>
                  <a:gd name="connsiteY5" fmla="*/ 657225 h 815975"/>
                  <a:gd name="connsiteX6" fmla="*/ 676275 w 825500"/>
                  <a:gd name="connsiteY6" fmla="*/ 285750 h 815975"/>
                  <a:gd name="connsiteX7" fmla="*/ 638175 w 825500"/>
                  <a:gd name="connsiteY7" fmla="*/ 815975 h 815975"/>
                  <a:gd name="connsiteX8" fmla="*/ 187325 w 825500"/>
                  <a:gd name="connsiteY8" fmla="*/ 815975 h 815975"/>
                  <a:gd name="connsiteX9" fmla="*/ 171450 w 825500"/>
                  <a:gd name="connsiteY9" fmla="*/ 285750 h 815975"/>
                  <a:gd name="connsiteX10" fmla="*/ 98425 w 825500"/>
                  <a:gd name="connsiteY10" fmla="*/ 657225 h 815975"/>
                  <a:gd name="connsiteX11" fmla="*/ 0 w 825500"/>
                  <a:gd name="connsiteY11" fmla="*/ 657225 h 815975"/>
                  <a:gd name="connsiteX12" fmla="*/ 149225 w 825500"/>
                  <a:gd name="connsiteY12" fmla="*/ 28575 h 815975"/>
                  <a:gd name="connsiteX13" fmla="*/ 336550 w 825500"/>
                  <a:gd name="connsiteY13" fmla="*/ 0 h 815975"/>
                  <a:gd name="connsiteX0" fmla="*/ 336550 w 825500"/>
                  <a:gd name="connsiteY0" fmla="*/ 0 h 815975"/>
                  <a:gd name="connsiteX1" fmla="*/ 415925 w 825500"/>
                  <a:gd name="connsiteY1" fmla="*/ 574675 h 815975"/>
                  <a:gd name="connsiteX2" fmla="*/ 492125 w 825500"/>
                  <a:gd name="connsiteY2" fmla="*/ 3175 h 815975"/>
                  <a:gd name="connsiteX3" fmla="*/ 676275 w 825500"/>
                  <a:gd name="connsiteY3" fmla="*/ 19050 h 815975"/>
                  <a:gd name="connsiteX4" fmla="*/ 825500 w 825500"/>
                  <a:gd name="connsiteY4" fmla="*/ 654050 h 815975"/>
                  <a:gd name="connsiteX5" fmla="*/ 717550 w 825500"/>
                  <a:gd name="connsiteY5" fmla="*/ 657225 h 815975"/>
                  <a:gd name="connsiteX6" fmla="*/ 676275 w 825500"/>
                  <a:gd name="connsiteY6" fmla="*/ 285750 h 815975"/>
                  <a:gd name="connsiteX7" fmla="*/ 638175 w 825500"/>
                  <a:gd name="connsiteY7" fmla="*/ 815975 h 815975"/>
                  <a:gd name="connsiteX8" fmla="*/ 187325 w 825500"/>
                  <a:gd name="connsiteY8" fmla="*/ 815975 h 815975"/>
                  <a:gd name="connsiteX9" fmla="*/ 171450 w 825500"/>
                  <a:gd name="connsiteY9" fmla="*/ 285750 h 815975"/>
                  <a:gd name="connsiteX10" fmla="*/ 98425 w 825500"/>
                  <a:gd name="connsiteY10" fmla="*/ 657225 h 815975"/>
                  <a:gd name="connsiteX11" fmla="*/ 0 w 825500"/>
                  <a:gd name="connsiteY11" fmla="*/ 657225 h 815975"/>
                  <a:gd name="connsiteX12" fmla="*/ 149225 w 825500"/>
                  <a:gd name="connsiteY12" fmla="*/ 28575 h 815975"/>
                  <a:gd name="connsiteX13" fmla="*/ 336550 w 825500"/>
                  <a:gd name="connsiteY13" fmla="*/ 0 h 815975"/>
                  <a:gd name="connsiteX0" fmla="*/ 336550 w 825500"/>
                  <a:gd name="connsiteY0" fmla="*/ 0 h 815975"/>
                  <a:gd name="connsiteX1" fmla="*/ 415925 w 825500"/>
                  <a:gd name="connsiteY1" fmla="*/ 574675 h 815975"/>
                  <a:gd name="connsiteX2" fmla="*/ 492125 w 825500"/>
                  <a:gd name="connsiteY2" fmla="*/ 3175 h 815975"/>
                  <a:gd name="connsiteX3" fmla="*/ 676275 w 825500"/>
                  <a:gd name="connsiteY3" fmla="*/ 19050 h 815975"/>
                  <a:gd name="connsiteX4" fmla="*/ 825500 w 825500"/>
                  <a:gd name="connsiteY4" fmla="*/ 654050 h 815975"/>
                  <a:gd name="connsiteX5" fmla="*/ 717550 w 825500"/>
                  <a:gd name="connsiteY5" fmla="*/ 657225 h 815975"/>
                  <a:gd name="connsiteX6" fmla="*/ 676275 w 825500"/>
                  <a:gd name="connsiteY6" fmla="*/ 285750 h 815975"/>
                  <a:gd name="connsiteX7" fmla="*/ 638175 w 825500"/>
                  <a:gd name="connsiteY7" fmla="*/ 815975 h 815975"/>
                  <a:gd name="connsiteX8" fmla="*/ 187325 w 825500"/>
                  <a:gd name="connsiteY8" fmla="*/ 815975 h 815975"/>
                  <a:gd name="connsiteX9" fmla="*/ 171450 w 825500"/>
                  <a:gd name="connsiteY9" fmla="*/ 285750 h 815975"/>
                  <a:gd name="connsiteX10" fmla="*/ 98425 w 825500"/>
                  <a:gd name="connsiteY10" fmla="*/ 657225 h 815975"/>
                  <a:gd name="connsiteX11" fmla="*/ 0 w 825500"/>
                  <a:gd name="connsiteY11" fmla="*/ 657225 h 815975"/>
                  <a:gd name="connsiteX12" fmla="*/ 149225 w 825500"/>
                  <a:gd name="connsiteY12" fmla="*/ 28575 h 815975"/>
                  <a:gd name="connsiteX13" fmla="*/ 336550 w 825500"/>
                  <a:gd name="connsiteY13" fmla="*/ 0 h 815975"/>
                  <a:gd name="connsiteX0" fmla="*/ 336550 w 825500"/>
                  <a:gd name="connsiteY0" fmla="*/ 0 h 815975"/>
                  <a:gd name="connsiteX1" fmla="*/ 415925 w 825500"/>
                  <a:gd name="connsiteY1" fmla="*/ 574675 h 815975"/>
                  <a:gd name="connsiteX2" fmla="*/ 492125 w 825500"/>
                  <a:gd name="connsiteY2" fmla="*/ 3175 h 815975"/>
                  <a:gd name="connsiteX3" fmla="*/ 676275 w 825500"/>
                  <a:gd name="connsiteY3" fmla="*/ 19050 h 815975"/>
                  <a:gd name="connsiteX4" fmla="*/ 825500 w 825500"/>
                  <a:gd name="connsiteY4" fmla="*/ 654050 h 815975"/>
                  <a:gd name="connsiteX5" fmla="*/ 717550 w 825500"/>
                  <a:gd name="connsiteY5" fmla="*/ 657225 h 815975"/>
                  <a:gd name="connsiteX6" fmla="*/ 676275 w 825500"/>
                  <a:gd name="connsiteY6" fmla="*/ 285750 h 815975"/>
                  <a:gd name="connsiteX7" fmla="*/ 638175 w 825500"/>
                  <a:gd name="connsiteY7" fmla="*/ 815975 h 815975"/>
                  <a:gd name="connsiteX8" fmla="*/ 187325 w 825500"/>
                  <a:gd name="connsiteY8" fmla="*/ 815975 h 815975"/>
                  <a:gd name="connsiteX9" fmla="*/ 171450 w 825500"/>
                  <a:gd name="connsiteY9" fmla="*/ 285750 h 815975"/>
                  <a:gd name="connsiteX10" fmla="*/ 98425 w 825500"/>
                  <a:gd name="connsiteY10" fmla="*/ 657225 h 815975"/>
                  <a:gd name="connsiteX11" fmla="*/ 0 w 825500"/>
                  <a:gd name="connsiteY11" fmla="*/ 657225 h 815975"/>
                  <a:gd name="connsiteX12" fmla="*/ 149225 w 825500"/>
                  <a:gd name="connsiteY12" fmla="*/ 28575 h 815975"/>
                  <a:gd name="connsiteX13" fmla="*/ 336550 w 825500"/>
                  <a:gd name="connsiteY13" fmla="*/ 0 h 815975"/>
                  <a:gd name="connsiteX0" fmla="*/ 336550 w 825500"/>
                  <a:gd name="connsiteY0" fmla="*/ 0 h 815975"/>
                  <a:gd name="connsiteX1" fmla="*/ 415925 w 825500"/>
                  <a:gd name="connsiteY1" fmla="*/ 574675 h 815975"/>
                  <a:gd name="connsiteX2" fmla="*/ 492125 w 825500"/>
                  <a:gd name="connsiteY2" fmla="*/ 3175 h 815975"/>
                  <a:gd name="connsiteX3" fmla="*/ 676275 w 825500"/>
                  <a:gd name="connsiteY3" fmla="*/ 19050 h 815975"/>
                  <a:gd name="connsiteX4" fmla="*/ 825500 w 825500"/>
                  <a:gd name="connsiteY4" fmla="*/ 654050 h 815975"/>
                  <a:gd name="connsiteX5" fmla="*/ 717550 w 825500"/>
                  <a:gd name="connsiteY5" fmla="*/ 657225 h 815975"/>
                  <a:gd name="connsiteX6" fmla="*/ 666750 w 825500"/>
                  <a:gd name="connsiteY6" fmla="*/ 285750 h 815975"/>
                  <a:gd name="connsiteX7" fmla="*/ 638175 w 825500"/>
                  <a:gd name="connsiteY7" fmla="*/ 815975 h 815975"/>
                  <a:gd name="connsiteX8" fmla="*/ 187325 w 825500"/>
                  <a:gd name="connsiteY8" fmla="*/ 815975 h 815975"/>
                  <a:gd name="connsiteX9" fmla="*/ 171450 w 825500"/>
                  <a:gd name="connsiteY9" fmla="*/ 285750 h 815975"/>
                  <a:gd name="connsiteX10" fmla="*/ 98425 w 825500"/>
                  <a:gd name="connsiteY10" fmla="*/ 657225 h 815975"/>
                  <a:gd name="connsiteX11" fmla="*/ 0 w 825500"/>
                  <a:gd name="connsiteY11" fmla="*/ 657225 h 815975"/>
                  <a:gd name="connsiteX12" fmla="*/ 149225 w 825500"/>
                  <a:gd name="connsiteY12" fmla="*/ 28575 h 815975"/>
                  <a:gd name="connsiteX13" fmla="*/ 336550 w 825500"/>
                  <a:gd name="connsiteY13" fmla="*/ 0 h 815975"/>
                  <a:gd name="connsiteX0" fmla="*/ 336550 w 825500"/>
                  <a:gd name="connsiteY0" fmla="*/ 0 h 815975"/>
                  <a:gd name="connsiteX1" fmla="*/ 415925 w 825500"/>
                  <a:gd name="connsiteY1" fmla="*/ 574675 h 815975"/>
                  <a:gd name="connsiteX2" fmla="*/ 492125 w 825500"/>
                  <a:gd name="connsiteY2" fmla="*/ 3175 h 815975"/>
                  <a:gd name="connsiteX3" fmla="*/ 676275 w 825500"/>
                  <a:gd name="connsiteY3" fmla="*/ 19050 h 815975"/>
                  <a:gd name="connsiteX4" fmla="*/ 825500 w 825500"/>
                  <a:gd name="connsiteY4" fmla="*/ 654050 h 815975"/>
                  <a:gd name="connsiteX5" fmla="*/ 717550 w 825500"/>
                  <a:gd name="connsiteY5" fmla="*/ 657225 h 815975"/>
                  <a:gd name="connsiteX6" fmla="*/ 666750 w 825500"/>
                  <a:gd name="connsiteY6" fmla="*/ 285750 h 815975"/>
                  <a:gd name="connsiteX7" fmla="*/ 638175 w 825500"/>
                  <a:gd name="connsiteY7" fmla="*/ 815975 h 815975"/>
                  <a:gd name="connsiteX8" fmla="*/ 187325 w 825500"/>
                  <a:gd name="connsiteY8" fmla="*/ 815975 h 815975"/>
                  <a:gd name="connsiteX9" fmla="*/ 171450 w 825500"/>
                  <a:gd name="connsiteY9" fmla="*/ 285750 h 815975"/>
                  <a:gd name="connsiteX10" fmla="*/ 98425 w 825500"/>
                  <a:gd name="connsiteY10" fmla="*/ 657225 h 815975"/>
                  <a:gd name="connsiteX11" fmla="*/ 0 w 825500"/>
                  <a:gd name="connsiteY11" fmla="*/ 657225 h 815975"/>
                  <a:gd name="connsiteX12" fmla="*/ 149225 w 825500"/>
                  <a:gd name="connsiteY12" fmla="*/ 28575 h 815975"/>
                  <a:gd name="connsiteX13" fmla="*/ 336550 w 825500"/>
                  <a:gd name="connsiteY13" fmla="*/ 0 h 815975"/>
                  <a:gd name="connsiteX0" fmla="*/ 336550 w 825500"/>
                  <a:gd name="connsiteY0" fmla="*/ 0 h 815975"/>
                  <a:gd name="connsiteX1" fmla="*/ 415925 w 825500"/>
                  <a:gd name="connsiteY1" fmla="*/ 574675 h 815975"/>
                  <a:gd name="connsiteX2" fmla="*/ 492125 w 825500"/>
                  <a:gd name="connsiteY2" fmla="*/ 3175 h 815975"/>
                  <a:gd name="connsiteX3" fmla="*/ 676275 w 825500"/>
                  <a:gd name="connsiteY3" fmla="*/ 19050 h 815975"/>
                  <a:gd name="connsiteX4" fmla="*/ 825500 w 825500"/>
                  <a:gd name="connsiteY4" fmla="*/ 654050 h 815975"/>
                  <a:gd name="connsiteX5" fmla="*/ 717550 w 825500"/>
                  <a:gd name="connsiteY5" fmla="*/ 657225 h 815975"/>
                  <a:gd name="connsiteX6" fmla="*/ 666750 w 825500"/>
                  <a:gd name="connsiteY6" fmla="*/ 285750 h 815975"/>
                  <a:gd name="connsiteX7" fmla="*/ 638175 w 825500"/>
                  <a:gd name="connsiteY7" fmla="*/ 815975 h 815975"/>
                  <a:gd name="connsiteX8" fmla="*/ 187325 w 825500"/>
                  <a:gd name="connsiteY8" fmla="*/ 815975 h 815975"/>
                  <a:gd name="connsiteX9" fmla="*/ 171450 w 825500"/>
                  <a:gd name="connsiteY9" fmla="*/ 285750 h 815975"/>
                  <a:gd name="connsiteX10" fmla="*/ 98425 w 825500"/>
                  <a:gd name="connsiteY10" fmla="*/ 657225 h 815975"/>
                  <a:gd name="connsiteX11" fmla="*/ 0 w 825500"/>
                  <a:gd name="connsiteY11" fmla="*/ 657225 h 815975"/>
                  <a:gd name="connsiteX12" fmla="*/ 149225 w 825500"/>
                  <a:gd name="connsiteY12" fmla="*/ 28575 h 815975"/>
                  <a:gd name="connsiteX13" fmla="*/ 336550 w 825500"/>
                  <a:gd name="connsiteY13" fmla="*/ 0 h 815975"/>
                  <a:gd name="connsiteX0" fmla="*/ 336550 w 825500"/>
                  <a:gd name="connsiteY0" fmla="*/ 0 h 815975"/>
                  <a:gd name="connsiteX1" fmla="*/ 415925 w 825500"/>
                  <a:gd name="connsiteY1" fmla="*/ 574675 h 815975"/>
                  <a:gd name="connsiteX2" fmla="*/ 492125 w 825500"/>
                  <a:gd name="connsiteY2" fmla="*/ 3175 h 815975"/>
                  <a:gd name="connsiteX3" fmla="*/ 676275 w 825500"/>
                  <a:gd name="connsiteY3" fmla="*/ 19050 h 815975"/>
                  <a:gd name="connsiteX4" fmla="*/ 825500 w 825500"/>
                  <a:gd name="connsiteY4" fmla="*/ 654050 h 815975"/>
                  <a:gd name="connsiteX5" fmla="*/ 717550 w 825500"/>
                  <a:gd name="connsiteY5" fmla="*/ 657225 h 815975"/>
                  <a:gd name="connsiteX6" fmla="*/ 666750 w 825500"/>
                  <a:gd name="connsiteY6" fmla="*/ 285750 h 815975"/>
                  <a:gd name="connsiteX7" fmla="*/ 638175 w 825500"/>
                  <a:gd name="connsiteY7" fmla="*/ 815975 h 815975"/>
                  <a:gd name="connsiteX8" fmla="*/ 187325 w 825500"/>
                  <a:gd name="connsiteY8" fmla="*/ 815975 h 815975"/>
                  <a:gd name="connsiteX9" fmla="*/ 171450 w 825500"/>
                  <a:gd name="connsiteY9" fmla="*/ 285750 h 815975"/>
                  <a:gd name="connsiteX10" fmla="*/ 98425 w 825500"/>
                  <a:gd name="connsiteY10" fmla="*/ 657225 h 815975"/>
                  <a:gd name="connsiteX11" fmla="*/ 0 w 825500"/>
                  <a:gd name="connsiteY11" fmla="*/ 657225 h 815975"/>
                  <a:gd name="connsiteX12" fmla="*/ 149225 w 825500"/>
                  <a:gd name="connsiteY12" fmla="*/ 28575 h 815975"/>
                  <a:gd name="connsiteX13" fmla="*/ 336550 w 825500"/>
                  <a:gd name="connsiteY13" fmla="*/ 0 h 815975"/>
                  <a:gd name="connsiteX0" fmla="*/ 336550 w 825500"/>
                  <a:gd name="connsiteY0" fmla="*/ 0 h 815975"/>
                  <a:gd name="connsiteX1" fmla="*/ 415925 w 825500"/>
                  <a:gd name="connsiteY1" fmla="*/ 574675 h 815975"/>
                  <a:gd name="connsiteX2" fmla="*/ 492125 w 825500"/>
                  <a:gd name="connsiteY2" fmla="*/ 3175 h 815975"/>
                  <a:gd name="connsiteX3" fmla="*/ 676275 w 825500"/>
                  <a:gd name="connsiteY3" fmla="*/ 19050 h 815975"/>
                  <a:gd name="connsiteX4" fmla="*/ 825500 w 825500"/>
                  <a:gd name="connsiteY4" fmla="*/ 654050 h 815975"/>
                  <a:gd name="connsiteX5" fmla="*/ 717550 w 825500"/>
                  <a:gd name="connsiteY5" fmla="*/ 657225 h 815975"/>
                  <a:gd name="connsiteX6" fmla="*/ 666750 w 825500"/>
                  <a:gd name="connsiteY6" fmla="*/ 285750 h 815975"/>
                  <a:gd name="connsiteX7" fmla="*/ 638175 w 825500"/>
                  <a:gd name="connsiteY7" fmla="*/ 815975 h 815975"/>
                  <a:gd name="connsiteX8" fmla="*/ 187325 w 825500"/>
                  <a:gd name="connsiteY8" fmla="*/ 815975 h 815975"/>
                  <a:gd name="connsiteX9" fmla="*/ 171450 w 825500"/>
                  <a:gd name="connsiteY9" fmla="*/ 285750 h 815975"/>
                  <a:gd name="connsiteX10" fmla="*/ 98425 w 825500"/>
                  <a:gd name="connsiteY10" fmla="*/ 657225 h 815975"/>
                  <a:gd name="connsiteX11" fmla="*/ 0 w 825500"/>
                  <a:gd name="connsiteY11" fmla="*/ 657225 h 815975"/>
                  <a:gd name="connsiteX12" fmla="*/ 149225 w 825500"/>
                  <a:gd name="connsiteY12" fmla="*/ 28575 h 815975"/>
                  <a:gd name="connsiteX13" fmla="*/ 336550 w 825500"/>
                  <a:gd name="connsiteY13" fmla="*/ 0 h 815975"/>
                  <a:gd name="connsiteX0" fmla="*/ 336550 w 825500"/>
                  <a:gd name="connsiteY0" fmla="*/ 0 h 815975"/>
                  <a:gd name="connsiteX1" fmla="*/ 415925 w 825500"/>
                  <a:gd name="connsiteY1" fmla="*/ 574675 h 815975"/>
                  <a:gd name="connsiteX2" fmla="*/ 492125 w 825500"/>
                  <a:gd name="connsiteY2" fmla="*/ 3175 h 815975"/>
                  <a:gd name="connsiteX3" fmla="*/ 676275 w 825500"/>
                  <a:gd name="connsiteY3" fmla="*/ 19050 h 815975"/>
                  <a:gd name="connsiteX4" fmla="*/ 825500 w 825500"/>
                  <a:gd name="connsiteY4" fmla="*/ 654050 h 815975"/>
                  <a:gd name="connsiteX5" fmla="*/ 717550 w 825500"/>
                  <a:gd name="connsiteY5" fmla="*/ 657225 h 815975"/>
                  <a:gd name="connsiteX6" fmla="*/ 666750 w 825500"/>
                  <a:gd name="connsiteY6" fmla="*/ 285750 h 815975"/>
                  <a:gd name="connsiteX7" fmla="*/ 638175 w 825500"/>
                  <a:gd name="connsiteY7" fmla="*/ 815975 h 815975"/>
                  <a:gd name="connsiteX8" fmla="*/ 187325 w 825500"/>
                  <a:gd name="connsiteY8" fmla="*/ 815975 h 815975"/>
                  <a:gd name="connsiteX9" fmla="*/ 171450 w 825500"/>
                  <a:gd name="connsiteY9" fmla="*/ 285750 h 815975"/>
                  <a:gd name="connsiteX10" fmla="*/ 98425 w 825500"/>
                  <a:gd name="connsiteY10" fmla="*/ 657225 h 815975"/>
                  <a:gd name="connsiteX11" fmla="*/ 0 w 825500"/>
                  <a:gd name="connsiteY11" fmla="*/ 657225 h 815975"/>
                  <a:gd name="connsiteX12" fmla="*/ 149225 w 825500"/>
                  <a:gd name="connsiteY12" fmla="*/ 28575 h 815975"/>
                  <a:gd name="connsiteX13" fmla="*/ 336550 w 825500"/>
                  <a:gd name="connsiteY13" fmla="*/ 0 h 815975"/>
                  <a:gd name="connsiteX0" fmla="*/ 336550 w 825500"/>
                  <a:gd name="connsiteY0" fmla="*/ 0 h 815975"/>
                  <a:gd name="connsiteX1" fmla="*/ 415925 w 825500"/>
                  <a:gd name="connsiteY1" fmla="*/ 574675 h 815975"/>
                  <a:gd name="connsiteX2" fmla="*/ 492125 w 825500"/>
                  <a:gd name="connsiteY2" fmla="*/ 3175 h 815975"/>
                  <a:gd name="connsiteX3" fmla="*/ 676275 w 825500"/>
                  <a:gd name="connsiteY3" fmla="*/ 19050 h 815975"/>
                  <a:gd name="connsiteX4" fmla="*/ 825500 w 825500"/>
                  <a:gd name="connsiteY4" fmla="*/ 654050 h 815975"/>
                  <a:gd name="connsiteX5" fmla="*/ 717550 w 825500"/>
                  <a:gd name="connsiteY5" fmla="*/ 657225 h 815975"/>
                  <a:gd name="connsiteX6" fmla="*/ 666750 w 825500"/>
                  <a:gd name="connsiteY6" fmla="*/ 285750 h 815975"/>
                  <a:gd name="connsiteX7" fmla="*/ 638175 w 825500"/>
                  <a:gd name="connsiteY7" fmla="*/ 815975 h 815975"/>
                  <a:gd name="connsiteX8" fmla="*/ 187325 w 825500"/>
                  <a:gd name="connsiteY8" fmla="*/ 815975 h 815975"/>
                  <a:gd name="connsiteX9" fmla="*/ 171450 w 825500"/>
                  <a:gd name="connsiteY9" fmla="*/ 285750 h 815975"/>
                  <a:gd name="connsiteX10" fmla="*/ 104775 w 825500"/>
                  <a:gd name="connsiteY10" fmla="*/ 660400 h 815975"/>
                  <a:gd name="connsiteX11" fmla="*/ 0 w 825500"/>
                  <a:gd name="connsiteY11" fmla="*/ 657225 h 815975"/>
                  <a:gd name="connsiteX12" fmla="*/ 149225 w 825500"/>
                  <a:gd name="connsiteY12" fmla="*/ 28575 h 815975"/>
                  <a:gd name="connsiteX13" fmla="*/ 336550 w 825500"/>
                  <a:gd name="connsiteY13" fmla="*/ 0 h 815975"/>
                  <a:gd name="connsiteX0" fmla="*/ 336550 w 825500"/>
                  <a:gd name="connsiteY0" fmla="*/ 0 h 815975"/>
                  <a:gd name="connsiteX1" fmla="*/ 415925 w 825500"/>
                  <a:gd name="connsiteY1" fmla="*/ 574675 h 815975"/>
                  <a:gd name="connsiteX2" fmla="*/ 492125 w 825500"/>
                  <a:gd name="connsiteY2" fmla="*/ 3175 h 815975"/>
                  <a:gd name="connsiteX3" fmla="*/ 676275 w 825500"/>
                  <a:gd name="connsiteY3" fmla="*/ 19050 h 815975"/>
                  <a:gd name="connsiteX4" fmla="*/ 825500 w 825500"/>
                  <a:gd name="connsiteY4" fmla="*/ 654050 h 815975"/>
                  <a:gd name="connsiteX5" fmla="*/ 717550 w 825500"/>
                  <a:gd name="connsiteY5" fmla="*/ 657225 h 815975"/>
                  <a:gd name="connsiteX6" fmla="*/ 666750 w 825500"/>
                  <a:gd name="connsiteY6" fmla="*/ 285750 h 815975"/>
                  <a:gd name="connsiteX7" fmla="*/ 638175 w 825500"/>
                  <a:gd name="connsiteY7" fmla="*/ 815975 h 815975"/>
                  <a:gd name="connsiteX8" fmla="*/ 187325 w 825500"/>
                  <a:gd name="connsiteY8" fmla="*/ 815975 h 815975"/>
                  <a:gd name="connsiteX9" fmla="*/ 171450 w 825500"/>
                  <a:gd name="connsiteY9" fmla="*/ 285750 h 815975"/>
                  <a:gd name="connsiteX10" fmla="*/ 104775 w 825500"/>
                  <a:gd name="connsiteY10" fmla="*/ 660400 h 815975"/>
                  <a:gd name="connsiteX11" fmla="*/ 0 w 825500"/>
                  <a:gd name="connsiteY11" fmla="*/ 657225 h 815975"/>
                  <a:gd name="connsiteX12" fmla="*/ 149225 w 825500"/>
                  <a:gd name="connsiteY12" fmla="*/ 28575 h 815975"/>
                  <a:gd name="connsiteX13" fmla="*/ 336550 w 825500"/>
                  <a:gd name="connsiteY13" fmla="*/ 0 h 815975"/>
                  <a:gd name="connsiteX0" fmla="*/ 258167 w 747117"/>
                  <a:gd name="connsiteY0" fmla="*/ 0 h 815975"/>
                  <a:gd name="connsiteX1" fmla="*/ 337542 w 747117"/>
                  <a:gd name="connsiteY1" fmla="*/ 574675 h 815975"/>
                  <a:gd name="connsiteX2" fmla="*/ 413742 w 747117"/>
                  <a:gd name="connsiteY2" fmla="*/ 3175 h 815975"/>
                  <a:gd name="connsiteX3" fmla="*/ 597892 w 747117"/>
                  <a:gd name="connsiteY3" fmla="*/ 19050 h 815975"/>
                  <a:gd name="connsiteX4" fmla="*/ 747117 w 747117"/>
                  <a:gd name="connsiteY4" fmla="*/ 654050 h 815975"/>
                  <a:gd name="connsiteX5" fmla="*/ 639167 w 747117"/>
                  <a:gd name="connsiteY5" fmla="*/ 657225 h 815975"/>
                  <a:gd name="connsiteX6" fmla="*/ 588367 w 747117"/>
                  <a:gd name="connsiteY6" fmla="*/ 285750 h 815975"/>
                  <a:gd name="connsiteX7" fmla="*/ 559792 w 747117"/>
                  <a:gd name="connsiteY7" fmla="*/ 815975 h 815975"/>
                  <a:gd name="connsiteX8" fmla="*/ 108942 w 747117"/>
                  <a:gd name="connsiteY8" fmla="*/ 815975 h 815975"/>
                  <a:gd name="connsiteX9" fmla="*/ 93067 w 747117"/>
                  <a:gd name="connsiteY9" fmla="*/ 285750 h 815975"/>
                  <a:gd name="connsiteX10" fmla="*/ 26392 w 747117"/>
                  <a:gd name="connsiteY10" fmla="*/ 660400 h 815975"/>
                  <a:gd name="connsiteX11" fmla="*/ 0 w 747117"/>
                  <a:gd name="connsiteY11" fmla="*/ 382884 h 815975"/>
                  <a:gd name="connsiteX12" fmla="*/ 70842 w 747117"/>
                  <a:gd name="connsiteY12" fmla="*/ 28575 h 815975"/>
                  <a:gd name="connsiteX13" fmla="*/ 258167 w 747117"/>
                  <a:gd name="connsiteY13" fmla="*/ 0 h 815975"/>
                  <a:gd name="connsiteX0" fmla="*/ 357697 w 846647"/>
                  <a:gd name="connsiteY0" fmla="*/ 0 h 815975"/>
                  <a:gd name="connsiteX1" fmla="*/ 437072 w 846647"/>
                  <a:gd name="connsiteY1" fmla="*/ 574675 h 815975"/>
                  <a:gd name="connsiteX2" fmla="*/ 513272 w 846647"/>
                  <a:gd name="connsiteY2" fmla="*/ 3175 h 815975"/>
                  <a:gd name="connsiteX3" fmla="*/ 697422 w 846647"/>
                  <a:gd name="connsiteY3" fmla="*/ 19050 h 815975"/>
                  <a:gd name="connsiteX4" fmla="*/ 846647 w 846647"/>
                  <a:gd name="connsiteY4" fmla="*/ 654050 h 815975"/>
                  <a:gd name="connsiteX5" fmla="*/ 738697 w 846647"/>
                  <a:gd name="connsiteY5" fmla="*/ 657225 h 815975"/>
                  <a:gd name="connsiteX6" fmla="*/ 687897 w 846647"/>
                  <a:gd name="connsiteY6" fmla="*/ 285750 h 815975"/>
                  <a:gd name="connsiteX7" fmla="*/ 659322 w 846647"/>
                  <a:gd name="connsiteY7" fmla="*/ 815975 h 815975"/>
                  <a:gd name="connsiteX8" fmla="*/ 208472 w 846647"/>
                  <a:gd name="connsiteY8" fmla="*/ 815975 h 815975"/>
                  <a:gd name="connsiteX9" fmla="*/ 192597 w 846647"/>
                  <a:gd name="connsiteY9" fmla="*/ 285750 h 815975"/>
                  <a:gd name="connsiteX10" fmla="*/ 125922 w 846647"/>
                  <a:gd name="connsiteY10" fmla="*/ 660400 h 815975"/>
                  <a:gd name="connsiteX11" fmla="*/ 99530 w 846647"/>
                  <a:gd name="connsiteY11" fmla="*/ 382884 h 815975"/>
                  <a:gd name="connsiteX12" fmla="*/ 917 w 846647"/>
                  <a:gd name="connsiteY12" fmla="*/ 255839 h 815975"/>
                  <a:gd name="connsiteX13" fmla="*/ 170372 w 846647"/>
                  <a:gd name="connsiteY13" fmla="*/ 28575 h 815975"/>
                  <a:gd name="connsiteX14" fmla="*/ 357697 w 846647"/>
                  <a:gd name="connsiteY14" fmla="*/ 0 h 815975"/>
                  <a:gd name="connsiteX0" fmla="*/ 357697 w 846647"/>
                  <a:gd name="connsiteY0" fmla="*/ 0 h 815975"/>
                  <a:gd name="connsiteX1" fmla="*/ 437072 w 846647"/>
                  <a:gd name="connsiteY1" fmla="*/ 574675 h 815975"/>
                  <a:gd name="connsiteX2" fmla="*/ 513272 w 846647"/>
                  <a:gd name="connsiteY2" fmla="*/ 3175 h 815975"/>
                  <a:gd name="connsiteX3" fmla="*/ 697422 w 846647"/>
                  <a:gd name="connsiteY3" fmla="*/ 19050 h 815975"/>
                  <a:gd name="connsiteX4" fmla="*/ 846647 w 846647"/>
                  <a:gd name="connsiteY4" fmla="*/ 654050 h 815975"/>
                  <a:gd name="connsiteX5" fmla="*/ 738697 w 846647"/>
                  <a:gd name="connsiteY5" fmla="*/ 657225 h 815975"/>
                  <a:gd name="connsiteX6" fmla="*/ 687897 w 846647"/>
                  <a:gd name="connsiteY6" fmla="*/ 285750 h 815975"/>
                  <a:gd name="connsiteX7" fmla="*/ 659322 w 846647"/>
                  <a:gd name="connsiteY7" fmla="*/ 815975 h 815975"/>
                  <a:gd name="connsiteX8" fmla="*/ 208472 w 846647"/>
                  <a:gd name="connsiteY8" fmla="*/ 815975 h 815975"/>
                  <a:gd name="connsiteX9" fmla="*/ 192597 w 846647"/>
                  <a:gd name="connsiteY9" fmla="*/ 285750 h 815975"/>
                  <a:gd name="connsiteX10" fmla="*/ 151397 w 846647"/>
                  <a:gd name="connsiteY10" fmla="*/ 401736 h 815975"/>
                  <a:gd name="connsiteX11" fmla="*/ 99530 w 846647"/>
                  <a:gd name="connsiteY11" fmla="*/ 382884 h 815975"/>
                  <a:gd name="connsiteX12" fmla="*/ 917 w 846647"/>
                  <a:gd name="connsiteY12" fmla="*/ 255839 h 815975"/>
                  <a:gd name="connsiteX13" fmla="*/ 170372 w 846647"/>
                  <a:gd name="connsiteY13" fmla="*/ 28575 h 815975"/>
                  <a:gd name="connsiteX14" fmla="*/ 357697 w 846647"/>
                  <a:gd name="connsiteY14" fmla="*/ 0 h 815975"/>
                  <a:gd name="connsiteX0" fmla="*/ 357697 w 846647"/>
                  <a:gd name="connsiteY0" fmla="*/ 0 h 815975"/>
                  <a:gd name="connsiteX1" fmla="*/ 437072 w 846647"/>
                  <a:gd name="connsiteY1" fmla="*/ 574675 h 815975"/>
                  <a:gd name="connsiteX2" fmla="*/ 513272 w 846647"/>
                  <a:gd name="connsiteY2" fmla="*/ 3175 h 815975"/>
                  <a:gd name="connsiteX3" fmla="*/ 697422 w 846647"/>
                  <a:gd name="connsiteY3" fmla="*/ 19050 h 815975"/>
                  <a:gd name="connsiteX4" fmla="*/ 846647 w 846647"/>
                  <a:gd name="connsiteY4" fmla="*/ 654050 h 815975"/>
                  <a:gd name="connsiteX5" fmla="*/ 738697 w 846647"/>
                  <a:gd name="connsiteY5" fmla="*/ 657225 h 815975"/>
                  <a:gd name="connsiteX6" fmla="*/ 687897 w 846647"/>
                  <a:gd name="connsiteY6" fmla="*/ 285750 h 815975"/>
                  <a:gd name="connsiteX7" fmla="*/ 659322 w 846647"/>
                  <a:gd name="connsiteY7" fmla="*/ 815975 h 815975"/>
                  <a:gd name="connsiteX8" fmla="*/ 208472 w 846647"/>
                  <a:gd name="connsiteY8" fmla="*/ 815975 h 815975"/>
                  <a:gd name="connsiteX9" fmla="*/ 192597 w 846647"/>
                  <a:gd name="connsiteY9" fmla="*/ 285750 h 815975"/>
                  <a:gd name="connsiteX10" fmla="*/ 126331 w 846647"/>
                  <a:gd name="connsiteY10" fmla="*/ 236243 h 815975"/>
                  <a:gd name="connsiteX11" fmla="*/ 151397 w 846647"/>
                  <a:gd name="connsiteY11" fmla="*/ 401736 h 815975"/>
                  <a:gd name="connsiteX12" fmla="*/ 99530 w 846647"/>
                  <a:gd name="connsiteY12" fmla="*/ 382884 h 815975"/>
                  <a:gd name="connsiteX13" fmla="*/ 917 w 846647"/>
                  <a:gd name="connsiteY13" fmla="*/ 255839 h 815975"/>
                  <a:gd name="connsiteX14" fmla="*/ 170372 w 846647"/>
                  <a:gd name="connsiteY14" fmla="*/ 28575 h 815975"/>
                  <a:gd name="connsiteX15" fmla="*/ 357697 w 846647"/>
                  <a:gd name="connsiteY15" fmla="*/ 0 h 815975"/>
                  <a:gd name="connsiteX0" fmla="*/ 357697 w 846647"/>
                  <a:gd name="connsiteY0" fmla="*/ 0 h 815975"/>
                  <a:gd name="connsiteX1" fmla="*/ 437072 w 846647"/>
                  <a:gd name="connsiteY1" fmla="*/ 574675 h 815975"/>
                  <a:gd name="connsiteX2" fmla="*/ 513272 w 846647"/>
                  <a:gd name="connsiteY2" fmla="*/ 3175 h 815975"/>
                  <a:gd name="connsiteX3" fmla="*/ 697422 w 846647"/>
                  <a:gd name="connsiteY3" fmla="*/ 19050 h 815975"/>
                  <a:gd name="connsiteX4" fmla="*/ 846647 w 846647"/>
                  <a:gd name="connsiteY4" fmla="*/ 654050 h 815975"/>
                  <a:gd name="connsiteX5" fmla="*/ 738697 w 846647"/>
                  <a:gd name="connsiteY5" fmla="*/ 657225 h 815975"/>
                  <a:gd name="connsiteX6" fmla="*/ 687897 w 846647"/>
                  <a:gd name="connsiteY6" fmla="*/ 285750 h 815975"/>
                  <a:gd name="connsiteX7" fmla="*/ 659322 w 846647"/>
                  <a:gd name="connsiteY7" fmla="*/ 815975 h 815975"/>
                  <a:gd name="connsiteX8" fmla="*/ 208472 w 846647"/>
                  <a:gd name="connsiteY8" fmla="*/ 815975 h 815975"/>
                  <a:gd name="connsiteX9" fmla="*/ 192597 w 846647"/>
                  <a:gd name="connsiteY9" fmla="*/ 285750 h 815975"/>
                  <a:gd name="connsiteX10" fmla="*/ 126331 w 846647"/>
                  <a:gd name="connsiteY10" fmla="*/ 236243 h 815975"/>
                  <a:gd name="connsiteX11" fmla="*/ 165114 w 846647"/>
                  <a:gd name="connsiteY11" fmla="*/ 364504 h 815975"/>
                  <a:gd name="connsiteX12" fmla="*/ 99530 w 846647"/>
                  <a:gd name="connsiteY12" fmla="*/ 382884 h 815975"/>
                  <a:gd name="connsiteX13" fmla="*/ 917 w 846647"/>
                  <a:gd name="connsiteY13" fmla="*/ 255839 h 815975"/>
                  <a:gd name="connsiteX14" fmla="*/ 170372 w 846647"/>
                  <a:gd name="connsiteY14" fmla="*/ 28575 h 815975"/>
                  <a:gd name="connsiteX15" fmla="*/ 357697 w 846647"/>
                  <a:gd name="connsiteY15" fmla="*/ 0 h 815975"/>
                  <a:gd name="connsiteX0" fmla="*/ 357564 w 846514"/>
                  <a:gd name="connsiteY0" fmla="*/ 0 h 815975"/>
                  <a:gd name="connsiteX1" fmla="*/ 436939 w 846514"/>
                  <a:gd name="connsiteY1" fmla="*/ 574675 h 815975"/>
                  <a:gd name="connsiteX2" fmla="*/ 513139 w 846514"/>
                  <a:gd name="connsiteY2" fmla="*/ 3175 h 815975"/>
                  <a:gd name="connsiteX3" fmla="*/ 697289 w 846514"/>
                  <a:gd name="connsiteY3" fmla="*/ 19050 h 815975"/>
                  <a:gd name="connsiteX4" fmla="*/ 846514 w 846514"/>
                  <a:gd name="connsiteY4" fmla="*/ 654050 h 815975"/>
                  <a:gd name="connsiteX5" fmla="*/ 738564 w 846514"/>
                  <a:gd name="connsiteY5" fmla="*/ 657225 h 815975"/>
                  <a:gd name="connsiteX6" fmla="*/ 687764 w 846514"/>
                  <a:gd name="connsiteY6" fmla="*/ 285750 h 815975"/>
                  <a:gd name="connsiteX7" fmla="*/ 659189 w 846514"/>
                  <a:gd name="connsiteY7" fmla="*/ 815975 h 815975"/>
                  <a:gd name="connsiteX8" fmla="*/ 208339 w 846514"/>
                  <a:gd name="connsiteY8" fmla="*/ 815975 h 815975"/>
                  <a:gd name="connsiteX9" fmla="*/ 192464 w 846514"/>
                  <a:gd name="connsiteY9" fmla="*/ 285750 h 815975"/>
                  <a:gd name="connsiteX10" fmla="*/ 126198 w 846514"/>
                  <a:gd name="connsiteY10" fmla="*/ 236243 h 815975"/>
                  <a:gd name="connsiteX11" fmla="*/ 164981 w 846514"/>
                  <a:gd name="connsiteY11" fmla="*/ 364504 h 815975"/>
                  <a:gd name="connsiteX12" fmla="*/ 118993 w 846514"/>
                  <a:gd name="connsiteY12" fmla="*/ 382884 h 815975"/>
                  <a:gd name="connsiteX13" fmla="*/ 784 w 846514"/>
                  <a:gd name="connsiteY13" fmla="*/ 255839 h 815975"/>
                  <a:gd name="connsiteX14" fmla="*/ 170239 w 846514"/>
                  <a:gd name="connsiteY14" fmla="*/ 28575 h 815975"/>
                  <a:gd name="connsiteX15" fmla="*/ 357564 w 846514"/>
                  <a:gd name="connsiteY15" fmla="*/ 0 h 815975"/>
                  <a:gd name="connsiteX0" fmla="*/ 357816 w 846766"/>
                  <a:gd name="connsiteY0" fmla="*/ 0 h 815975"/>
                  <a:gd name="connsiteX1" fmla="*/ 437191 w 846766"/>
                  <a:gd name="connsiteY1" fmla="*/ 574675 h 815975"/>
                  <a:gd name="connsiteX2" fmla="*/ 513391 w 846766"/>
                  <a:gd name="connsiteY2" fmla="*/ 3175 h 815975"/>
                  <a:gd name="connsiteX3" fmla="*/ 697541 w 846766"/>
                  <a:gd name="connsiteY3" fmla="*/ 19050 h 815975"/>
                  <a:gd name="connsiteX4" fmla="*/ 846766 w 846766"/>
                  <a:gd name="connsiteY4" fmla="*/ 654050 h 815975"/>
                  <a:gd name="connsiteX5" fmla="*/ 738816 w 846766"/>
                  <a:gd name="connsiteY5" fmla="*/ 657225 h 815975"/>
                  <a:gd name="connsiteX6" fmla="*/ 688016 w 846766"/>
                  <a:gd name="connsiteY6" fmla="*/ 285750 h 815975"/>
                  <a:gd name="connsiteX7" fmla="*/ 659441 w 846766"/>
                  <a:gd name="connsiteY7" fmla="*/ 815975 h 815975"/>
                  <a:gd name="connsiteX8" fmla="*/ 208591 w 846766"/>
                  <a:gd name="connsiteY8" fmla="*/ 815975 h 815975"/>
                  <a:gd name="connsiteX9" fmla="*/ 192716 w 846766"/>
                  <a:gd name="connsiteY9" fmla="*/ 285750 h 815975"/>
                  <a:gd name="connsiteX10" fmla="*/ 126450 w 846766"/>
                  <a:gd name="connsiteY10" fmla="*/ 236243 h 815975"/>
                  <a:gd name="connsiteX11" fmla="*/ 165233 w 846766"/>
                  <a:gd name="connsiteY11" fmla="*/ 364504 h 815975"/>
                  <a:gd name="connsiteX12" fmla="*/ 119245 w 846766"/>
                  <a:gd name="connsiteY12" fmla="*/ 382884 h 815975"/>
                  <a:gd name="connsiteX13" fmla="*/ 1036 w 846766"/>
                  <a:gd name="connsiteY13" fmla="*/ 255839 h 815975"/>
                  <a:gd name="connsiteX14" fmla="*/ 170491 w 846766"/>
                  <a:gd name="connsiteY14" fmla="*/ 28575 h 815975"/>
                  <a:gd name="connsiteX15" fmla="*/ 357816 w 846766"/>
                  <a:gd name="connsiteY15" fmla="*/ 0 h 815975"/>
                  <a:gd name="connsiteX0" fmla="*/ 357816 w 846766"/>
                  <a:gd name="connsiteY0" fmla="*/ 0 h 815975"/>
                  <a:gd name="connsiteX1" fmla="*/ 437191 w 846766"/>
                  <a:gd name="connsiteY1" fmla="*/ 574675 h 815975"/>
                  <a:gd name="connsiteX2" fmla="*/ 513391 w 846766"/>
                  <a:gd name="connsiteY2" fmla="*/ 3175 h 815975"/>
                  <a:gd name="connsiteX3" fmla="*/ 697541 w 846766"/>
                  <a:gd name="connsiteY3" fmla="*/ 19050 h 815975"/>
                  <a:gd name="connsiteX4" fmla="*/ 846766 w 846766"/>
                  <a:gd name="connsiteY4" fmla="*/ 654050 h 815975"/>
                  <a:gd name="connsiteX5" fmla="*/ 738816 w 846766"/>
                  <a:gd name="connsiteY5" fmla="*/ 657225 h 815975"/>
                  <a:gd name="connsiteX6" fmla="*/ 688016 w 846766"/>
                  <a:gd name="connsiteY6" fmla="*/ 285750 h 815975"/>
                  <a:gd name="connsiteX7" fmla="*/ 659441 w 846766"/>
                  <a:gd name="connsiteY7" fmla="*/ 815975 h 815975"/>
                  <a:gd name="connsiteX8" fmla="*/ 208591 w 846766"/>
                  <a:gd name="connsiteY8" fmla="*/ 815975 h 815975"/>
                  <a:gd name="connsiteX9" fmla="*/ 192716 w 846766"/>
                  <a:gd name="connsiteY9" fmla="*/ 285750 h 815975"/>
                  <a:gd name="connsiteX10" fmla="*/ 104895 w 846766"/>
                  <a:gd name="connsiteY10" fmla="*/ 251920 h 815975"/>
                  <a:gd name="connsiteX11" fmla="*/ 165233 w 846766"/>
                  <a:gd name="connsiteY11" fmla="*/ 364504 h 815975"/>
                  <a:gd name="connsiteX12" fmla="*/ 119245 w 846766"/>
                  <a:gd name="connsiteY12" fmla="*/ 382884 h 815975"/>
                  <a:gd name="connsiteX13" fmla="*/ 1036 w 846766"/>
                  <a:gd name="connsiteY13" fmla="*/ 255839 h 815975"/>
                  <a:gd name="connsiteX14" fmla="*/ 170491 w 846766"/>
                  <a:gd name="connsiteY14" fmla="*/ 28575 h 815975"/>
                  <a:gd name="connsiteX15" fmla="*/ 357816 w 846766"/>
                  <a:gd name="connsiteY15" fmla="*/ 0 h 815975"/>
                  <a:gd name="connsiteX0" fmla="*/ 357816 w 846766"/>
                  <a:gd name="connsiteY0" fmla="*/ 0 h 815975"/>
                  <a:gd name="connsiteX1" fmla="*/ 437191 w 846766"/>
                  <a:gd name="connsiteY1" fmla="*/ 574675 h 815975"/>
                  <a:gd name="connsiteX2" fmla="*/ 513391 w 846766"/>
                  <a:gd name="connsiteY2" fmla="*/ 3175 h 815975"/>
                  <a:gd name="connsiteX3" fmla="*/ 697541 w 846766"/>
                  <a:gd name="connsiteY3" fmla="*/ 19050 h 815975"/>
                  <a:gd name="connsiteX4" fmla="*/ 846766 w 846766"/>
                  <a:gd name="connsiteY4" fmla="*/ 654050 h 815975"/>
                  <a:gd name="connsiteX5" fmla="*/ 738816 w 846766"/>
                  <a:gd name="connsiteY5" fmla="*/ 657225 h 815975"/>
                  <a:gd name="connsiteX6" fmla="*/ 688016 w 846766"/>
                  <a:gd name="connsiteY6" fmla="*/ 285750 h 815975"/>
                  <a:gd name="connsiteX7" fmla="*/ 659441 w 846766"/>
                  <a:gd name="connsiteY7" fmla="*/ 815975 h 815975"/>
                  <a:gd name="connsiteX8" fmla="*/ 208591 w 846766"/>
                  <a:gd name="connsiteY8" fmla="*/ 815975 h 815975"/>
                  <a:gd name="connsiteX9" fmla="*/ 192716 w 846766"/>
                  <a:gd name="connsiteY9" fmla="*/ 285750 h 815975"/>
                  <a:gd name="connsiteX10" fmla="*/ 104895 w 846766"/>
                  <a:gd name="connsiteY10" fmla="*/ 251920 h 815975"/>
                  <a:gd name="connsiteX11" fmla="*/ 171112 w 846766"/>
                  <a:gd name="connsiteY11" fmla="*/ 350787 h 815975"/>
                  <a:gd name="connsiteX12" fmla="*/ 119245 w 846766"/>
                  <a:gd name="connsiteY12" fmla="*/ 382884 h 815975"/>
                  <a:gd name="connsiteX13" fmla="*/ 1036 w 846766"/>
                  <a:gd name="connsiteY13" fmla="*/ 255839 h 815975"/>
                  <a:gd name="connsiteX14" fmla="*/ 170491 w 846766"/>
                  <a:gd name="connsiteY14" fmla="*/ 28575 h 815975"/>
                  <a:gd name="connsiteX15" fmla="*/ 357816 w 846766"/>
                  <a:gd name="connsiteY15" fmla="*/ 0 h 815975"/>
                  <a:gd name="connsiteX0" fmla="*/ 357816 w 846766"/>
                  <a:gd name="connsiteY0" fmla="*/ 0 h 815975"/>
                  <a:gd name="connsiteX1" fmla="*/ 437191 w 846766"/>
                  <a:gd name="connsiteY1" fmla="*/ 574675 h 815975"/>
                  <a:gd name="connsiteX2" fmla="*/ 513391 w 846766"/>
                  <a:gd name="connsiteY2" fmla="*/ 3175 h 815975"/>
                  <a:gd name="connsiteX3" fmla="*/ 697541 w 846766"/>
                  <a:gd name="connsiteY3" fmla="*/ 19050 h 815975"/>
                  <a:gd name="connsiteX4" fmla="*/ 846766 w 846766"/>
                  <a:gd name="connsiteY4" fmla="*/ 654050 h 815975"/>
                  <a:gd name="connsiteX5" fmla="*/ 738816 w 846766"/>
                  <a:gd name="connsiteY5" fmla="*/ 657225 h 815975"/>
                  <a:gd name="connsiteX6" fmla="*/ 688016 w 846766"/>
                  <a:gd name="connsiteY6" fmla="*/ 285750 h 815975"/>
                  <a:gd name="connsiteX7" fmla="*/ 659441 w 846766"/>
                  <a:gd name="connsiteY7" fmla="*/ 815975 h 815975"/>
                  <a:gd name="connsiteX8" fmla="*/ 208591 w 846766"/>
                  <a:gd name="connsiteY8" fmla="*/ 815975 h 815975"/>
                  <a:gd name="connsiteX9" fmla="*/ 192716 w 846766"/>
                  <a:gd name="connsiteY9" fmla="*/ 285750 h 815975"/>
                  <a:gd name="connsiteX10" fmla="*/ 104895 w 846766"/>
                  <a:gd name="connsiteY10" fmla="*/ 251920 h 815975"/>
                  <a:gd name="connsiteX11" fmla="*/ 171112 w 846766"/>
                  <a:gd name="connsiteY11" fmla="*/ 350787 h 815975"/>
                  <a:gd name="connsiteX12" fmla="*/ 119245 w 846766"/>
                  <a:gd name="connsiteY12" fmla="*/ 382884 h 815975"/>
                  <a:gd name="connsiteX13" fmla="*/ 1036 w 846766"/>
                  <a:gd name="connsiteY13" fmla="*/ 255839 h 815975"/>
                  <a:gd name="connsiteX14" fmla="*/ 170491 w 846766"/>
                  <a:gd name="connsiteY14" fmla="*/ 28575 h 815975"/>
                  <a:gd name="connsiteX15" fmla="*/ 357816 w 846766"/>
                  <a:gd name="connsiteY15" fmla="*/ 0 h 815975"/>
                  <a:gd name="connsiteX0" fmla="*/ 357816 w 846766"/>
                  <a:gd name="connsiteY0" fmla="*/ 0 h 815975"/>
                  <a:gd name="connsiteX1" fmla="*/ 437191 w 846766"/>
                  <a:gd name="connsiteY1" fmla="*/ 574675 h 815975"/>
                  <a:gd name="connsiteX2" fmla="*/ 513391 w 846766"/>
                  <a:gd name="connsiteY2" fmla="*/ 3175 h 815975"/>
                  <a:gd name="connsiteX3" fmla="*/ 697541 w 846766"/>
                  <a:gd name="connsiteY3" fmla="*/ 19050 h 815975"/>
                  <a:gd name="connsiteX4" fmla="*/ 846766 w 846766"/>
                  <a:gd name="connsiteY4" fmla="*/ 654050 h 815975"/>
                  <a:gd name="connsiteX5" fmla="*/ 738816 w 846766"/>
                  <a:gd name="connsiteY5" fmla="*/ 657225 h 815975"/>
                  <a:gd name="connsiteX6" fmla="*/ 688016 w 846766"/>
                  <a:gd name="connsiteY6" fmla="*/ 285750 h 815975"/>
                  <a:gd name="connsiteX7" fmla="*/ 659441 w 846766"/>
                  <a:gd name="connsiteY7" fmla="*/ 815975 h 815975"/>
                  <a:gd name="connsiteX8" fmla="*/ 208591 w 846766"/>
                  <a:gd name="connsiteY8" fmla="*/ 815975 h 815975"/>
                  <a:gd name="connsiteX9" fmla="*/ 192716 w 846766"/>
                  <a:gd name="connsiteY9" fmla="*/ 285750 h 815975"/>
                  <a:gd name="connsiteX10" fmla="*/ 104895 w 846766"/>
                  <a:gd name="connsiteY10" fmla="*/ 251920 h 815975"/>
                  <a:gd name="connsiteX11" fmla="*/ 165234 w 846766"/>
                  <a:gd name="connsiteY11" fmla="*/ 303757 h 815975"/>
                  <a:gd name="connsiteX12" fmla="*/ 119245 w 846766"/>
                  <a:gd name="connsiteY12" fmla="*/ 382884 h 815975"/>
                  <a:gd name="connsiteX13" fmla="*/ 1036 w 846766"/>
                  <a:gd name="connsiteY13" fmla="*/ 255839 h 815975"/>
                  <a:gd name="connsiteX14" fmla="*/ 170491 w 846766"/>
                  <a:gd name="connsiteY14" fmla="*/ 28575 h 815975"/>
                  <a:gd name="connsiteX15" fmla="*/ 357816 w 846766"/>
                  <a:gd name="connsiteY15" fmla="*/ 0 h 815975"/>
                  <a:gd name="connsiteX0" fmla="*/ 375299 w 864249"/>
                  <a:gd name="connsiteY0" fmla="*/ 0 h 815975"/>
                  <a:gd name="connsiteX1" fmla="*/ 454674 w 864249"/>
                  <a:gd name="connsiteY1" fmla="*/ 574675 h 815975"/>
                  <a:gd name="connsiteX2" fmla="*/ 530874 w 864249"/>
                  <a:gd name="connsiteY2" fmla="*/ 3175 h 815975"/>
                  <a:gd name="connsiteX3" fmla="*/ 715024 w 864249"/>
                  <a:gd name="connsiteY3" fmla="*/ 19050 h 815975"/>
                  <a:gd name="connsiteX4" fmla="*/ 864249 w 864249"/>
                  <a:gd name="connsiteY4" fmla="*/ 654050 h 815975"/>
                  <a:gd name="connsiteX5" fmla="*/ 756299 w 864249"/>
                  <a:gd name="connsiteY5" fmla="*/ 657225 h 815975"/>
                  <a:gd name="connsiteX6" fmla="*/ 705499 w 864249"/>
                  <a:gd name="connsiteY6" fmla="*/ 285750 h 815975"/>
                  <a:gd name="connsiteX7" fmla="*/ 676924 w 864249"/>
                  <a:gd name="connsiteY7" fmla="*/ 815975 h 815975"/>
                  <a:gd name="connsiteX8" fmla="*/ 226074 w 864249"/>
                  <a:gd name="connsiteY8" fmla="*/ 815975 h 815975"/>
                  <a:gd name="connsiteX9" fmla="*/ 210199 w 864249"/>
                  <a:gd name="connsiteY9" fmla="*/ 285750 h 815975"/>
                  <a:gd name="connsiteX10" fmla="*/ 122378 w 864249"/>
                  <a:gd name="connsiteY10" fmla="*/ 251920 h 815975"/>
                  <a:gd name="connsiteX11" fmla="*/ 182717 w 864249"/>
                  <a:gd name="connsiteY11" fmla="*/ 303757 h 815975"/>
                  <a:gd name="connsiteX12" fmla="*/ 136728 w 864249"/>
                  <a:gd name="connsiteY12" fmla="*/ 382884 h 815975"/>
                  <a:gd name="connsiteX13" fmla="*/ 883 w 864249"/>
                  <a:gd name="connsiteY13" fmla="*/ 366065 h 815975"/>
                  <a:gd name="connsiteX14" fmla="*/ 187974 w 864249"/>
                  <a:gd name="connsiteY14" fmla="*/ 28575 h 815975"/>
                  <a:gd name="connsiteX15" fmla="*/ 375299 w 864249"/>
                  <a:gd name="connsiteY15" fmla="*/ 0 h 815975"/>
                  <a:gd name="connsiteX0" fmla="*/ 375154 w 864104"/>
                  <a:gd name="connsiteY0" fmla="*/ 0 h 815975"/>
                  <a:gd name="connsiteX1" fmla="*/ 454529 w 864104"/>
                  <a:gd name="connsiteY1" fmla="*/ 574675 h 815975"/>
                  <a:gd name="connsiteX2" fmla="*/ 530729 w 864104"/>
                  <a:gd name="connsiteY2" fmla="*/ 3175 h 815975"/>
                  <a:gd name="connsiteX3" fmla="*/ 714879 w 864104"/>
                  <a:gd name="connsiteY3" fmla="*/ 19050 h 815975"/>
                  <a:gd name="connsiteX4" fmla="*/ 864104 w 864104"/>
                  <a:gd name="connsiteY4" fmla="*/ 654050 h 815975"/>
                  <a:gd name="connsiteX5" fmla="*/ 756154 w 864104"/>
                  <a:gd name="connsiteY5" fmla="*/ 657225 h 815975"/>
                  <a:gd name="connsiteX6" fmla="*/ 705354 w 864104"/>
                  <a:gd name="connsiteY6" fmla="*/ 285750 h 815975"/>
                  <a:gd name="connsiteX7" fmla="*/ 676779 w 864104"/>
                  <a:gd name="connsiteY7" fmla="*/ 815975 h 815975"/>
                  <a:gd name="connsiteX8" fmla="*/ 225929 w 864104"/>
                  <a:gd name="connsiteY8" fmla="*/ 815975 h 815975"/>
                  <a:gd name="connsiteX9" fmla="*/ 210054 w 864104"/>
                  <a:gd name="connsiteY9" fmla="*/ 285750 h 815975"/>
                  <a:gd name="connsiteX10" fmla="*/ 122233 w 864104"/>
                  <a:gd name="connsiteY10" fmla="*/ 251920 h 815975"/>
                  <a:gd name="connsiteX11" fmla="*/ 182572 w 864104"/>
                  <a:gd name="connsiteY11" fmla="*/ 303757 h 815975"/>
                  <a:gd name="connsiteX12" fmla="*/ 160098 w 864104"/>
                  <a:gd name="connsiteY12" fmla="*/ 375536 h 815975"/>
                  <a:gd name="connsiteX13" fmla="*/ 738 w 864104"/>
                  <a:gd name="connsiteY13" fmla="*/ 366065 h 815975"/>
                  <a:gd name="connsiteX14" fmla="*/ 187829 w 864104"/>
                  <a:gd name="connsiteY14" fmla="*/ 28575 h 815975"/>
                  <a:gd name="connsiteX15" fmla="*/ 375154 w 864104"/>
                  <a:gd name="connsiteY15" fmla="*/ 0 h 815975"/>
                  <a:gd name="connsiteX0" fmla="*/ 375139 w 864089"/>
                  <a:gd name="connsiteY0" fmla="*/ 0 h 815975"/>
                  <a:gd name="connsiteX1" fmla="*/ 454514 w 864089"/>
                  <a:gd name="connsiteY1" fmla="*/ 574675 h 815975"/>
                  <a:gd name="connsiteX2" fmla="*/ 530714 w 864089"/>
                  <a:gd name="connsiteY2" fmla="*/ 3175 h 815975"/>
                  <a:gd name="connsiteX3" fmla="*/ 714864 w 864089"/>
                  <a:gd name="connsiteY3" fmla="*/ 19050 h 815975"/>
                  <a:gd name="connsiteX4" fmla="*/ 864089 w 864089"/>
                  <a:gd name="connsiteY4" fmla="*/ 654050 h 815975"/>
                  <a:gd name="connsiteX5" fmla="*/ 756139 w 864089"/>
                  <a:gd name="connsiteY5" fmla="*/ 657225 h 815975"/>
                  <a:gd name="connsiteX6" fmla="*/ 705339 w 864089"/>
                  <a:gd name="connsiteY6" fmla="*/ 285750 h 815975"/>
                  <a:gd name="connsiteX7" fmla="*/ 676764 w 864089"/>
                  <a:gd name="connsiteY7" fmla="*/ 815975 h 815975"/>
                  <a:gd name="connsiteX8" fmla="*/ 225914 w 864089"/>
                  <a:gd name="connsiteY8" fmla="*/ 815975 h 815975"/>
                  <a:gd name="connsiteX9" fmla="*/ 210039 w 864089"/>
                  <a:gd name="connsiteY9" fmla="*/ 285750 h 815975"/>
                  <a:gd name="connsiteX10" fmla="*/ 122218 w 864089"/>
                  <a:gd name="connsiteY10" fmla="*/ 251920 h 815975"/>
                  <a:gd name="connsiteX11" fmla="*/ 182557 w 864089"/>
                  <a:gd name="connsiteY11" fmla="*/ 303757 h 815975"/>
                  <a:gd name="connsiteX12" fmla="*/ 160083 w 864089"/>
                  <a:gd name="connsiteY12" fmla="*/ 375536 h 815975"/>
                  <a:gd name="connsiteX13" fmla="*/ 723 w 864089"/>
                  <a:gd name="connsiteY13" fmla="*/ 366065 h 815975"/>
                  <a:gd name="connsiteX14" fmla="*/ 187814 w 864089"/>
                  <a:gd name="connsiteY14" fmla="*/ 28575 h 815975"/>
                  <a:gd name="connsiteX15" fmla="*/ 375139 w 864089"/>
                  <a:gd name="connsiteY15" fmla="*/ 0 h 815975"/>
                  <a:gd name="connsiteX0" fmla="*/ 375139 w 864089"/>
                  <a:gd name="connsiteY0" fmla="*/ 0 h 815975"/>
                  <a:gd name="connsiteX1" fmla="*/ 454514 w 864089"/>
                  <a:gd name="connsiteY1" fmla="*/ 574675 h 815975"/>
                  <a:gd name="connsiteX2" fmla="*/ 530714 w 864089"/>
                  <a:gd name="connsiteY2" fmla="*/ 3175 h 815975"/>
                  <a:gd name="connsiteX3" fmla="*/ 714864 w 864089"/>
                  <a:gd name="connsiteY3" fmla="*/ 19050 h 815975"/>
                  <a:gd name="connsiteX4" fmla="*/ 864089 w 864089"/>
                  <a:gd name="connsiteY4" fmla="*/ 654050 h 815975"/>
                  <a:gd name="connsiteX5" fmla="*/ 756139 w 864089"/>
                  <a:gd name="connsiteY5" fmla="*/ 657225 h 815975"/>
                  <a:gd name="connsiteX6" fmla="*/ 705339 w 864089"/>
                  <a:gd name="connsiteY6" fmla="*/ 285750 h 815975"/>
                  <a:gd name="connsiteX7" fmla="*/ 676764 w 864089"/>
                  <a:gd name="connsiteY7" fmla="*/ 815975 h 815975"/>
                  <a:gd name="connsiteX8" fmla="*/ 225914 w 864089"/>
                  <a:gd name="connsiteY8" fmla="*/ 815975 h 815975"/>
                  <a:gd name="connsiteX9" fmla="*/ 210039 w 864089"/>
                  <a:gd name="connsiteY9" fmla="*/ 285750 h 815975"/>
                  <a:gd name="connsiteX10" fmla="*/ 114870 w 864089"/>
                  <a:gd name="connsiteY10" fmla="*/ 310708 h 815975"/>
                  <a:gd name="connsiteX11" fmla="*/ 182557 w 864089"/>
                  <a:gd name="connsiteY11" fmla="*/ 303757 h 815975"/>
                  <a:gd name="connsiteX12" fmla="*/ 160083 w 864089"/>
                  <a:gd name="connsiteY12" fmla="*/ 375536 h 815975"/>
                  <a:gd name="connsiteX13" fmla="*/ 723 w 864089"/>
                  <a:gd name="connsiteY13" fmla="*/ 366065 h 815975"/>
                  <a:gd name="connsiteX14" fmla="*/ 187814 w 864089"/>
                  <a:gd name="connsiteY14" fmla="*/ 28575 h 815975"/>
                  <a:gd name="connsiteX15" fmla="*/ 375139 w 864089"/>
                  <a:gd name="connsiteY15" fmla="*/ 0 h 815975"/>
                  <a:gd name="connsiteX0" fmla="*/ 375139 w 864089"/>
                  <a:gd name="connsiteY0" fmla="*/ 0 h 815975"/>
                  <a:gd name="connsiteX1" fmla="*/ 454514 w 864089"/>
                  <a:gd name="connsiteY1" fmla="*/ 574675 h 815975"/>
                  <a:gd name="connsiteX2" fmla="*/ 530714 w 864089"/>
                  <a:gd name="connsiteY2" fmla="*/ 3175 h 815975"/>
                  <a:gd name="connsiteX3" fmla="*/ 714864 w 864089"/>
                  <a:gd name="connsiteY3" fmla="*/ 19050 h 815975"/>
                  <a:gd name="connsiteX4" fmla="*/ 864089 w 864089"/>
                  <a:gd name="connsiteY4" fmla="*/ 654050 h 815975"/>
                  <a:gd name="connsiteX5" fmla="*/ 756139 w 864089"/>
                  <a:gd name="connsiteY5" fmla="*/ 657225 h 815975"/>
                  <a:gd name="connsiteX6" fmla="*/ 705339 w 864089"/>
                  <a:gd name="connsiteY6" fmla="*/ 285750 h 815975"/>
                  <a:gd name="connsiteX7" fmla="*/ 676764 w 864089"/>
                  <a:gd name="connsiteY7" fmla="*/ 815975 h 815975"/>
                  <a:gd name="connsiteX8" fmla="*/ 225914 w 864089"/>
                  <a:gd name="connsiteY8" fmla="*/ 815975 h 815975"/>
                  <a:gd name="connsiteX9" fmla="*/ 210039 w 864089"/>
                  <a:gd name="connsiteY9" fmla="*/ 285750 h 815975"/>
                  <a:gd name="connsiteX10" fmla="*/ 120749 w 864089"/>
                  <a:gd name="connsiteY10" fmla="*/ 312178 h 815975"/>
                  <a:gd name="connsiteX11" fmla="*/ 182557 w 864089"/>
                  <a:gd name="connsiteY11" fmla="*/ 303757 h 815975"/>
                  <a:gd name="connsiteX12" fmla="*/ 160083 w 864089"/>
                  <a:gd name="connsiteY12" fmla="*/ 375536 h 815975"/>
                  <a:gd name="connsiteX13" fmla="*/ 723 w 864089"/>
                  <a:gd name="connsiteY13" fmla="*/ 366065 h 815975"/>
                  <a:gd name="connsiteX14" fmla="*/ 187814 w 864089"/>
                  <a:gd name="connsiteY14" fmla="*/ 28575 h 815975"/>
                  <a:gd name="connsiteX15" fmla="*/ 375139 w 864089"/>
                  <a:gd name="connsiteY15" fmla="*/ 0 h 815975"/>
                  <a:gd name="connsiteX0" fmla="*/ 375033 w 863983"/>
                  <a:gd name="connsiteY0" fmla="*/ 0 h 815975"/>
                  <a:gd name="connsiteX1" fmla="*/ 454408 w 863983"/>
                  <a:gd name="connsiteY1" fmla="*/ 574675 h 815975"/>
                  <a:gd name="connsiteX2" fmla="*/ 530608 w 863983"/>
                  <a:gd name="connsiteY2" fmla="*/ 3175 h 815975"/>
                  <a:gd name="connsiteX3" fmla="*/ 714758 w 863983"/>
                  <a:gd name="connsiteY3" fmla="*/ 19050 h 815975"/>
                  <a:gd name="connsiteX4" fmla="*/ 863983 w 863983"/>
                  <a:gd name="connsiteY4" fmla="*/ 654050 h 815975"/>
                  <a:gd name="connsiteX5" fmla="*/ 756033 w 863983"/>
                  <a:gd name="connsiteY5" fmla="*/ 657225 h 815975"/>
                  <a:gd name="connsiteX6" fmla="*/ 705233 w 863983"/>
                  <a:gd name="connsiteY6" fmla="*/ 285750 h 815975"/>
                  <a:gd name="connsiteX7" fmla="*/ 676658 w 863983"/>
                  <a:gd name="connsiteY7" fmla="*/ 815975 h 815975"/>
                  <a:gd name="connsiteX8" fmla="*/ 225808 w 863983"/>
                  <a:gd name="connsiteY8" fmla="*/ 815975 h 815975"/>
                  <a:gd name="connsiteX9" fmla="*/ 209933 w 863983"/>
                  <a:gd name="connsiteY9" fmla="*/ 285750 h 815975"/>
                  <a:gd name="connsiteX10" fmla="*/ 120643 w 863983"/>
                  <a:gd name="connsiteY10" fmla="*/ 312178 h 815975"/>
                  <a:gd name="connsiteX11" fmla="*/ 182451 w 863983"/>
                  <a:gd name="connsiteY11" fmla="*/ 303757 h 815975"/>
                  <a:gd name="connsiteX12" fmla="*/ 184962 w 863983"/>
                  <a:gd name="connsiteY12" fmla="*/ 384354 h 815975"/>
                  <a:gd name="connsiteX13" fmla="*/ 617 w 863983"/>
                  <a:gd name="connsiteY13" fmla="*/ 366065 h 815975"/>
                  <a:gd name="connsiteX14" fmla="*/ 187708 w 863983"/>
                  <a:gd name="connsiteY14" fmla="*/ 28575 h 815975"/>
                  <a:gd name="connsiteX15" fmla="*/ 375033 w 863983"/>
                  <a:gd name="connsiteY15" fmla="*/ 0 h 815975"/>
                  <a:gd name="connsiteX0" fmla="*/ 374416 w 863366"/>
                  <a:gd name="connsiteY0" fmla="*/ 0 h 815975"/>
                  <a:gd name="connsiteX1" fmla="*/ 453791 w 863366"/>
                  <a:gd name="connsiteY1" fmla="*/ 574675 h 815975"/>
                  <a:gd name="connsiteX2" fmla="*/ 529991 w 863366"/>
                  <a:gd name="connsiteY2" fmla="*/ 3175 h 815975"/>
                  <a:gd name="connsiteX3" fmla="*/ 714141 w 863366"/>
                  <a:gd name="connsiteY3" fmla="*/ 19050 h 815975"/>
                  <a:gd name="connsiteX4" fmla="*/ 863366 w 863366"/>
                  <a:gd name="connsiteY4" fmla="*/ 654050 h 815975"/>
                  <a:gd name="connsiteX5" fmla="*/ 755416 w 863366"/>
                  <a:gd name="connsiteY5" fmla="*/ 657225 h 815975"/>
                  <a:gd name="connsiteX6" fmla="*/ 704616 w 863366"/>
                  <a:gd name="connsiteY6" fmla="*/ 285750 h 815975"/>
                  <a:gd name="connsiteX7" fmla="*/ 676041 w 863366"/>
                  <a:gd name="connsiteY7" fmla="*/ 815975 h 815975"/>
                  <a:gd name="connsiteX8" fmla="*/ 225191 w 863366"/>
                  <a:gd name="connsiteY8" fmla="*/ 815975 h 815975"/>
                  <a:gd name="connsiteX9" fmla="*/ 209316 w 863366"/>
                  <a:gd name="connsiteY9" fmla="*/ 285750 h 815975"/>
                  <a:gd name="connsiteX10" fmla="*/ 120026 w 863366"/>
                  <a:gd name="connsiteY10" fmla="*/ 312178 h 815975"/>
                  <a:gd name="connsiteX11" fmla="*/ 181834 w 863366"/>
                  <a:gd name="connsiteY11" fmla="*/ 303757 h 815975"/>
                  <a:gd name="connsiteX12" fmla="*/ 184345 w 863366"/>
                  <a:gd name="connsiteY12" fmla="*/ 384354 h 815975"/>
                  <a:gd name="connsiteX13" fmla="*/ 0 w 863366"/>
                  <a:gd name="connsiteY13" fmla="*/ 366065 h 815975"/>
                  <a:gd name="connsiteX14" fmla="*/ 187091 w 863366"/>
                  <a:gd name="connsiteY14" fmla="*/ 28575 h 815975"/>
                  <a:gd name="connsiteX15" fmla="*/ 374416 w 863366"/>
                  <a:gd name="connsiteY15" fmla="*/ 0 h 815975"/>
                  <a:gd name="connsiteX0" fmla="*/ 374416 w 757668"/>
                  <a:gd name="connsiteY0" fmla="*/ 0 h 815975"/>
                  <a:gd name="connsiteX1" fmla="*/ 453791 w 757668"/>
                  <a:gd name="connsiteY1" fmla="*/ 574675 h 815975"/>
                  <a:gd name="connsiteX2" fmla="*/ 529991 w 757668"/>
                  <a:gd name="connsiteY2" fmla="*/ 3175 h 815975"/>
                  <a:gd name="connsiteX3" fmla="*/ 714141 w 757668"/>
                  <a:gd name="connsiteY3" fmla="*/ 19050 h 815975"/>
                  <a:gd name="connsiteX4" fmla="*/ 755416 w 757668"/>
                  <a:gd name="connsiteY4" fmla="*/ 657225 h 815975"/>
                  <a:gd name="connsiteX5" fmla="*/ 704616 w 757668"/>
                  <a:gd name="connsiteY5" fmla="*/ 285750 h 815975"/>
                  <a:gd name="connsiteX6" fmla="*/ 676041 w 757668"/>
                  <a:gd name="connsiteY6" fmla="*/ 815975 h 815975"/>
                  <a:gd name="connsiteX7" fmla="*/ 225191 w 757668"/>
                  <a:gd name="connsiteY7" fmla="*/ 815975 h 815975"/>
                  <a:gd name="connsiteX8" fmla="*/ 209316 w 757668"/>
                  <a:gd name="connsiteY8" fmla="*/ 285750 h 815975"/>
                  <a:gd name="connsiteX9" fmla="*/ 120026 w 757668"/>
                  <a:gd name="connsiteY9" fmla="*/ 312178 h 815975"/>
                  <a:gd name="connsiteX10" fmla="*/ 181834 w 757668"/>
                  <a:gd name="connsiteY10" fmla="*/ 303757 h 815975"/>
                  <a:gd name="connsiteX11" fmla="*/ 184345 w 757668"/>
                  <a:gd name="connsiteY11" fmla="*/ 384354 h 815975"/>
                  <a:gd name="connsiteX12" fmla="*/ 0 w 757668"/>
                  <a:gd name="connsiteY12" fmla="*/ 366065 h 815975"/>
                  <a:gd name="connsiteX13" fmla="*/ 187091 w 757668"/>
                  <a:gd name="connsiteY13" fmla="*/ 28575 h 815975"/>
                  <a:gd name="connsiteX14" fmla="*/ 374416 w 757668"/>
                  <a:gd name="connsiteY14" fmla="*/ 0 h 815975"/>
                  <a:gd name="connsiteX0" fmla="*/ 374416 w 726119"/>
                  <a:gd name="connsiteY0" fmla="*/ 0 h 815975"/>
                  <a:gd name="connsiteX1" fmla="*/ 453791 w 726119"/>
                  <a:gd name="connsiteY1" fmla="*/ 574675 h 815975"/>
                  <a:gd name="connsiteX2" fmla="*/ 529991 w 726119"/>
                  <a:gd name="connsiteY2" fmla="*/ 3175 h 815975"/>
                  <a:gd name="connsiteX3" fmla="*/ 714141 w 726119"/>
                  <a:gd name="connsiteY3" fmla="*/ 19050 h 815975"/>
                  <a:gd name="connsiteX4" fmla="*/ 704616 w 726119"/>
                  <a:gd name="connsiteY4" fmla="*/ 285750 h 815975"/>
                  <a:gd name="connsiteX5" fmla="*/ 676041 w 726119"/>
                  <a:gd name="connsiteY5" fmla="*/ 815975 h 815975"/>
                  <a:gd name="connsiteX6" fmla="*/ 225191 w 726119"/>
                  <a:gd name="connsiteY6" fmla="*/ 815975 h 815975"/>
                  <a:gd name="connsiteX7" fmla="*/ 209316 w 726119"/>
                  <a:gd name="connsiteY7" fmla="*/ 285750 h 815975"/>
                  <a:gd name="connsiteX8" fmla="*/ 120026 w 726119"/>
                  <a:gd name="connsiteY8" fmla="*/ 312178 h 815975"/>
                  <a:gd name="connsiteX9" fmla="*/ 181834 w 726119"/>
                  <a:gd name="connsiteY9" fmla="*/ 303757 h 815975"/>
                  <a:gd name="connsiteX10" fmla="*/ 184345 w 726119"/>
                  <a:gd name="connsiteY10" fmla="*/ 384354 h 815975"/>
                  <a:gd name="connsiteX11" fmla="*/ 0 w 726119"/>
                  <a:gd name="connsiteY11" fmla="*/ 366065 h 815975"/>
                  <a:gd name="connsiteX12" fmla="*/ 187091 w 726119"/>
                  <a:gd name="connsiteY12" fmla="*/ 28575 h 815975"/>
                  <a:gd name="connsiteX13" fmla="*/ 374416 w 726119"/>
                  <a:gd name="connsiteY13" fmla="*/ 0 h 815975"/>
                  <a:gd name="connsiteX0" fmla="*/ 374416 w 714141"/>
                  <a:gd name="connsiteY0" fmla="*/ 0 h 815975"/>
                  <a:gd name="connsiteX1" fmla="*/ 453791 w 714141"/>
                  <a:gd name="connsiteY1" fmla="*/ 574675 h 815975"/>
                  <a:gd name="connsiteX2" fmla="*/ 529991 w 714141"/>
                  <a:gd name="connsiteY2" fmla="*/ 3175 h 815975"/>
                  <a:gd name="connsiteX3" fmla="*/ 714141 w 714141"/>
                  <a:gd name="connsiteY3" fmla="*/ 19050 h 815975"/>
                  <a:gd name="connsiteX4" fmla="*/ 704616 w 714141"/>
                  <a:gd name="connsiteY4" fmla="*/ 285750 h 815975"/>
                  <a:gd name="connsiteX5" fmla="*/ 676041 w 714141"/>
                  <a:gd name="connsiteY5" fmla="*/ 815975 h 815975"/>
                  <a:gd name="connsiteX6" fmla="*/ 225191 w 714141"/>
                  <a:gd name="connsiteY6" fmla="*/ 815975 h 815975"/>
                  <a:gd name="connsiteX7" fmla="*/ 209316 w 714141"/>
                  <a:gd name="connsiteY7" fmla="*/ 285750 h 815975"/>
                  <a:gd name="connsiteX8" fmla="*/ 120026 w 714141"/>
                  <a:gd name="connsiteY8" fmla="*/ 312178 h 815975"/>
                  <a:gd name="connsiteX9" fmla="*/ 181834 w 714141"/>
                  <a:gd name="connsiteY9" fmla="*/ 303757 h 815975"/>
                  <a:gd name="connsiteX10" fmla="*/ 184345 w 714141"/>
                  <a:gd name="connsiteY10" fmla="*/ 384354 h 815975"/>
                  <a:gd name="connsiteX11" fmla="*/ 0 w 714141"/>
                  <a:gd name="connsiteY11" fmla="*/ 366065 h 815975"/>
                  <a:gd name="connsiteX12" fmla="*/ 187091 w 714141"/>
                  <a:gd name="connsiteY12" fmla="*/ 28575 h 815975"/>
                  <a:gd name="connsiteX13" fmla="*/ 374416 w 714141"/>
                  <a:gd name="connsiteY13" fmla="*/ 0 h 815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14141" h="815975">
                    <a:moveTo>
                      <a:pt x="374416" y="0"/>
                    </a:moveTo>
                    <a:lnTo>
                      <a:pt x="453791" y="574675"/>
                    </a:lnTo>
                    <a:lnTo>
                      <a:pt x="529991" y="3175"/>
                    </a:lnTo>
                    <a:lnTo>
                      <a:pt x="714141" y="19050"/>
                    </a:lnTo>
                    <a:cubicBezTo>
                      <a:pt x="709378" y="152400"/>
                      <a:pt x="710966" y="152929"/>
                      <a:pt x="704616" y="285750"/>
                    </a:cubicBezTo>
                    <a:lnTo>
                      <a:pt x="676041" y="815975"/>
                    </a:lnTo>
                    <a:lnTo>
                      <a:pt x="225191" y="815975"/>
                    </a:lnTo>
                    <a:lnTo>
                      <a:pt x="209316" y="285750"/>
                    </a:lnTo>
                    <a:cubicBezTo>
                      <a:pt x="202811" y="204151"/>
                      <a:pt x="126893" y="292847"/>
                      <a:pt x="120026" y="312178"/>
                    </a:cubicBezTo>
                    <a:cubicBezTo>
                      <a:pt x="101401" y="329550"/>
                      <a:pt x="193486" y="294340"/>
                      <a:pt x="181834" y="303757"/>
                    </a:cubicBezTo>
                    <a:cubicBezTo>
                      <a:pt x="146909" y="302699"/>
                      <a:pt x="219270" y="385412"/>
                      <a:pt x="184345" y="384354"/>
                    </a:cubicBezTo>
                    <a:cubicBezTo>
                      <a:pt x="149467" y="405109"/>
                      <a:pt x="7298" y="410420"/>
                      <a:pt x="0" y="366065"/>
                    </a:cubicBezTo>
                    <a:cubicBezTo>
                      <a:pt x="11807" y="307014"/>
                      <a:pt x="143958" y="66316"/>
                      <a:pt x="187091" y="28575"/>
                    </a:cubicBezTo>
                    <a:lnTo>
                      <a:pt x="374416" y="0"/>
                    </a:lnTo>
                    <a:close/>
                  </a:path>
                </a:pathLst>
              </a:custGeom>
              <a:solidFill>
                <a:srgbClr val="FEA830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06" name="Freeform 105"/>
              <p:cNvSpPr/>
              <p:nvPr/>
            </p:nvSpPr>
            <p:spPr bwMode="auto">
              <a:xfrm>
                <a:off x="8034359" y="3272921"/>
                <a:ext cx="79339" cy="39331"/>
              </a:xfrm>
              <a:custGeom>
                <a:avLst/>
                <a:gdLst>
                  <a:gd name="connsiteX0" fmla="*/ 93857 w 187714"/>
                  <a:gd name="connsiteY0" fmla="*/ 0 h 93056"/>
                  <a:gd name="connsiteX1" fmla="*/ 180525 w 187714"/>
                  <a:gd name="connsiteY1" fmla="*/ 57448 h 93056"/>
                  <a:gd name="connsiteX2" fmla="*/ 187714 w 187714"/>
                  <a:gd name="connsiteY2" fmla="*/ 93056 h 93056"/>
                  <a:gd name="connsiteX3" fmla="*/ 0 w 187714"/>
                  <a:gd name="connsiteY3" fmla="*/ 93056 h 93056"/>
                  <a:gd name="connsiteX4" fmla="*/ 7189 w 187714"/>
                  <a:gd name="connsiteY4" fmla="*/ 57448 h 93056"/>
                  <a:gd name="connsiteX5" fmla="*/ 93857 w 187714"/>
                  <a:gd name="connsiteY5" fmla="*/ 0 h 93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7714" h="93056">
                    <a:moveTo>
                      <a:pt x="93857" y="0"/>
                    </a:moveTo>
                    <a:cubicBezTo>
                      <a:pt x="132818" y="0"/>
                      <a:pt x="166246" y="23688"/>
                      <a:pt x="180525" y="57448"/>
                    </a:cubicBezTo>
                    <a:lnTo>
                      <a:pt x="187714" y="93056"/>
                    </a:lnTo>
                    <a:lnTo>
                      <a:pt x="0" y="93056"/>
                    </a:lnTo>
                    <a:lnTo>
                      <a:pt x="7189" y="57448"/>
                    </a:lnTo>
                    <a:cubicBezTo>
                      <a:pt x="21468" y="23688"/>
                      <a:pt x="54896" y="0"/>
                      <a:pt x="93857" y="0"/>
                    </a:cubicBezTo>
                    <a:close/>
                  </a:path>
                </a:pathLst>
              </a:custGeom>
              <a:solidFill>
                <a:srgbClr val="663300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07" name="Freeform 106"/>
              <p:cNvSpPr/>
              <p:nvPr/>
            </p:nvSpPr>
            <p:spPr bwMode="auto">
              <a:xfrm>
                <a:off x="8128086" y="3272921"/>
                <a:ext cx="79339" cy="39331"/>
              </a:xfrm>
              <a:custGeom>
                <a:avLst/>
                <a:gdLst>
                  <a:gd name="connsiteX0" fmla="*/ 93857 w 187714"/>
                  <a:gd name="connsiteY0" fmla="*/ 0 h 93056"/>
                  <a:gd name="connsiteX1" fmla="*/ 180525 w 187714"/>
                  <a:gd name="connsiteY1" fmla="*/ 57448 h 93056"/>
                  <a:gd name="connsiteX2" fmla="*/ 187714 w 187714"/>
                  <a:gd name="connsiteY2" fmla="*/ 93056 h 93056"/>
                  <a:gd name="connsiteX3" fmla="*/ 0 w 187714"/>
                  <a:gd name="connsiteY3" fmla="*/ 93056 h 93056"/>
                  <a:gd name="connsiteX4" fmla="*/ 7189 w 187714"/>
                  <a:gd name="connsiteY4" fmla="*/ 57448 h 93056"/>
                  <a:gd name="connsiteX5" fmla="*/ 93857 w 187714"/>
                  <a:gd name="connsiteY5" fmla="*/ 0 h 93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7714" h="93056">
                    <a:moveTo>
                      <a:pt x="93857" y="0"/>
                    </a:moveTo>
                    <a:cubicBezTo>
                      <a:pt x="132818" y="0"/>
                      <a:pt x="166246" y="23688"/>
                      <a:pt x="180525" y="57448"/>
                    </a:cubicBezTo>
                    <a:lnTo>
                      <a:pt x="187714" y="93056"/>
                    </a:lnTo>
                    <a:lnTo>
                      <a:pt x="0" y="93056"/>
                    </a:lnTo>
                    <a:lnTo>
                      <a:pt x="7189" y="57448"/>
                    </a:lnTo>
                    <a:cubicBezTo>
                      <a:pt x="21468" y="23688"/>
                      <a:pt x="54896" y="0"/>
                      <a:pt x="93857" y="0"/>
                    </a:cubicBezTo>
                    <a:close/>
                  </a:path>
                </a:pathLst>
              </a:custGeom>
              <a:solidFill>
                <a:srgbClr val="663300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08" name="Freeform 107"/>
              <p:cNvSpPr/>
              <p:nvPr/>
            </p:nvSpPr>
            <p:spPr bwMode="auto">
              <a:xfrm rot="5400000">
                <a:off x="8009082" y="2001774"/>
                <a:ext cx="224131" cy="176588"/>
              </a:xfrm>
              <a:custGeom>
                <a:avLst/>
                <a:gdLst>
                  <a:gd name="connsiteX0" fmla="*/ 0 w 392904"/>
                  <a:gd name="connsiteY0" fmla="*/ 184191 h 309562"/>
                  <a:gd name="connsiteX1" fmla="*/ 0 w 392904"/>
                  <a:gd name="connsiteY1" fmla="*/ 125371 h 309562"/>
                  <a:gd name="connsiteX2" fmla="*/ 95323 w 392904"/>
                  <a:gd name="connsiteY2" fmla="*/ 30048 h 309562"/>
                  <a:gd name="connsiteX3" fmla="*/ 107911 w 392904"/>
                  <a:gd name="connsiteY3" fmla="*/ 30048 h 309562"/>
                  <a:gd name="connsiteX4" fmla="*/ 116458 w 392904"/>
                  <a:gd name="connsiteY4" fmla="*/ 9416 h 309562"/>
                  <a:gd name="connsiteX5" fmla="*/ 139189 w 392904"/>
                  <a:gd name="connsiteY5" fmla="*/ 0 h 309562"/>
                  <a:gd name="connsiteX6" fmla="*/ 182279 w 392904"/>
                  <a:gd name="connsiteY6" fmla="*/ 0 h 309562"/>
                  <a:gd name="connsiteX7" fmla="*/ 205010 w 392904"/>
                  <a:gd name="connsiteY7" fmla="*/ 9416 h 309562"/>
                  <a:gd name="connsiteX8" fmla="*/ 213557 w 392904"/>
                  <a:gd name="connsiteY8" fmla="*/ 30048 h 309562"/>
                  <a:gd name="connsiteX9" fmla="*/ 252339 w 392904"/>
                  <a:gd name="connsiteY9" fmla="*/ 30048 h 309562"/>
                  <a:gd name="connsiteX10" fmla="*/ 319742 w 392904"/>
                  <a:gd name="connsiteY10" fmla="*/ 57968 h 309562"/>
                  <a:gd name="connsiteX11" fmla="*/ 336441 w 392904"/>
                  <a:gd name="connsiteY11" fmla="*/ 82735 h 309562"/>
                  <a:gd name="connsiteX12" fmla="*/ 357186 w 392904"/>
                  <a:gd name="connsiteY12" fmla="*/ 80848 h 309562"/>
                  <a:gd name="connsiteX13" fmla="*/ 392904 w 392904"/>
                  <a:gd name="connsiteY13" fmla="*/ 152286 h 309562"/>
                  <a:gd name="connsiteX14" fmla="*/ 357186 w 392904"/>
                  <a:gd name="connsiteY14" fmla="*/ 235629 h 309562"/>
                  <a:gd name="connsiteX15" fmla="*/ 330992 w 392904"/>
                  <a:gd name="connsiteY15" fmla="*/ 235629 h 309562"/>
                  <a:gd name="connsiteX16" fmla="*/ 330992 w 392904"/>
                  <a:gd name="connsiteY16" fmla="*/ 234909 h 309562"/>
                  <a:gd name="connsiteX17" fmla="*/ 319742 w 392904"/>
                  <a:gd name="connsiteY17" fmla="*/ 251594 h 309562"/>
                  <a:gd name="connsiteX18" fmla="*/ 252339 w 392904"/>
                  <a:gd name="connsiteY18" fmla="*/ 279514 h 309562"/>
                  <a:gd name="connsiteX19" fmla="*/ 213557 w 392904"/>
                  <a:gd name="connsiteY19" fmla="*/ 279514 h 309562"/>
                  <a:gd name="connsiteX20" fmla="*/ 205010 w 392904"/>
                  <a:gd name="connsiteY20" fmla="*/ 300146 h 309562"/>
                  <a:gd name="connsiteX21" fmla="*/ 182279 w 392904"/>
                  <a:gd name="connsiteY21" fmla="*/ 309562 h 309562"/>
                  <a:gd name="connsiteX22" fmla="*/ 139189 w 392904"/>
                  <a:gd name="connsiteY22" fmla="*/ 309562 h 309562"/>
                  <a:gd name="connsiteX23" fmla="*/ 116458 w 392904"/>
                  <a:gd name="connsiteY23" fmla="*/ 300146 h 309562"/>
                  <a:gd name="connsiteX24" fmla="*/ 107911 w 392904"/>
                  <a:gd name="connsiteY24" fmla="*/ 279514 h 309562"/>
                  <a:gd name="connsiteX25" fmla="*/ 95323 w 392904"/>
                  <a:gd name="connsiteY25" fmla="*/ 279514 h 309562"/>
                  <a:gd name="connsiteX26" fmla="*/ 0 w 392904"/>
                  <a:gd name="connsiteY26" fmla="*/ 184191 h 309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392904" h="309562">
                    <a:moveTo>
                      <a:pt x="0" y="184191"/>
                    </a:moveTo>
                    <a:lnTo>
                      <a:pt x="0" y="125371"/>
                    </a:lnTo>
                    <a:cubicBezTo>
                      <a:pt x="0" y="72726"/>
                      <a:pt x="42678" y="30048"/>
                      <a:pt x="95323" y="30048"/>
                    </a:cubicBezTo>
                    <a:lnTo>
                      <a:pt x="107911" y="30048"/>
                    </a:lnTo>
                    <a:lnTo>
                      <a:pt x="116458" y="9416"/>
                    </a:lnTo>
                    <a:cubicBezTo>
                      <a:pt x="122275" y="3598"/>
                      <a:pt x="130312" y="0"/>
                      <a:pt x="139189" y="0"/>
                    </a:cubicBezTo>
                    <a:lnTo>
                      <a:pt x="182279" y="0"/>
                    </a:lnTo>
                    <a:cubicBezTo>
                      <a:pt x="191156" y="0"/>
                      <a:pt x="199193" y="3598"/>
                      <a:pt x="205010" y="9416"/>
                    </a:cubicBezTo>
                    <a:lnTo>
                      <a:pt x="213557" y="30048"/>
                    </a:lnTo>
                    <a:lnTo>
                      <a:pt x="252339" y="30048"/>
                    </a:lnTo>
                    <a:cubicBezTo>
                      <a:pt x="278662" y="30048"/>
                      <a:pt x="302492" y="40718"/>
                      <a:pt x="319742" y="57968"/>
                    </a:cubicBezTo>
                    <a:lnTo>
                      <a:pt x="336441" y="82735"/>
                    </a:lnTo>
                    <a:lnTo>
                      <a:pt x="357186" y="80848"/>
                    </a:lnTo>
                    <a:lnTo>
                      <a:pt x="392904" y="152286"/>
                    </a:lnTo>
                    <a:lnTo>
                      <a:pt x="357186" y="235629"/>
                    </a:lnTo>
                    <a:lnTo>
                      <a:pt x="330992" y="235629"/>
                    </a:lnTo>
                    <a:lnTo>
                      <a:pt x="330992" y="234909"/>
                    </a:lnTo>
                    <a:lnTo>
                      <a:pt x="319742" y="251594"/>
                    </a:lnTo>
                    <a:cubicBezTo>
                      <a:pt x="302492" y="268845"/>
                      <a:pt x="278662" y="279514"/>
                      <a:pt x="252339" y="279514"/>
                    </a:cubicBezTo>
                    <a:lnTo>
                      <a:pt x="213557" y="279514"/>
                    </a:lnTo>
                    <a:lnTo>
                      <a:pt x="205010" y="300146"/>
                    </a:lnTo>
                    <a:cubicBezTo>
                      <a:pt x="199193" y="305964"/>
                      <a:pt x="191156" y="309562"/>
                      <a:pt x="182279" y="309562"/>
                    </a:cubicBezTo>
                    <a:lnTo>
                      <a:pt x="139189" y="309562"/>
                    </a:lnTo>
                    <a:cubicBezTo>
                      <a:pt x="130312" y="309562"/>
                      <a:pt x="122275" y="305964"/>
                      <a:pt x="116458" y="300146"/>
                    </a:cubicBezTo>
                    <a:lnTo>
                      <a:pt x="107911" y="279514"/>
                    </a:lnTo>
                    <a:lnTo>
                      <a:pt x="95323" y="279514"/>
                    </a:lnTo>
                    <a:cubicBezTo>
                      <a:pt x="42678" y="279514"/>
                      <a:pt x="0" y="236836"/>
                      <a:pt x="0" y="184191"/>
                    </a:cubicBezTo>
                    <a:close/>
                  </a:path>
                </a:pathLst>
              </a:custGeom>
              <a:solidFill>
                <a:srgbClr val="FFC000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09" name="Freeform 108"/>
              <p:cNvSpPr/>
              <p:nvPr/>
            </p:nvSpPr>
            <p:spPr bwMode="auto">
              <a:xfrm>
                <a:off x="8012292" y="1911048"/>
                <a:ext cx="208086" cy="161587"/>
              </a:xfrm>
              <a:custGeom>
                <a:avLst/>
                <a:gdLst>
                  <a:gd name="connsiteX0" fmla="*/ 300038 w 300038"/>
                  <a:gd name="connsiteY0" fmla="*/ 190500 h 190500"/>
                  <a:gd name="connsiteX1" fmla="*/ 271463 w 300038"/>
                  <a:gd name="connsiteY1" fmla="*/ 116681 h 190500"/>
                  <a:gd name="connsiteX2" fmla="*/ 195263 w 300038"/>
                  <a:gd name="connsiteY2" fmla="*/ 107156 h 190500"/>
                  <a:gd name="connsiteX3" fmla="*/ 52388 w 300038"/>
                  <a:gd name="connsiteY3" fmla="*/ 100012 h 190500"/>
                  <a:gd name="connsiteX4" fmla="*/ 21431 w 300038"/>
                  <a:gd name="connsiteY4" fmla="*/ 119062 h 190500"/>
                  <a:gd name="connsiteX5" fmla="*/ 23813 w 300038"/>
                  <a:gd name="connsiteY5" fmla="*/ 164306 h 190500"/>
                  <a:gd name="connsiteX6" fmla="*/ 0 w 300038"/>
                  <a:gd name="connsiteY6" fmla="*/ 171450 h 190500"/>
                  <a:gd name="connsiteX7" fmla="*/ 97631 w 300038"/>
                  <a:gd name="connsiteY7" fmla="*/ 0 h 190500"/>
                  <a:gd name="connsiteX8" fmla="*/ 214313 w 300038"/>
                  <a:gd name="connsiteY8" fmla="*/ 40481 h 190500"/>
                  <a:gd name="connsiteX9" fmla="*/ 300038 w 300038"/>
                  <a:gd name="connsiteY9" fmla="*/ 190500 h 190500"/>
                  <a:gd name="connsiteX0" fmla="*/ 300038 w 300038"/>
                  <a:gd name="connsiteY0" fmla="*/ 190500 h 190500"/>
                  <a:gd name="connsiteX1" fmla="*/ 271463 w 300038"/>
                  <a:gd name="connsiteY1" fmla="*/ 116681 h 190500"/>
                  <a:gd name="connsiteX2" fmla="*/ 195263 w 300038"/>
                  <a:gd name="connsiteY2" fmla="*/ 107156 h 190500"/>
                  <a:gd name="connsiteX3" fmla="*/ 52388 w 300038"/>
                  <a:gd name="connsiteY3" fmla="*/ 100012 h 190500"/>
                  <a:gd name="connsiteX4" fmla="*/ 21431 w 300038"/>
                  <a:gd name="connsiteY4" fmla="*/ 119062 h 190500"/>
                  <a:gd name="connsiteX5" fmla="*/ 23813 w 300038"/>
                  <a:gd name="connsiteY5" fmla="*/ 164306 h 190500"/>
                  <a:gd name="connsiteX6" fmla="*/ 0 w 300038"/>
                  <a:gd name="connsiteY6" fmla="*/ 171450 h 190500"/>
                  <a:gd name="connsiteX7" fmla="*/ 97631 w 300038"/>
                  <a:gd name="connsiteY7" fmla="*/ 0 h 190500"/>
                  <a:gd name="connsiteX8" fmla="*/ 214313 w 300038"/>
                  <a:gd name="connsiteY8" fmla="*/ 40481 h 190500"/>
                  <a:gd name="connsiteX9" fmla="*/ 300038 w 300038"/>
                  <a:gd name="connsiteY9" fmla="*/ 190500 h 190500"/>
                  <a:gd name="connsiteX0" fmla="*/ 300038 w 300038"/>
                  <a:gd name="connsiteY0" fmla="*/ 190500 h 190500"/>
                  <a:gd name="connsiteX1" fmla="*/ 271463 w 300038"/>
                  <a:gd name="connsiteY1" fmla="*/ 116681 h 190500"/>
                  <a:gd name="connsiteX2" fmla="*/ 195263 w 300038"/>
                  <a:gd name="connsiteY2" fmla="*/ 107156 h 190500"/>
                  <a:gd name="connsiteX3" fmla="*/ 52388 w 300038"/>
                  <a:gd name="connsiteY3" fmla="*/ 100012 h 190500"/>
                  <a:gd name="connsiteX4" fmla="*/ 21431 w 300038"/>
                  <a:gd name="connsiteY4" fmla="*/ 119062 h 190500"/>
                  <a:gd name="connsiteX5" fmla="*/ 23813 w 300038"/>
                  <a:gd name="connsiteY5" fmla="*/ 164306 h 190500"/>
                  <a:gd name="connsiteX6" fmla="*/ 0 w 300038"/>
                  <a:gd name="connsiteY6" fmla="*/ 171450 h 190500"/>
                  <a:gd name="connsiteX7" fmla="*/ 97631 w 300038"/>
                  <a:gd name="connsiteY7" fmla="*/ 0 h 190500"/>
                  <a:gd name="connsiteX8" fmla="*/ 214313 w 300038"/>
                  <a:gd name="connsiteY8" fmla="*/ 40481 h 190500"/>
                  <a:gd name="connsiteX9" fmla="*/ 300038 w 300038"/>
                  <a:gd name="connsiteY9" fmla="*/ 190500 h 190500"/>
                  <a:gd name="connsiteX0" fmla="*/ 300038 w 301649"/>
                  <a:gd name="connsiteY0" fmla="*/ 190500 h 190500"/>
                  <a:gd name="connsiteX1" fmla="*/ 271463 w 301649"/>
                  <a:gd name="connsiteY1" fmla="*/ 116681 h 190500"/>
                  <a:gd name="connsiteX2" fmla="*/ 195263 w 301649"/>
                  <a:gd name="connsiteY2" fmla="*/ 107156 h 190500"/>
                  <a:gd name="connsiteX3" fmla="*/ 52388 w 301649"/>
                  <a:gd name="connsiteY3" fmla="*/ 100012 h 190500"/>
                  <a:gd name="connsiteX4" fmla="*/ 21431 w 301649"/>
                  <a:gd name="connsiteY4" fmla="*/ 119062 h 190500"/>
                  <a:gd name="connsiteX5" fmla="*/ 23813 w 301649"/>
                  <a:gd name="connsiteY5" fmla="*/ 164306 h 190500"/>
                  <a:gd name="connsiteX6" fmla="*/ 0 w 301649"/>
                  <a:gd name="connsiteY6" fmla="*/ 171450 h 190500"/>
                  <a:gd name="connsiteX7" fmla="*/ 97631 w 301649"/>
                  <a:gd name="connsiteY7" fmla="*/ 0 h 190500"/>
                  <a:gd name="connsiteX8" fmla="*/ 214313 w 301649"/>
                  <a:gd name="connsiteY8" fmla="*/ 40481 h 190500"/>
                  <a:gd name="connsiteX9" fmla="*/ 300038 w 301649"/>
                  <a:gd name="connsiteY9" fmla="*/ 190500 h 190500"/>
                  <a:gd name="connsiteX0" fmla="*/ 300038 w 301649"/>
                  <a:gd name="connsiteY0" fmla="*/ 194507 h 194507"/>
                  <a:gd name="connsiteX1" fmla="*/ 271463 w 301649"/>
                  <a:gd name="connsiteY1" fmla="*/ 120688 h 194507"/>
                  <a:gd name="connsiteX2" fmla="*/ 195263 w 301649"/>
                  <a:gd name="connsiteY2" fmla="*/ 111163 h 194507"/>
                  <a:gd name="connsiteX3" fmla="*/ 52388 w 301649"/>
                  <a:gd name="connsiteY3" fmla="*/ 104019 h 194507"/>
                  <a:gd name="connsiteX4" fmla="*/ 21431 w 301649"/>
                  <a:gd name="connsiteY4" fmla="*/ 123069 h 194507"/>
                  <a:gd name="connsiteX5" fmla="*/ 23813 w 301649"/>
                  <a:gd name="connsiteY5" fmla="*/ 168313 h 194507"/>
                  <a:gd name="connsiteX6" fmla="*/ 0 w 301649"/>
                  <a:gd name="connsiteY6" fmla="*/ 175457 h 194507"/>
                  <a:gd name="connsiteX7" fmla="*/ 97631 w 301649"/>
                  <a:gd name="connsiteY7" fmla="*/ 4007 h 194507"/>
                  <a:gd name="connsiteX8" fmla="*/ 214313 w 301649"/>
                  <a:gd name="connsiteY8" fmla="*/ 44488 h 194507"/>
                  <a:gd name="connsiteX9" fmla="*/ 300038 w 301649"/>
                  <a:gd name="connsiteY9" fmla="*/ 194507 h 194507"/>
                  <a:gd name="connsiteX0" fmla="*/ 300038 w 301649"/>
                  <a:gd name="connsiteY0" fmla="*/ 195665 h 195665"/>
                  <a:gd name="connsiteX1" fmla="*/ 271463 w 301649"/>
                  <a:gd name="connsiteY1" fmla="*/ 121846 h 195665"/>
                  <a:gd name="connsiteX2" fmla="*/ 195263 w 301649"/>
                  <a:gd name="connsiteY2" fmla="*/ 112321 h 195665"/>
                  <a:gd name="connsiteX3" fmla="*/ 52388 w 301649"/>
                  <a:gd name="connsiteY3" fmla="*/ 105177 h 195665"/>
                  <a:gd name="connsiteX4" fmla="*/ 21431 w 301649"/>
                  <a:gd name="connsiteY4" fmla="*/ 124227 h 195665"/>
                  <a:gd name="connsiteX5" fmla="*/ 23813 w 301649"/>
                  <a:gd name="connsiteY5" fmla="*/ 169471 h 195665"/>
                  <a:gd name="connsiteX6" fmla="*/ 0 w 301649"/>
                  <a:gd name="connsiteY6" fmla="*/ 176615 h 195665"/>
                  <a:gd name="connsiteX7" fmla="*/ 97631 w 301649"/>
                  <a:gd name="connsiteY7" fmla="*/ 5165 h 195665"/>
                  <a:gd name="connsiteX8" fmla="*/ 214313 w 301649"/>
                  <a:gd name="connsiteY8" fmla="*/ 45646 h 195665"/>
                  <a:gd name="connsiteX9" fmla="*/ 300038 w 301649"/>
                  <a:gd name="connsiteY9" fmla="*/ 195665 h 195665"/>
                  <a:gd name="connsiteX0" fmla="*/ 300038 w 301649"/>
                  <a:gd name="connsiteY0" fmla="*/ 195665 h 195665"/>
                  <a:gd name="connsiteX1" fmla="*/ 271463 w 301649"/>
                  <a:gd name="connsiteY1" fmla="*/ 121846 h 195665"/>
                  <a:gd name="connsiteX2" fmla="*/ 195263 w 301649"/>
                  <a:gd name="connsiteY2" fmla="*/ 112321 h 195665"/>
                  <a:gd name="connsiteX3" fmla="*/ 52388 w 301649"/>
                  <a:gd name="connsiteY3" fmla="*/ 105177 h 195665"/>
                  <a:gd name="connsiteX4" fmla="*/ 45243 w 301649"/>
                  <a:gd name="connsiteY4" fmla="*/ 150420 h 195665"/>
                  <a:gd name="connsiteX5" fmla="*/ 23813 w 301649"/>
                  <a:gd name="connsiteY5" fmla="*/ 169471 h 195665"/>
                  <a:gd name="connsiteX6" fmla="*/ 0 w 301649"/>
                  <a:gd name="connsiteY6" fmla="*/ 176615 h 195665"/>
                  <a:gd name="connsiteX7" fmla="*/ 97631 w 301649"/>
                  <a:gd name="connsiteY7" fmla="*/ 5165 h 195665"/>
                  <a:gd name="connsiteX8" fmla="*/ 214313 w 301649"/>
                  <a:gd name="connsiteY8" fmla="*/ 45646 h 195665"/>
                  <a:gd name="connsiteX9" fmla="*/ 300038 w 301649"/>
                  <a:gd name="connsiteY9" fmla="*/ 195665 h 195665"/>
                  <a:gd name="connsiteX0" fmla="*/ 300483 w 302094"/>
                  <a:gd name="connsiteY0" fmla="*/ 195665 h 195665"/>
                  <a:gd name="connsiteX1" fmla="*/ 271908 w 302094"/>
                  <a:gd name="connsiteY1" fmla="*/ 121846 h 195665"/>
                  <a:gd name="connsiteX2" fmla="*/ 195708 w 302094"/>
                  <a:gd name="connsiteY2" fmla="*/ 112321 h 195665"/>
                  <a:gd name="connsiteX3" fmla="*/ 52833 w 302094"/>
                  <a:gd name="connsiteY3" fmla="*/ 105177 h 195665"/>
                  <a:gd name="connsiteX4" fmla="*/ 45688 w 302094"/>
                  <a:gd name="connsiteY4" fmla="*/ 150420 h 195665"/>
                  <a:gd name="connsiteX5" fmla="*/ 24258 w 302094"/>
                  <a:gd name="connsiteY5" fmla="*/ 169471 h 195665"/>
                  <a:gd name="connsiteX6" fmla="*/ 445 w 302094"/>
                  <a:gd name="connsiteY6" fmla="*/ 176615 h 195665"/>
                  <a:gd name="connsiteX7" fmla="*/ 98076 w 302094"/>
                  <a:gd name="connsiteY7" fmla="*/ 5165 h 195665"/>
                  <a:gd name="connsiteX8" fmla="*/ 214758 w 302094"/>
                  <a:gd name="connsiteY8" fmla="*/ 45646 h 195665"/>
                  <a:gd name="connsiteX9" fmla="*/ 300483 w 302094"/>
                  <a:gd name="connsiteY9" fmla="*/ 195665 h 195665"/>
                  <a:gd name="connsiteX0" fmla="*/ 300483 w 302094"/>
                  <a:gd name="connsiteY0" fmla="*/ 195665 h 195665"/>
                  <a:gd name="connsiteX1" fmla="*/ 271908 w 302094"/>
                  <a:gd name="connsiteY1" fmla="*/ 121846 h 195665"/>
                  <a:gd name="connsiteX2" fmla="*/ 195708 w 302094"/>
                  <a:gd name="connsiteY2" fmla="*/ 112321 h 195665"/>
                  <a:gd name="connsiteX3" fmla="*/ 52833 w 302094"/>
                  <a:gd name="connsiteY3" fmla="*/ 105177 h 195665"/>
                  <a:gd name="connsiteX4" fmla="*/ 45688 w 302094"/>
                  <a:gd name="connsiteY4" fmla="*/ 150420 h 195665"/>
                  <a:gd name="connsiteX5" fmla="*/ 21877 w 302094"/>
                  <a:gd name="connsiteY5" fmla="*/ 131371 h 195665"/>
                  <a:gd name="connsiteX6" fmla="*/ 445 w 302094"/>
                  <a:gd name="connsiteY6" fmla="*/ 176615 h 195665"/>
                  <a:gd name="connsiteX7" fmla="*/ 98076 w 302094"/>
                  <a:gd name="connsiteY7" fmla="*/ 5165 h 195665"/>
                  <a:gd name="connsiteX8" fmla="*/ 214758 w 302094"/>
                  <a:gd name="connsiteY8" fmla="*/ 45646 h 195665"/>
                  <a:gd name="connsiteX9" fmla="*/ 300483 w 302094"/>
                  <a:gd name="connsiteY9" fmla="*/ 195665 h 195665"/>
                  <a:gd name="connsiteX0" fmla="*/ 300483 w 302094"/>
                  <a:gd name="connsiteY0" fmla="*/ 195665 h 195665"/>
                  <a:gd name="connsiteX1" fmla="*/ 271908 w 302094"/>
                  <a:gd name="connsiteY1" fmla="*/ 121846 h 195665"/>
                  <a:gd name="connsiteX2" fmla="*/ 195708 w 302094"/>
                  <a:gd name="connsiteY2" fmla="*/ 112321 h 195665"/>
                  <a:gd name="connsiteX3" fmla="*/ 52833 w 302094"/>
                  <a:gd name="connsiteY3" fmla="*/ 105177 h 195665"/>
                  <a:gd name="connsiteX4" fmla="*/ 43307 w 302094"/>
                  <a:gd name="connsiteY4" fmla="*/ 126608 h 195665"/>
                  <a:gd name="connsiteX5" fmla="*/ 21877 w 302094"/>
                  <a:gd name="connsiteY5" fmla="*/ 131371 h 195665"/>
                  <a:gd name="connsiteX6" fmla="*/ 445 w 302094"/>
                  <a:gd name="connsiteY6" fmla="*/ 176615 h 195665"/>
                  <a:gd name="connsiteX7" fmla="*/ 98076 w 302094"/>
                  <a:gd name="connsiteY7" fmla="*/ 5165 h 195665"/>
                  <a:gd name="connsiteX8" fmla="*/ 214758 w 302094"/>
                  <a:gd name="connsiteY8" fmla="*/ 45646 h 195665"/>
                  <a:gd name="connsiteX9" fmla="*/ 300483 w 302094"/>
                  <a:gd name="connsiteY9" fmla="*/ 195665 h 195665"/>
                  <a:gd name="connsiteX0" fmla="*/ 300483 w 302094"/>
                  <a:gd name="connsiteY0" fmla="*/ 195665 h 195665"/>
                  <a:gd name="connsiteX1" fmla="*/ 271908 w 302094"/>
                  <a:gd name="connsiteY1" fmla="*/ 121846 h 195665"/>
                  <a:gd name="connsiteX2" fmla="*/ 195708 w 302094"/>
                  <a:gd name="connsiteY2" fmla="*/ 112321 h 195665"/>
                  <a:gd name="connsiteX3" fmla="*/ 52833 w 302094"/>
                  <a:gd name="connsiteY3" fmla="*/ 105177 h 195665"/>
                  <a:gd name="connsiteX4" fmla="*/ 43307 w 302094"/>
                  <a:gd name="connsiteY4" fmla="*/ 126608 h 195665"/>
                  <a:gd name="connsiteX5" fmla="*/ 12352 w 302094"/>
                  <a:gd name="connsiteY5" fmla="*/ 171852 h 195665"/>
                  <a:gd name="connsiteX6" fmla="*/ 445 w 302094"/>
                  <a:gd name="connsiteY6" fmla="*/ 176615 h 195665"/>
                  <a:gd name="connsiteX7" fmla="*/ 98076 w 302094"/>
                  <a:gd name="connsiteY7" fmla="*/ 5165 h 195665"/>
                  <a:gd name="connsiteX8" fmla="*/ 214758 w 302094"/>
                  <a:gd name="connsiteY8" fmla="*/ 45646 h 195665"/>
                  <a:gd name="connsiteX9" fmla="*/ 300483 w 302094"/>
                  <a:gd name="connsiteY9" fmla="*/ 195665 h 195665"/>
                  <a:gd name="connsiteX0" fmla="*/ 300483 w 302094"/>
                  <a:gd name="connsiteY0" fmla="*/ 195665 h 195665"/>
                  <a:gd name="connsiteX1" fmla="*/ 271908 w 302094"/>
                  <a:gd name="connsiteY1" fmla="*/ 121846 h 195665"/>
                  <a:gd name="connsiteX2" fmla="*/ 195708 w 302094"/>
                  <a:gd name="connsiteY2" fmla="*/ 112321 h 195665"/>
                  <a:gd name="connsiteX3" fmla="*/ 52833 w 302094"/>
                  <a:gd name="connsiteY3" fmla="*/ 105177 h 195665"/>
                  <a:gd name="connsiteX4" fmla="*/ 43307 w 302094"/>
                  <a:gd name="connsiteY4" fmla="*/ 126608 h 195665"/>
                  <a:gd name="connsiteX5" fmla="*/ 12352 w 302094"/>
                  <a:gd name="connsiteY5" fmla="*/ 171852 h 195665"/>
                  <a:gd name="connsiteX6" fmla="*/ 445 w 302094"/>
                  <a:gd name="connsiteY6" fmla="*/ 176615 h 195665"/>
                  <a:gd name="connsiteX7" fmla="*/ 98076 w 302094"/>
                  <a:gd name="connsiteY7" fmla="*/ 5165 h 195665"/>
                  <a:gd name="connsiteX8" fmla="*/ 214758 w 302094"/>
                  <a:gd name="connsiteY8" fmla="*/ 45646 h 195665"/>
                  <a:gd name="connsiteX9" fmla="*/ 300483 w 302094"/>
                  <a:gd name="connsiteY9" fmla="*/ 195665 h 195665"/>
                  <a:gd name="connsiteX0" fmla="*/ 300483 w 302094"/>
                  <a:gd name="connsiteY0" fmla="*/ 195665 h 195665"/>
                  <a:gd name="connsiteX1" fmla="*/ 271908 w 302094"/>
                  <a:gd name="connsiteY1" fmla="*/ 121846 h 195665"/>
                  <a:gd name="connsiteX2" fmla="*/ 195708 w 302094"/>
                  <a:gd name="connsiteY2" fmla="*/ 112321 h 195665"/>
                  <a:gd name="connsiteX3" fmla="*/ 52833 w 302094"/>
                  <a:gd name="connsiteY3" fmla="*/ 105177 h 195665"/>
                  <a:gd name="connsiteX4" fmla="*/ 43307 w 302094"/>
                  <a:gd name="connsiteY4" fmla="*/ 126608 h 195665"/>
                  <a:gd name="connsiteX5" fmla="*/ 12352 w 302094"/>
                  <a:gd name="connsiteY5" fmla="*/ 171852 h 195665"/>
                  <a:gd name="connsiteX6" fmla="*/ 445 w 302094"/>
                  <a:gd name="connsiteY6" fmla="*/ 176615 h 195665"/>
                  <a:gd name="connsiteX7" fmla="*/ 98076 w 302094"/>
                  <a:gd name="connsiteY7" fmla="*/ 5165 h 195665"/>
                  <a:gd name="connsiteX8" fmla="*/ 214758 w 302094"/>
                  <a:gd name="connsiteY8" fmla="*/ 45646 h 195665"/>
                  <a:gd name="connsiteX9" fmla="*/ 300483 w 302094"/>
                  <a:gd name="connsiteY9" fmla="*/ 195665 h 195665"/>
                  <a:gd name="connsiteX0" fmla="*/ 300483 w 302094"/>
                  <a:gd name="connsiteY0" fmla="*/ 195665 h 195665"/>
                  <a:gd name="connsiteX1" fmla="*/ 271908 w 302094"/>
                  <a:gd name="connsiteY1" fmla="*/ 121846 h 195665"/>
                  <a:gd name="connsiteX2" fmla="*/ 195708 w 302094"/>
                  <a:gd name="connsiteY2" fmla="*/ 112321 h 195665"/>
                  <a:gd name="connsiteX3" fmla="*/ 52833 w 302094"/>
                  <a:gd name="connsiteY3" fmla="*/ 105177 h 195665"/>
                  <a:gd name="connsiteX4" fmla="*/ 43307 w 302094"/>
                  <a:gd name="connsiteY4" fmla="*/ 126608 h 195665"/>
                  <a:gd name="connsiteX5" fmla="*/ 12352 w 302094"/>
                  <a:gd name="connsiteY5" fmla="*/ 171852 h 195665"/>
                  <a:gd name="connsiteX6" fmla="*/ 445 w 302094"/>
                  <a:gd name="connsiteY6" fmla="*/ 176615 h 195665"/>
                  <a:gd name="connsiteX7" fmla="*/ 98076 w 302094"/>
                  <a:gd name="connsiteY7" fmla="*/ 5165 h 195665"/>
                  <a:gd name="connsiteX8" fmla="*/ 214758 w 302094"/>
                  <a:gd name="connsiteY8" fmla="*/ 45646 h 195665"/>
                  <a:gd name="connsiteX9" fmla="*/ 300483 w 302094"/>
                  <a:gd name="connsiteY9" fmla="*/ 195665 h 195665"/>
                  <a:gd name="connsiteX0" fmla="*/ 300483 w 302094"/>
                  <a:gd name="connsiteY0" fmla="*/ 195665 h 195665"/>
                  <a:gd name="connsiteX1" fmla="*/ 271908 w 302094"/>
                  <a:gd name="connsiteY1" fmla="*/ 121846 h 195665"/>
                  <a:gd name="connsiteX2" fmla="*/ 195708 w 302094"/>
                  <a:gd name="connsiteY2" fmla="*/ 112321 h 195665"/>
                  <a:gd name="connsiteX3" fmla="*/ 52833 w 302094"/>
                  <a:gd name="connsiteY3" fmla="*/ 105177 h 195665"/>
                  <a:gd name="connsiteX4" fmla="*/ 43307 w 302094"/>
                  <a:gd name="connsiteY4" fmla="*/ 126608 h 195665"/>
                  <a:gd name="connsiteX5" fmla="*/ 12352 w 302094"/>
                  <a:gd name="connsiteY5" fmla="*/ 171852 h 195665"/>
                  <a:gd name="connsiteX6" fmla="*/ 445 w 302094"/>
                  <a:gd name="connsiteY6" fmla="*/ 176615 h 195665"/>
                  <a:gd name="connsiteX7" fmla="*/ 98076 w 302094"/>
                  <a:gd name="connsiteY7" fmla="*/ 5165 h 195665"/>
                  <a:gd name="connsiteX8" fmla="*/ 214758 w 302094"/>
                  <a:gd name="connsiteY8" fmla="*/ 45646 h 195665"/>
                  <a:gd name="connsiteX9" fmla="*/ 300483 w 302094"/>
                  <a:gd name="connsiteY9" fmla="*/ 195665 h 195665"/>
                  <a:gd name="connsiteX0" fmla="*/ 300483 w 301906"/>
                  <a:gd name="connsiteY0" fmla="*/ 195665 h 195665"/>
                  <a:gd name="connsiteX1" fmla="*/ 271908 w 301906"/>
                  <a:gd name="connsiteY1" fmla="*/ 121846 h 195665"/>
                  <a:gd name="connsiteX2" fmla="*/ 195708 w 301906"/>
                  <a:gd name="connsiteY2" fmla="*/ 112321 h 195665"/>
                  <a:gd name="connsiteX3" fmla="*/ 52833 w 301906"/>
                  <a:gd name="connsiteY3" fmla="*/ 105177 h 195665"/>
                  <a:gd name="connsiteX4" fmla="*/ 43307 w 301906"/>
                  <a:gd name="connsiteY4" fmla="*/ 126608 h 195665"/>
                  <a:gd name="connsiteX5" fmla="*/ 12352 w 301906"/>
                  <a:gd name="connsiteY5" fmla="*/ 171852 h 195665"/>
                  <a:gd name="connsiteX6" fmla="*/ 445 w 301906"/>
                  <a:gd name="connsiteY6" fmla="*/ 176615 h 195665"/>
                  <a:gd name="connsiteX7" fmla="*/ 98076 w 301906"/>
                  <a:gd name="connsiteY7" fmla="*/ 5165 h 195665"/>
                  <a:gd name="connsiteX8" fmla="*/ 214758 w 301906"/>
                  <a:gd name="connsiteY8" fmla="*/ 45646 h 195665"/>
                  <a:gd name="connsiteX9" fmla="*/ 300483 w 301906"/>
                  <a:gd name="connsiteY9" fmla="*/ 195665 h 195665"/>
                  <a:gd name="connsiteX0" fmla="*/ 300483 w 301906"/>
                  <a:gd name="connsiteY0" fmla="*/ 195665 h 195665"/>
                  <a:gd name="connsiteX1" fmla="*/ 271908 w 301906"/>
                  <a:gd name="connsiteY1" fmla="*/ 121846 h 195665"/>
                  <a:gd name="connsiteX2" fmla="*/ 195708 w 301906"/>
                  <a:gd name="connsiteY2" fmla="*/ 112321 h 195665"/>
                  <a:gd name="connsiteX3" fmla="*/ 52833 w 301906"/>
                  <a:gd name="connsiteY3" fmla="*/ 105177 h 195665"/>
                  <a:gd name="connsiteX4" fmla="*/ 43307 w 301906"/>
                  <a:gd name="connsiteY4" fmla="*/ 126608 h 195665"/>
                  <a:gd name="connsiteX5" fmla="*/ 12352 w 301906"/>
                  <a:gd name="connsiteY5" fmla="*/ 171852 h 195665"/>
                  <a:gd name="connsiteX6" fmla="*/ 445 w 301906"/>
                  <a:gd name="connsiteY6" fmla="*/ 176615 h 195665"/>
                  <a:gd name="connsiteX7" fmla="*/ 98076 w 301906"/>
                  <a:gd name="connsiteY7" fmla="*/ 5165 h 195665"/>
                  <a:gd name="connsiteX8" fmla="*/ 214758 w 301906"/>
                  <a:gd name="connsiteY8" fmla="*/ 45646 h 195665"/>
                  <a:gd name="connsiteX9" fmla="*/ 300483 w 301906"/>
                  <a:gd name="connsiteY9" fmla="*/ 195665 h 195665"/>
                  <a:gd name="connsiteX0" fmla="*/ 300157 w 305426"/>
                  <a:gd name="connsiteY0" fmla="*/ 207197 h 207197"/>
                  <a:gd name="connsiteX1" fmla="*/ 271582 w 305426"/>
                  <a:gd name="connsiteY1" fmla="*/ 133378 h 207197"/>
                  <a:gd name="connsiteX2" fmla="*/ 195382 w 305426"/>
                  <a:gd name="connsiteY2" fmla="*/ 123853 h 207197"/>
                  <a:gd name="connsiteX3" fmla="*/ 52507 w 305426"/>
                  <a:gd name="connsiteY3" fmla="*/ 116709 h 207197"/>
                  <a:gd name="connsiteX4" fmla="*/ 42981 w 305426"/>
                  <a:gd name="connsiteY4" fmla="*/ 138140 h 207197"/>
                  <a:gd name="connsiteX5" fmla="*/ 12026 w 305426"/>
                  <a:gd name="connsiteY5" fmla="*/ 183384 h 207197"/>
                  <a:gd name="connsiteX6" fmla="*/ 119 w 305426"/>
                  <a:gd name="connsiteY6" fmla="*/ 188147 h 207197"/>
                  <a:gd name="connsiteX7" fmla="*/ 97750 w 305426"/>
                  <a:gd name="connsiteY7" fmla="*/ 16697 h 207197"/>
                  <a:gd name="connsiteX8" fmla="*/ 236657 w 305426"/>
                  <a:gd name="connsiteY8" fmla="*/ 25428 h 207197"/>
                  <a:gd name="connsiteX9" fmla="*/ 300157 w 305426"/>
                  <a:gd name="connsiteY9" fmla="*/ 207197 h 207197"/>
                  <a:gd name="connsiteX0" fmla="*/ 301589 w 306858"/>
                  <a:gd name="connsiteY0" fmla="*/ 228594 h 228594"/>
                  <a:gd name="connsiteX1" fmla="*/ 273014 w 306858"/>
                  <a:gd name="connsiteY1" fmla="*/ 154775 h 228594"/>
                  <a:gd name="connsiteX2" fmla="*/ 196814 w 306858"/>
                  <a:gd name="connsiteY2" fmla="*/ 145250 h 228594"/>
                  <a:gd name="connsiteX3" fmla="*/ 53939 w 306858"/>
                  <a:gd name="connsiteY3" fmla="*/ 138106 h 228594"/>
                  <a:gd name="connsiteX4" fmla="*/ 44413 w 306858"/>
                  <a:gd name="connsiteY4" fmla="*/ 159537 h 228594"/>
                  <a:gd name="connsiteX5" fmla="*/ 13458 w 306858"/>
                  <a:gd name="connsiteY5" fmla="*/ 204781 h 228594"/>
                  <a:gd name="connsiteX6" fmla="*/ 1551 w 306858"/>
                  <a:gd name="connsiteY6" fmla="*/ 209544 h 228594"/>
                  <a:gd name="connsiteX7" fmla="*/ 35682 w 306858"/>
                  <a:gd name="connsiteY7" fmla="*/ 9519 h 228594"/>
                  <a:gd name="connsiteX8" fmla="*/ 238089 w 306858"/>
                  <a:gd name="connsiteY8" fmla="*/ 46825 h 228594"/>
                  <a:gd name="connsiteX9" fmla="*/ 301589 w 306858"/>
                  <a:gd name="connsiteY9" fmla="*/ 228594 h 228594"/>
                  <a:gd name="connsiteX0" fmla="*/ 309678 w 314947"/>
                  <a:gd name="connsiteY0" fmla="*/ 254831 h 254831"/>
                  <a:gd name="connsiteX1" fmla="*/ 281103 w 314947"/>
                  <a:gd name="connsiteY1" fmla="*/ 181012 h 254831"/>
                  <a:gd name="connsiteX2" fmla="*/ 204903 w 314947"/>
                  <a:gd name="connsiteY2" fmla="*/ 171487 h 254831"/>
                  <a:gd name="connsiteX3" fmla="*/ 62028 w 314947"/>
                  <a:gd name="connsiteY3" fmla="*/ 164343 h 254831"/>
                  <a:gd name="connsiteX4" fmla="*/ 52502 w 314947"/>
                  <a:gd name="connsiteY4" fmla="*/ 185774 h 254831"/>
                  <a:gd name="connsiteX5" fmla="*/ 21547 w 314947"/>
                  <a:gd name="connsiteY5" fmla="*/ 231018 h 254831"/>
                  <a:gd name="connsiteX6" fmla="*/ 9640 w 314947"/>
                  <a:gd name="connsiteY6" fmla="*/ 235781 h 254831"/>
                  <a:gd name="connsiteX7" fmla="*/ 43771 w 314947"/>
                  <a:gd name="connsiteY7" fmla="*/ 35756 h 254831"/>
                  <a:gd name="connsiteX8" fmla="*/ 246178 w 314947"/>
                  <a:gd name="connsiteY8" fmla="*/ 73062 h 254831"/>
                  <a:gd name="connsiteX9" fmla="*/ 309678 w 314947"/>
                  <a:gd name="connsiteY9" fmla="*/ 254831 h 254831"/>
                  <a:gd name="connsiteX0" fmla="*/ 322378 w 324871"/>
                  <a:gd name="connsiteY0" fmla="*/ 280231 h 280231"/>
                  <a:gd name="connsiteX1" fmla="*/ 281103 w 324871"/>
                  <a:gd name="connsiteY1" fmla="*/ 181012 h 280231"/>
                  <a:gd name="connsiteX2" fmla="*/ 204903 w 324871"/>
                  <a:gd name="connsiteY2" fmla="*/ 171487 h 280231"/>
                  <a:gd name="connsiteX3" fmla="*/ 62028 w 324871"/>
                  <a:gd name="connsiteY3" fmla="*/ 164343 h 280231"/>
                  <a:gd name="connsiteX4" fmla="*/ 52502 w 324871"/>
                  <a:gd name="connsiteY4" fmla="*/ 185774 h 280231"/>
                  <a:gd name="connsiteX5" fmla="*/ 21547 w 324871"/>
                  <a:gd name="connsiteY5" fmla="*/ 231018 h 280231"/>
                  <a:gd name="connsiteX6" fmla="*/ 9640 w 324871"/>
                  <a:gd name="connsiteY6" fmla="*/ 235781 h 280231"/>
                  <a:gd name="connsiteX7" fmla="*/ 43771 w 324871"/>
                  <a:gd name="connsiteY7" fmla="*/ 35756 h 280231"/>
                  <a:gd name="connsiteX8" fmla="*/ 246178 w 324871"/>
                  <a:gd name="connsiteY8" fmla="*/ 73062 h 280231"/>
                  <a:gd name="connsiteX9" fmla="*/ 322378 w 324871"/>
                  <a:gd name="connsiteY9" fmla="*/ 280231 h 280231"/>
                  <a:gd name="connsiteX0" fmla="*/ 322378 w 335881"/>
                  <a:gd name="connsiteY0" fmla="*/ 280231 h 280231"/>
                  <a:gd name="connsiteX1" fmla="*/ 281103 w 335881"/>
                  <a:gd name="connsiteY1" fmla="*/ 181012 h 280231"/>
                  <a:gd name="connsiteX2" fmla="*/ 204903 w 335881"/>
                  <a:gd name="connsiteY2" fmla="*/ 171487 h 280231"/>
                  <a:gd name="connsiteX3" fmla="*/ 62028 w 335881"/>
                  <a:gd name="connsiteY3" fmla="*/ 164343 h 280231"/>
                  <a:gd name="connsiteX4" fmla="*/ 52502 w 335881"/>
                  <a:gd name="connsiteY4" fmla="*/ 185774 h 280231"/>
                  <a:gd name="connsiteX5" fmla="*/ 21547 w 335881"/>
                  <a:gd name="connsiteY5" fmla="*/ 231018 h 280231"/>
                  <a:gd name="connsiteX6" fmla="*/ 9640 w 335881"/>
                  <a:gd name="connsiteY6" fmla="*/ 235781 h 280231"/>
                  <a:gd name="connsiteX7" fmla="*/ 43771 w 335881"/>
                  <a:gd name="connsiteY7" fmla="*/ 35756 h 280231"/>
                  <a:gd name="connsiteX8" fmla="*/ 246178 w 335881"/>
                  <a:gd name="connsiteY8" fmla="*/ 73062 h 280231"/>
                  <a:gd name="connsiteX9" fmla="*/ 322378 w 335881"/>
                  <a:gd name="connsiteY9" fmla="*/ 280231 h 280231"/>
                  <a:gd name="connsiteX0" fmla="*/ 320006 w 333509"/>
                  <a:gd name="connsiteY0" fmla="*/ 256912 h 256912"/>
                  <a:gd name="connsiteX1" fmla="*/ 278731 w 333509"/>
                  <a:gd name="connsiteY1" fmla="*/ 157693 h 256912"/>
                  <a:gd name="connsiteX2" fmla="*/ 202531 w 333509"/>
                  <a:gd name="connsiteY2" fmla="*/ 148168 h 256912"/>
                  <a:gd name="connsiteX3" fmla="*/ 59656 w 333509"/>
                  <a:gd name="connsiteY3" fmla="*/ 141024 h 256912"/>
                  <a:gd name="connsiteX4" fmla="*/ 50130 w 333509"/>
                  <a:gd name="connsiteY4" fmla="*/ 162455 h 256912"/>
                  <a:gd name="connsiteX5" fmla="*/ 19175 w 333509"/>
                  <a:gd name="connsiteY5" fmla="*/ 207699 h 256912"/>
                  <a:gd name="connsiteX6" fmla="*/ 918 w 333509"/>
                  <a:gd name="connsiteY6" fmla="*/ 253737 h 256912"/>
                  <a:gd name="connsiteX7" fmla="*/ 41399 w 333509"/>
                  <a:gd name="connsiteY7" fmla="*/ 12437 h 256912"/>
                  <a:gd name="connsiteX8" fmla="*/ 243806 w 333509"/>
                  <a:gd name="connsiteY8" fmla="*/ 49743 h 256912"/>
                  <a:gd name="connsiteX9" fmla="*/ 320006 w 333509"/>
                  <a:gd name="connsiteY9" fmla="*/ 256912 h 256912"/>
                  <a:gd name="connsiteX0" fmla="*/ 340397 w 353900"/>
                  <a:gd name="connsiteY0" fmla="*/ 256912 h 256912"/>
                  <a:gd name="connsiteX1" fmla="*/ 299122 w 353900"/>
                  <a:gd name="connsiteY1" fmla="*/ 157693 h 256912"/>
                  <a:gd name="connsiteX2" fmla="*/ 222922 w 353900"/>
                  <a:gd name="connsiteY2" fmla="*/ 148168 h 256912"/>
                  <a:gd name="connsiteX3" fmla="*/ 80047 w 353900"/>
                  <a:gd name="connsiteY3" fmla="*/ 141024 h 256912"/>
                  <a:gd name="connsiteX4" fmla="*/ 70521 w 353900"/>
                  <a:gd name="connsiteY4" fmla="*/ 162455 h 256912"/>
                  <a:gd name="connsiteX5" fmla="*/ 39566 w 353900"/>
                  <a:gd name="connsiteY5" fmla="*/ 207699 h 256912"/>
                  <a:gd name="connsiteX6" fmla="*/ 21309 w 353900"/>
                  <a:gd name="connsiteY6" fmla="*/ 253737 h 256912"/>
                  <a:gd name="connsiteX7" fmla="*/ 61790 w 353900"/>
                  <a:gd name="connsiteY7" fmla="*/ 12437 h 256912"/>
                  <a:gd name="connsiteX8" fmla="*/ 264197 w 353900"/>
                  <a:gd name="connsiteY8" fmla="*/ 49743 h 256912"/>
                  <a:gd name="connsiteX9" fmla="*/ 340397 w 353900"/>
                  <a:gd name="connsiteY9" fmla="*/ 256912 h 256912"/>
                  <a:gd name="connsiteX0" fmla="*/ 351275 w 364778"/>
                  <a:gd name="connsiteY0" fmla="*/ 283264 h 283264"/>
                  <a:gd name="connsiteX1" fmla="*/ 310000 w 364778"/>
                  <a:gd name="connsiteY1" fmla="*/ 184045 h 283264"/>
                  <a:gd name="connsiteX2" fmla="*/ 233800 w 364778"/>
                  <a:gd name="connsiteY2" fmla="*/ 174520 h 283264"/>
                  <a:gd name="connsiteX3" fmla="*/ 90925 w 364778"/>
                  <a:gd name="connsiteY3" fmla="*/ 167376 h 283264"/>
                  <a:gd name="connsiteX4" fmla="*/ 81399 w 364778"/>
                  <a:gd name="connsiteY4" fmla="*/ 188807 h 283264"/>
                  <a:gd name="connsiteX5" fmla="*/ 50444 w 364778"/>
                  <a:gd name="connsiteY5" fmla="*/ 234051 h 283264"/>
                  <a:gd name="connsiteX6" fmla="*/ 32187 w 364778"/>
                  <a:gd name="connsiteY6" fmla="*/ 280089 h 283264"/>
                  <a:gd name="connsiteX7" fmla="*/ 72668 w 364778"/>
                  <a:gd name="connsiteY7" fmla="*/ 38789 h 283264"/>
                  <a:gd name="connsiteX8" fmla="*/ 275075 w 364778"/>
                  <a:gd name="connsiteY8" fmla="*/ 76095 h 283264"/>
                  <a:gd name="connsiteX9" fmla="*/ 351275 w 364778"/>
                  <a:gd name="connsiteY9" fmla="*/ 283264 h 2832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64778" h="283264">
                    <a:moveTo>
                      <a:pt x="351275" y="283264"/>
                    </a:moveTo>
                    <a:cubicBezTo>
                      <a:pt x="282218" y="246752"/>
                      <a:pt x="319525" y="208651"/>
                      <a:pt x="310000" y="184045"/>
                    </a:cubicBezTo>
                    <a:cubicBezTo>
                      <a:pt x="284600" y="192777"/>
                      <a:pt x="259200" y="177695"/>
                      <a:pt x="233800" y="174520"/>
                    </a:cubicBezTo>
                    <a:cubicBezTo>
                      <a:pt x="155219" y="200714"/>
                      <a:pt x="124262" y="186426"/>
                      <a:pt x="90925" y="167376"/>
                    </a:cubicBezTo>
                    <a:lnTo>
                      <a:pt x="81399" y="188807"/>
                    </a:lnTo>
                    <a:cubicBezTo>
                      <a:pt x="71081" y="203888"/>
                      <a:pt x="70287" y="240402"/>
                      <a:pt x="50444" y="234051"/>
                    </a:cubicBezTo>
                    <a:lnTo>
                      <a:pt x="32187" y="280089"/>
                    </a:lnTo>
                    <a:cubicBezTo>
                      <a:pt x="-18613" y="186426"/>
                      <a:pt x="-12263" y="133113"/>
                      <a:pt x="72668" y="38789"/>
                    </a:cubicBezTo>
                    <a:cubicBezTo>
                      <a:pt x="157599" y="-55535"/>
                      <a:pt x="264756" y="48313"/>
                      <a:pt x="275075" y="76095"/>
                    </a:cubicBezTo>
                    <a:cubicBezTo>
                      <a:pt x="363181" y="61807"/>
                      <a:pt x="381438" y="253102"/>
                      <a:pt x="351275" y="283264"/>
                    </a:cubicBezTo>
                    <a:close/>
                  </a:path>
                </a:pathLst>
              </a:custGeom>
              <a:solidFill>
                <a:srgbClr val="3F3F3F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111" name="Group 110"/>
              <p:cNvGrpSpPr/>
              <p:nvPr/>
            </p:nvGrpSpPr>
            <p:grpSpPr>
              <a:xfrm>
                <a:off x="8397919" y="2572607"/>
                <a:ext cx="143949" cy="440242"/>
                <a:chOff x="5302371" y="5693454"/>
                <a:chExt cx="225514" cy="304223"/>
              </a:xfrm>
            </p:grpSpPr>
            <p:sp>
              <p:nvSpPr>
                <p:cNvPr id="167" name="Freeform 166"/>
                <p:cNvSpPr>
                  <a:spLocks/>
                </p:cNvSpPr>
                <p:nvPr/>
              </p:nvSpPr>
              <p:spPr bwMode="auto">
                <a:xfrm>
                  <a:off x="5302371" y="5693454"/>
                  <a:ext cx="28745" cy="304223"/>
                </a:xfrm>
                <a:custGeom>
                  <a:avLst/>
                  <a:gdLst>
                    <a:gd name="T0" fmla="*/ 66 w 66"/>
                    <a:gd name="T1" fmla="*/ 0 h 698"/>
                    <a:gd name="T2" fmla="*/ 66 w 66"/>
                    <a:gd name="T3" fmla="*/ 0 h 698"/>
                    <a:gd name="T4" fmla="*/ 0 w 66"/>
                    <a:gd name="T5" fmla="*/ 0 h 698"/>
                    <a:gd name="T6" fmla="*/ 0 w 66"/>
                    <a:gd name="T7" fmla="*/ 698 h 698"/>
                    <a:gd name="T8" fmla="*/ 66 w 66"/>
                    <a:gd name="T9" fmla="*/ 698 h 698"/>
                    <a:gd name="T10" fmla="*/ 66 w 66"/>
                    <a:gd name="T11" fmla="*/ 0 h 6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6" h="698">
                      <a:moveTo>
                        <a:pt x="66" y="0"/>
                      </a:moveTo>
                      <a:lnTo>
                        <a:pt x="66" y="0"/>
                      </a:lnTo>
                      <a:lnTo>
                        <a:pt x="0" y="0"/>
                      </a:lnTo>
                      <a:lnTo>
                        <a:pt x="0" y="698"/>
                      </a:lnTo>
                      <a:lnTo>
                        <a:pt x="66" y="698"/>
                      </a:lnTo>
                      <a:lnTo>
                        <a:pt x="66" y="0"/>
                      </a:lnTo>
                      <a:close/>
                    </a:path>
                  </a:pathLst>
                </a:custGeom>
                <a:solidFill>
                  <a:srgbClr val="969696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68" name="Freeform 167"/>
                <p:cNvSpPr>
                  <a:spLocks/>
                </p:cNvSpPr>
                <p:nvPr/>
              </p:nvSpPr>
              <p:spPr bwMode="auto">
                <a:xfrm>
                  <a:off x="5499140" y="5693454"/>
                  <a:ext cx="28745" cy="304223"/>
                </a:xfrm>
                <a:custGeom>
                  <a:avLst/>
                  <a:gdLst>
                    <a:gd name="T0" fmla="*/ 66 w 66"/>
                    <a:gd name="T1" fmla="*/ 0 h 698"/>
                    <a:gd name="T2" fmla="*/ 66 w 66"/>
                    <a:gd name="T3" fmla="*/ 0 h 698"/>
                    <a:gd name="T4" fmla="*/ 0 w 66"/>
                    <a:gd name="T5" fmla="*/ 0 h 698"/>
                    <a:gd name="T6" fmla="*/ 0 w 66"/>
                    <a:gd name="T7" fmla="*/ 698 h 698"/>
                    <a:gd name="T8" fmla="*/ 66 w 66"/>
                    <a:gd name="T9" fmla="*/ 698 h 698"/>
                    <a:gd name="T10" fmla="*/ 66 w 66"/>
                    <a:gd name="T11" fmla="*/ 0 h 6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6" h="698">
                      <a:moveTo>
                        <a:pt x="66" y="0"/>
                      </a:moveTo>
                      <a:lnTo>
                        <a:pt x="66" y="0"/>
                      </a:lnTo>
                      <a:lnTo>
                        <a:pt x="0" y="0"/>
                      </a:lnTo>
                      <a:lnTo>
                        <a:pt x="0" y="698"/>
                      </a:lnTo>
                      <a:lnTo>
                        <a:pt x="66" y="698"/>
                      </a:lnTo>
                      <a:lnTo>
                        <a:pt x="66" y="0"/>
                      </a:lnTo>
                      <a:close/>
                    </a:path>
                  </a:pathLst>
                </a:custGeom>
                <a:solidFill>
                  <a:srgbClr val="969696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12" name="Freeform 111"/>
              <p:cNvSpPr>
                <a:spLocks/>
              </p:cNvSpPr>
              <p:nvPr/>
            </p:nvSpPr>
            <p:spPr bwMode="auto">
              <a:xfrm>
                <a:off x="8397919" y="2554542"/>
                <a:ext cx="143949" cy="32110"/>
              </a:xfrm>
              <a:custGeom>
                <a:avLst/>
                <a:gdLst>
                  <a:gd name="T0" fmla="*/ 517 w 517"/>
                  <a:gd name="T1" fmla="*/ 37 h 115"/>
                  <a:gd name="T2" fmla="*/ 517 w 517"/>
                  <a:gd name="T3" fmla="*/ 37 h 115"/>
                  <a:gd name="T4" fmla="*/ 258 w 517"/>
                  <a:gd name="T5" fmla="*/ 0 h 115"/>
                  <a:gd name="T6" fmla="*/ 0 w 517"/>
                  <a:gd name="T7" fmla="*/ 37 h 115"/>
                  <a:gd name="T8" fmla="*/ 0 w 517"/>
                  <a:gd name="T9" fmla="*/ 115 h 115"/>
                  <a:gd name="T10" fmla="*/ 517 w 517"/>
                  <a:gd name="T11" fmla="*/ 115 h 115"/>
                  <a:gd name="T12" fmla="*/ 517 w 517"/>
                  <a:gd name="T13" fmla="*/ 37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17" h="115">
                    <a:moveTo>
                      <a:pt x="517" y="37"/>
                    </a:moveTo>
                    <a:lnTo>
                      <a:pt x="517" y="37"/>
                    </a:lnTo>
                    <a:lnTo>
                      <a:pt x="258" y="0"/>
                    </a:lnTo>
                    <a:lnTo>
                      <a:pt x="0" y="37"/>
                    </a:lnTo>
                    <a:lnTo>
                      <a:pt x="0" y="115"/>
                    </a:lnTo>
                    <a:lnTo>
                      <a:pt x="517" y="115"/>
                    </a:lnTo>
                    <a:lnTo>
                      <a:pt x="517" y="37"/>
                    </a:lnTo>
                    <a:close/>
                  </a:path>
                </a:pathLst>
              </a:custGeom>
              <a:solidFill>
                <a:srgbClr val="50505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3" name="Freeform 112"/>
              <p:cNvSpPr>
                <a:spLocks/>
              </p:cNvSpPr>
              <p:nvPr/>
            </p:nvSpPr>
            <p:spPr bwMode="auto">
              <a:xfrm>
                <a:off x="8267513" y="3012847"/>
                <a:ext cx="404544" cy="281127"/>
              </a:xfrm>
              <a:custGeom>
                <a:avLst/>
                <a:gdLst>
                  <a:gd name="T0" fmla="*/ 1374 w 1453"/>
                  <a:gd name="T1" fmla="*/ 0 h 1010"/>
                  <a:gd name="T2" fmla="*/ 1374 w 1453"/>
                  <a:gd name="T3" fmla="*/ 0 h 1010"/>
                  <a:gd name="T4" fmla="*/ 80 w 1453"/>
                  <a:gd name="T5" fmla="*/ 0 h 1010"/>
                  <a:gd name="T6" fmla="*/ 0 w 1453"/>
                  <a:gd name="T7" fmla="*/ 80 h 1010"/>
                  <a:gd name="T8" fmla="*/ 0 w 1453"/>
                  <a:gd name="T9" fmla="*/ 361 h 1010"/>
                  <a:gd name="T10" fmla="*/ 0 w 1453"/>
                  <a:gd name="T11" fmla="*/ 931 h 1010"/>
                  <a:gd name="T12" fmla="*/ 80 w 1453"/>
                  <a:gd name="T13" fmla="*/ 1010 h 1010"/>
                  <a:gd name="T14" fmla="*/ 1374 w 1453"/>
                  <a:gd name="T15" fmla="*/ 1010 h 1010"/>
                  <a:gd name="T16" fmla="*/ 1453 w 1453"/>
                  <a:gd name="T17" fmla="*/ 931 h 1010"/>
                  <a:gd name="T18" fmla="*/ 1453 w 1453"/>
                  <a:gd name="T19" fmla="*/ 361 h 1010"/>
                  <a:gd name="T20" fmla="*/ 1453 w 1453"/>
                  <a:gd name="T21" fmla="*/ 80 h 1010"/>
                  <a:gd name="T22" fmla="*/ 1374 w 1453"/>
                  <a:gd name="T23" fmla="*/ 0 h 10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453" h="1010">
                    <a:moveTo>
                      <a:pt x="1374" y="0"/>
                    </a:moveTo>
                    <a:lnTo>
                      <a:pt x="1374" y="0"/>
                    </a:lnTo>
                    <a:lnTo>
                      <a:pt x="80" y="0"/>
                    </a:lnTo>
                    <a:cubicBezTo>
                      <a:pt x="36" y="0"/>
                      <a:pt x="0" y="36"/>
                      <a:pt x="0" y="80"/>
                    </a:cubicBezTo>
                    <a:lnTo>
                      <a:pt x="0" y="361"/>
                    </a:lnTo>
                    <a:lnTo>
                      <a:pt x="0" y="931"/>
                    </a:lnTo>
                    <a:cubicBezTo>
                      <a:pt x="0" y="975"/>
                      <a:pt x="36" y="1010"/>
                      <a:pt x="80" y="1010"/>
                    </a:cubicBezTo>
                    <a:lnTo>
                      <a:pt x="1374" y="1010"/>
                    </a:lnTo>
                    <a:cubicBezTo>
                      <a:pt x="1418" y="1010"/>
                      <a:pt x="1453" y="975"/>
                      <a:pt x="1453" y="931"/>
                    </a:cubicBezTo>
                    <a:lnTo>
                      <a:pt x="1453" y="361"/>
                    </a:lnTo>
                    <a:lnTo>
                      <a:pt x="1453" y="80"/>
                    </a:lnTo>
                    <a:cubicBezTo>
                      <a:pt x="1453" y="36"/>
                      <a:pt x="1418" y="0"/>
                      <a:pt x="1374" y="0"/>
                    </a:cubicBezTo>
                    <a:close/>
                  </a:path>
                </a:pathLst>
              </a:custGeom>
              <a:solidFill>
                <a:srgbClr val="969696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4" name="Freeform 113"/>
              <p:cNvSpPr>
                <a:spLocks/>
              </p:cNvSpPr>
              <p:nvPr/>
            </p:nvSpPr>
            <p:spPr bwMode="auto">
              <a:xfrm>
                <a:off x="8267513" y="3113328"/>
                <a:ext cx="404544" cy="180647"/>
              </a:xfrm>
              <a:custGeom>
                <a:avLst/>
                <a:gdLst>
                  <a:gd name="T0" fmla="*/ 1374 w 1453"/>
                  <a:gd name="T1" fmla="*/ 80 h 649"/>
                  <a:gd name="T2" fmla="*/ 1374 w 1453"/>
                  <a:gd name="T3" fmla="*/ 80 h 649"/>
                  <a:gd name="T4" fmla="*/ 80 w 1453"/>
                  <a:gd name="T5" fmla="*/ 80 h 649"/>
                  <a:gd name="T6" fmla="*/ 0 w 1453"/>
                  <a:gd name="T7" fmla="*/ 0 h 649"/>
                  <a:gd name="T8" fmla="*/ 0 w 1453"/>
                  <a:gd name="T9" fmla="*/ 570 h 649"/>
                  <a:gd name="T10" fmla="*/ 80 w 1453"/>
                  <a:gd name="T11" fmla="*/ 649 h 649"/>
                  <a:gd name="T12" fmla="*/ 1374 w 1453"/>
                  <a:gd name="T13" fmla="*/ 649 h 649"/>
                  <a:gd name="T14" fmla="*/ 1453 w 1453"/>
                  <a:gd name="T15" fmla="*/ 570 h 649"/>
                  <a:gd name="T16" fmla="*/ 1453 w 1453"/>
                  <a:gd name="T17" fmla="*/ 0 h 649"/>
                  <a:gd name="T18" fmla="*/ 1374 w 1453"/>
                  <a:gd name="T19" fmla="*/ 80 h 6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53" h="649">
                    <a:moveTo>
                      <a:pt x="1374" y="80"/>
                    </a:moveTo>
                    <a:lnTo>
                      <a:pt x="1374" y="80"/>
                    </a:lnTo>
                    <a:lnTo>
                      <a:pt x="80" y="80"/>
                    </a:lnTo>
                    <a:cubicBezTo>
                      <a:pt x="36" y="80"/>
                      <a:pt x="0" y="44"/>
                      <a:pt x="0" y="0"/>
                    </a:cubicBezTo>
                    <a:lnTo>
                      <a:pt x="0" y="570"/>
                    </a:lnTo>
                    <a:cubicBezTo>
                      <a:pt x="0" y="614"/>
                      <a:pt x="36" y="649"/>
                      <a:pt x="80" y="649"/>
                    </a:cubicBezTo>
                    <a:lnTo>
                      <a:pt x="1374" y="649"/>
                    </a:lnTo>
                    <a:cubicBezTo>
                      <a:pt x="1418" y="649"/>
                      <a:pt x="1453" y="614"/>
                      <a:pt x="1453" y="570"/>
                    </a:cubicBezTo>
                    <a:lnTo>
                      <a:pt x="1453" y="0"/>
                    </a:lnTo>
                    <a:cubicBezTo>
                      <a:pt x="1453" y="44"/>
                      <a:pt x="1418" y="80"/>
                      <a:pt x="1374" y="80"/>
                    </a:cubicBezTo>
                    <a:close/>
                  </a:path>
                </a:pathLst>
              </a:custGeom>
              <a:solidFill>
                <a:srgbClr val="969696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5" name="Freeform 114"/>
              <p:cNvSpPr>
                <a:spLocks/>
              </p:cNvSpPr>
              <p:nvPr/>
            </p:nvSpPr>
            <p:spPr bwMode="auto">
              <a:xfrm>
                <a:off x="8267513" y="2928375"/>
                <a:ext cx="404544" cy="122761"/>
              </a:xfrm>
              <a:custGeom>
                <a:avLst/>
                <a:gdLst>
                  <a:gd name="T0" fmla="*/ 1374 w 1453"/>
                  <a:gd name="T1" fmla="*/ 0 h 441"/>
                  <a:gd name="T2" fmla="*/ 1374 w 1453"/>
                  <a:gd name="T3" fmla="*/ 0 h 441"/>
                  <a:gd name="T4" fmla="*/ 80 w 1453"/>
                  <a:gd name="T5" fmla="*/ 0 h 441"/>
                  <a:gd name="T6" fmla="*/ 0 w 1453"/>
                  <a:gd name="T7" fmla="*/ 80 h 441"/>
                  <a:gd name="T8" fmla="*/ 0 w 1453"/>
                  <a:gd name="T9" fmla="*/ 361 h 441"/>
                  <a:gd name="T10" fmla="*/ 80 w 1453"/>
                  <a:gd name="T11" fmla="*/ 441 h 441"/>
                  <a:gd name="T12" fmla="*/ 1374 w 1453"/>
                  <a:gd name="T13" fmla="*/ 441 h 441"/>
                  <a:gd name="T14" fmla="*/ 1453 w 1453"/>
                  <a:gd name="T15" fmla="*/ 361 h 441"/>
                  <a:gd name="T16" fmla="*/ 1453 w 1453"/>
                  <a:gd name="T17" fmla="*/ 80 h 441"/>
                  <a:gd name="T18" fmla="*/ 1374 w 1453"/>
                  <a:gd name="T19" fmla="*/ 0 h 4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53" h="441">
                    <a:moveTo>
                      <a:pt x="1374" y="0"/>
                    </a:moveTo>
                    <a:lnTo>
                      <a:pt x="1374" y="0"/>
                    </a:lnTo>
                    <a:lnTo>
                      <a:pt x="80" y="0"/>
                    </a:lnTo>
                    <a:cubicBezTo>
                      <a:pt x="36" y="0"/>
                      <a:pt x="0" y="36"/>
                      <a:pt x="0" y="80"/>
                    </a:cubicBezTo>
                    <a:lnTo>
                      <a:pt x="0" y="361"/>
                    </a:lnTo>
                    <a:cubicBezTo>
                      <a:pt x="0" y="405"/>
                      <a:pt x="36" y="441"/>
                      <a:pt x="80" y="441"/>
                    </a:cubicBezTo>
                    <a:lnTo>
                      <a:pt x="1374" y="441"/>
                    </a:lnTo>
                    <a:cubicBezTo>
                      <a:pt x="1418" y="441"/>
                      <a:pt x="1453" y="405"/>
                      <a:pt x="1453" y="361"/>
                    </a:cubicBezTo>
                    <a:lnTo>
                      <a:pt x="1453" y="80"/>
                    </a:lnTo>
                    <a:cubicBezTo>
                      <a:pt x="1453" y="36"/>
                      <a:pt x="1418" y="0"/>
                      <a:pt x="1374" y="0"/>
                    </a:cubicBezTo>
                    <a:close/>
                  </a:path>
                </a:pathLst>
              </a:custGeom>
              <a:solidFill>
                <a:srgbClr val="50505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6" name="Freeform 115"/>
              <p:cNvSpPr>
                <a:spLocks/>
              </p:cNvSpPr>
              <p:nvPr/>
            </p:nvSpPr>
            <p:spPr bwMode="auto">
              <a:xfrm>
                <a:off x="8330204" y="3135608"/>
                <a:ext cx="275885" cy="158366"/>
              </a:xfrm>
              <a:custGeom>
                <a:avLst/>
                <a:gdLst>
                  <a:gd name="T0" fmla="*/ 991 w 991"/>
                  <a:gd name="T1" fmla="*/ 569 h 569"/>
                  <a:gd name="T2" fmla="*/ 991 w 991"/>
                  <a:gd name="T3" fmla="*/ 569 h 569"/>
                  <a:gd name="T4" fmla="*/ 0 w 991"/>
                  <a:gd name="T5" fmla="*/ 569 h 569"/>
                  <a:gd name="T6" fmla="*/ 0 w 991"/>
                  <a:gd name="T7" fmla="*/ 0 h 569"/>
                  <a:gd name="T8" fmla="*/ 991 w 991"/>
                  <a:gd name="T9" fmla="*/ 0 h 569"/>
                  <a:gd name="T10" fmla="*/ 991 w 991"/>
                  <a:gd name="T11" fmla="*/ 569 h 5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91" h="569">
                    <a:moveTo>
                      <a:pt x="991" y="569"/>
                    </a:moveTo>
                    <a:lnTo>
                      <a:pt x="991" y="569"/>
                    </a:lnTo>
                    <a:lnTo>
                      <a:pt x="0" y="569"/>
                    </a:lnTo>
                    <a:lnTo>
                      <a:pt x="0" y="0"/>
                    </a:lnTo>
                    <a:lnTo>
                      <a:pt x="991" y="0"/>
                    </a:lnTo>
                    <a:lnTo>
                      <a:pt x="991" y="569"/>
                    </a:lnTo>
                    <a:close/>
                  </a:path>
                </a:pathLst>
              </a:custGeom>
              <a:solidFill>
                <a:srgbClr val="AFAFA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7" name="Freeform 116"/>
              <p:cNvSpPr>
                <a:spLocks/>
              </p:cNvSpPr>
              <p:nvPr/>
            </p:nvSpPr>
            <p:spPr bwMode="auto">
              <a:xfrm>
                <a:off x="8240645" y="3235215"/>
                <a:ext cx="26868" cy="76016"/>
              </a:xfrm>
              <a:custGeom>
                <a:avLst/>
                <a:gdLst>
                  <a:gd name="T0" fmla="*/ 48 w 97"/>
                  <a:gd name="T1" fmla="*/ 0 h 273"/>
                  <a:gd name="T2" fmla="*/ 48 w 97"/>
                  <a:gd name="T3" fmla="*/ 0 h 273"/>
                  <a:gd name="T4" fmla="*/ 0 w 97"/>
                  <a:gd name="T5" fmla="*/ 48 h 273"/>
                  <a:gd name="T6" fmla="*/ 0 w 97"/>
                  <a:gd name="T7" fmla="*/ 225 h 273"/>
                  <a:gd name="T8" fmla="*/ 48 w 97"/>
                  <a:gd name="T9" fmla="*/ 273 h 273"/>
                  <a:gd name="T10" fmla="*/ 97 w 97"/>
                  <a:gd name="T11" fmla="*/ 225 h 273"/>
                  <a:gd name="T12" fmla="*/ 97 w 97"/>
                  <a:gd name="T13" fmla="*/ 48 h 273"/>
                  <a:gd name="T14" fmla="*/ 48 w 97"/>
                  <a:gd name="T15" fmla="*/ 0 h 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7" h="273">
                    <a:moveTo>
                      <a:pt x="48" y="0"/>
                    </a:moveTo>
                    <a:lnTo>
                      <a:pt x="48" y="0"/>
                    </a:lnTo>
                    <a:cubicBezTo>
                      <a:pt x="22" y="0"/>
                      <a:pt x="0" y="21"/>
                      <a:pt x="0" y="48"/>
                    </a:cubicBezTo>
                    <a:lnTo>
                      <a:pt x="0" y="225"/>
                    </a:lnTo>
                    <a:cubicBezTo>
                      <a:pt x="0" y="252"/>
                      <a:pt x="22" y="273"/>
                      <a:pt x="48" y="273"/>
                    </a:cubicBezTo>
                    <a:cubicBezTo>
                      <a:pt x="75" y="273"/>
                      <a:pt x="97" y="252"/>
                      <a:pt x="97" y="225"/>
                    </a:cubicBezTo>
                    <a:lnTo>
                      <a:pt x="97" y="48"/>
                    </a:lnTo>
                    <a:cubicBezTo>
                      <a:pt x="97" y="21"/>
                      <a:pt x="75" y="0"/>
                      <a:pt x="48" y="0"/>
                    </a:cubicBezTo>
                    <a:close/>
                  </a:path>
                </a:pathLst>
              </a:custGeom>
              <a:solidFill>
                <a:srgbClr val="50505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8" name="Freeform 117"/>
              <p:cNvSpPr>
                <a:spLocks/>
              </p:cNvSpPr>
              <p:nvPr/>
            </p:nvSpPr>
            <p:spPr bwMode="auto">
              <a:xfrm>
                <a:off x="8672056" y="3217958"/>
                <a:ext cx="27086" cy="76016"/>
              </a:xfrm>
              <a:custGeom>
                <a:avLst/>
                <a:gdLst>
                  <a:gd name="T0" fmla="*/ 49 w 97"/>
                  <a:gd name="T1" fmla="*/ 0 h 273"/>
                  <a:gd name="T2" fmla="*/ 49 w 97"/>
                  <a:gd name="T3" fmla="*/ 0 h 273"/>
                  <a:gd name="T4" fmla="*/ 0 w 97"/>
                  <a:gd name="T5" fmla="*/ 48 h 273"/>
                  <a:gd name="T6" fmla="*/ 0 w 97"/>
                  <a:gd name="T7" fmla="*/ 225 h 273"/>
                  <a:gd name="T8" fmla="*/ 49 w 97"/>
                  <a:gd name="T9" fmla="*/ 273 h 273"/>
                  <a:gd name="T10" fmla="*/ 97 w 97"/>
                  <a:gd name="T11" fmla="*/ 225 h 273"/>
                  <a:gd name="T12" fmla="*/ 97 w 97"/>
                  <a:gd name="T13" fmla="*/ 48 h 273"/>
                  <a:gd name="T14" fmla="*/ 49 w 97"/>
                  <a:gd name="T15" fmla="*/ 0 h 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7" h="273">
                    <a:moveTo>
                      <a:pt x="49" y="0"/>
                    </a:moveTo>
                    <a:lnTo>
                      <a:pt x="49" y="0"/>
                    </a:lnTo>
                    <a:cubicBezTo>
                      <a:pt x="22" y="0"/>
                      <a:pt x="0" y="21"/>
                      <a:pt x="0" y="48"/>
                    </a:cubicBezTo>
                    <a:lnTo>
                      <a:pt x="0" y="225"/>
                    </a:lnTo>
                    <a:cubicBezTo>
                      <a:pt x="0" y="252"/>
                      <a:pt x="22" y="273"/>
                      <a:pt x="49" y="273"/>
                    </a:cubicBezTo>
                    <a:cubicBezTo>
                      <a:pt x="75" y="273"/>
                      <a:pt x="97" y="252"/>
                      <a:pt x="97" y="225"/>
                    </a:cubicBezTo>
                    <a:lnTo>
                      <a:pt x="97" y="48"/>
                    </a:lnTo>
                    <a:cubicBezTo>
                      <a:pt x="97" y="21"/>
                      <a:pt x="75" y="0"/>
                      <a:pt x="49" y="0"/>
                    </a:cubicBezTo>
                    <a:close/>
                  </a:path>
                </a:pathLst>
              </a:custGeom>
              <a:solidFill>
                <a:srgbClr val="50505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9" name="Freeform 118"/>
              <p:cNvSpPr>
                <a:spLocks/>
              </p:cNvSpPr>
              <p:nvPr/>
            </p:nvSpPr>
            <p:spPr bwMode="auto">
              <a:xfrm>
                <a:off x="8456023" y="3131021"/>
                <a:ext cx="27960" cy="98515"/>
              </a:xfrm>
              <a:custGeom>
                <a:avLst/>
                <a:gdLst>
                  <a:gd name="T0" fmla="*/ 100 w 100"/>
                  <a:gd name="T1" fmla="*/ 338 h 354"/>
                  <a:gd name="T2" fmla="*/ 100 w 100"/>
                  <a:gd name="T3" fmla="*/ 338 h 354"/>
                  <a:gd name="T4" fmla="*/ 0 w 100"/>
                  <a:gd name="T5" fmla="*/ 354 h 354"/>
                  <a:gd name="T6" fmla="*/ 0 w 100"/>
                  <a:gd name="T7" fmla="*/ 0 h 354"/>
                  <a:gd name="T8" fmla="*/ 100 w 100"/>
                  <a:gd name="T9" fmla="*/ 0 h 354"/>
                  <a:gd name="T10" fmla="*/ 100 w 100"/>
                  <a:gd name="T11" fmla="*/ 338 h 3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0" h="354">
                    <a:moveTo>
                      <a:pt x="100" y="338"/>
                    </a:moveTo>
                    <a:lnTo>
                      <a:pt x="100" y="338"/>
                    </a:lnTo>
                    <a:lnTo>
                      <a:pt x="0" y="354"/>
                    </a:lnTo>
                    <a:lnTo>
                      <a:pt x="0" y="0"/>
                    </a:lnTo>
                    <a:lnTo>
                      <a:pt x="100" y="0"/>
                    </a:lnTo>
                    <a:lnTo>
                      <a:pt x="100" y="338"/>
                    </a:lnTo>
                    <a:close/>
                  </a:path>
                </a:pathLst>
              </a:custGeom>
              <a:solidFill>
                <a:srgbClr val="50505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" name="Freeform 119"/>
              <p:cNvSpPr>
                <a:spLocks/>
              </p:cNvSpPr>
              <p:nvPr/>
            </p:nvSpPr>
            <p:spPr bwMode="auto">
              <a:xfrm>
                <a:off x="8445101" y="3157889"/>
                <a:ext cx="49367" cy="8082"/>
              </a:xfrm>
              <a:custGeom>
                <a:avLst/>
                <a:gdLst>
                  <a:gd name="T0" fmla="*/ 177 w 177"/>
                  <a:gd name="T1" fmla="*/ 29 h 29"/>
                  <a:gd name="T2" fmla="*/ 177 w 177"/>
                  <a:gd name="T3" fmla="*/ 29 h 29"/>
                  <a:gd name="T4" fmla="*/ 0 w 177"/>
                  <a:gd name="T5" fmla="*/ 29 h 29"/>
                  <a:gd name="T6" fmla="*/ 0 w 177"/>
                  <a:gd name="T7" fmla="*/ 0 h 29"/>
                  <a:gd name="T8" fmla="*/ 177 w 177"/>
                  <a:gd name="T9" fmla="*/ 0 h 29"/>
                  <a:gd name="T10" fmla="*/ 177 w 177"/>
                  <a:gd name="T11" fmla="*/ 2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7" h="29">
                    <a:moveTo>
                      <a:pt x="177" y="29"/>
                    </a:moveTo>
                    <a:lnTo>
                      <a:pt x="177" y="29"/>
                    </a:lnTo>
                    <a:lnTo>
                      <a:pt x="0" y="29"/>
                    </a:lnTo>
                    <a:lnTo>
                      <a:pt x="0" y="0"/>
                    </a:lnTo>
                    <a:lnTo>
                      <a:pt x="177" y="0"/>
                    </a:lnTo>
                    <a:lnTo>
                      <a:pt x="177" y="29"/>
                    </a:lnTo>
                    <a:close/>
                  </a:path>
                </a:pathLst>
              </a:custGeom>
              <a:solidFill>
                <a:srgbClr val="D2D2D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" name="Freeform 120"/>
              <p:cNvSpPr>
                <a:spLocks/>
              </p:cNvSpPr>
              <p:nvPr/>
            </p:nvSpPr>
            <p:spPr bwMode="auto">
              <a:xfrm>
                <a:off x="8467163" y="3175800"/>
                <a:ext cx="5242" cy="5024"/>
              </a:xfrm>
              <a:custGeom>
                <a:avLst/>
                <a:gdLst>
                  <a:gd name="T0" fmla="*/ 19 w 19"/>
                  <a:gd name="T1" fmla="*/ 9 h 18"/>
                  <a:gd name="T2" fmla="*/ 19 w 19"/>
                  <a:gd name="T3" fmla="*/ 9 h 18"/>
                  <a:gd name="T4" fmla="*/ 10 w 19"/>
                  <a:gd name="T5" fmla="*/ 18 h 18"/>
                  <a:gd name="T6" fmla="*/ 0 w 19"/>
                  <a:gd name="T7" fmla="*/ 9 h 18"/>
                  <a:gd name="T8" fmla="*/ 10 w 19"/>
                  <a:gd name="T9" fmla="*/ 0 h 18"/>
                  <a:gd name="T10" fmla="*/ 19 w 19"/>
                  <a:gd name="T11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" h="18">
                    <a:moveTo>
                      <a:pt x="19" y="9"/>
                    </a:moveTo>
                    <a:lnTo>
                      <a:pt x="19" y="9"/>
                    </a:lnTo>
                    <a:cubicBezTo>
                      <a:pt x="19" y="14"/>
                      <a:pt x="15" y="18"/>
                      <a:pt x="10" y="18"/>
                    </a:cubicBezTo>
                    <a:cubicBezTo>
                      <a:pt x="5" y="18"/>
                      <a:pt x="0" y="14"/>
                      <a:pt x="0" y="9"/>
                    </a:cubicBezTo>
                    <a:cubicBezTo>
                      <a:pt x="0" y="4"/>
                      <a:pt x="5" y="0"/>
                      <a:pt x="10" y="0"/>
                    </a:cubicBezTo>
                    <a:cubicBezTo>
                      <a:pt x="15" y="0"/>
                      <a:pt x="19" y="4"/>
                      <a:pt x="19" y="9"/>
                    </a:cubicBezTo>
                    <a:close/>
                  </a:path>
                </a:pathLst>
              </a:custGeom>
              <a:solidFill>
                <a:srgbClr val="969696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" name="Freeform 121"/>
              <p:cNvSpPr>
                <a:spLocks/>
              </p:cNvSpPr>
              <p:nvPr/>
            </p:nvSpPr>
            <p:spPr bwMode="auto">
              <a:xfrm>
                <a:off x="8467163" y="3193057"/>
                <a:ext cx="5242" cy="5024"/>
              </a:xfrm>
              <a:custGeom>
                <a:avLst/>
                <a:gdLst>
                  <a:gd name="T0" fmla="*/ 19 w 19"/>
                  <a:gd name="T1" fmla="*/ 9 h 18"/>
                  <a:gd name="T2" fmla="*/ 19 w 19"/>
                  <a:gd name="T3" fmla="*/ 9 h 18"/>
                  <a:gd name="T4" fmla="*/ 10 w 19"/>
                  <a:gd name="T5" fmla="*/ 18 h 18"/>
                  <a:gd name="T6" fmla="*/ 0 w 19"/>
                  <a:gd name="T7" fmla="*/ 9 h 18"/>
                  <a:gd name="T8" fmla="*/ 10 w 19"/>
                  <a:gd name="T9" fmla="*/ 0 h 18"/>
                  <a:gd name="T10" fmla="*/ 19 w 19"/>
                  <a:gd name="T11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" h="18">
                    <a:moveTo>
                      <a:pt x="19" y="9"/>
                    </a:moveTo>
                    <a:lnTo>
                      <a:pt x="19" y="9"/>
                    </a:lnTo>
                    <a:cubicBezTo>
                      <a:pt x="19" y="14"/>
                      <a:pt x="15" y="18"/>
                      <a:pt x="10" y="18"/>
                    </a:cubicBezTo>
                    <a:cubicBezTo>
                      <a:pt x="5" y="18"/>
                      <a:pt x="0" y="14"/>
                      <a:pt x="0" y="9"/>
                    </a:cubicBezTo>
                    <a:cubicBezTo>
                      <a:pt x="0" y="4"/>
                      <a:pt x="5" y="0"/>
                      <a:pt x="10" y="0"/>
                    </a:cubicBezTo>
                    <a:cubicBezTo>
                      <a:pt x="15" y="0"/>
                      <a:pt x="19" y="4"/>
                      <a:pt x="19" y="9"/>
                    </a:cubicBezTo>
                    <a:close/>
                  </a:path>
                </a:pathLst>
              </a:custGeom>
              <a:solidFill>
                <a:srgbClr val="969696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" name="Freeform 122"/>
              <p:cNvSpPr>
                <a:spLocks/>
              </p:cNvSpPr>
              <p:nvPr/>
            </p:nvSpPr>
            <p:spPr bwMode="auto">
              <a:xfrm>
                <a:off x="8467163" y="3210314"/>
                <a:ext cx="5242" cy="5242"/>
              </a:xfrm>
              <a:custGeom>
                <a:avLst/>
                <a:gdLst>
                  <a:gd name="T0" fmla="*/ 19 w 19"/>
                  <a:gd name="T1" fmla="*/ 10 h 19"/>
                  <a:gd name="T2" fmla="*/ 19 w 19"/>
                  <a:gd name="T3" fmla="*/ 10 h 19"/>
                  <a:gd name="T4" fmla="*/ 10 w 19"/>
                  <a:gd name="T5" fmla="*/ 19 h 19"/>
                  <a:gd name="T6" fmla="*/ 0 w 19"/>
                  <a:gd name="T7" fmla="*/ 10 h 19"/>
                  <a:gd name="T8" fmla="*/ 10 w 19"/>
                  <a:gd name="T9" fmla="*/ 0 h 19"/>
                  <a:gd name="T10" fmla="*/ 19 w 19"/>
                  <a:gd name="T11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" h="19">
                    <a:moveTo>
                      <a:pt x="19" y="10"/>
                    </a:moveTo>
                    <a:lnTo>
                      <a:pt x="19" y="10"/>
                    </a:lnTo>
                    <a:cubicBezTo>
                      <a:pt x="19" y="15"/>
                      <a:pt x="15" y="19"/>
                      <a:pt x="10" y="19"/>
                    </a:cubicBezTo>
                    <a:cubicBezTo>
                      <a:pt x="5" y="19"/>
                      <a:pt x="0" y="15"/>
                      <a:pt x="0" y="10"/>
                    </a:cubicBezTo>
                    <a:cubicBezTo>
                      <a:pt x="0" y="5"/>
                      <a:pt x="5" y="0"/>
                      <a:pt x="10" y="0"/>
                    </a:cubicBezTo>
                    <a:cubicBezTo>
                      <a:pt x="15" y="0"/>
                      <a:pt x="19" y="5"/>
                      <a:pt x="19" y="10"/>
                    </a:cubicBezTo>
                    <a:close/>
                  </a:path>
                </a:pathLst>
              </a:custGeom>
              <a:solidFill>
                <a:srgbClr val="969696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124" name="Group 123"/>
              <p:cNvGrpSpPr/>
              <p:nvPr/>
            </p:nvGrpSpPr>
            <p:grpSpPr>
              <a:xfrm>
                <a:off x="8546674" y="2935114"/>
                <a:ext cx="106160" cy="106378"/>
                <a:chOff x="5451289" y="6023000"/>
                <a:chExt cx="166313" cy="166655"/>
              </a:xfrm>
            </p:grpSpPr>
            <p:sp>
              <p:nvSpPr>
                <p:cNvPr id="165" name="Freeform 164"/>
                <p:cNvSpPr>
                  <a:spLocks noEditPoints="1"/>
                </p:cNvSpPr>
                <p:nvPr/>
              </p:nvSpPr>
              <p:spPr bwMode="auto">
                <a:xfrm>
                  <a:off x="5451289" y="6023000"/>
                  <a:ext cx="166313" cy="166655"/>
                </a:xfrm>
                <a:custGeom>
                  <a:avLst/>
                  <a:gdLst>
                    <a:gd name="T0" fmla="*/ 65 w 381"/>
                    <a:gd name="T1" fmla="*/ 85 h 382"/>
                    <a:gd name="T2" fmla="*/ 65 w 381"/>
                    <a:gd name="T3" fmla="*/ 85 h 382"/>
                    <a:gd name="T4" fmla="*/ 65 w 381"/>
                    <a:gd name="T5" fmla="*/ 66 h 382"/>
                    <a:gd name="T6" fmla="*/ 85 w 381"/>
                    <a:gd name="T7" fmla="*/ 66 h 382"/>
                    <a:gd name="T8" fmla="*/ 85 w 381"/>
                    <a:gd name="T9" fmla="*/ 85 h 382"/>
                    <a:gd name="T10" fmla="*/ 65 w 381"/>
                    <a:gd name="T11" fmla="*/ 85 h 382"/>
                    <a:gd name="T12" fmla="*/ 151 w 381"/>
                    <a:gd name="T13" fmla="*/ 0 h 382"/>
                    <a:gd name="T14" fmla="*/ 151 w 381"/>
                    <a:gd name="T15" fmla="*/ 0 h 382"/>
                    <a:gd name="T16" fmla="*/ 89 w 381"/>
                    <a:gd name="T17" fmla="*/ 0 h 382"/>
                    <a:gd name="T18" fmla="*/ 0 w 381"/>
                    <a:gd name="T19" fmla="*/ 90 h 382"/>
                    <a:gd name="T20" fmla="*/ 0 w 381"/>
                    <a:gd name="T21" fmla="*/ 151 h 382"/>
                    <a:gd name="T22" fmla="*/ 230 w 381"/>
                    <a:gd name="T23" fmla="*/ 382 h 382"/>
                    <a:gd name="T24" fmla="*/ 381 w 381"/>
                    <a:gd name="T25" fmla="*/ 231 h 382"/>
                    <a:gd name="T26" fmla="*/ 151 w 381"/>
                    <a:gd name="T27" fmla="*/ 0 h 3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81" h="382">
                      <a:moveTo>
                        <a:pt x="65" y="85"/>
                      </a:moveTo>
                      <a:lnTo>
                        <a:pt x="65" y="85"/>
                      </a:lnTo>
                      <a:cubicBezTo>
                        <a:pt x="60" y="80"/>
                        <a:pt x="60" y="72"/>
                        <a:pt x="65" y="66"/>
                      </a:cubicBezTo>
                      <a:cubicBezTo>
                        <a:pt x="71" y="61"/>
                        <a:pt x="79" y="61"/>
                        <a:pt x="85" y="66"/>
                      </a:cubicBezTo>
                      <a:cubicBezTo>
                        <a:pt x="90" y="72"/>
                        <a:pt x="90" y="80"/>
                        <a:pt x="85" y="85"/>
                      </a:cubicBezTo>
                      <a:cubicBezTo>
                        <a:pt x="79" y="91"/>
                        <a:pt x="71" y="91"/>
                        <a:pt x="65" y="85"/>
                      </a:cubicBezTo>
                      <a:close/>
                      <a:moveTo>
                        <a:pt x="151" y="0"/>
                      </a:moveTo>
                      <a:lnTo>
                        <a:pt x="151" y="0"/>
                      </a:lnTo>
                      <a:lnTo>
                        <a:pt x="89" y="0"/>
                      </a:lnTo>
                      <a:lnTo>
                        <a:pt x="0" y="90"/>
                      </a:lnTo>
                      <a:lnTo>
                        <a:pt x="0" y="151"/>
                      </a:lnTo>
                      <a:lnTo>
                        <a:pt x="230" y="382"/>
                      </a:lnTo>
                      <a:lnTo>
                        <a:pt x="381" y="231"/>
                      </a:lnTo>
                      <a:lnTo>
                        <a:pt x="151" y="0"/>
                      </a:lnTo>
                      <a:close/>
                    </a:path>
                  </a:pathLst>
                </a:custGeom>
                <a:solidFill>
                  <a:srgbClr val="FF8C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66" name="Freeform 165"/>
                <p:cNvSpPr>
                  <a:spLocks/>
                </p:cNvSpPr>
                <p:nvPr/>
              </p:nvSpPr>
              <p:spPr bwMode="auto">
                <a:xfrm>
                  <a:off x="5514939" y="6087677"/>
                  <a:ext cx="60913" cy="60229"/>
                </a:xfrm>
                <a:custGeom>
                  <a:avLst/>
                  <a:gdLst>
                    <a:gd name="T0" fmla="*/ 139 w 139"/>
                    <a:gd name="T1" fmla="*/ 34 h 138"/>
                    <a:gd name="T2" fmla="*/ 139 w 139"/>
                    <a:gd name="T3" fmla="*/ 34 h 138"/>
                    <a:gd name="T4" fmla="*/ 129 w 139"/>
                    <a:gd name="T5" fmla="*/ 22 h 138"/>
                    <a:gd name="T6" fmla="*/ 54 w 139"/>
                    <a:gd name="T7" fmla="*/ 40 h 138"/>
                    <a:gd name="T8" fmla="*/ 17 w 139"/>
                    <a:gd name="T9" fmla="*/ 3 h 138"/>
                    <a:gd name="T10" fmla="*/ 4 w 139"/>
                    <a:gd name="T11" fmla="*/ 4 h 138"/>
                    <a:gd name="T12" fmla="*/ 3 w 139"/>
                    <a:gd name="T13" fmla="*/ 17 h 138"/>
                    <a:gd name="T14" fmla="*/ 40 w 139"/>
                    <a:gd name="T15" fmla="*/ 54 h 138"/>
                    <a:gd name="T16" fmla="*/ 23 w 139"/>
                    <a:gd name="T17" fmla="*/ 128 h 138"/>
                    <a:gd name="T18" fmla="*/ 36 w 139"/>
                    <a:gd name="T19" fmla="*/ 138 h 138"/>
                    <a:gd name="T20" fmla="*/ 66 w 139"/>
                    <a:gd name="T21" fmla="*/ 80 h 138"/>
                    <a:gd name="T22" fmla="*/ 92 w 139"/>
                    <a:gd name="T23" fmla="*/ 106 h 138"/>
                    <a:gd name="T24" fmla="*/ 92 w 139"/>
                    <a:gd name="T25" fmla="*/ 122 h 138"/>
                    <a:gd name="T26" fmla="*/ 103 w 139"/>
                    <a:gd name="T27" fmla="*/ 133 h 138"/>
                    <a:gd name="T28" fmla="*/ 111 w 139"/>
                    <a:gd name="T29" fmla="*/ 111 h 138"/>
                    <a:gd name="T30" fmla="*/ 135 w 139"/>
                    <a:gd name="T31" fmla="*/ 102 h 138"/>
                    <a:gd name="T32" fmla="*/ 124 w 139"/>
                    <a:gd name="T33" fmla="*/ 91 h 138"/>
                    <a:gd name="T34" fmla="*/ 106 w 139"/>
                    <a:gd name="T35" fmla="*/ 92 h 138"/>
                    <a:gd name="T36" fmla="*/ 80 w 139"/>
                    <a:gd name="T37" fmla="*/ 66 h 138"/>
                    <a:gd name="T38" fmla="*/ 139 w 139"/>
                    <a:gd name="T39" fmla="*/ 34 h 1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139" h="138">
                      <a:moveTo>
                        <a:pt x="139" y="34"/>
                      </a:moveTo>
                      <a:lnTo>
                        <a:pt x="139" y="34"/>
                      </a:lnTo>
                      <a:lnTo>
                        <a:pt x="129" y="22"/>
                      </a:lnTo>
                      <a:lnTo>
                        <a:pt x="54" y="40"/>
                      </a:lnTo>
                      <a:lnTo>
                        <a:pt x="17" y="3"/>
                      </a:lnTo>
                      <a:cubicBezTo>
                        <a:pt x="14" y="0"/>
                        <a:pt x="8" y="0"/>
                        <a:pt x="4" y="4"/>
                      </a:cubicBezTo>
                      <a:cubicBezTo>
                        <a:pt x="1" y="7"/>
                        <a:pt x="0" y="14"/>
                        <a:pt x="3" y="17"/>
                      </a:cubicBezTo>
                      <a:lnTo>
                        <a:pt x="40" y="54"/>
                      </a:lnTo>
                      <a:lnTo>
                        <a:pt x="23" y="128"/>
                      </a:lnTo>
                      <a:lnTo>
                        <a:pt x="36" y="138"/>
                      </a:lnTo>
                      <a:lnTo>
                        <a:pt x="66" y="80"/>
                      </a:lnTo>
                      <a:lnTo>
                        <a:pt x="92" y="106"/>
                      </a:lnTo>
                      <a:lnTo>
                        <a:pt x="92" y="122"/>
                      </a:lnTo>
                      <a:lnTo>
                        <a:pt x="103" y="133"/>
                      </a:lnTo>
                      <a:lnTo>
                        <a:pt x="111" y="111"/>
                      </a:lnTo>
                      <a:lnTo>
                        <a:pt x="135" y="102"/>
                      </a:lnTo>
                      <a:lnTo>
                        <a:pt x="124" y="91"/>
                      </a:lnTo>
                      <a:lnTo>
                        <a:pt x="106" y="92"/>
                      </a:lnTo>
                      <a:lnTo>
                        <a:pt x="80" y="66"/>
                      </a:lnTo>
                      <a:lnTo>
                        <a:pt x="139" y="3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25" name="Rounded Rectangle 124"/>
              <p:cNvSpPr/>
              <p:nvPr/>
            </p:nvSpPr>
            <p:spPr bwMode="auto">
              <a:xfrm rot="20782553">
                <a:off x="8441196" y="2510378"/>
                <a:ext cx="43468" cy="70635"/>
              </a:xfrm>
              <a:prstGeom prst="roundRect">
                <a:avLst>
                  <a:gd name="adj" fmla="val 50000"/>
                </a:avLst>
              </a:prstGeom>
              <a:solidFill>
                <a:srgbClr val="FFC000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26" name="Freeform 125"/>
              <p:cNvSpPr/>
              <p:nvPr/>
            </p:nvSpPr>
            <p:spPr>
              <a:xfrm>
                <a:off x="8229801" y="2194554"/>
                <a:ext cx="258359" cy="338367"/>
              </a:xfrm>
              <a:custGeom>
                <a:avLst/>
                <a:gdLst>
                  <a:gd name="connsiteX0" fmla="*/ 45806 w 376627"/>
                  <a:gd name="connsiteY0" fmla="*/ 35 h 476162"/>
                  <a:gd name="connsiteX1" fmla="*/ 285518 w 376627"/>
                  <a:gd name="connsiteY1" fmla="*/ 169897 h 476162"/>
                  <a:gd name="connsiteX2" fmla="*/ 372553 w 376627"/>
                  <a:gd name="connsiteY2" fmla="*/ 430222 h 476162"/>
                  <a:gd name="connsiteX3" fmla="*/ 376627 w 376627"/>
                  <a:gd name="connsiteY3" fmla="*/ 452804 h 476162"/>
                  <a:gd name="connsiteX4" fmla="*/ 290985 w 376627"/>
                  <a:gd name="connsiteY4" fmla="*/ 476162 h 476162"/>
                  <a:gd name="connsiteX5" fmla="*/ 284588 w 376627"/>
                  <a:gd name="connsiteY5" fmla="*/ 456556 h 476162"/>
                  <a:gd name="connsiteX6" fmla="*/ 202969 w 376627"/>
                  <a:gd name="connsiteY6" fmla="*/ 220698 h 476162"/>
                  <a:gd name="connsiteX7" fmla="*/ 14057 w 376627"/>
                  <a:gd name="connsiteY7" fmla="*/ 88935 h 476162"/>
                  <a:gd name="connsiteX8" fmla="*/ 45806 w 376627"/>
                  <a:gd name="connsiteY8" fmla="*/ 35 h 476162"/>
                  <a:gd name="connsiteX0" fmla="*/ 45806 w 376627"/>
                  <a:gd name="connsiteY0" fmla="*/ 35 h 476162"/>
                  <a:gd name="connsiteX1" fmla="*/ 285518 w 376627"/>
                  <a:gd name="connsiteY1" fmla="*/ 169897 h 476162"/>
                  <a:gd name="connsiteX2" fmla="*/ 376627 w 376627"/>
                  <a:gd name="connsiteY2" fmla="*/ 452804 h 476162"/>
                  <a:gd name="connsiteX3" fmla="*/ 290985 w 376627"/>
                  <a:gd name="connsiteY3" fmla="*/ 476162 h 476162"/>
                  <a:gd name="connsiteX4" fmla="*/ 284588 w 376627"/>
                  <a:gd name="connsiteY4" fmla="*/ 456556 h 476162"/>
                  <a:gd name="connsiteX5" fmla="*/ 202969 w 376627"/>
                  <a:gd name="connsiteY5" fmla="*/ 220698 h 476162"/>
                  <a:gd name="connsiteX6" fmla="*/ 14057 w 376627"/>
                  <a:gd name="connsiteY6" fmla="*/ 88935 h 476162"/>
                  <a:gd name="connsiteX7" fmla="*/ 45806 w 376627"/>
                  <a:gd name="connsiteY7" fmla="*/ 35 h 476162"/>
                  <a:gd name="connsiteX0" fmla="*/ 45806 w 376627"/>
                  <a:gd name="connsiteY0" fmla="*/ 35 h 476162"/>
                  <a:gd name="connsiteX1" fmla="*/ 285518 w 376627"/>
                  <a:gd name="connsiteY1" fmla="*/ 169897 h 476162"/>
                  <a:gd name="connsiteX2" fmla="*/ 376627 w 376627"/>
                  <a:gd name="connsiteY2" fmla="*/ 452804 h 476162"/>
                  <a:gd name="connsiteX3" fmla="*/ 290985 w 376627"/>
                  <a:gd name="connsiteY3" fmla="*/ 476162 h 476162"/>
                  <a:gd name="connsiteX4" fmla="*/ 202969 w 376627"/>
                  <a:gd name="connsiteY4" fmla="*/ 220698 h 476162"/>
                  <a:gd name="connsiteX5" fmla="*/ 14057 w 376627"/>
                  <a:gd name="connsiteY5" fmla="*/ 88935 h 476162"/>
                  <a:gd name="connsiteX6" fmla="*/ 45806 w 376627"/>
                  <a:gd name="connsiteY6" fmla="*/ 35 h 476162"/>
                  <a:gd name="connsiteX0" fmla="*/ 45806 w 400440"/>
                  <a:gd name="connsiteY0" fmla="*/ 35 h 493285"/>
                  <a:gd name="connsiteX1" fmla="*/ 285518 w 400440"/>
                  <a:gd name="connsiteY1" fmla="*/ 169897 h 493285"/>
                  <a:gd name="connsiteX2" fmla="*/ 400440 w 400440"/>
                  <a:gd name="connsiteY2" fmla="*/ 493285 h 493285"/>
                  <a:gd name="connsiteX3" fmla="*/ 290985 w 400440"/>
                  <a:gd name="connsiteY3" fmla="*/ 476162 h 493285"/>
                  <a:gd name="connsiteX4" fmla="*/ 202969 w 400440"/>
                  <a:gd name="connsiteY4" fmla="*/ 220698 h 493285"/>
                  <a:gd name="connsiteX5" fmla="*/ 14057 w 400440"/>
                  <a:gd name="connsiteY5" fmla="*/ 88935 h 493285"/>
                  <a:gd name="connsiteX6" fmla="*/ 45806 w 400440"/>
                  <a:gd name="connsiteY6" fmla="*/ 35 h 493285"/>
                  <a:gd name="connsiteX0" fmla="*/ 45806 w 400440"/>
                  <a:gd name="connsiteY0" fmla="*/ 35 h 521406"/>
                  <a:gd name="connsiteX1" fmla="*/ 285518 w 400440"/>
                  <a:gd name="connsiteY1" fmla="*/ 169897 h 521406"/>
                  <a:gd name="connsiteX2" fmla="*/ 400440 w 400440"/>
                  <a:gd name="connsiteY2" fmla="*/ 493285 h 521406"/>
                  <a:gd name="connsiteX3" fmla="*/ 300510 w 400440"/>
                  <a:gd name="connsiteY3" fmla="*/ 521406 h 521406"/>
                  <a:gd name="connsiteX4" fmla="*/ 202969 w 400440"/>
                  <a:gd name="connsiteY4" fmla="*/ 220698 h 521406"/>
                  <a:gd name="connsiteX5" fmla="*/ 14057 w 400440"/>
                  <a:gd name="connsiteY5" fmla="*/ 88935 h 521406"/>
                  <a:gd name="connsiteX6" fmla="*/ 45806 w 400440"/>
                  <a:gd name="connsiteY6" fmla="*/ 35 h 521406"/>
                  <a:gd name="connsiteX0" fmla="*/ 45806 w 400440"/>
                  <a:gd name="connsiteY0" fmla="*/ 35 h 521406"/>
                  <a:gd name="connsiteX1" fmla="*/ 285518 w 400440"/>
                  <a:gd name="connsiteY1" fmla="*/ 169897 h 521406"/>
                  <a:gd name="connsiteX2" fmla="*/ 400440 w 400440"/>
                  <a:gd name="connsiteY2" fmla="*/ 500429 h 521406"/>
                  <a:gd name="connsiteX3" fmla="*/ 300510 w 400440"/>
                  <a:gd name="connsiteY3" fmla="*/ 521406 h 521406"/>
                  <a:gd name="connsiteX4" fmla="*/ 202969 w 400440"/>
                  <a:gd name="connsiteY4" fmla="*/ 220698 h 521406"/>
                  <a:gd name="connsiteX5" fmla="*/ 14057 w 400440"/>
                  <a:gd name="connsiteY5" fmla="*/ 88935 h 521406"/>
                  <a:gd name="connsiteX6" fmla="*/ 45806 w 400440"/>
                  <a:gd name="connsiteY6" fmla="*/ 35 h 521406"/>
                  <a:gd name="connsiteX0" fmla="*/ 44226 w 398860"/>
                  <a:gd name="connsiteY0" fmla="*/ 34 h 521405"/>
                  <a:gd name="connsiteX1" fmla="*/ 283938 w 398860"/>
                  <a:gd name="connsiteY1" fmla="*/ 169896 h 521405"/>
                  <a:gd name="connsiteX2" fmla="*/ 398860 w 398860"/>
                  <a:gd name="connsiteY2" fmla="*/ 500428 h 521405"/>
                  <a:gd name="connsiteX3" fmla="*/ 298930 w 398860"/>
                  <a:gd name="connsiteY3" fmla="*/ 521405 h 521405"/>
                  <a:gd name="connsiteX4" fmla="*/ 179958 w 398860"/>
                  <a:gd name="connsiteY4" fmla="*/ 213553 h 521405"/>
                  <a:gd name="connsiteX5" fmla="*/ 12477 w 398860"/>
                  <a:gd name="connsiteY5" fmla="*/ 88934 h 521405"/>
                  <a:gd name="connsiteX6" fmla="*/ 44226 w 398860"/>
                  <a:gd name="connsiteY6" fmla="*/ 34 h 521405"/>
                  <a:gd name="connsiteX0" fmla="*/ 53154 w 407788"/>
                  <a:gd name="connsiteY0" fmla="*/ 1384 h 522755"/>
                  <a:gd name="connsiteX1" fmla="*/ 292866 w 407788"/>
                  <a:gd name="connsiteY1" fmla="*/ 171246 h 522755"/>
                  <a:gd name="connsiteX2" fmla="*/ 407788 w 407788"/>
                  <a:gd name="connsiteY2" fmla="*/ 501778 h 522755"/>
                  <a:gd name="connsiteX3" fmla="*/ 307858 w 407788"/>
                  <a:gd name="connsiteY3" fmla="*/ 522755 h 522755"/>
                  <a:gd name="connsiteX4" fmla="*/ 188886 w 407788"/>
                  <a:gd name="connsiteY4" fmla="*/ 214903 h 522755"/>
                  <a:gd name="connsiteX5" fmla="*/ 9499 w 407788"/>
                  <a:gd name="connsiteY5" fmla="*/ 97428 h 522755"/>
                  <a:gd name="connsiteX6" fmla="*/ 53154 w 407788"/>
                  <a:gd name="connsiteY6" fmla="*/ 1384 h 522755"/>
                  <a:gd name="connsiteX0" fmla="*/ 52819 w 407453"/>
                  <a:gd name="connsiteY0" fmla="*/ 818 h 522189"/>
                  <a:gd name="connsiteX1" fmla="*/ 280624 w 407453"/>
                  <a:gd name="connsiteY1" fmla="*/ 151630 h 522189"/>
                  <a:gd name="connsiteX2" fmla="*/ 407453 w 407453"/>
                  <a:gd name="connsiteY2" fmla="*/ 501212 h 522189"/>
                  <a:gd name="connsiteX3" fmla="*/ 307523 w 407453"/>
                  <a:gd name="connsiteY3" fmla="*/ 522189 h 522189"/>
                  <a:gd name="connsiteX4" fmla="*/ 188551 w 407453"/>
                  <a:gd name="connsiteY4" fmla="*/ 214337 h 522189"/>
                  <a:gd name="connsiteX5" fmla="*/ 9164 w 407453"/>
                  <a:gd name="connsiteY5" fmla="*/ 96862 h 522189"/>
                  <a:gd name="connsiteX6" fmla="*/ 52819 w 407453"/>
                  <a:gd name="connsiteY6" fmla="*/ 818 h 522189"/>
                  <a:gd name="connsiteX0" fmla="*/ 54108 w 408742"/>
                  <a:gd name="connsiteY0" fmla="*/ 47 h 521418"/>
                  <a:gd name="connsiteX1" fmla="*/ 281913 w 408742"/>
                  <a:gd name="connsiteY1" fmla="*/ 150859 h 521418"/>
                  <a:gd name="connsiteX2" fmla="*/ 408742 w 408742"/>
                  <a:gd name="connsiteY2" fmla="*/ 500441 h 521418"/>
                  <a:gd name="connsiteX3" fmla="*/ 308812 w 408742"/>
                  <a:gd name="connsiteY3" fmla="*/ 521418 h 521418"/>
                  <a:gd name="connsiteX4" fmla="*/ 189840 w 408742"/>
                  <a:gd name="connsiteY4" fmla="*/ 213566 h 521418"/>
                  <a:gd name="connsiteX5" fmla="*/ 10453 w 408742"/>
                  <a:gd name="connsiteY5" fmla="*/ 96091 h 521418"/>
                  <a:gd name="connsiteX6" fmla="*/ 54108 w 408742"/>
                  <a:gd name="connsiteY6" fmla="*/ 47 h 521418"/>
                  <a:gd name="connsiteX0" fmla="*/ 52485 w 409464"/>
                  <a:gd name="connsiteY0" fmla="*/ 43 h 526076"/>
                  <a:gd name="connsiteX1" fmla="*/ 282635 w 409464"/>
                  <a:gd name="connsiteY1" fmla="*/ 155517 h 526076"/>
                  <a:gd name="connsiteX2" fmla="*/ 409464 w 409464"/>
                  <a:gd name="connsiteY2" fmla="*/ 505099 h 526076"/>
                  <a:gd name="connsiteX3" fmla="*/ 309534 w 409464"/>
                  <a:gd name="connsiteY3" fmla="*/ 526076 h 526076"/>
                  <a:gd name="connsiteX4" fmla="*/ 190562 w 409464"/>
                  <a:gd name="connsiteY4" fmla="*/ 218224 h 526076"/>
                  <a:gd name="connsiteX5" fmla="*/ 11175 w 409464"/>
                  <a:gd name="connsiteY5" fmla="*/ 100749 h 526076"/>
                  <a:gd name="connsiteX6" fmla="*/ 52485 w 409464"/>
                  <a:gd name="connsiteY6" fmla="*/ 43 h 526076"/>
                  <a:gd name="connsiteX0" fmla="*/ 52485 w 409464"/>
                  <a:gd name="connsiteY0" fmla="*/ 43 h 519859"/>
                  <a:gd name="connsiteX1" fmla="*/ 282635 w 409464"/>
                  <a:gd name="connsiteY1" fmla="*/ 155517 h 519859"/>
                  <a:gd name="connsiteX2" fmla="*/ 409464 w 409464"/>
                  <a:gd name="connsiteY2" fmla="*/ 505099 h 519859"/>
                  <a:gd name="connsiteX3" fmla="*/ 315787 w 409464"/>
                  <a:gd name="connsiteY3" fmla="*/ 519859 h 519859"/>
                  <a:gd name="connsiteX4" fmla="*/ 190562 w 409464"/>
                  <a:gd name="connsiteY4" fmla="*/ 218224 h 519859"/>
                  <a:gd name="connsiteX5" fmla="*/ 11175 w 409464"/>
                  <a:gd name="connsiteY5" fmla="*/ 100749 h 519859"/>
                  <a:gd name="connsiteX6" fmla="*/ 52485 w 409464"/>
                  <a:gd name="connsiteY6" fmla="*/ 43 h 519859"/>
                  <a:gd name="connsiteX0" fmla="*/ 50827 w 407806"/>
                  <a:gd name="connsiteY0" fmla="*/ 838 h 520654"/>
                  <a:gd name="connsiteX1" fmla="*/ 271597 w 407806"/>
                  <a:gd name="connsiteY1" fmla="*/ 158644 h 520654"/>
                  <a:gd name="connsiteX2" fmla="*/ 407806 w 407806"/>
                  <a:gd name="connsiteY2" fmla="*/ 505894 h 520654"/>
                  <a:gd name="connsiteX3" fmla="*/ 314129 w 407806"/>
                  <a:gd name="connsiteY3" fmla="*/ 520654 h 520654"/>
                  <a:gd name="connsiteX4" fmla="*/ 188904 w 407806"/>
                  <a:gd name="connsiteY4" fmla="*/ 219019 h 520654"/>
                  <a:gd name="connsiteX5" fmla="*/ 9517 w 407806"/>
                  <a:gd name="connsiteY5" fmla="*/ 101544 h 520654"/>
                  <a:gd name="connsiteX6" fmla="*/ 50827 w 407806"/>
                  <a:gd name="connsiteY6" fmla="*/ 838 h 520654"/>
                  <a:gd name="connsiteX0" fmla="*/ 51337 w 408316"/>
                  <a:gd name="connsiteY0" fmla="*/ 831 h 520647"/>
                  <a:gd name="connsiteX1" fmla="*/ 272107 w 408316"/>
                  <a:gd name="connsiteY1" fmla="*/ 158637 h 520647"/>
                  <a:gd name="connsiteX2" fmla="*/ 408316 w 408316"/>
                  <a:gd name="connsiteY2" fmla="*/ 505887 h 520647"/>
                  <a:gd name="connsiteX3" fmla="*/ 314639 w 408316"/>
                  <a:gd name="connsiteY3" fmla="*/ 520647 h 520647"/>
                  <a:gd name="connsiteX4" fmla="*/ 196448 w 408316"/>
                  <a:gd name="connsiteY4" fmla="*/ 214350 h 520647"/>
                  <a:gd name="connsiteX5" fmla="*/ 10027 w 408316"/>
                  <a:gd name="connsiteY5" fmla="*/ 101537 h 520647"/>
                  <a:gd name="connsiteX6" fmla="*/ 51337 w 408316"/>
                  <a:gd name="connsiteY6" fmla="*/ 831 h 520647"/>
                  <a:gd name="connsiteX0" fmla="*/ 44773 w 401752"/>
                  <a:gd name="connsiteY0" fmla="*/ 919 h 520735"/>
                  <a:gd name="connsiteX1" fmla="*/ 265543 w 401752"/>
                  <a:gd name="connsiteY1" fmla="*/ 158725 h 520735"/>
                  <a:gd name="connsiteX2" fmla="*/ 401752 w 401752"/>
                  <a:gd name="connsiteY2" fmla="*/ 505975 h 520735"/>
                  <a:gd name="connsiteX3" fmla="*/ 308075 w 401752"/>
                  <a:gd name="connsiteY3" fmla="*/ 520735 h 520735"/>
                  <a:gd name="connsiteX4" fmla="*/ 98437 w 401752"/>
                  <a:gd name="connsiteY4" fmla="*/ 263398 h 520735"/>
                  <a:gd name="connsiteX5" fmla="*/ 3463 w 401752"/>
                  <a:gd name="connsiteY5" fmla="*/ 101625 h 520735"/>
                  <a:gd name="connsiteX6" fmla="*/ 44773 w 401752"/>
                  <a:gd name="connsiteY6" fmla="*/ 919 h 520735"/>
                  <a:gd name="connsiteX0" fmla="*/ 43416 w 400395"/>
                  <a:gd name="connsiteY0" fmla="*/ 3053 h 522869"/>
                  <a:gd name="connsiteX1" fmla="*/ 179773 w 400395"/>
                  <a:gd name="connsiteY1" fmla="*/ 219144 h 522869"/>
                  <a:gd name="connsiteX2" fmla="*/ 400395 w 400395"/>
                  <a:gd name="connsiteY2" fmla="*/ 508109 h 522869"/>
                  <a:gd name="connsiteX3" fmla="*/ 306718 w 400395"/>
                  <a:gd name="connsiteY3" fmla="*/ 522869 h 522869"/>
                  <a:gd name="connsiteX4" fmla="*/ 97080 w 400395"/>
                  <a:gd name="connsiteY4" fmla="*/ 265532 h 522869"/>
                  <a:gd name="connsiteX5" fmla="*/ 2106 w 400395"/>
                  <a:gd name="connsiteY5" fmla="*/ 103759 h 522869"/>
                  <a:gd name="connsiteX6" fmla="*/ 43416 w 400395"/>
                  <a:gd name="connsiteY6" fmla="*/ 3053 h 522869"/>
                  <a:gd name="connsiteX0" fmla="*/ 42901 w 399880"/>
                  <a:gd name="connsiteY0" fmla="*/ 3361 h 523177"/>
                  <a:gd name="connsiteX1" fmla="*/ 179258 w 399880"/>
                  <a:gd name="connsiteY1" fmla="*/ 219452 h 523177"/>
                  <a:gd name="connsiteX2" fmla="*/ 399880 w 399880"/>
                  <a:gd name="connsiteY2" fmla="*/ 508417 h 523177"/>
                  <a:gd name="connsiteX3" fmla="*/ 306203 w 399880"/>
                  <a:gd name="connsiteY3" fmla="*/ 523177 h 523177"/>
                  <a:gd name="connsiteX4" fmla="*/ 87186 w 399880"/>
                  <a:gd name="connsiteY4" fmla="*/ 319462 h 523177"/>
                  <a:gd name="connsiteX5" fmla="*/ 1591 w 399880"/>
                  <a:gd name="connsiteY5" fmla="*/ 104067 h 523177"/>
                  <a:gd name="connsiteX6" fmla="*/ 42901 w 399880"/>
                  <a:gd name="connsiteY6" fmla="*/ 3361 h 523177"/>
                  <a:gd name="connsiteX0" fmla="*/ 42781 w 399760"/>
                  <a:gd name="connsiteY0" fmla="*/ 5689 h 525505"/>
                  <a:gd name="connsiteX1" fmla="*/ 165070 w 399760"/>
                  <a:gd name="connsiteY1" fmla="*/ 268408 h 525505"/>
                  <a:gd name="connsiteX2" fmla="*/ 399760 w 399760"/>
                  <a:gd name="connsiteY2" fmla="*/ 510745 h 525505"/>
                  <a:gd name="connsiteX3" fmla="*/ 306083 w 399760"/>
                  <a:gd name="connsiteY3" fmla="*/ 525505 h 525505"/>
                  <a:gd name="connsiteX4" fmla="*/ 87066 w 399760"/>
                  <a:gd name="connsiteY4" fmla="*/ 321790 h 525505"/>
                  <a:gd name="connsiteX5" fmla="*/ 1471 w 399760"/>
                  <a:gd name="connsiteY5" fmla="*/ 106395 h 525505"/>
                  <a:gd name="connsiteX6" fmla="*/ 42781 w 399760"/>
                  <a:gd name="connsiteY6" fmla="*/ 5689 h 525505"/>
                  <a:gd name="connsiteX0" fmla="*/ 53655 w 398910"/>
                  <a:gd name="connsiteY0" fmla="*/ 6749 h 507913"/>
                  <a:gd name="connsiteX1" fmla="*/ 164220 w 398910"/>
                  <a:gd name="connsiteY1" fmla="*/ 250816 h 507913"/>
                  <a:gd name="connsiteX2" fmla="*/ 398910 w 398910"/>
                  <a:gd name="connsiteY2" fmla="*/ 493153 h 507913"/>
                  <a:gd name="connsiteX3" fmla="*/ 305233 w 398910"/>
                  <a:gd name="connsiteY3" fmla="*/ 507913 h 507913"/>
                  <a:gd name="connsiteX4" fmla="*/ 86216 w 398910"/>
                  <a:gd name="connsiteY4" fmla="*/ 304198 h 507913"/>
                  <a:gd name="connsiteX5" fmla="*/ 621 w 398910"/>
                  <a:gd name="connsiteY5" fmla="*/ 88803 h 507913"/>
                  <a:gd name="connsiteX6" fmla="*/ 53655 w 398910"/>
                  <a:gd name="connsiteY6" fmla="*/ 6749 h 507913"/>
                  <a:gd name="connsiteX0" fmla="*/ 62680 w 398556"/>
                  <a:gd name="connsiteY0" fmla="*/ 6046 h 518867"/>
                  <a:gd name="connsiteX1" fmla="*/ 163866 w 398556"/>
                  <a:gd name="connsiteY1" fmla="*/ 261770 h 518867"/>
                  <a:gd name="connsiteX2" fmla="*/ 398556 w 398556"/>
                  <a:gd name="connsiteY2" fmla="*/ 504107 h 518867"/>
                  <a:gd name="connsiteX3" fmla="*/ 304879 w 398556"/>
                  <a:gd name="connsiteY3" fmla="*/ 518867 h 518867"/>
                  <a:gd name="connsiteX4" fmla="*/ 85862 w 398556"/>
                  <a:gd name="connsiteY4" fmla="*/ 315152 h 518867"/>
                  <a:gd name="connsiteX5" fmla="*/ 267 w 398556"/>
                  <a:gd name="connsiteY5" fmla="*/ 99757 h 518867"/>
                  <a:gd name="connsiteX6" fmla="*/ 62680 w 398556"/>
                  <a:gd name="connsiteY6" fmla="*/ 6046 h 518867"/>
                  <a:gd name="connsiteX0" fmla="*/ 62681 w 398557"/>
                  <a:gd name="connsiteY0" fmla="*/ 6175 h 518996"/>
                  <a:gd name="connsiteX1" fmla="*/ 166211 w 398557"/>
                  <a:gd name="connsiteY1" fmla="*/ 264230 h 518996"/>
                  <a:gd name="connsiteX2" fmla="*/ 398557 w 398557"/>
                  <a:gd name="connsiteY2" fmla="*/ 504236 h 518996"/>
                  <a:gd name="connsiteX3" fmla="*/ 304880 w 398557"/>
                  <a:gd name="connsiteY3" fmla="*/ 518996 h 518996"/>
                  <a:gd name="connsiteX4" fmla="*/ 85863 w 398557"/>
                  <a:gd name="connsiteY4" fmla="*/ 315281 h 518996"/>
                  <a:gd name="connsiteX5" fmla="*/ 268 w 398557"/>
                  <a:gd name="connsiteY5" fmla="*/ 99886 h 518996"/>
                  <a:gd name="connsiteX6" fmla="*/ 62681 w 398557"/>
                  <a:gd name="connsiteY6" fmla="*/ 6175 h 5189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8557" h="518996">
                    <a:moveTo>
                      <a:pt x="62681" y="6175"/>
                    </a:moveTo>
                    <a:cubicBezTo>
                      <a:pt x="90338" y="33566"/>
                      <a:pt x="110232" y="181220"/>
                      <a:pt x="166211" y="264230"/>
                    </a:cubicBezTo>
                    <a:cubicBezTo>
                      <a:pt x="222190" y="347240"/>
                      <a:pt x="397646" y="453192"/>
                      <a:pt x="398557" y="504236"/>
                    </a:cubicBezTo>
                    <a:lnTo>
                      <a:pt x="304880" y="518996"/>
                    </a:lnTo>
                    <a:lnTo>
                      <a:pt x="85863" y="315281"/>
                    </a:lnTo>
                    <a:cubicBezTo>
                      <a:pt x="37444" y="231938"/>
                      <a:pt x="4132" y="151404"/>
                      <a:pt x="268" y="99886"/>
                    </a:cubicBezTo>
                    <a:cubicBezTo>
                      <a:pt x="-3596" y="48368"/>
                      <a:pt x="35024" y="-21216"/>
                      <a:pt x="62681" y="6175"/>
                    </a:cubicBezTo>
                    <a:close/>
                  </a:path>
                </a:pathLst>
              </a:custGeom>
              <a:solidFill>
                <a:srgbClr val="FEA83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127" name="Group 126"/>
              <p:cNvGrpSpPr/>
              <p:nvPr/>
            </p:nvGrpSpPr>
            <p:grpSpPr>
              <a:xfrm>
                <a:off x="7796007" y="2360264"/>
                <a:ext cx="182480" cy="324935"/>
                <a:chOff x="6244312" y="5040294"/>
                <a:chExt cx="285878" cy="509052"/>
              </a:xfrm>
            </p:grpSpPr>
            <p:sp>
              <p:nvSpPr>
                <p:cNvPr id="151" name="Rounded Rectangle 150"/>
                <p:cNvSpPr/>
                <p:nvPr/>
              </p:nvSpPr>
              <p:spPr bwMode="auto">
                <a:xfrm>
                  <a:off x="6244312" y="5040294"/>
                  <a:ext cx="283418" cy="509052"/>
                </a:xfrm>
                <a:prstGeom prst="roundRect">
                  <a:avLst>
                    <a:gd name="adj" fmla="val 4692"/>
                  </a:avLst>
                </a:prstGeom>
                <a:solidFill>
                  <a:sysClr val="window" lastClr="FFFFFF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grpSp>
              <p:nvGrpSpPr>
                <p:cNvPr id="152" name="Group 151"/>
                <p:cNvGrpSpPr/>
                <p:nvPr/>
              </p:nvGrpSpPr>
              <p:grpSpPr>
                <a:xfrm>
                  <a:off x="6245822" y="5040295"/>
                  <a:ext cx="284368" cy="482006"/>
                  <a:chOff x="6177779" y="4924960"/>
                  <a:chExt cx="420453" cy="712675"/>
                </a:xfrm>
              </p:grpSpPr>
              <p:sp>
                <p:nvSpPr>
                  <p:cNvPr id="153" name="Rectangle 79"/>
                  <p:cNvSpPr/>
                  <p:nvPr/>
                </p:nvSpPr>
                <p:spPr>
                  <a:xfrm>
                    <a:off x="6177779" y="4924960"/>
                    <a:ext cx="420453" cy="71267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407298" h="2385394">
                        <a:moveTo>
                          <a:pt x="703650" y="2179220"/>
                        </a:moveTo>
                        <a:cubicBezTo>
                          <a:pt x="660028" y="2179220"/>
                          <a:pt x="624666" y="2214582"/>
                          <a:pt x="624666" y="2258204"/>
                        </a:cubicBezTo>
                        <a:cubicBezTo>
                          <a:pt x="624666" y="2301826"/>
                          <a:pt x="660028" y="2337188"/>
                          <a:pt x="703650" y="2337188"/>
                        </a:cubicBezTo>
                        <a:cubicBezTo>
                          <a:pt x="747272" y="2337188"/>
                          <a:pt x="782634" y="2301826"/>
                          <a:pt x="782634" y="2258204"/>
                        </a:cubicBezTo>
                        <a:cubicBezTo>
                          <a:pt x="782634" y="2214582"/>
                          <a:pt x="747272" y="2179220"/>
                          <a:pt x="703650" y="2179220"/>
                        </a:cubicBezTo>
                        <a:close/>
                        <a:moveTo>
                          <a:pt x="177553" y="179867"/>
                        </a:moveTo>
                        <a:lnTo>
                          <a:pt x="172551" y="180877"/>
                        </a:lnTo>
                        <a:lnTo>
                          <a:pt x="165667" y="180877"/>
                        </a:lnTo>
                        <a:cubicBezTo>
                          <a:pt x="144630" y="180877"/>
                          <a:pt x="127577" y="197930"/>
                          <a:pt x="127577" y="218967"/>
                        </a:cubicBezTo>
                        <a:lnTo>
                          <a:pt x="127577" y="2097793"/>
                        </a:lnTo>
                        <a:cubicBezTo>
                          <a:pt x="127577" y="2118830"/>
                          <a:pt x="144630" y="2135883"/>
                          <a:pt x="165667" y="2135883"/>
                        </a:cubicBezTo>
                        <a:lnTo>
                          <a:pt x="1241631" y="2135883"/>
                        </a:lnTo>
                        <a:cubicBezTo>
                          <a:pt x="1262668" y="2135883"/>
                          <a:pt x="1279721" y="2118830"/>
                          <a:pt x="1279721" y="2097793"/>
                        </a:cubicBezTo>
                        <a:lnTo>
                          <a:pt x="1279721" y="218967"/>
                        </a:lnTo>
                        <a:cubicBezTo>
                          <a:pt x="1279721" y="197930"/>
                          <a:pt x="1262668" y="180877"/>
                          <a:pt x="1241631" y="180877"/>
                        </a:cubicBezTo>
                        <a:lnTo>
                          <a:pt x="1234749" y="180877"/>
                        </a:lnTo>
                        <a:cubicBezTo>
                          <a:pt x="1233161" y="179963"/>
                          <a:pt x="1231465" y="179867"/>
                          <a:pt x="1229746" y="179867"/>
                        </a:cubicBezTo>
                        <a:close/>
                        <a:moveTo>
                          <a:pt x="602415" y="56498"/>
                        </a:moveTo>
                        <a:cubicBezTo>
                          <a:pt x="588290" y="56498"/>
                          <a:pt x="576839" y="67949"/>
                          <a:pt x="576839" y="82074"/>
                        </a:cubicBezTo>
                        <a:cubicBezTo>
                          <a:pt x="576839" y="96199"/>
                          <a:pt x="588290" y="107650"/>
                          <a:pt x="602415" y="107650"/>
                        </a:cubicBezTo>
                        <a:lnTo>
                          <a:pt x="804884" y="107650"/>
                        </a:lnTo>
                        <a:cubicBezTo>
                          <a:pt x="819009" y="107650"/>
                          <a:pt x="830460" y="96199"/>
                          <a:pt x="830460" y="82074"/>
                        </a:cubicBezTo>
                        <a:cubicBezTo>
                          <a:pt x="830460" y="67949"/>
                          <a:pt x="819009" y="56498"/>
                          <a:pt x="804884" y="56498"/>
                        </a:cubicBezTo>
                        <a:close/>
                        <a:moveTo>
                          <a:pt x="76685" y="0"/>
                        </a:moveTo>
                        <a:lnTo>
                          <a:pt x="1330614" y="0"/>
                        </a:lnTo>
                        <a:cubicBezTo>
                          <a:pt x="1372966" y="0"/>
                          <a:pt x="1407298" y="34333"/>
                          <a:pt x="1407298" y="76684"/>
                        </a:cubicBezTo>
                        <a:lnTo>
                          <a:pt x="1407298" y="1757263"/>
                        </a:lnTo>
                        <a:lnTo>
                          <a:pt x="1407298" y="1766789"/>
                        </a:lnTo>
                        <a:lnTo>
                          <a:pt x="1407298" y="2308710"/>
                        </a:lnTo>
                        <a:cubicBezTo>
                          <a:pt x="1407298" y="2351061"/>
                          <a:pt x="1372966" y="2385394"/>
                          <a:pt x="1330614" y="2385394"/>
                        </a:cubicBezTo>
                        <a:lnTo>
                          <a:pt x="76685" y="2385394"/>
                        </a:lnTo>
                        <a:cubicBezTo>
                          <a:pt x="34333" y="2385394"/>
                          <a:pt x="0" y="2351061"/>
                          <a:pt x="0" y="2308710"/>
                        </a:cubicBezTo>
                        <a:lnTo>
                          <a:pt x="0" y="1766789"/>
                        </a:lnTo>
                        <a:lnTo>
                          <a:pt x="0" y="1757263"/>
                        </a:lnTo>
                        <a:lnTo>
                          <a:pt x="0" y="76684"/>
                        </a:lnTo>
                        <a:cubicBezTo>
                          <a:pt x="0" y="34333"/>
                          <a:pt x="34333" y="0"/>
                          <a:pt x="76685" y="0"/>
                        </a:cubicBezTo>
                        <a:close/>
                      </a:path>
                    </a:pathLst>
                  </a:custGeom>
                  <a:solidFill>
                    <a:srgbClr val="AB0086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316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154" name="Group 153"/>
                  <p:cNvGrpSpPr/>
                  <p:nvPr/>
                </p:nvGrpSpPr>
                <p:grpSpPr>
                  <a:xfrm>
                    <a:off x="6281208" y="5011428"/>
                    <a:ext cx="209626" cy="209627"/>
                    <a:chOff x="6281208" y="5011428"/>
                    <a:chExt cx="209626" cy="209627"/>
                  </a:xfrm>
                </p:grpSpPr>
                <p:sp>
                  <p:nvSpPr>
                    <p:cNvPr id="163" name="Oval 162"/>
                    <p:cNvSpPr/>
                    <p:nvPr/>
                  </p:nvSpPr>
                  <p:spPr bwMode="auto">
                    <a:xfrm>
                      <a:off x="6281208" y="5011428"/>
                      <a:ext cx="209626" cy="209627"/>
                    </a:xfrm>
                    <a:prstGeom prst="ellipse">
                      <a:avLst/>
                    </a:prstGeom>
                    <a:solidFill>
                      <a:srgbClr val="FEA830"/>
                    </a:solidFill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>
                      <a:outerShdw dist="50800" dir="2700000" sx="90000" sy="90000" algn="tl" rotWithShape="0">
                        <a:srgbClr val="3F3F3F">
                          <a:lumMod val="50000"/>
                          <a:alpha val="30000"/>
                        </a:srgbClr>
                      </a:outerShdw>
                    </a:effectLst>
                  </p:spPr>
                  <p:txBody>
                    <a:bodyPr rot="0" spcFirstLastPara="0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32472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 dirty="0" smtClean="0">
                        <a:ln>
                          <a:noFill/>
                        </a:ln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ffectLst/>
                        <a:uLnTx/>
                        <a:uFillTx/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164" name="Freeform 163"/>
                    <p:cNvSpPr>
                      <a:spLocks noEditPoints="1"/>
                    </p:cNvSpPr>
                    <p:nvPr/>
                  </p:nvSpPr>
                  <p:spPr bwMode="black">
                    <a:xfrm>
                      <a:off x="6323929" y="5054150"/>
                      <a:ext cx="124185" cy="124184"/>
                    </a:xfrm>
                    <a:custGeom>
                      <a:avLst/>
                      <a:gdLst>
                        <a:gd name="T0" fmla="*/ 47 w 66"/>
                        <a:gd name="T1" fmla="*/ 37 h 66"/>
                        <a:gd name="T2" fmla="*/ 51 w 66"/>
                        <a:gd name="T3" fmla="*/ 33 h 66"/>
                        <a:gd name="T4" fmla="*/ 47 w 66"/>
                        <a:gd name="T5" fmla="*/ 29 h 66"/>
                        <a:gd name="T6" fmla="*/ 37 w 66"/>
                        <a:gd name="T7" fmla="*/ 29 h 66"/>
                        <a:gd name="T8" fmla="*/ 37 w 66"/>
                        <a:gd name="T9" fmla="*/ 16 h 66"/>
                        <a:gd name="T10" fmla="*/ 33 w 66"/>
                        <a:gd name="T11" fmla="*/ 13 h 66"/>
                        <a:gd name="T12" fmla="*/ 29 w 66"/>
                        <a:gd name="T13" fmla="*/ 16 h 66"/>
                        <a:gd name="T14" fmla="*/ 29 w 66"/>
                        <a:gd name="T15" fmla="*/ 33 h 66"/>
                        <a:gd name="T16" fmla="*/ 33 w 66"/>
                        <a:gd name="T17" fmla="*/ 37 h 66"/>
                        <a:gd name="T18" fmla="*/ 47 w 66"/>
                        <a:gd name="T19" fmla="*/ 37 h 66"/>
                        <a:gd name="T20" fmla="*/ 33 w 66"/>
                        <a:gd name="T21" fmla="*/ 8 h 66"/>
                        <a:gd name="T22" fmla="*/ 58 w 66"/>
                        <a:gd name="T23" fmla="*/ 33 h 66"/>
                        <a:gd name="T24" fmla="*/ 33 w 66"/>
                        <a:gd name="T25" fmla="*/ 58 h 66"/>
                        <a:gd name="T26" fmla="*/ 8 w 66"/>
                        <a:gd name="T27" fmla="*/ 33 h 66"/>
                        <a:gd name="T28" fmla="*/ 33 w 66"/>
                        <a:gd name="T29" fmla="*/ 8 h 66"/>
                        <a:gd name="T30" fmla="*/ 33 w 66"/>
                        <a:gd name="T31" fmla="*/ 66 h 66"/>
                        <a:gd name="T32" fmla="*/ 66 w 66"/>
                        <a:gd name="T33" fmla="*/ 33 h 66"/>
                        <a:gd name="T34" fmla="*/ 33 w 66"/>
                        <a:gd name="T35" fmla="*/ 0 h 66"/>
                        <a:gd name="T36" fmla="*/ 0 w 66"/>
                        <a:gd name="T37" fmla="*/ 33 h 66"/>
                        <a:gd name="T38" fmla="*/ 33 w 66"/>
                        <a:gd name="T39" fmla="*/ 66 h 6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66" h="66">
                          <a:moveTo>
                            <a:pt x="47" y="37"/>
                          </a:moveTo>
                          <a:cubicBezTo>
                            <a:pt x="49" y="37"/>
                            <a:pt x="51" y="35"/>
                            <a:pt x="51" y="33"/>
                          </a:cubicBezTo>
                          <a:cubicBezTo>
                            <a:pt x="51" y="31"/>
                            <a:pt x="49" y="29"/>
                            <a:pt x="47" y="29"/>
                          </a:cubicBezTo>
                          <a:cubicBezTo>
                            <a:pt x="37" y="29"/>
                            <a:pt x="37" y="29"/>
                            <a:pt x="37" y="29"/>
                          </a:cubicBezTo>
                          <a:cubicBezTo>
                            <a:pt x="37" y="16"/>
                            <a:pt x="37" y="16"/>
                            <a:pt x="37" y="16"/>
                          </a:cubicBezTo>
                          <a:cubicBezTo>
                            <a:pt x="37" y="14"/>
                            <a:pt x="35" y="13"/>
                            <a:pt x="33" y="13"/>
                          </a:cubicBezTo>
                          <a:cubicBezTo>
                            <a:pt x="31" y="13"/>
                            <a:pt x="29" y="14"/>
                            <a:pt x="29" y="16"/>
                          </a:cubicBezTo>
                          <a:cubicBezTo>
                            <a:pt x="29" y="33"/>
                            <a:pt x="29" y="33"/>
                            <a:pt x="29" y="33"/>
                          </a:cubicBezTo>
                          <a:cubicBezTo>
                            <a:pt x="29" y="35"/>
                            <a:pt x="31" y="37"/>
                            <a:pt x="33" y="37"/>
                          </a:cubicBezTo>
                          <a:lnTo>
                            <a:pt x="47" y="37"/>
                          </a:lnTo>
                          <a:close/>
                          <a:moveTo>
                            <a:pt x="33" y="8"/>
                          </a:moveTo>
                          <a:cubicBezTo>
                            <a:pt x="47" y="8"/>
                            <a:pt x="58" y="19"/>
                            <a:pt x="58" y="33"/>
                          </a:cubicBezTo>
                          <a:cubicBezTo>
                            <a:pt x="58" y="47"/>
                            <a:pt x="47" y="58"/>
                            <a:pt x="33" y="58"/>
                          </a:cubicBezTo>
                          <a:cubicBezTo>
                            <a:pt x="19" y="58"/>
                            <a:pt x="8" y="47"/>
                            <a:pt x="8" y="33"/>
                          </a:cubicBezTo>
                          <a:cubicBezTo>
                            <a:pt x="8" y="19"/>
                            <a:pt x="19" y="8"/>
                            <a:pt x="33" y="8"/>
                          </a:cubicBezTo>
                          <a:moveTo>
                            <a:pt x="33" y="66"/>
                          </a:moveTo>
                          <a:cubicBezTo>
                            <a:pt x="51" y="66"/>
                            <a:pt x="66" y="51"/>
                            <a:pt x="66" y="33"/>
                          </a:cubicBezTo>
                          <a:cubicBezTo>
                            <a:pt x="66" y="15"/>
                            <a:pt x="51" y="0"/>
                            <a:pt x="33" y="0"/>
                          </a:cubicBezTo>
                          <a:cubicBezTo>
                            <a:pt x="15" y="0"/>
                            <a:pt x="0" y="15"/>
                            <a:pt x="0" y="33"/>
                          </a:cubicBezTo>
                          <a:cubicBezTo>
                            <a:pt x="0" y="51"/>
                            <a:pt x="15" y="66"/>
                            <a:pt x="33" y="66"/>
                          </a:cubicBezTo>
                        </a:path>
                      </a:pathLst>
                    </a:custGeom>
                    <a:solidFill>
                      <a:sysClr val="window" lastClr="FFFFFF"/>
                    </a:solidFill>
                    <a:ln>
                      <a:noFill/>
                    </a:ln>
                    <a:extLst/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36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  <p:grpSp>
                <p:nvGrpSpPr>
                  <p:cNvPr id="155" name="Group 154"/>
                  <p:cNvGrpSpPr/>
                  <p:nvPr/>
                </p:nvGrpSpPr>
                <p:grpSpPr>
                  <a:xfrm>
                    <a:off x="6281208" y="5301290"/>
                    <a:ext cx="209626" cy="209627"/>
                    <a:chOff x="10811580" y="2714625"/>
                    <a:chExt cx="527050" cy="527050"/>
                  </a:xfrm>
                </p:grpSpPr>
                <p:sp>
                  <p:nvSpPr>
                    <p:cNvPr id="156" name="Oval 155"/>
                    <p:cNvSpPr/>
                    <p:nvPr/>
                  </p:nvSpPr>
                  <p:spPr bwMode="auto">
                    <a:xfrm>
                      <a:off x="10811580" y="2714625"/>
                      <a:ext cx="527050" cy="527050"/>
                    </a:xfrm>
                    <a:prstGeom prst="ellipse">
                      <a:avLst/>
                    </a:prstGeom>
                    <a:solidFill>
                      <a:srgbClr val="ADD40D"/>
                    </a:solidFill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>
                      <a:outerShdw dist="50800" dir="2700000" sx="90000" sy="90000" algn="tl" rotWithShape="0">
                        <a:srgbClr val="3F3F3F">
                          <a:lumMod val="50000"/>
                          <a:alpha val="30000"/>
                        </a:srgbClr>
                      </a:outerShdw>
                    </a:effectLst>
                  </p:spPr>
                  <p:txBody>
                    <a:bodyPr rot="0" spcFirstLastPara="0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32472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 dirty="0" smtClean="0">
                        <a:ln>
                          <a:noFill/>
                        </a:ln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ffectLst/>
                        <a:uLnTx/>
                        <a:uFillTx/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grpSp>
                  <p:nvGrpSpPr>
                    <p:cNvPr id="157" name="Group 156"/>
                    <p:cNvGrpSpPr/>
                    <p:nvPr/>
                  </p:nvGrpSpPr>
                  <p:grpSpPr bwMode="black">
                    <a:xfrm>
                      <a:off x="10885015" y="2860260"/>
                      <a:ext cx="380201" cy="235780"/>
                      <a:chOff x="10387012" y="4103350"/>
                      <a:chExt cx="995920" cy="725626"/>
                    </a:xfrm>
                    <a:solidFill>
                      <a:sysClr val="window" lastClr="FFFFFF"/>
                    </a:solidFill>
                  </p:grpSpPr>
                  <p:sp>
                    <p:nvSpPr>
                      <p:cNvPr id="158" name="Freeform 157"/>
                      <p:cNvSpPr>
                        <a:spLocks/>
                      </p:cNvSpPr>
                      <p:nvPr/>
                    </p:nvSpPr>
                    <p:spPr bwMode="black">
                      <a:xfrm>
                        <a:off x="10506081" y="4218399"/>
                        <a:ext cx="706438" cy="599679"/>
                      </a:xfrm>
                      <a:custGeom>
                        <a:avLst/>
                        <a:gdLst>
                          <a:gd name="T0" fmla="*/ 183 w 188"/>
                          <a:gd name="T1" fmla="*/ 84 h 137"/>
                          <a:gd name="T2" fmla="*/ 104 w 188"/>
                          <a:gd name="T3" fmla="*/ 27 h 137"/>
                          <a:gd name="T4" fmla="*/ 86 w 188"/>
                          <a:gd name="T5" fmla="*/ 19 h 137"/>
                          <a:gd name="T6" fmla="*/ 59 w 188"/>
                          <a:gd name="T7" fmla="*/ 34 h 137"/>
                          <a:gd name="T8" fmla="*/ 56 w 188"/>
                          <a:gd name="T9" fmla="*/ 36 h 137"/>
                          <a:gd name="T10" fmla="*/ 43 w 188"/>
                          <a:gd name="T11" fmla="*/ 38 h 137"/>
                          <a:gd name="T12" fmla="*/ 43 w 188"/>
                          <a:gd name="T13" fmla="*/ 38 h 137"/>
                          <a:gd name="T14" fmla="*/ 26 w 188"/>
                          <a:gd name="T15" fmla="*/ 27 h 137"/>
                          <a:gd name="T16" fmla="*/ 24 w 188"/>
                          <a:gd name="T17" fmla="*/ 14 h 137"/>
                          <a:gd name="T18" fmla="*/ 31 w 188"/>
                          <a:gd name="T19" fmla="*/ 0 h 137"/>
                          <a:gd name="T20" fmla="*/ 21 w 188"/>
                          <a:gd name="T21" fmla="*/ 0 h 137"/>
                          <a:gd name="T22" fmla="*/ 1 w 188"/>
                          <a:gd name="T23" fmla="*/ 79 h 137"/>
                          <a:gd name="T24" fmla="*/ 4 w 188"/>
                          <a:gd name="T25" fmla="*/ 80 h 137"/>
                          <a:gd name="T26" fmla="*/ 16 w 188"/>
                          <a:gd name="T27" fmla="*/ 70 h 137"/>
                          <a:gd name="T28" fmla="*/ 22 w 188"/>
                          <a:gd name="T29" fmla="*/ 70 h 137"/>
                          <a:gd name="T30" fmla="*/ 32 w 188"/>
                          <a:gd name="T31" fmla="*/ 74 h 137"/>
                          <a:gd name="T32" fmla="*/ 43 w 188"/>
                          <a:gd name="T33" fmla="*/ 72 h 137"/>
                          <a:gd name="T34" fmla="*/ 44 w 188"/>
                          <a:gd name="T35" fmla="*/ 72 h 137"/>
                          <a:gd name="T36" fmla="*/ 53 w 188"/>
                          <a:gd name="T37" fmla="*/ 76 h 137"/>
                          <a:gd name="T38" fmla="*/ 65 w 188"/>
                          <a:gd name="T39" fmla="*/ 74 h 137"/>
                          <a:gd name="T40" fmla="*/ 67 w 188"/>
                          <a:gd name="T41" fmla="*/ 74 h 137"/>
                          <a:gd name="T42" fmla="*/ 80 w 188"/>
                          <a:gd name="T43" fmla="*/ 88 h 137"/>
                          <a:gd name="T44" fmla="*/ 83 w 188"/>
                          <a:gd name="T45" fmla="*/ 88 h 137"/>
                          <a:gd name="T46" fmla="*/ 85 w 188"/>
                          <a:gd name="T47" fmla="*/ 89 h 137"/>
                          <a:gd name="T48" fmla="*/ 99 w 188"/>
                          <a:gd name="T49" fmla="*/ 108 h 137"/>
                          <a:gd name="T50" fmla="*/ 99 w 188"/>
                          <a:gd name="T51" fmla="*/ 110 h 137"/>
                          <a:gd name="T52" fmla="*/ 96 w 188"/>
                          <a:gd name="T53" fmla="*/ 124 h 137"/>
                          <a:gd name="T54" fmla="*/ 114 w 188"/>
                          <a:gd name="T55" fmla="*/ 137 h 137"/>
                          <a:gd name="T56" fmla="*/ 123 w 188"/>
                          <a:gd name="T57" fmla="*/ 132 h 137"/>
                          <a:gd name="T58" fmla="*/ 124 w 188"/>
                          <a:gd name="T59" fmla="*/ 124 h 137"/>
                          <a:gd name="T60" fmla="*/ 108 w 188"/>
                          <a:gd name="T61" fmla="*/ 112 h 137"/>
                          <a:gd name="T62" fmla="*/ 107 w 188"/>
                          <a:gd name="T63" fmla="*/ 109 h 137"/>
                          <a:gd name="T64" fmla="*/ 110 w 188"/>
                          <a:gd name="T65" fmla="*/ 109 h 137"/>
                          <a:gd name="T66" fmla="*/ 136 w 188"/>
                          <a:gd name="T67" fmla="*/ 127 h 137"/>
                          <a:gd name="T68" fmla="*/ 145 w 188"/>
                          <a:gd name="T69" fmla="*/ 123 h 137"/>
                          <a:gd name="T70" fmla="*/ 147 w 188"/>
                          <a:gd name="T71" fmla="*/ 114 h 137"/>
                          <a:gd name="T72" fmla="*/ 117 w 188"/>
                          <a:gd name="T73" fmla="*/ 93 h 137"/>
                          <a:gd name="T74" fmla="*/ 117 w 188"/>
                          <a:gd name="T75" fmla="*/ 90 h 137"/>
                          <a:gd name="T76" fmla="*/ 120 w 188"/>
                          <a:gd name="T77" fmla="*/ 89 h 137"/>
                          <a:gd name="T78" fmla="*/ 156 w 188"/>
                          <a:gd name="T79" fmla="*/ 116 h 137"/>
                          <a:gd name="T80" fmla="*/ 165 w 188"/>
                          <a:gd name="T81" fmla="*/ 111 h 137"/>
                          <a:gd name="T82" fmla="*/ 167 w 188"/>
                          <a:gd name="T83" fmla="*/ 102 h 137"/>
                          <a:gd name="T84" fmla="*/ 137 w 188"/>
                          <a:gd name="T85" fmla="*/ 81 h 137"/>
                          <a:gd name="T86" fmla="*/ 136 w 188"/>
                          <a:gd name="T87" fmla="*/ 78 h 137"/>
                          <a:gd name="T88" fmla="*/ 139 w 188"/>
                          <a:gd name="T89" fmla="*/ 77 h 137"/>
                          <a:gd name="T90" fmla="*/ 176 w 188"/>
                          <a:gd name="T91" fmla="*/ 104 h 137"/>
                          <a:gd name="T92" fmla="*/ 185 w 188"/>
                          <a:gd name="T93" fmla="*/ 99 h 137"/>
                          <a:gd name="T94" fmla="*/ 183 w 188"/>
                          <a:gd name="T95" fmla="*/ 84 h 13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  <a:cxn ang="0">
                            <a:pos x="T56" y="T57"/>
                          </a:cxn>
                          <a:cxn ang="0">
                            <a:pos x="T58" y="T59"/>
                          </a:cxn>
                          <a:cxn ang="0">
                            <a:pos x="T60" y="T61"/>
                          </a:cxn>
                          <a:cxn ang="0">
                            <a:pos x="T62" y="T63"/>
                          </a:cxn>
                          <a:cxn ang="0">
                            <a:pos x="T64" y="T65"/>
                          </a:cxn>
                          <a:cxn ang="0">
                            <a:pos x="T66" y="T67"/>
                          </a:cxn>
                          <a:cxn ang="0">
                            <a:pos x="T68" y="T69"/>
                          </a:cxn>
                          <a:cxn ang="0">
                            <a:pos x="T70" y="T71"/>
                          </a:cxn>
                          <a:cxn ang="0">
                            <a:pos x="T72" y="T73"/>
                          </a:cxn>
                          <a:cxn ang="0">
                            <a:pos x="T74" y="T75"/>
                          </a:cxn>
                          <a:cxn ang="0">
                            <a:pos x="T76" y="T77"/>
                          </a:cxn>
                          <a:cxn ang="0">
                            <a:pos x="T78" y="T79"/>
                          </a:cxn>
                          <a:cxn ang="0">
                            <a:pos x="T80" y="T81"/>
                          </a:cxn>
                          <a:cxn ang="0">
                            <a:pos x="T82" y="T83"/>
                          </a:cxn>
                          <a:cxn ang="0">
                            <a:pos x="T84" y="T85"/>
                          </a:cxn>
                          <a:cxn ang="0">
                            <a:pos x="T86" y="T87"/>
                          </a:cxn>
                          <a:cxn ang="0">
                            <a:pos x="T88" y="T89"/>
                          </a:cxn>
                          <a:cxn ang="0">
                            <a:pos x="T90" y="T91"/>
                          </a:cxn>
                          <a:cxn ang="0">
                            <a:pos x="T92" y="T93"/>
                          </a:cxn>
                          <a:cxn ang="0">
                            <a:pos x="T94" y="T95"/>
                          </a:cxn>
                        </a:cxnLst>
                        <a:rect l="0" t="0" r="r" b="b"/>
                        <a:pathLst>
                          <a:path w="188" h="137">
                            <a:moveTo>
                              <a:pt x="183" y="84"/>
                            </a:moveTo>
                            <a:cubicBezTo>
                              <a:pt x="104" y="27"/>
                              <a:pt x="104" y="27"/>
                              <a:pt x="104" y="27"/>
                            </a:cubicBezTo>
                            <a:cubicBezTo>
                              <a:pt x="86" y="19"/>
                              <a:pt x="86" y="19"/>
                              <a:pt x="86" y="19"/>
                            </a:cubicBezTo>
                            <a:cubicBezTo>
                              <a:pt x="59" y="34"/>
                              <a:pt x="59" y="34"/>
                              <a:pt x="59" y="34"/>
                            </a:cubicBezTo>
                            <a:cubicBezTo>
                              <a:pt x="56" y="36"/>
                              <a:pt x="56" y="36"/>
                              <a:pt x="56" y="36"/>
                            </a:cubicBezTo>
                            <a:cubicBezTo>
                              <a:pt x="52" y="38"/>
                              <a:pt x="47" y="39"/>
                              <a:pt x="43" y="38"/>
                            </a:cubicBezTo>
                            <a:cubicBezTo>
                              <a:pt x="43" y="38"/>
                              <a:pt x="43" y="38"/>
                              <a:pt x="43" y="38"/>
                            </a:cubicBezTo>
                            <a:cubicBezTo>
                              <a:pt x="36" y="38"/>
                              <a:pt x="30" y="34"/>
                              <a:pt x="26" y="27"/>
                            </a:cubicBezTo>
                            <a:cubicBezTo>
                              <a:pt x="24" y="23"/>
                              <a:pt x="23" y="19"/>
                              <a:pt x="24" y="14"/>
                            </a:cubicBezTo>
                            <a:cubicBezTo>
                              <a:pt x="24" y="9"/>
                              <a:pt x="27" y="4"/>
                              <a:pt x="31" y="0"/>
                            </a:cubicBezTo>
                            <a:cubicBezTo>
                              <a:pt x="25" y="0"/>
                              <a:pt x="21" y="0"/>
                              <a:pt x="21" y="0"/>
                            </a:cubicBezTo>
                            <a:cubicBezTo>
                              <a:pt x="21" y="0"/>
                              <a:pt x="0" y="40"/>
                              <a:pt x="1" y="79"/>
                            </a:cubicBezTo>
                            <a:cubicBezTo>
                              <a:pt x="4" y="80"/>
                              <a:pt x="4" y="80"/>
                              <a:pt x="4" y="80"/>
                            </a:cubicBezTo>
                            <a:cubicBezTo>
                              <a:pt x="6" y="75"/>
                              <a:pt x="10" y="72"/>
                              <a:pt x="16" y="70"/>
                            </a:cubicBezTo>
                            <a:cubicBezTo>
                              <a:pt x="18" y="70"/>
                              <a:pt x="20" y="70"/>
                              <a:pt x="22" y="70"/>
                            </a:cubicBezTo>
                            <a:cubicBezTo>
                              <a:pt x="25" y="70"/>
                              <a:pt x="29" y="72"/>
                              <a:pt x="32" y="74"/>
                            </a:cubicBezTo>
                            <a:cubicBezTo>
                              <a:pt x="35" y="72"/>
                              <a:pt x="39" y="71"/>
                              <a:pt x="43" y="72"/>
                            </a:cubicBezTo>
                            <a:cubicBezTo>
                              <a:pt x="43" y="72"/>
                              <a:pt x="44" y="72"/>
                              <a:pt x="44" y="72"/>
                            </a:cubicBezTo>
                            <a:cubicBezTo>
                              <a:pt x="48" y="72"/>
                              <a:pt x="51" y="74"/>
                              <a:pt x="53" y="76"/>
                            </a:cubicBezTo>
                            <a:cubicBezTo>
                              <a:pt x="56" y="74"/>
                              <a:pt x="60" y="73"/>
                              <a:pt x="65" y="74"/>
                            </a:cubicBezTo>
                            <a:cubicBezTo>
                              <a:pt x="65" y="74"/>
                              <a:pt x="66" y="74"/>
                              <a:pt x="67" y="74"/>
                            </a:cubicBezTo>
                            <a:cubicBezTo>
                              <a:pt x="74" y="76"/>
                              <a:pt x="79" y="81"/>
                              <a:pt x="80" y="88"/>
                            </a:cubicBezTo>
                            <a:cubicBezTo>
                              <a:pt x="81" y="88"/>
                              <a:pt x="82" y="88"/>
                              <a:pt x="83" y="88"/>
                            </a:cubicBezTo>
                            <a:cubicBezTo>
                              <a:pt x="84" y="88"/>
                              <a:pt x="84" y="88"/>
                              <a:pt x="85" y="89"/>
                            </a:cubicBezTo>
                            <a:cubicBezTo>
                              <a:pt x="94" y="91"/>
                              <a:pt x="100" y="99"/>
                              <a:pt x="99" y="108"/>
                            </a:cubicBezTo>
                            <a:cubicBezTo>
                              <a:pt x="99" y="109"/>
                              <a:pt x="99" y="110"/>
                              <a:pt x="99" y="110"/>
                            </a:cubicBezTo>
                            <a:cubicBezTo>
                              <a:pt x="96" y="124"/>
                              <a:pt x="96" y="124"/>
                              <a:pt x="96" y="124"/>
                            </a:cubicBezTo>
                            <a:cubicBezTo>
                              <a:pt x="114" y="137"/>
                              <a:pt x="114" y="137"/>
                              <a:pt x="114" y="137"/>
                            </a:cubicBezTo>
                            <a:cubicBezTo>
                              <a:pt x="117" y="137"/>
                              <a:pt x="120" y="135"/>
                              <a:pt x="123" y="132"/>
                            </a:cubicBezTo>
                            <a:cubicBezTo>
                              <a:pt x="124" y="130"/>
                              <a:pt x="125" y="127"/>
                              <a:pt x="124" y="124"/>
                            </a:cubicBezTo>
                            <a:cubicBezTo>
                              <a:pt x="108" y="112"/>
                              <a:pt x="108" y="112"/>
                              <a:pt x="108" y="112"/>
                            </a:cubicBezTo>
                            <a:cubicBezTo>
                              <a:pt x="107" y="111"/>
                              <a:pt x="107" y="110"/>
                              <a:pt x="107" y="109"/>
                            </a:cubicBezTo>
                            <a:cubicBezTo>
                              <a:pt x="108" y="108"/>
                              <a:pt x="109" y="108"/>
                              <a:pt x="110" y="109"/>
                            </a:cubicBezTo>
                            <a:cubicBezTo>
                              <a:pt x="136" y="127"/>
                              <a:pt x="136" y="127"/>
                              <a:pt x="136" y="127"/>
                            </a:cubicBezTo>
                            <a:cubicBezTo>
                              <a:pt x="140" y="127"/>
                              <a:pt x="143" y="126"/>
                              <a:pt x="145" y="123"/>
                            </a:cubicBezTo>
                            <a:cubicBezTo>
                              <a:pt x="147" y="120"/>
                              <a:pt x="147" y="117"/>
                              <a:pt x="147" y="114"/>
                            </a:cubicBezTo>
                            <a:cubicBezTo>
                              <a:pt x="117" y="93"/>
                              <a:pt x="117" y="93"/>
                              <a:pt x="117" y="93"/>
                            </a:cubicBezTo>
                            <a:cubicBezTo>
                              <a:pt x="116" y="92"/>
                              <a:pt x="116" y="91"/>
                              <a:pt x="117" y="90"/>
                            </a:cubicBezTo>
                            <a:cubicBezTo>
                              <a:pt x="117" y="89"/>
                              <a:pt x="119" y="89"/>
                              <a:pt x="120" y="89"/>
                            </a:cubicBezTo>
                            <a:cubicBezTo>
                              <a:pt x="156" y="116"/>
                              <a:pt x="156" y="116"/>
                              <a:pt x="156" y="116"/>
                            </a:cubicBezTo>
                            <a:cubicBezTo>
                              <a:pt x="159" y="116"/>
                              <a:pt x="163" y="114"/>
                              <a:pt x="165" y="111"/>
                            </a:cubicBezTo>
                            <a:cubicBezTo>
                              <a:pt x="167" y="108"/>
                              <a:pt x="167" y="105"/>
                              <a:pt x="167" y="102"/>
                            </a:cubicBezTo>
                            <a:cubicBezTo>
                              <a:pt x="137" y="81"/>
                              <a:pt x="137" y="81"/>
                              <a:pt x="137" y="81"/>
                            </a:cubicBezTo>
                            <a:cubicBezTo>
                              <a:pt x="136" y="80"/>
                              <a:pt x="136" y="79"/>
                              <a:pt x="136" y="78"/>
                            </a:cubicBezTo>
                            <a:cubicBezTo>
                              <a:pt x="137" y="77"/>
                              <a:pt x="138" y="76"/>
                              <a:pt x="139" y="77"/>
                            </a:cubicBezTo>
                            <a:cubicBezTo>
                              <a:pt x="176" y="104"/>
                              <a:pt x="176" y="104"/>
                              <a:pt x="176" y="104"/>
                            </a:cubicBezTo>
                            <a:cubicBezTo>
                              <a:pt x="180" y="104"/>
                              <a:pt x="183" y="102"/>
                              <a:pt x="185" y="99"/>
                            </a:cubicBezTo>
                            <a:cubicBezTo>
                              <a:pt x="188" y="94"/>
                              <a:pt x="187" y="87"/>
                              <a:pt x="183" y="84"/>
                            </a:cubicBezTo>
                            <a:close/>
                          </a:path>
                        </a:pathLst>
                      </a:custGeom>
                      <a:grpFill/>
                      <a:ln>
                        <a:noFill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600" b="0" i="0" u="none" strike="noStrike" kern="0" cap="none" spc="0" normalizeH="0" baseline="0" noProof="0" dirty="0" smtClean="0">
                          <a:ln>
                            <a:solidFill>
                              <a:srgbClr val="FFFFFF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159" name="Freeform 158"/>
                      <p:cNvSpPr>
                        <a:spLocks/>
                      </p:cNvSpPr>
                      <p:nvPr/>
                    </p:nvSpPr>
                    <p:spPr bwMode="black">
                      <a:xfrm>
                        <a:off x="10615616" y="4103350"/>
                        <a:ext cx="657226" cy="452255"/>
                      </a:xfrm>
                      <a:custGeom>
                        <a:avLst/>
                        <a:gdLst>
                          <a:gd name="T0" fmla="*/ 127 w 175"/>
                          <a:gd name="T1" fmla="*/ 31 h 100"/>
                          <a:gd name="T2" fmla="*/ 119 w 175"/>
                          <a:gd name="T3" fmla="*/ 28 h 100"/>
                          <a:gd name="T4" fmla="*/ 62 w 175"/>
                          <a:gd name="T5" fmla="*/ 2 h 100"/>
                          <a:gd name="T6" fmla="*/ 49 w 175"/>
                          <a:gd name="T7" fmla="*/ 3 h 100"/>
                          <a:gd name="T8" fmla="*/ 26 w 175"/>
                          <a:gd name="T9" fmla="*/ 16 h 100"/>
                          <a:gd name="T10" fmla="*/ 9 w 175"/>
                          <a:gd name="T11" fmla="*/ 25 h 100"/>
                          <a:gd name="T12" fmla="*/ 4 w 175"/>
                          <a:gd name="T13" fmla="*/ 45 h 100"/>
                          <a:gd name="T14" fmla="*/ 15 w 175"/>
                          <a:gd name="T15" fmla="*/ 52 h 100"/>
                          <a:gd name="T16" fmla="*/ 23 w 175"/>
                          <a:gd name="T17" fmla="*/ 50 h 100"/>
                          <a:gd name="T18" fmla="*/ 23 w 175"/>
                          <a:gd name="T19" fmla="*/ 50 h 100"/>
                          <a:gd name="T20" fmla="*/ 57 w 175"/>
                          <a:gd name="T21" fmla="*/ 32 h 100"/>
                          <a:gd name="T22" fmla="*/ 79 w 175"/>
                          <a:gd name="T23" fmla="*/ 42 h 100"/>
                          <a:gd name="T24" fmla="*/ 109 w 175"/>
                          <a:gd name="T25" fmla="*/ 64 h 100"/>
                          <a:gd name="T26" fmla="*/ 158 w 175"/>
                          <a:gd name="T27" fmla="*/ 99 h 100"/>
                          <a:gd name="T28" fmla="*/ 159 w 175"/>
                          <a:gd name="T29" fmla="*/ 100 h 100"/>
                          <a:gd name="T30" fmla="*/ 173 w 175"/>
                          <a:gd name="T31" fmla="*/ 97 h 100"/>
                          <a:gd name="T32" fmla="*/ 154 w 175"/>
                          <a:gd name="T33" fmla="*/ 29 h 100"/>
                          <a:gd name="T34" fmla="*/ 127 w 175"/>
                          <a:gd name="T35" fmla="*/ 31 h 100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</a:cxnLst>
                        <a:rect l="0" t="0" r="r" b="b"/>
                        <a:pathLst>
                          <a:path w="175" h="100">
                            <a:moveTo>
                              <a:pt x="127" y="31"/>
                            </a:moveTo>
                            <a:cubicBezTo>
                              <a:pt x="125" y="31"/>
                              <a:pt x="122" y="30"/>
                              <a:pt x="119" y="28"/>
                            </a:cubicBezTo>
                            <a:cubicBezTo>
                              <a:pt x="62" y="2"/>
                              <a:pt x="62" y="2"/>
                              <a:pt x="62" y="2"/>
                            </a:cubicBezTo>
                            <a:cubicBezTo>
                              <a:pt x="58" y="0"/>
                              <a:pt x="53" y="1"/>
                              <a:pt x="49" y="3"/>
                            </a:cubicBezTo>
                            <a:cubicBezTo>
                              <a:pt x="26" y="16"/>
                              <a:pt x="26" y="16"/>
                              <a:pt x="26" y="16"/>
                            </a:cubicBezTo>
                            <a:cubicBezTo>
                              <a:pt x="9" y="25"/>
                              <a:pt x="9" y="25"/>
                              <a:pt x="9" y="25"/>
                            </a:cubicBezTo>
                            <a:cubicBezTo>
                              <a:pt x="2" y="29"/>
                              <a:pt x="0" y="38"/>
                              <a:pt x="4" y="45"/>
                            </a:cubicBezTo>
                            <a:cubicBezTo>
                              <a:pt x="6" y="49"/>
                              <a:pt x="10" y="52"/>
                              <a:pt x="15" y="52"/>
                            </a:cubicBezTo>
                            <a:cubicBezTo>
                              <a:pt x="18" y="52"/>
                              <a:pt x="21" y="52"/>
                              <a:pt x="23" y="50"/>
                            </a:cubicBezTo>
                            <a:cubicBezTo>
                              <a:pt x="23" y="50"/>
                              <a:pt x="23" y="50"/>
                              <a:pt x="23" y="50"/>
                            </a:cubicBezTo>
                            <a:cubicBezTo>
                              <a:pt x="57" y="32"/>
                              <a:pt x="57" y="32"/>
                              <a:pt x="57" y="32"/>
                            </a:cubicBezTo>
                            <a:cubicBezTo>
                              <a:pt x="79" y="42"/>
                              <a:pt x="79" y="42"/>
                              <a:pt x="79" y="42"/>
                            </a:cubicBezTo>
                            <a:cubicBezTo>
                              <a:pt x="109" y="64"/>
                              <a:pt x="109" y="64"/>
                              <a:pt x="109" y="64"/>
                            </a:cubicBezTo>
                            <a:cubicBezTo>
                              <a:pt x="158" y="99"/>
                              <a:pt x="158" y="99"/>
                              <a:pt x="158" y="99"/>
                            </a:cubicBezTo>
                            <a:cubicBezTo>
                              <a:pt x="158" y="99"/>
                              <a:pt x="159" y="100"/>
                              <a:pt x="159" y="100"/>
                            </a:cubicBezTo>
                            <a:cubicBezTo>
                              <a:pt x="173" y="97"/>
                              <a:pt x="173" y="97"/>
                              <a:pt x="173" y="97"/>
                            </a:cubicBezTo>
                            <a:cubicBezTo>
                              <a:pt x="175" y="51"/>
                              <a:pt x="154" y="29"/>
                              <a:pt x="154" y="29"/>
                            </a:cubicBezTo>
                            <a:cubicBezTo>
                              <a:pt x="154" y="29"/>
                              <a:pt x="133" y="33"/>
                              <a:pt x="127" y="31"/>
                            </a:cubicBezTo>
                            <a:close/>
                          </a:path>
                        </a:pathLst>
                      </a:custGeom>
                      <a:grpFill/>
                      <a:ln>
                        <a:noFill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600" b="0" i="0" u="none" strike="noStrike" kern="0" cap="none" spc="0" normalizeH="0" baseline="0" noProof="0" dirty="0" smtClean="0">
                          <a:ln>
                            <a:solidFill>
                              <a:srgbClr val="FFFFFF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160" name="Freeform 159"/>
                      <p:cNvSpPr>
                        <a:spLocks/>
                      </p:cNvSpPr>
                      <p:nvPr/>
                    </p:nvSpPr>
                    <p:spPr bwMode="black">
                      <a:xfrm>
                        <a:off x="10536238" y="4554567"/>
                        <a:ext cx="319088" cy="274409"/>
                      </a:xfrm>
                      <a:custGeom>
                        <a:avLst/>
                        <a:gdLst>
                          <a:gd name="T0" fmla="*/ 76 w 85"/>
                          <a:gd name="T1" fmla="*/ 20 h 59"/>
                          <a:gd name="T2" fmla="*/ 64 w 85"/>
                          <a:gd name="T3" fmla="*/ 25 h 59"/>
                          <a:gd name="T4" fmla="*/ 65 w 85"/>
                          <a:gd name="T5" fmla="*/ 18 h 59"/>
                          <a:gd name="T6" fmla="*/ 57 w 85"/>
                          <a:gd name="T7" fmla="*/ 5 h 59"/>
                          <a:gd name="T8" fmla="*/ 44 w 85"/>
                          <a:gd name="T9" fmla="*/ 13 h 59"/>
                          <a:gd name="T10" fmla="*/ 44 w 85"/>
                          <a:gd name="T11" fmla="*/ 14 h 59"/>
                          <a:gd name="T12" fmla="*/ 35 w 85"/>
                          <a:gd name="T13" fmla="*/ 3 h 59"/>
                          <a:gd name="T14" fmla="*/ 23 w 85"/>
                          <a:gd name="T15" fmla="*/ 10 h 59"/>
                          <a:gd name="T16" fmla="*/ 23 w 85"/>
                          <a:gd name="T17" fmla="*/ 10 h 59"/>
                          <a:gd name="T18" fmla="*/ 10 w 85"/>
                          <a:gd name="T19" fmla="*/ 1 h 59"/>
                          <a:gd name="T20" fmla="*/ 1 w 85"/>
                          <a:gd name="T21" fmla="*/ 14 h 59"/>
                          <a:gd name="T22" fmla="*/ 4 w 85"/>
                          <a:gd name="T23" fmla="*/ 28 h 59"/>
                          <a:gd name="T24" fmla="*/ 14 w 85"/>
                          <a:gd name="T25" fmla="*/ 36 h 59"/>
                          <a:gd name="T26" fmla="*/ 17 w 85"/>
                          <a:gd name="T27" fmla="*/ 36 h 59"/>
                          <a:gd name="T28" fmla="*/ 19 w 85"/>
                          <a:gd name="T29" fmla="*/ 35 h 59"/>
                          <a:gd name="T30" fmla="*/ 27 w 85"/>
                          <a:gd name="T31" fmla="*/ 43 h 59"/>
                          <a:gd name="T32" fmla="*/ 28 w 85"/>
                          <a:gd name="T33" fmla="*/ 43 h 59"/>
                          <a:gd name="T34" fmla="*/ 39 w 85"/>
                          <a:gd name="T35" fmla="*/ 38 h 59"/>
                          <a:gd name="T36" fmla="*/ 38 w 85"/>
                          <a:gd name="T37" fmla="*/ 39 h 59"/>
                          <a:gd name="T38" fmla="*/ 47 w 85"/>
                          <a:gd name="T39" fmla="*/ 52 h 59"/>
                          <a:gd name="T40" fmla="*/ 48 w 85"/>
                          <a:gd name="T41" fmla="*/ 52 h 59"/>
                          <a:gd name="T42" fmla="*/ 58 w 85"/>
                          <a:gd name="T43" fmla="*/ 47 h 59"/>
                          <a:gd name="T44" fmla="*/ 67 w 85"/>
                          <a:gd name="T45" fmla="*/ 59 h 59"/>
                          <a:gd name="T46" fmla="*/ 68 w 85"/>
                          <a:gd name="T47" fmla="*/ 59 h 59"/>
                          <a:gd name="T48" fmla="*/ 80 w 85"/>
                          <a:gd name="T49" fmla="*/ 50 h 59"/>
                          <a:gd name="T50" fmla="*/ 84 w 85"/>
                          <a:gd name="T51" fmla="*/ 33 h 59"/>
                          <a:gd name="T52" fmla="*/ 76 w 85"/>
                          <a:gd name="T53" fmla="*/ 20 h 5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</a:cxnLst>
                        <a:rect l="0" t="0" r="r" b="b"/>
                        <a:pathLst>
                          <a:path w="85" h="59">
                            <a:moveTo>
                              <a:pt x="76" y="20"/>
                            </a:moveTo>
                            <a:cubicBezTo>
                              <a:pt x="71" y="19"/>
                              <a:pt x="66" y="21"/>
                              <a:pt x="64" y="25"/>
                            </a:cubicBezTo>
                            <a:cubicBezTo>
                              <a:pt x="65" y="18"/>
                              <a:pt x="65" y="18"/>
                              <a:pt x="65" y="18"/>
                            </a:cubicBezTo>
                            <a:cubicBezTo>
                              <a:pt x="67" y="12"/>
                              <a:pt x="63" y="6"/>
                              <a:pt x="57" y="5"/>
                            </a:cubicBezTo>
                            <a:cubicBezTo>
                              <a:pt x="51" y="4"/>
                              <a:pt x="45" y="7"/>
                              <a:pt x="44" y="13"/>
                            </a:cubicBezTo>
                            <a:cubicBezTo>
                              <a:pt x="44" y="14"/>
                              <a:pt x="44" y="14"/>
                              <a:pt x="44" y="14"/>
                            </a:cubicBezTo>
                            <a:cubicBezTo>
                              <a:pt x="44" y="9"/>
                              <a:pt x="40" y="4"/>
                              <a:pt x="35" y="3"/>
                            </a:cubicBezTo>
                            <a:cubicBezTo>
                              <a:pt x="30" y="2"/>
                              <a:pt x="24" y="5"/>
                              <a:pt x="23" y="10"/>
                            </a:cubicBezTo>
                            <a:cubicBezTo>
                              <a:pt x="23" y="10"/>
                              <a:pt x="23" y="10"/>
                              <a:pt x="23" y="10"/>
                            </a:cubicBezTo>
                            <a:cubicBezTo>
                              <a:pt x="21" y="4"/>
                              <a:pt x="15" y="0"/>
                              <a:pt x="10" y="1"/>
                            </a:cubicBezTo>
                            <a:cubicBezTo>
                              <a:pt x="4" y="3"/>
                              <a:pt x="0" y="8"/>
                              <a:pt x="1" y="14"/>
                            </a:cubicBezTo>
                            <a:cubicBezTo>
                              <a:pt x="4" y="28"/>
                              <a:pt x="4" y="28"/>
                              <a:pt x="4" y="28"/>
                            </a:cubicBezTo>
                            <a:cubicBezTo>
                              <a:pt x="5" y="32"/>
                              <a:pt x="9" y="36"/>
                              <a:pt x="14" y="36"/>
                            </a:cubicBezTo>
                            <a:cubicBezTo>
                              <a:pt x="15" y="36"/>
                              <a:pt x="16" y="36"/>
                              <a:pt x="17" y="36"/>
                            </a:cubicBezTo>
                            <a:cubicBezTo>
                              <a:pt x="18" y="36"/>
                              <a:pt x="18" y="36"/>
                              <a:pt x="19" y="35"/>
                            </a:cubicBezTo>
                            <a:cubicBezTo>
                              <a:pt x="20" y="39"/>
                              <a:pt x="23" y="42"/>
                              <a:pt x="27" y="43"/>
                            </a:cubicBezTo>
                            <a:cubicBezTo>
                              <a:pt x="28" y="43"/>
                              <a:pt x="28" y="43"/>
                              <a:pt x="28" y="43"/>
                            </a:cubicBezTo>
                            <a:cubicBezTo>
                              <a:pt x="32" y="43"/>
                              <a:pt x="36" y="41"/>
                              <a:pt x="39" y="38"/>
                            </a:cubicBezTo>
                            <a:cubicBezTo>
                              <a:pt x="38" y="39"/>
                              <a:pt x="38" y="39"/>
                              <a:pt x="38" y="39"/>
                            </a:cubicBezTo>
                            <a:cubicBezTo>
                              <a:pt x="37" y="44"/>
                              <a:pt x="41" y="50"/>
                              <a:pt x="47" y="52"/>
                            </a:cubicBezTo>
                            <a:cubicBezTo>
                              <a:pt x="47" y="52"/>
                              <a:pt x="47" y="52"/>
                              <a:pt x="48" y="52"/>
                            </a:cubicBezTo>
                            <a:cubicBezTo>
                              <a:pt x="52" y="52"/>
                              <a:pt x="56" y="50"/>
                              <a:pt x="58" y="47"/>
                            </a:cubicBezTo>
                            <a:cubicBezTo>
                              <a:pt x="58" y="52"/>
                              <a:pt x="61" y="57"/>
                              <a:pt x="67" y="59"/>
                            </a:cubicBezTo>
                            <a:cubicBezTo>
                              <a:pt x="67" y="59"/>
                              <a:pt x="67" y="59"/>
                              <a:pt x="68" y="59"/>
                            </a:cubicBezTo>
                            <a:cubicBezTo>
                              <a:pt x="73" y="59"/>
                              <a:pt x="78" y="56"/>
                              <a:pt x="80" y="50"/>
                            </a:cubicBezTo>
                            <a:cubicBezTo>
                              <a:pt x="84" y="33"/>
                              <a:pt x="84" y="33"/>
                              <a:pt x="84" y="33"/>
                            </a:cubicBezTo>
                            <a:cubicBezTo>
                              <a:pt x="85" y="27"/>
                              <a:pt x="81" y="21"/>
                              <a:pt x="76" y="20"/>
                            </a:cubicBezTo>
                            <a:close/>
                          </a:path>
                        </a:pathLst>
                      </a:custGeom>
                      <a:grpFill/>
                      <a:ln>
                        <a:noFill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600" b="0" i="0" u="none" strike="noStrike" kern="0" cap="none" spc="0" normalizeH="0" baseline="0" noProof="0" dirty="0" smtClean="0">
                          <a:ln>
                            <a:solidFill>
                              <a:srgbClr val="FFFFFF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161" name="Freeform 160"/>
                      <p:cNvSpPr>
                        <a:spLocks/>
                      </p:cNvSpPr>
                      <p:nvPr/>
                    </p:nvSpPr>
                    <p:spPr bwMode="black">
                      <a:xfrm>
                        <a:off x="11207741" y="4198910"/>
                        <a:ext cx="175191" cy="359859"/>
                      </a:xfrm>
                      <a:custGeom>
                        <a:avLst/>
                        <a:gdLst>
                          <a:gd name="T0" fmla="*/ 41 w 41"/>
                          <a:gd name="T1" fmla="*/ 77 h 85"/>
                          <a:gd name="T2" fmla="*/ 33 w 41"/>
                          <a:gd name="T3" fmla="*/ 7 h 85"/>
                          <a:gd name="T4" fmla="*/ 24 w 41"/>
                          <a:gd name="T5" fmla="*/ 1 h 85"/>
                          <a:gd name="T6" fmla="*/ 0 w 41"/>
                          <a:gd name="T7" fmla="*/ 7 h 85"/>
                          <a:gd name="T8" fmla="*/ 22 w 41"/>
                          <a:gd name="T9" fmla="*/ 85 h 85"/>
                          <a:gd name="T10" fmla="*/ 33 w 41"/>
                          <a:gd name="T11" fmla="*/ 85 h 85"/>
                          <a:gd name="T12" fmla="*/ 41 w 41"/>
                          <a:gd name="T13" fmla="*/ 77 h 85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41" h="85">
                            <a:moveTo>
                              <a:pt x="41" y="77"/>
                            </a:moveTo>
                            <a:cubicBezTo>
                              <a:pt x="33" y="7"/>
                              <a:pt x="33" y="7"/>
                              <a:pt x="33" y="7"/>
                            </a:cubicBezTo>
                            <a:cubicBezTo>
                              <a:pt x="32" y="2"/>
                              <a:pt x="28" y="0"/>
                              <a:pt x="24" y="1"/>
                            </a:cubicBezTo>
                            <a:cubicBezTo>
                              <a:pt x="0" y="7"/>
                              <a:pt x="0" y="7"/>
                              <a:pt x="0" y="7"/>
                            </a:cubicBezTo>
                            <a:cubicBezTo>
                              <a:pt x="0" y="7"/>
                              <a:pt x="25" y="32"/>
                              <a:pt x="22" y="85"/>
                            </a:cubicBezTo>
                            <a:cubicBezTo>
                              <a:pt x="33" y="85"/>
                              <a:pt x="33" y="85"/>
                              <a:pt x="33" y="85"/>
                            </a:cubicBezTo>
                            <a:cubicBezTo>
                              <a:pt x="38" y="85"/>
                              <a:pt x="41" y="81"/>
                              <a:pt x="41" y="77"/>
                            </a:cubicBezTo>
                            <a:close/>
                          </a:path>
                        </a:pathLst>
                      </a:custGeom>
                      <a:grpFill/>
                      <a:ln>
                        <a:noFill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600" b="0" i="0" u="none" strike="noStrike" kern="0" cap="none" spc="0" normalizeH="0" baseline="0" noProof="0" dirty="0" smtClean="0">
                          <a:ln>
                            <a:solidFill>
                              <a:srgbClr val="FFFFFF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162" name="Freeform 161"/>
                      <p:cNvSpPr>
                        <a:spLocks/>
                      </p:cNvSpPr>
                      <p:nvPr/>
                    </p:nvSpPr>
                    <p:spPr bwMode="black">
                      <a:xfrm>
                        <a:off x="10387012" y="4206348"/>
                        <a:ext cx="176211" cy="352424"/>
                      </a:xfrm>
                      <a:custGeom>
                        <a:avLst/>
                        <a:gdLst>
                          <a:gd name="T0" fmla="*/ 47 w 47"/>
                          <a:gd name="T1" fmla="*/ 9 h 94"/>
                          <a:gd name="T2" fmla="*/ 35 w 47"/>
                          <a:gd name="T3" fmla="*/ 2 h 94"/>
                          <a:gd name="T4" fmla="*/ 25 w 47"/>
                          <a:gd name="T5" fmla="*/ 6 h 94"/>
                          <a:gd name="T6" fmla="*/ 2 w 47"/>
                          <a:gd name="T7" fmla="*/ 81 h 94"/>
                          <a:gd name="T8" fmla="*/ 7 w 47"/>
                          <a:gd name="T9" fmla="*/ 90 h 94"/>
                          <a:gd name="T10" fmla="*/ 26 w 47"/>
                          <a:gd name="T11" fmla="*/ 94 h 94"/>
                          <a:gd name="T12" fmla="*/ 47 w 47"/>
                          <a:gd name="T13" fmla="*/ 9 h 9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47" h="94">
                            <a:moveTo>
                              <a:pt x="47" y="9"/>
                            </a:moveTo>
                            <a:cubicBezTo>
                              <a:pt x="35" y="2"/>
                              <a:pt x="35" y="2"/>
                              <a:pt x="35" y="2"/>
                            </a:cubicBezTo>
                            <a:cubicBezTo>
                              <a:pt x="31" y="0"/>
                              <a:pt x="27" y="2"/>
                              <a:pt x="25" y="6"/>
                            </a:cubicBezTo>
                            <a:cubicBezTo>
                              <a:pt x="2" y="81"/>
                              <a:pt x="2" y="81"/>
                              <a:pt x="2" y="81"/>
                            </a:cubicBezTo>
                            <a:cubicBezTo>
                              <a:pt x="0" y="86"/>
                              <a:pt x="3" y="90"/>
                              <a:pt x="7" y="90"/>
                            </a:cubicBezTo>
                            <a:cubicBezTo>
                              <a:pt x="26" y="94"/>
                              <a:pt x="26" y="94"/>
                              <a:pt x="26" y="94"/>
                            </a:cubicBezTo>
                            <a:cubicBezTo>
                              <a:pt x="24" y="52"/>
                              <a:pt x="47" y="9"/>
                              <a:pt x="47" y="9"/>
                            </a:cubicBezTo>
                            <a:close/>
                          </a:path>
                        </a:pathLst>
                      </a:custGeom>
                      <a:grpFill/>
                      <a:ln>
                        <a:noFill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defTabSz="932316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600" b="0" i="0" u="none" strike="noStrike" kern="0" cap="none" spc="0" normalizeH="0" baseline="0" noProof="0" dirty="0" smtClean="0">
                          <a:ln>
                            <a:solidFill>
                              <a:srgbClr val="FFFFFF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</p:grpSp>
            </p:grpSp>
          </p:grpSp>
          <p:grpSp>
            <p:nvGrpSpPr>
              <p:cNvPr id="128" name="Group 127"/>
              <p:cNvGrpSpPr/>
              <p:nvPr/>
            </p:nvGrpSpPr>
            <p:grpSpPr>
              <a:xfrm>
                <a:off x="8620078" y="1876696"/>
                <a:ext cx="524659" cy="1442070"/>
                <a:chOff x="6459730" y="4200395"/>
                <a:chExt cx="821944" cy="2259185"/>
              </a:xfrm>
            </p:grpSpPr>
            <p:grpSp>
              <p:nvGrpSpPr>
                <p:cNvPr id="138" name="Group 137"/>
                <p:cNvGrpSpPr/>
                <p:nvPr/>
              </p:nvGrpSpPr>
              <p:grpSpPr>
                <a:xfrm>
                  <a:off x="7094623" y="4602843"/>
                  <a:ext cx="187051" cy="916362"/>
                  <a:chOff x="5891911" y="4348024"/>
                  <a:chExt cx="187051" cy="780844"/>
                </a:xfrm>
              </p:grpSpPr>
              <p:sp>
                <p:nvSpPr>
                  <p:cNvPr id="149" name="Rounded Rectangle 148"/>
                  <p:cNvSpPr/>
                  <p:nvPr/>
                </p:nvSpPr>
                <p:spPr bwMode="auto">
                  <a:xfrm>
                    <a:off x="5986406" y="4983218"/>
                    <a:ext cx="90837" cy="145650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FFC000"/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0" cap="none" spc="0" normalizeH="0" baseline="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150" name="Freeform 149"/>
                  <p:cNvSpPr/>
                  <p:nvPr/>
                </p:nvSpPr>
                <p:spPr bwMode="auto">
                  <a:xfrm>
                    <a:off x="5891911" y="4348024"/>
                    <a:ext cx="187051" cy="708019"/>
                  </a:xfrm>
                  <a:custGeom>
                    <a:avLst/>
                    <a:gdLst>
                      <a:gd name="connsiteX0" fmla="*/ 7144 w 238125"/>
                      <a:gd name="connsiteY0" fmla="*/ 0 h 833437"/>
                      <a:gd name="connsiteX1" fmla="*/ 238125 w 238125"/>
                      <a:gd name="connsiteY1" fmla="*/ 833437 h 833437"/>
                      <a:gd name="connsiteX2" fmla="*/ 109537 w 238125"/>
                      <a:gd name="connsiteY2" fmla="*/ 833437 h 833437"/>
                      <a:gd name="connsiteX3" fmla="*/ 0 w 238125"/>
                      <a:gd name="connsiteY3" fmla="*/ 361950 h 833437"/>
                      <a:gd name="connsiteX4" fmla="*/ 7144 w 238125"/>
                      <a:gd name="connsiteY4" fmla="*/ 0 h 833437"/>
                      <a:gd name="connsiteX0" fmla="*/ 7144 w 238125"/>
                      <a:gd name="connsiteY0" fmla="*/ 0 h 833437"/>
                      <a:gd name="connsiteX1" fmla="*/ 238125 w 238125"/>
                      <a:gd name="connsiteY1" fmla="*/ 833437 h 833437"/>
                      <a:gd name="connsiteX2" fmla="*/ 109537 w 238125"/>
                      <a:gd name="connsiteY2" fmla="*/ 833437 h 833437"/>
                      <a:gd name="connsiteX3" fmla="*/ 0 w 238125"/>
                      <a:gd name="connsiteY3" fmla="*/ 361950 h 833437"/>
                      <a:gd name="connsiteX4" fmla="*/ 7144 w 238125"/>
                      <a:gd name="connsiteY4" fmla="*/ 0 h 833437"/>
                      <a:gd name="connsiteX0" fmla="*/ 7144 w 238125"/>
                      <a:gd name="connsiteY0" fmla="*/ 0 h 833437"/>
                      <a:gd name="connsiteX1" fmla="*/ 238125 w 238125"/>
                      <a:gd name="connsiteY1" fmla="*/ 833437 h 833437"/>
                      <a:gd name="connsiteX2" fmla="*/ 109537 w 238125"/>
                      <a:gd name="connsiteY2" fmla="*/ 833437 h 833437"/>
                      <a:gd name="connsiteX3" fmla="*/ 0 w 238125"/>
                      <a:gd name="connsiteY3" fmla="*/ 361950 h 833437"/>
                      <a:gd name="connsiteX4" fmla="*/ 7144 w 238125"/>
                      <a:gd name="connsiteY4" fmla="*/ 0 h 833437"/>
                      <a:gd name="connsiteX0" fmla="*/ 7144 w 238125"/>
                      <a:gd name="connsiteY0" fmla="*/ 0 h 833437"/>
                      <a:gd name="connsiteX1" fmla="*/ 238125 w 238125"/>
                      <a:gd name="connsiteY1" fmla="*/ 833437 h 833437"/>
                      <a:gd name="connsiteX2" fmla="*/ 109537 w 238125"/>
                      <a:gd name="connsiteY2" fmla="*/ 833437 h 833437"/>
                      <a:gd name="connsiteX3" fmla="*/ 0 w 238125"/>
                      <a:gd name="connsiteY3" fmla="*/ 361950 h 833437"/>
                      <a:gd name="connsiteX4" fmla="*/ 7144 w 238125"/>
                      <a:gd name="connsiteY4" fmla="*/ 0 h 833437"/>
                      <a:gd name="connsiteX0" fmla="*/ 7144 w 238125"/>
                      <a:gd name="connsiteY0" fmla="*/ 0 h 833437"/>
                      <a:gd name="connsiteX1" fmla="*/ 238125 w 238125"/>
                      <a:gd name="connsiteY1" fmla="*/ 833437 h 833437"/>
                      <a:gd name="connsiteX2" fmla="*/ 109537 w 238125"/>
                      <a:gd name="connsiteY2" fmla="*/ 833437 h 833437"/>
                      <a:gd name="connsiteX3" fmla="*/ 0 w 238125"/>
                      <a:gd name="connsiteY3" fmla="*/ 361950 h 833437"/>
                      <a:gd name="connsiteX4" fmla="*/ 7144 w 238125"/>
                      <a:gd name="connsiteY4" fmla="*/ 0 h 833437"/>
                      <a:gd name="connsiteX0" fmla="*/ 7144 w 238125"/>
                      <a:gd name="connsiteY0" fmla="*/ 0 h 833437"/>
                      <a:gd name="connsiteX1" fmla="*/ 238125 w 238125"/>
                      <a:gd name="connsiteY1" fmla="*/ 833437 h 833437"/>
                      <a:gd name="connsiteX2" fmla="*/ 109537 w 238125"/>
                      <a:gd name="connsiteY2" fmla="*/ 833437 h 833437"/>
                      <a:gd name="connsiteX3" fmla="*/ 0 w 238125"/>
                      <a:gd name="connsiteY3" fmla="*/ 361950 h 833437"/>
                      <a:gd name="connsiteX4" fmla="*/ 7144 w 238125"/>
                      <a:gd name="connsiteY4" fmla="*/ 0 h 833437"/>
                      <a:gd name="connsiteX0" fmla="*/ 7144 w 220185"/>
                      <a:gd name="connsiteY0" fmla="*/ 0 h 833437"/>
                      <a:gd name="connsiteX1" fmla="*/ 220185 w 220185"/>
                      <a:gd name="connsiteY1" fmla="*/ 827457 h 833437"/>
                      <a:gd name="connsiteX2" fmla="*/ 109537 w 220185"/>
                      <a:gd name="connsiteY2" fmla="*/ 833437 h 833437"/>
                      <a:gd name="connsiteX3" fmla="*/ 0 w 220185"/>
                      <a:gd name="connsiteY3" fmla="*/ 361950 h 833437"/>
                      <a:gd name="connsiteX4" fmla="*/ 7144 w 220185"/>
                      <a:gd name="connsiteY4" fmla="*/ 0 h 8334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0185" h="833437">
                        <a:moveTo>
                          <a:pt x="7144" y="0"/>
                        </a:moveTo>
                        <a:cubicBezTo>
                          <a:pt x="103188" y="253999"/>
                          <a:pt x="197960" y="490114"/>
                          <a:pt x="220185" y="827457"/>
                        </a:cubicBezTo>
                        <a:cubicBezTo>
                          <a:pt x="177322" y="827457"/>
                          <a:pt x="152400" y="833437"/>
                          <a:pt x="109537" y="833437"/>
                        </a:cubicBezTo>
                        <a:cubicBezTo>
                          <a:pt x="94457" y="714376"/>
                          <a:pt x="74612" y="516731"/>
                          <a:pt x="0" y="361950"/>
                        </a:cubicBezTo>
                        <a:lnTo>
                          <a:pt x="7144" y="0"/>
                        </a:lnTo>
                        <a:close/>
                      </a:path>
                    </a:pathLst>
                  </a:custGeom>
                  <a:solidFill>
                    <a:srgbClr val="FFC000"/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0" cap="none" spc="0" normalizeH="0" baseline="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</p:grpSp>
            <p:grpSp>
              <p:nvGrpSpPr>
                <p:cNvPr id="139" name="Group 138"/>
                <p:cNvGrpSpPr/>
                <p:nvPr/>
              </p:nvGrpSpPr>
              <p:grpSpPr>
                <a:xfrm>
                  <a:off x="6459730" y="4200395"/>
                  <a:ext cx="799151" cy="2259185"/>
                  <a:chOff x="9985133" y="3863532"/>
                  <a:chExt cx="799151" cy="2259185"/>
                </a:xfrm>
              </p:grpSpPr>
              <p:sp>
                <p:nvSpPr>
                  <p:cNvPr id="140" name="Freeform 139"/>
                  <p:cNvSpPr/>
                  <p:nvPr/>
                </p:nvSpPr>
                <p:spPr bwMode="auto">
                  <a:xfrm rot="5400000">
                    <a:off x="10222071" y="3971668"/>
                    <a:ext cx="397218" cy="281174"/>
                  </a:xfrm>
                  <a:custGeom>
                    <a:avLst/>
                    <a:gdLst>
                      <a:gd name="connsiteX0" fmla="*/ 0 w 392904"/>
                      <a:gd name="connsiteY0" fmla="*/ 184191 h 309562"/>
                      <a:gd name="connsiteX1" fmla="*/ 0 w 392904"/>
                      <a:gd name="connsiteY1" fmla="*/ 125371 h 309562"/>
                      <a:gd name="connsiteX2" fmla="*/ 95323 w 392904"/>
                      <a:gd name="connsiteY2" fmla="*/ 30048 h 309562"/>
                      <a:gd name="connsiteX3" fmla="*/ 107911 w 392904"/>
                      <a:gd name="connsiteY3" fmla="*/ 30048 h 309562"/>
                      <a:gd name="connsiteX4" fmla="*/ 116458 w 392904"/>
                      <a:gd name="connsiteY4" fmla="*/ 9416 h 309562"/>
                      <a:gd name="connsiteX5" fmla="*/ 139189 w 392904"/>
                      <a:gd name="connsiteY5" fmla="*/ 0 h 309562"/>
                      <a:gd name="connsiteX6" fmla="*/ 182279 w 392904"/>
                      <a:gd name="connsiteY6" fmla="*/ 0 h 309562"/>
                      <a:gd name="connsiteX7" fmla="*/ 205010 w 392904"/>
                      <a:gd name="connsiteY7" fmla="*/ 9416 h 309562"/>
                      <a:gd name="connsiteX8" fmla="*/ 213557 w 392904"/>
                      <a:gd name="connsiteY8" fmla="*/ 30048 h 309562"/>
                      <a:gd name="connsiteX9" fmla="*/ 252339 w 392904"/>
                      <a:gd name="connsiteY9" fmla="*/ 30048 h 309562"/>
                      <a:gd name="connsiteX10" fmla="*/ 319742 w 392904"/>
                      <a:gd name="connsiteY10" fmla="*/ 57968 h 309562"/>
                      <a:gd name="connsiteX11" fmla="*/ 336441 w 392904"/>
                      <a:gd name="connsiteY11" fmla="*/ 82735 h 309562"/>
                      <a:gd name="connsiteX12" fmla="*/ 357186 w 392904"/>
                      <a:gd name="connsiteY12" fmla="*/ 80848 h 309562"/>
                      <a:gd name="connsiteX13" fmla="*/ 392904 w 392904"/>
                      <a:gd name="connsiteY13" fmla="*/ 152286 h 309562"/>
                      <a:gd name="connsiteX14" fmla="*/ 357186 w 392904"/>
                      <a:gd name="connsiteY14" fmla="*/ 235629 h 309562"/>
                      <a:gd name="connsiteX15" fmla="*/ 330992 w 392904"/>
                      <a:gd name="connsiteY15" fmla="*/ 235629 h 309562"/>
                      <a:gd name="connsiteX16" fmla="*/ 330992 w 392904"/>
                      <a:gd name="connsiteY16" fmla="*/ 234909 h 309562"/>
                      <a:gd name="connsiteX17" fmla="*/ 319742 w 392904"/>
                      <a:gd name="connsiteY17" fmla="*/ 251594 h 309562"/>
                      <a:gd name="connsiteX18" fmla="*/ 252339 w 392904"/>
                      <a:gd name="connsiteY18" fmla="*/ 279514 h 309562"/>
                      <a:gd name="connsiteX19" fmla="*/ 213557 w 392904"/>
                      <a:gd name="connsiteY19" fmla="*/ 279514 h 309562"/>
                      <a:gd name="connsiteX20" fmla="*/ 205010 w 392904"/>
                      <a:gd name="connsiteY20" fmla="*/ 300146 h 309562"/>
                      <a:gd name="connsiteX21" fmla="*/ 182279 w 392904"/>
                      <a:gd name="connsiteY21" fmla="*/ 309562 h 309562"/>
                      <a:gd name="connsiteX22" fmla="*/ 139189 w 392904"/>
                      <a:gd name="connsiteY22" fmla="*/ 309562 h 309562"/>
                      <a:gd name="connsiteX23" fmla="*/ 116458 w 392904"/>
                      <a:gd name="connsiteY23" fmla="*/ 300146 h 309562"/>
                      <a:gd name="connsiteX24" fmla="*/ 107911 w 392904"/>
                      <a:gd name="connsiteY24" fmla="*/ 279514 h 309562"/>
                      <a:gd name="connsiteX25" fmla="*/ 95323 w 392904"/>
                      <a:gd name="connsiteY25" fmla="*/ 279514 h 309562"/>
                      <a:gd name="connsiteX26" fmla="*/ 0 w 392904"/>
                      <a:gd name="connsiteY26" fmla="*/ 184191 h 309562"/>
                      <a:gd name="connsiteX0" fmla="*/ 0 w 437322"/>
                      <a:gd name="connsiteY0" fmla="*/ 184191 h 309562"/>
                      <a:gd name="connsiteX1" fmla="*/ 0 w 437322"/>
                      <a:gd name="connsiteY1" fmla="*/ 125371 h 309562"/>
                      <a:gd name="connsiteX2" fmla="*/ 95323 w 437322"/>
                      <a:gd name="connsiteY2" fmla="*/ 30048 h 309562"/>
                      <a:gd name="connsiteX3" fmla="*/ 107911 w 437322"/>
                      <a:gd name="connsiteY3" fmla="*/ 30048 h 309562"/>
                      <a:gd name="connsiteX4" fmla="*/ 116458 w 437322"/>
                      <a:gd name="connsiteY4" fmla="*/ 9416 h 309562"/>
                      <a:gd name="connsiteX5" fmla="*/ 139189 w 437322"/>
                      <a:gd name="connsiteY5" fmla="*/ 0 h 309562"/>
                      <a:gd name="connsiteX6" fmla="*/ 182279 w 437322"/>
                      <a:gd name="connsiteY6" fmla="*/ 0 h 309562"/>
                      <a:gd name="connsiteX7" fmla="*/ 205010 w 437322"/>
                      <a:gd name="connsiteY7" fmla="*/ 9416 h 309562"/>
                      <a:gd name="connsiteX8" fmla="*/ 213557 w 437322"/>
                      <a:gd name="connsiteY8" fmla="*/ 30048 h 309562"/>
                      <a:gd name="connsiteX9" fmla="*/ 252339 w 437322"/>
                      <a:gd name="connsiteY9" fmla="*/ 30048 h 309562"/>
                      <a:gd name="connsiteX10" fmla="*/ 319742 w 437322"/>
                      <a:gd name="connsiteY10" fmla="*/ 57968 h 309562"/>
                      <a:gd name="connsiteX11" fmla="*/ 336441 w 437322"/>
                      <a:gd name="connsiteY11" fmla="*/ 82735 h 309562"/>
                      <a:gd name="connsiteX12" fmla="*/ 357186 w 437322"/>
                      <a:gd name="connsiteY12" fmla="*/ 80848 h 309562"/>
                      <a:gd name="connsiteX13" fmla="*/ 437322 w 437322"/>
                      <a:gd name="connsiteY13" fmla="*/ 147351 h 309562"/>
                      <a:gd name="connsiteX14" fmla="*/ 357186 w 437322"/>
                      <a:gd name="connsiteY14" fmla="*/ 235629 h 309562"/>
                      <a:gd name="connsiteX15" fmla="*/ 330992 w 437322"/>
                      <a:gd name="connsiteY15" fmla="*/ 235629 h 309562"/>
                      <a:gd name="connsiteX16" fmla="*/ 330992 w 437322"/>
                      <a:gd name="connsiteY16" fmla="*/ 234909 h 309562"/>
                      <a:gd name="connsiteX17" fmla="*/ 319742 w 437322"/>
                      <a:gd name="connsiteY17" fmla="*/ 251594 h 309562"/>
                      <a:gd name="connsiteX18" fmla="*/ 252339 w 437322"/>
                      <a:gd name="connsiteY18" fmla="*/ 279514 h 309562"/>
                      <a:gd name="connsiteX19" fmla="*/ 213557 w 437322"/>
                      <a:gd name="connsiteY19" fmla="*/ 279514 h 309562"/>
                      <a:gd name="connsiteX20" fmla="*/ 205010 w 437322"/>
                      <a:gd name="connsiteY20" fmla="*/ 300146 h 309562"/>
                      <a:gd name="connsiteX21" fmla="*/ 182279 w 437322"/>
                      <a:gd name="connsiteY21" fmla="*/ 309562 h 309562"/>
                      <a:gd name="connsiteX22" fmla="*/ 139189 w 437322"/>
                      <a:gd name="connsiteY22" fmla="*/ 309562 h 309562"/>
                      <a:gd name="connsiteX23" fmla="*/ 116458 w 437322"/>
                      <a:gd name="connsiteY23" fmla="*/ 300146 h 309562"/>
                      <a:gd name="connsiteX24" fmla="*/ 107911 w 437322"/>
                      <a:gd name="connsiteY24" fmla="*/ 279514 h 309562"/>
                      <a:gd name="connsiteX25" fmla="*/ 95323 w 437322"/>
                      <a:gd name="connsiteY25" fmla="*/ 279514 h 309562"/>
                      <a:gd name="connsiteX26" fmla="*/ 0 w 437322"/>
                      <a:gd name="connsiteY26" fmla="*/ 184191 h 309562"/>
                      <a:gd name="connsiteX0" fmla="*/ 0 w 437322"/>
                      <a:gd name="connsiteY0" fmla="*/ 184191 h 309562"/>
                      <a:gd name="connsiteX1" fmla="*/ 0 w 437322"/>
                      <a:gd name="connsiteY1" fmla="*/ 125371 h 309562"/>
                      <a:gd name="connsiteX2" fmla="*/ 95323 w 437322"/>
                      <a:gd name="connsiteY2" fmla="*/ 30048 h 309562"/>
                      <a:gd name="connsiteX3" fmla="*/ 107911 w 437322"/>
                      <a:gd name="connsiteY3" fmla="*/ 30048 h 309562"/>
                      <a:gd name="connsiteX4" fmla="*/ 116458 w 437322"/>
                      <a:gd name="connsiteY4" fmla="*/ 9416 h 309562"/>
                      <a:gd name="connsiteX5" fmla="*/ 139189 w 437322"/>
                      <a:gd name="connsiteY5" fmla="*/ 0 h 309562"/>
                      <a:gd name="connsiteX6" fmla="*/ 182279 w 437322"/>
                      <a:gd name="connsiteY6" fmla="*/ 0 h 309562"/>
                      <a:gd name="connsiteX7" fmla="*/ 205010 w 437322"/>
                      <a:gd name="connsiteY7" fmla="*/ 9416 h 309562"/>
                      <a:gd name="connsiteX8" fmla="*/ 213557 w 437322"/>
                      <a:gd name="connsiteY8" fmla="*/ 30048 h 309562"/>
                      <a:gd name="connsiteX9" fmla="*/ 252339 w 437322"/>
                      <a:gd name="connsiteY9" fmla="*/ 30048 h 309562"/>
                      <a:gd name="connsiteX10" fmla="*/ 319742 w 437322"/>
                      <a:gd name="connsiteY10" fmla="*/ 57968 h 309562"/>
                      <a:gd name="connsiteX11" fmla="*/ 336441 w 437322"/>
                      <a:gd name="connsiteY11" fmla="*/ 82735 h 309562"/>
                      <a:gd name="connsiteX12" fmla="*/ 401600 w 437322"/>
                      <a:gd name="connsiteY12" fmla="*/ 66043 h 309562"/>
                      <a:gd name="connsiteX13" fmla="*/ 437322 w 437322"/>
                      <a:gd name="connsiteY13" fmla="*/ 147351 h 309562"/>
                      <a:gd name="connsiteX14" fmla="*/ 357186 w 437322"/>
                      <a:gd name="connsiteY14" fmla="*/ 235629 h 309562"/>
                      <a:gd name="connsiteX15" fmla="*/ 330992 w 437322"/>
                      <a:gd name="connsiteY15" fmla="*/ 235629 h 309562"/>
                      <a:gd name="connsiteX16" fmla="*/ 330992 w 437322"/>
                      <a:gd name="connsiteY16" fmla="*/ 234909 h 309562"/>
                      <a:gd name="connsiteX17" fmla="*/ 319742 w 437322"/>
                      <a:gd name="connsiteY17" fmla="*/ 251594 h 309562"/>
                      <a:gd name="connsiteX18" fmla="*/ 252339 w 437322"/>
                      <a:gd name="connsiteY18" fmla="*/ 279514 h 309562"/>
                      <a:gd name="connsiteX19" fmla="*/ 213557 w 437322"/>
                      <a:gd name="connsiteY19" fmla="*/ 279514 h 309562"/>
                      <a:gd name="connsiteX20" fmla="*/ 205010 w 437322"/>
                      <a:gd name="connsiteY20" fmla="*/ 300146 h 309562"/>
                      <a:gd name="connsiteX21" fmla="*/ 182279 w 437322"/>
                      <a:gd name="connsiteY21" fmla="*/ 309562 h 309562"/>
                      <a:gd name="connsiteX22" fmla="*/ 139189 w 437322"/>
                      <a:gd name="connsiteY22" fmla="*/ 309562 h 309562"/>
                      <a:gd name="connsiteX23" fmla="*/ 116458 w 437322"/>
                      <a:gd name="connsiteY23" fmla="*/ 300146 h 309562"/>
                      <a:gd name="connsiteX24" fmla="*/ 107911 w 437322"/>
                      <a:gd name="connsiteY24" fmla="*/ 279514 h 309562"/>
                      <a:gd name="connsiteX25" fmla="*/ 95323 w 437322"/>
                      <a:gd name="connsiteY25" fmla="*/ 279514 h 309562"/>
                      <a:gd name="connsiteX26" fmla="*/ 0 w 437322"/>
                      <a:gd name="connsiteY26" fmla="*/ 184191 h 309562"/>
                      <a:gd name="connsiteX0" fmla="*/ 0 w 437322"/>
                      <a:gd name="connsiteY0" fmla="*/ 184191 h 309562"/>
                      <a:gd name="connsiteX1" fmla="*/ 0 w 437322"/>
                      <a:gd name="connsiteY1" fmla="*/ 125371 h 309562"/>
                      <a:gd name="connsiteX2" fmla="*/ 95323 w 437322"/>
                      <a:gd name="connsiteY2" fmla="*/ 30048 h 309562"/>
                      <a:gd name="connsiteX3" fmla="*/ 107911 w 437322"/>
                      <a:gd name="connsiteY3" fmla="*/ 30048 h 309562"/>
                      <a:gd name="connsiteX4" fmla="*/ 116458 w 437322"/>
                      <a:gd name="connsiteY4" fmla="*/ 9416 h 309562"/>
                      <a:gd name="connsiteX5" fmla="*/ 139189 w 437322"/>
                      <a:gd name="connsiteY5" fmla="*/ 0 h 309562"/>
                      <a:gd name="connsiteX6" fmla="*/ 182279 w 437322"/>
                      <a:gd name="connsiteY6" fmla="*/ 0 h 309562"/>
                      <a:gd name="connsiteX7" fmla="*/ 205010 w 437322"/>
                      <a:gd name="connsiteY7" fmla="*/ 9416 h 309562"/>
                      <a:gd name="connsiteX8" fmla="*/ 213557 w 437322"/>
                      <a:gd name="connsiteY8" fmla="*/ 30048 h 309562"/>
                      <a:gd name="connsiteX9" fmla="*/ 252339 w 437322"/>
                      <a:gd name="connsiteY9" fmla="*/ 30048 h 309562"/>
                      <a:gd name="connsiteX10" fmla="*/ 319742 w 437322"/>
                      <a:gd name="connsiteY10" fmla="*/ 57968 h 309562"/>
                      <a:gd name="connsiteX11" fmla="*/ 336441 w 437322"/>
                      <a:gd name="connsiteY11" fmla="*/ 82735 h 309562"/>
                      <a:gd name="connsiteX12" fmla="*/ 401600 w 437322"/>
                      <a:gd name="connsiteY12" fmla="*/ 66043 h 309562"/>
                      <a:gd name="connsiteX13" fmla="*/ 437322 w 437322"/>
                      <a:gd name="connsiteY13" fmla="*/ 147351 h 309562"/>
                      <a:gd name="connsiteX14" fmla="*/ 386796 w 437322"/>
                      <a:gd name="connsiteY14" fmla="*/ 235629 h 309562"/>
                      <a:gd name="connsiteX15" fmla="*/ 330992 w 437322"/>
                      <a:gd name="connsiteY15" fmla="*/ 235629 h 309562"/>
                      <a:gd name="connsiteX16" fmla="*/ 330992 w 437322"/>
                      <a:gd name="connsiteY16" fmla="*/ 234909 h 309562"/>
                      <a:gd name="connsiteX17" fmla="*/ 319742 w 437322"/>
                      <a:gd name="connsiteY17" fmla="*/ 251594 h 309562"/>
                      <a:gd name="connsiteX18" fmla="*/ 252339 w 437322"/>
                      <a:gd name="connsiteY18" fmla="*/ 279514 h 309562"/>
                      <a:gd name="connsiteX19" fmla="*/ 213557 w 437322"/>
                      <a:gd name="connsiteY19" fmla="*/ 279514 h 309562"/>
                      <a:gd name="connsiteX20" fmla="*/ 205010 w 437322"/>
                      <a:gd name="connsiteY20" fmla="*/ 300146 h 309562"/>
                      <a:gd name="connsiteX21" fmla="*/ 182279 w 437322"/>
                      <a:gd name="connsiteY21" fmla="*/ 309562 h 309562"/>
                      <a:gd name="connsiteX22" fmla="*/ 139189 w 437322"/>
                      <a:gd name="connsiteY22" fmla="*/ 309562 h 309562"/>
                      <a:gd name="connsiteX23" fmla="*/ 116458 w 437322"/>
                      <a:gd name="connsiteY23" fmla="*/ 300146 h 309562"/>
                      <a:gd name="connsiteX24" fmla="*/ 107911 w 437322"/>
                      <a:gd name="connsiteY24" fmla="*/ 279514 h 309562"/>
                      <a:gd name="connsiteX25" fmla="*/ 95323 w 437322"/>
                      <a:gd name="connsiteY25" fmla="*/ 279514 h 309562"/>
                      <a:gd name="connsiteX26" fmla="*/ 0 w 437322"/>
                      <a:gd name="connsiteY26" fmla="*/ 184191 h 3095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</a:cxnLst>
                    <a:rect l="l" t="t" r="r" b="b"/>
                    <a:pathLst>
                      <a:path w="437322" h="309562">
                        <a:moveTo>
                          <a:pt x="0" y="184191"/>
                        </a:moveTo>
                        <a:lnTo>
                          <a:pt x="0" y="125371"/>
                        </a:lnTo>
                        <a:cubicBezTo>
                          <a:pt x="0" y="72726"/>
                          <a:pt x="42678" y="30048"/>
                          <a:pt x="95323" y="30048"/>
                        </a:cubicBezTo>
                        <a:lnTo>
                          <a:pt x="107911" y="30048"/>
                        </a:lnTo>
                        <a:lnTo>
                          <a:pt x="116458" y="9416"/>
                        </a:lnTo>
                        <a:cubicBezTo>
                          <a:pt x="122275" y="3598"/>
                          <a:pt x="130312" y="0"/>
                          <a:pt x="139189" y="0"/>
                        </a:cubicBezTo>
                        <a:lnTo>
                          <a:pt x="182279" y="0"/>
                        </a:lnTo>
                        <a:cubicBezTo>
                          <a:pt x="191156" y="0"/>
                          <a:pt x="199193" y="3598"/>
                          <a:pt x="205010" y="9416"/>
                        </a:cubicBezTo>
                        <a:lnTo>
                          <a:pt x="213557" y="30048"/>
                        </a:lnTo>
                        <a:lnTo>
                          <a:pt x="252339" y="30048"/>
                        </a:lnTo>
                        <a:cubicBezTo>
                          <a:pt x="278662" y="30048"/>
                          <a:pt x="302492" y="40718"/>
                          <a:pt x="319742" y="57968"/>
                        </a:cubicBezTo>
                        <a:lnTo>
                          <a:pt x="336441" y="82735"/>
                        </a:lnTo>
                        <a:lnTo>
                          <a:pt x="401600" y="66043"/>
                        </a:lnTo>
                        <a:lnTo>
                          <a:pt x="437322" y="147351"/>
                        </a:lnTo>
                        <a:lnTo>
                          <a:pt x="386796" y="235629"/>
                        </a:lnTo>
                        <a:lnTo>
                          <a:pt x="330992" y="235629"/>
                        </a:lnTo>
                        <a:lnTo>
                          <a:pt x="330992" y="234909"/>
                        </a:lnTo>
                        <a:lnTo>
                          <a:pt x="319742" y="251594"/>
                        </a:lnTo>
                        <a:cubicBezTo>
                          <a:pt x="302492" y="268845"/>
                          <a:pt x="278662" y="279514"/>
                          <a:pt x="252339" y="279514"/>
                        </a:cubicBezTo>
                        <a:lnTo>
                          <a:pt x="213557" y="279514"/>
                        </a:lnTo>
                        <a:lnTo>
                          <a:pt x="205010" y="300146"/>
                        </a:lnTo>
                        <a:cubicBezTo>
                          <a:pt x="199193" y="305964"/>
                          <a:pt x="191156" y="309562"/>
                          <a:pt x="182279" y="309562"/>
                        </a:cubicBezTo>
                        <a:lnTo>
                          <a:pt x="139189" y="309562"/>
                        </a:lnTo>
                        <a:cubicBezTo>
                          <a:pt x="130312" y="309562"/>
                          <a:pt x="122275" y="305964"/>
                          <a:pt x="116458" y="300146"/>
                        </a:cubicBezTo>
                        <a:lnTo>
                          <a:pt x="107911" y="279514"/>
                        </a:lnTo>
                        <a:lnTo>
                          <a:pt x="95323" y="279514"/>
                        </a:lnTo>
                        <a:cubicBezTo>
                          <a:pt x="42678" y="279514"/>
                          <a:pt x="0" y="236836"/>
                          <a:pt x="0" y="184191"/>
                        </a:cubicBezTo>
                        <a:close/>
                      </a:path>
                    </a:pathLst>
                  </a:custGeom>
                  <a:solidFill>
                    <a:srgbClr val="FFC000"/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ctr" defTabSz="932472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US" sz="2400" kern="0" dirty="0" smtClean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141" name="Freeform 140"/>
                  <p:cNvSpPr/>
                  <p:nvPr/>
                </p:nvSpPr>
                <p:spPr bwMode="auto">
                  <a:xfrm>
                    <a:off x="10281961" y="3863532"/>
                    <a:ext cx="274220" cy="177722"/>
                  </a:xfrm>
                  <a:custGeom>
                    <a:avLst/>
                    <a:gdLst>
                      <a:gd name="connsiteX0" fmla="*/ 300038 w 300038"/>
                      <a:gd name="connsiteY0" fmla="*/ 190500 h 190500"/>
                      <a:gd name="connsiteX1" fmla="*/ 271463 w 300038"/>
                      <a:gd name="connsiteY1" fmla="*/ 116681 h 190500"/>
                      <a:gd name="connsiteX2" fmla="*/ 195263 w 300038"/>
                      <a:gd name="connsiteY2" fmla="*/ 107156 h 190500"/>
                      <a:gd name="connsiteX3" fmla="*/ 52388 w 300038"/>
                      <a:gd name="connsiteY3" fmla="*/ 100012 h 190500"/>
                      <a:gd name="connsiteX4" fmla="*/ 21431 w 300038"/>
                      <a:gd name="connsiteY4" fmla="*/ 119062 h 190500"/>
                      <a:gd name="connsiteX5" fmla="*/ 23813 w 300038"/>
                      <a:gd name="connsiteY5" fmla="*/ 164306 h 190500"/>
                      <a:gd name="connsiteX6" fmla="*/ 0 w 300038"/>
                      <a:gd name="connsiteY6" fmla="*/ 171450 h 190500"/>
                      <a:gd name="connsiteX7" fmla="*/ 97631 w 300038"/>
                      <a:gd name="connsiteY7" fmla="*/ 0 h 190500"/>
                      <a:gd name="connsiteX8" fmla="*/ 214313 w 300038"/>
                      <a:gd name="connsiteY8" fmla="*/ 40481 h 190500"/>
                      <a:gd name="connsiteX9" fmla="*/ 300038 w 300038"/>
                      <a:gd name="connsiteY9" fmla="*/ 190500 h 190500"/>
                      <a:gd name="connsiteX0" fmla="*/ 300038 w 300038"/>
                      <a:gd name="connsiteY0" fmla="*/ 190500 h 190500"/>
                      <a:gd name="connsiteX1" fmla="*/ 271463 w 300038"/>
                      <a:gd name="connsiteY1" fmla="*/ 116681 h 190500"/>
                      <a:gd name="connsiteX2" fmla="*/ 195263 w 300038"/>
                      <a:gd name="connsiteY2" fmla="*/ 107156 h 190500"/>
                      <a:gd name="connsiteX3" fmla="*/ 52388 w 300038"/>
                      <a:gd name="connsiteY3" fmla="*/ 100012 h 190500"/>
                      <a:gd name="connsiteX4" fmla="*/ 21431 w 300038"/>
                      <a:gd name="connsiteY4" fmla="*/ 119062 h 190500"/>
                      <a:gd name="connsiteX5" fmla="*/ 23813 w 300038"/>
                      <a:gd name="connsiteY5" fmla="*/ 164306 h 190500"/>
                      <a:gd name="connsiteX6" fmla="*/ 0 w 300038"/>
                      <a:gd name="connsiteY6" fmla="*/ 171450 h 190500"/>
                      <a:gd name="connsiteX7" fmla="*/ 97631 w 300038"/>
                      <a:gd name="connsiteY7" fmla="*/ 0 h 190500"/>
                      <a:gd name="connsiteX8" fmla="*/ 214313 w 300038"/>
                      <a:gd name="connsiteY8" fmla="*/ 40481 h 190500"/>
                      <a:gd name="connsiteX9" fmla="*/ 300038 w 300038"/>
                      <a:gd name="connsiteY9" fmla="*/ 190500 h 190500"/>
                      <a:gd name="connsiteX0" fmla="*/ 300038 w 300038"/>
                      <a:gd name="connsiteY0" fmla="*/ 190500 h 190500"/>
                      <a:gd name="connsiteX1" fmla="*/ 271463 w 300038"/>
                      <a:gd name="connsiteY1" fmla="*/ 116681 h 190500"/>
                      <a:gd name="connsiteX2" fmla="*/ 195263 w 300038"/>
                      <a:gd name="connsiteY2" fmla="*/ 107156 h 190500"/>
                      <a:gd name="connsiteX3" fmla="*/ 52388 w 300038"/>
                      <a:gd name="connsiteY3" fmla="*/ 100012 h 190500"/>
                      <a:gd name="connsiteX4" fmla="*/ 21431 w 300038"/>
                      <a:gd name="connsiteY4" fmla="*/ 119062 h 190500"/>
                      <a:gd name="connsiteX5" fmla="*/ 23813 w 300038"/>
                      <a:gd name="connsiteY5" fmla="*/ 164306 h 190500"/>
                      <a:gd name="connsiteX6" fmla="*/ 0 w 300038"/>
                      <a:gd name="connsiteY6" fmla="*/ 171450 h 190500"/>
                      <a:gd name="connsiteX7" fmla="*/ 97631 w 300038"/>
                      <a:gd name="connsiteY7" fmla="*/ 0 h 190500"/>
                      <a:gd name="connsiteX8" fmla="*/ 214313 w 300038"/>
                      <a:gd name="connsiteY8" fmla="*/ 40481 h 190500"/>
                      <a:gd name="connsiteX9" fmla="*/ 300038 w 300038"/>
                      <a:gd name="connsiteY9" fmla="*/ 190500 h 190500"/>
                      <a:gd name="connsiteX0" fmla="*/ 300038 w 301649"/>
                      <a:gd name="connsiteY0" fmla="*/ 190500 h 190500"/>
                      <a:gd name="connsiteX1" fmla="*/ 271463 w 301649"/>
                      <a:gd name="connsiteY1" fmla="*/ 116681 h 190500"/>
                      <a:gd name="connsiteX2" fmla="*/ 195263 w 301649"/>
                      <a:gd name="connsiteY2" fmla="*/ 107156 h 190500"/>
                      <a:gd name="connsiteX3" fmla="*/ 52388 w 301649"/>
                      <a:gd name="connsiteY3" fmla="*/ 100012 h 190500"/>
                      <a:gd name="connsiteX4" fmla="*/ 21431 w 301649"/>
                      <a:gd name="connsiteY4" fmla="*/ 119062 h 190500"/>
                      <a:gd name="connsiteX5" fmla="*/ 23813 w 301649"/>
                      <a:gd name="connsiteY5" fmla="*/ 164306 h 190500"/>
                      <a:gd name="connsiteX6" fmla="*/ 0 w 301649"/>
                      <a:gd name="connsiteY6" fmla="*/ 171450 h 190500"/>
                      <a:gd name="connsiteX7" fmla="*/ 97631 w 301649"/>
                      <a:gd name="connsiteY7" fmla="*/ 0 h 190500"/>
                      <a:gd name="connsiteX8" fmla="*/ 214313 w 301649"/>
                      <a:gd name="connsiteY8" fmla="*/ 40481 h 190500"/>
                      <a:gd name="connsiteX9" fmla="*/ 300038 w 301649"/>
                      <a:gd name="connsiteY9" fmla="*/ 190500 h 190500"/>
                      <a:gd name="connsiteX0" fmla="*/ 300038 w 301649"/>
                      <a:gd name="connsiteY0" fmla="*/ 194507 h 194507"/>
                      <a:gd name="connsiteX1" fmla="*/ 271463 w 301649"/>
                      <a:gd name="connsiteY1" fmla="*/ 120688 h 194507"/>
                      <a:gd name="connsiteX2" fmla="*/ 195263 w 301649"/>
                      <a:gd name="connsiteY2" fmla="*/ 111163 h 194507"/>
                      <a:gd name="connsiteX3" fmla="*/ 52388 w 301649"/>
                      <a:gd name="connsiteY3" fmla="*/ 104019 h 194507"/>
                      <a:gd name="connsiteX4" fmla="*/ 21431 w 301649"/>
                      <a:gd name="connsiteY4" fmla="*/ 123069 h 194507"/>
                      <a:gd name="connsiteX5" fmla="*/ 23813 w 301649"/>
                      <a:gd name="connsiteY5" fmla="*/ 168313 h 194507"/>
                      <a:gd name="connsiteX6" fmla="*/ 0 w 301649"/>
                      <a:gd name="connsiteY6" fmla="*/ 175457 h 194507"/>
                      <a:gd name="connsiteX7" fmla="*/ 97631 w 301649"/>
                      <a:gd name="connsiteY7" fmla="*/ 4007 h 194507"/>
                      <a:gd name="connsiteX8" fmla="*/ 214313 w 301649"/>
                      <a:gd name="connsiteY8" fmla="*/ 44488 h 194507"/>
                      <a:gd name="connsiteX9" fmla="*/ 300038 w 301649"/>
                      <a:gd name="connsiteY9" fmla="*/ 194507 h 194507"/>
                      <a:gd name="connsiteX0" fmla="*/ 300038 w 301649"/>
                      <a:gd name="connsiteY0" fmla="*/ 195665 h 195665"/>
                      <a:gd name="connsiteX1" fmla="*/ 271463 w 301649"/>
                      <a:gd name="connsiteY1" fmla="*/ 121846 h 195665"/>
                      <a:gd name="connsiteX2" fmla="*/ 195263 w 301649"/>
                      <a:gd name="connsiteY2" fmla="*/ 112321 h 195665"/>
                      <a:gd name="connsiteX3" fmla="*/ 52388 w 301649"/>
                      <a:gd name="connsiteY3" fmla="*/ 105177 h 195665"/>
                      <a:gd name="connsiteX4" fmla="*/ 21431 w 301649"/>
                      <a:gd name="connsiteY4" fmla="*/ 124227 h 195665"/>
                      <a:gd name="connsiteX5" fmla="*/ 23813 w 301649"/>
                      <a:gd name="connsiteY5" fmla="*/ 169471 h 195665"/>
                      <a:gd name="connsiteX6" fmla="*/ 0 w 301649"/>
                      <a:gd name="connsiteY6" fmla="*/ 176615 h 195665"/>
                      <a:gd name="connsiteX7" fmla="*/ 97631 w 301649"/>
                      <a:gd name="connsiteY7" fmla="*/ 5165 h 195665"/>
                      <a:gd name="connsiteX8" fmla="*/ 214313 w 301649"/>
                      <a:gd name="connsiteY8" fmla="*/ 45646 h 195665"/>
                      <a:gd name="connsiteX9" fmla="*/ 300038 w 301649"/>
                      <a:gd name="connsiteY9" fmla="*/ 195665 h 195665"/>
                      <a:gd name="connsiteX0" fmla="*/ 300038 w 301649"/>
                      <a:gd name="connsiteY0" fmla="*/ 195665 h 195665"/>
                      <a:gd name="connsiteX1" fmla="*/ 271463 w 301649"/>
                      <a:gd name="connsiteY1" fmla="*/ 121846 h 195665"/>
                      <a:gd name="connsiteX2" fmla="*/ 195263 w 301649"/>
                      <a:gd name="connsiteY2" fmla="*/ 112321 h 195665"/>
                      <a:gd name="connsiteX3" fmla="*/ 52388 w 301649"/>
                      <a:gd name="connsiteY3" fmla="*/ 105177 h 195665"/>
                      <a:gd name="connsiteX4" fmla="*/ 45243 w 301649"/>
                      <a:gd name="connsiteY4" fmla="*/ 150420 h 195665"/>
                      <a:gd name="connsiteX5" fmla="*/ 23813 w 301649"/>
                      <a:gd name="connsiteY5" fmla="*/ 169471 h 195665"/>
                      <a:gd name="connsiteX6" fmla="*/ 0 w 301649"/>
                      <a:gd name="connsiteY6" fmla="*/ 176615 h 195665"/>
                      <a:gd name="connsiteX7" fmla="*/ 97631 w 301649"/>
                      <a:gd name="connsiteY7" fmla="*/ 5165 h 195665"/>
                      <a:gd name="connsiteX8" fmla="*/ 214313 w 301649"/>
                      <a:gd name="connsiteY8" fmla="*/ 45646 h 195665"/>
                      <a:gd name="connsiteX9" fmla="*/ 300038 w 301649"/>
                      <a:gd name="connsiteY9" fmla="*/ 195665 h 195665"/>
                      <a:gd name="connsiteX0" fmla="*/ 300483 w 302094"/>
                      <a:gd name="connsiteY0" fmla="*/ 195665 h 195665"/>
                      <a:gd name="connsiteX1" fmla="*/ 271908 w 302094"/>
                      <a:gd name="connsiteY1" fmla="*/ 121846 h 195665"/>
                      <a:gd name="connsiteX2" fmla="*/ 195708 w 302094"/>
                      <a:gd name="connsiteY2" fmla="*/ 112321 h 195665"/>
                      <a:gd name="connsiteX3" fmla="*/ 52833 w 302094"/>
                      <a:gd name="connsiteY3" fmla="*/ 105177 h 195665"/>
                      <a:gd name="connsiteX4" fmla="*/ 45688 w 302094"/>
                      <a:gd name="connsiteY4" fmla="*/ 150420 h 195665"/>
                      <a:gd name="connsiteX5" fmla="*/ 24258 w 302094"/>
                      <a:gd name="connsiteY5" fmla="*/ 169471 h 195665"/>
                      <a:gd name="connsiteX6" fmla="*/ 445 w 302094"/>
                      <a:gd name="connsiteY6" fmla="*/ 176615 h 195665"/>
                      <a:gd name="connsiteX7" fmla="*/ 98076 w 302094"/>
                      <a:gd name="connsiteY7" fmla="*/ 5165 h 195665"/>
                      <a:gd name="connsiteX8" fmla="*/ 214758 w 302094"/>
                      <a:gd name="connsiteY8" fmla="*/ 45646 h 195665"/>
                      <a:gd name="connsiteX9" fmla="*/ 300483 w 302094"/>
                      <a:gd name="connsiteY9" fmla="*/ 195665 h 195665"/>
                      <a:gd name="connsiteX0" fmla="*/ 300483 w 302094"/>
                      <a:gd name="connsiteY0" fmla="*/ 195665 h 195665"/>
                      <a:gd name="connsiteX1" fmla="*/ 271908 w 302094"/>
                      <a:gd name="connsiteY1" fmla="*/ 121846 h 195665"/>
                      <a:gd name="connsiteX2" fmla="*/ 195708 w 302094"/>
                      <a:gd name="connsiteY2" fmla="*/ 112321 h 195665"/>
                      <a:gd name="connsiteX3" fmla="*/ 52833 w 302094"/>
                      <a:gd name="connsiteY3" fmla="*/ 105177 h 195665"/>
                      <a:gd name="connsiteX4" fmla="*/ 45688 w 302094"/>
                      <a:gd name="connsiteY4" fmla="*/ 150420 h 195665"/>
                      <a:gd name="connsiteX5" fmla="*/ 21877 w 302094"/>
                      <a:gd name="connsiteY5" fmla="*/ 131371 h 195665"/>
                      <a:gd name="connsiteX6" fmla="*/ 445 w 302094"/>
                      <a:gd name="connsiteY6" fmla="*/ 176615 h 195665"/>
                      <a:gd name="connsiteX7" fmla="*/ 98076 w 302094"/>
                      <a:gd name="connsiteY7" fmla="*/ 5165 h 195665"/>
                      <a:gd name="connsiteX8" fmla="*/ 214758 w 302094"/>
                      <a:gd name="connsiteY8" fmla="*/ 45646 h 195665"/>
                      <a:gd name="connsiteX9" fmla="*/ 300483 w 302094"/>
                      <a:gd name="connsiteY9" fmla="*/ 195665 h 195665"/>
                      <a:gd name="connsiteX0" fmla="*/ 300483 w 302094"/>
                      <a:gd name="connsiteY0" fmla="*/ 195665 h 195665"/>
                      <a:gd name="connsiteX1" fmla="*/ 271908 w 302094"/>
                      <a:gd name="connsiteY1" fmla="*/ 121846 h 195665"/>
                      <a:gd name="connsiteX2" fmla="*/ 195708 w 302094"/>
                      <a:gd name="connsiteY2" fmla="*/ 112321 h 195665"/>
                      <a:gd name="connsiteX3" fmla="*/ 52833 w 302094"/>
                      <a:gd name="connsiteY3" fmla="*/ 105177 h 195665"/>
                      <a:gd name="connsiteX4" fmla="*/ 43307 w 302094"/>
                      <a:gd name="connsiteY4" fmla="*/ 126608 h 195665"/>
                      <a:gd name="connsiteX5" fmla="*/ 21877 w 302094"/>
                      <a:gd name="connsiteY5" fmla="*/ 131371 h 195665"/>
                      <a:gd name="connsiteX6" fmla="*/ 445 w 302094"/>
                      <a:gd name="connsiteY6" fmla="*/ 176615 h 195665"/>
                      <a:gd name="connsiteX7" fmla="*/ 98076 w 302094"/>
                      <a:gd name="connsiteY7" fmla="*/ 5165 h 195665"/>
                      <a:gd name="connsiteX8" fmla="*/ 214758 w 302094"/>
                      <a:gd name="connsiteY8" fmla="*/ 45646 h 195665"/>
                      <a:gd name="connsiteX9" fmla="*/ 300483 w 302094"/>
                      <a:gd name="connsiteY9" fmla="*/ 195665 h 195665"/>
                      <a:gd name="connsiteX0" fmla="*/ 300483 w 302094"/>
                      <a:gd name="connsiteY0" fmla="*/ 195665 h 195665"/>
                      <a:gd name="connsiteX1" fmla="*/ 271908 w 302094"/>
                      <a:gd name="connsiteY1" fmla="*/ 121846 h 195665"/>
                      <a:gd name="connsiteX2" fmla="*/ 195708 w 302094"/>
                      <a:gd name="connsiteY2" fmla="*/ 112321 h 195665"/>
                      <a:gd name="connsiteX3" fmla="*/ 52833 w 302094"/>
                      <a:gd name="connsiteY3" fmla="*/ 105177 h 195665"/>
                      <a:gd name="connsiteX4" fmla="*/ 43307 w 302094"/>
                      <a:gd name="connsiteY4" fmla="*/ 126608 h 195665"/>
                      <a:gd name="connsiteX5" fmla="*/ 12352 w 302094"/>
                      <a:gd name="connsiteY5" fmla="*/ 171852 h 195665"/>
                      <a:gd name="connsiteX6" fmla="*/ 445 w 302094"/>
                      <a:gd name="connsiteY6" fmla="*/ 176615 h 195665"/>
                      <a:gd name="connsiteX7" fmla="*/ 98076 w 302094"/>
                      <a:gd name="connsiteY7" fmla="*/ 5165 h 195665"/>
                      <a:gd name="connsiteX8" fmla="*/ 214758 w 302094"/>
                      <a:gd name="connsiteY8" fmla="*/ 45646 h 195665"/>
                      <a:gd name="connsiteX9" fmla="*/ 300483 w 302094"/>
                      <a:gd name="connsiteY9" fmla="*/ 195665 h 195665"/>
                      <a:gd name="connsiteX0" fmla="*/ 300483 w 302094"/>
                      <a:gd name="connsiteY0" fmla="*/ 195665 h 195665"/>
                      <a:gd name="connsiteX1" fmla="*/ 271908 w 302094"/>
                      <a:gd name="connsiteY1" fmla="*/ 121846 h 195665"/>
                      <a:gd name="connsiteX2" fmla="*/ 195708 w 302094"/>
                      <a:gd name="connsiteY2" fmla="*/ 112321 h 195665"/>
                      <a:gd name="connsiteX3" fmla="*/ 52833 w 302094"/>
                      <a:gd name="connsiteY3" fmla="*/ 105177 h 195665"/>
                      <a:gd name="connsiteX4" fmla="*/ 43307 w 302094"/>
                      <a:gd name="connsiteY4" fmla="*/ 126608 h 195665"/>
                      <a:gd name="connsiteX5" fmla="*/ 12352 w 302094"/>
                      <a:gd name="connsiteY5" fmla="*/ 171852 h 195665"/>
                      <a:gd name="connsiteX6" fmla="*/ 445 w 302094"/>
                      <a:gd name="connsiteY6" fmla="*/ 176615 h 195665"/>
                      <a:gd name="connsiteX7" fmla="*/ 98076 w 302094"/>
                      <a:gd name="connsiteY7" fmla="*/ 5165 h 195665"/>
                      <a:gd name="connsiteX8" fmla="*/ 214758 w 302094"/>
                      <a:gd name="connsiteY8" fmla="*/ 45646 h 195665"/>
                      <a:gd name="connsiteX9" fmla="*/ 300483 w 302094"/>
                      <a:gd name="connsiteY9" fmla="*/ 195665 h 195665"/>
                      <a:gd name="connsiteX0" fmla="*/ 300483 w 302094"/>
                      <a:gd name="connsiteY0" fmla="*/ 195665 h 195665"/>
                      <a:gd name="connsiteX1" fmla="*/ 271908 w 302094"/>
                      <a:gd name="connsiteY1" fmla="*/ 121846 h 195665"/>
                      <a:gd name="connsiteX2" fmla="*/ 195708 w 302094"/>
                      <a:gd name="connsiteY2" fmla="*/ 112321 h 195665"/>
                      <a:gd name="connsiteX3" fmla="*/ 52833 w 302094"/>
                      <a:gd name="connsiteY3" fmla="*/ 105177 h 195665"/>
                      <a:gd name="connsiteX4" fmla="*/ 43307 w 302094"/>
                      <a:gd name="connsiteY4" fmla="*/ 126608 h 195665"/>
                      <a:gd name="connsiteX5" fmla="*/ 12352 w 302094"/>
                      <a:gd name="connsiteY5" fmla="*/ 171852 h 195665"/>
                      <a:gd name="connsiteX6" fmla="*/ 445 w 302094"/>
                      <a:gd name="connsiteY6" fmla="*/ 176615 h 195665"/>
                      <a:gd name="connsiteX7" fmla="*/ 98076 w 302094"/>
                      <a:gd name="connsiteY7" fmla="*/ 5165 h 195665"/>
                      <a:gd name="connsiteX8" fmla="*/ 214758 w 302094"/>
                      <a:gd name="connsiteY8" fmla="*/ 45646 h 195665"/>
                      <a:gd name="connsiteX9" fmla="*/ 300483 w 302094"/>
                      <a:gd name="connsiteY9" fmla="*/ 195665 h 195665"/>
                      <a:gd name="connsiteX0" fmla="*/ 300483 w 302094"/>
                      <a:gd name="connsiteY0" fmla="*/ 195665 h 195665"/>
                      <a:gd name="connsiteX1" fmla="*/ 271908 w 302094"/>
                      <a:gd name="connsiteY1" fmla="*/ 121846 h 195665"/>
                      <a:gd name="connsiteX2" fmla="*/ 195708 w 302094"/>
                      <a:gd name="connsiteY2" fmla="*/ 112321 h 195665"/>
                      <a:gd name="connsiteX3" fmla="*/ 52833 w 302094"/>
                      <a:gd name="connsiteY3" fmla="*/ 105177 h 195665"/>
                      <a:gd name="connsiteX4" fmla="*/ 43307 w 302094"/>
                      <a:gd name="connsiteY4" fmla="*/ 126608 h 195665"/>
                      <a:gd name="connsiteX5" fmla="*/ 12352 w 302094"/>
                      <a:gd name="connsiteY5" fmla="*/ 171852 h 195665"/>
                      <a:gd name="connsiteX6" fmla="*/ 445 w 302094"/>
                      <a:gd name="connsiteY6" fmla="*/ 176615 h 195665"/>
                      <a:gd name="connsiteX7" fmla="*/ 98076 w 302094"/>
                      <a:gd name="connsiteY7" fmla="*/ 5165 h 195665"/>
                      <a:gd name="connsiteX8" fmla="*/ 214758 w 302094"/>
                      <a:gd name="connsiteY8" fmla="*/ 45646 h 195665"/>
                      <a:gd name="connsiteX9" fmla="*/ 300483 w 302094"/>
                      <a:gd name="connsiteY9" fmla="*/ 195665 h 195665"/>
                      <a:gd name="connsiteX0" fmla="*/ 300483 w 302094"/>
                      <a:gd name="connsiteY0" fmla="*/ 195665 h 195665"/>
                      <a:gd name="connsiteX1" fmla="*/ 271908 w 302094"/>
                      <a:gd name="connsiteY1" fmla="*/ 121846 h 195665"/>
                      <a:gd name="connsiteX2" fmla="*/ 195708 w 302094"/>
                      <a:gd name="connsiteY2" fmla="*/ 112321 h 195665"/>
                      <a:gd name="connsiteX3" fmla="*/ 52833 w 302094"/>
                      <a:gd name="connsiteY3" fmla="*/ 105177 h 195665"/>
                      <a:gd name="connsiteX4" fmla="*/ 43307 w 302094"/>
                      <a:gd name="connsiteY4" fmla="*/ 126608 h 195665"/>
                      <a:gd name="connsiteX5" fmla="*/ 12352 w 302094"/>
                      <a:gd name="connsiteY5" fmla="*/ 171852 h 195665"/>
                      <a:gd name="connsiteX6" fmla="*/ 445 w 302094"/>
                      <a:gd name="connsiteY6" fmla="*/ 176615 h 195665"/>
                      <a:gd name="connsiteX7" fmla="*/ 98076 w 302094"/>
                      <a:gd name="connsiteY7" fmla="*/ 5165 h 195665"/>
                      <a:gd name="connsiteX8" fmla="*/ 214758 w 302094"/>
                      <a:gd name="connsiteY8" fmla="*/ 45646 h 195665"/>
                      <a:gd name="connsiteX9" fmla="*/ 300483 w 302094"/>
                      <a:gd name="connsiteY9" fmla="*/ 195665 h 195665"/>
                      <a:gd name="connsiteX0" fmla="*/ 300483 w 301906"/>
                      <a:gd name="connsiteY0" fmla="*/ 195665 h 195665"/>
                      <a:gd name="connsiteX1" fmla="*/ 271908 w 301906"/>
                      <a:gd name="connsiteY1" fmla="*/ 121846 h 195665"/>
                      <a:gd name="connsiteX2" fmla="*/ 195708 w 301906"/>
                      <a:gd name="connsiteY2" fmla="*/ 112321 h 195665"/>
                      <a:gd name="connsiteX3" fmla="*/ 52833 w 301906"/>
                      <a:gd name="connsiteY3" fmla="*/ 105177 h 195665"/>
                      <a:gd name="connsiteX4" fmla="*/ 43307 w 301906"/>
                      <a:gd name="connsiteY4" fmla="*/ 126608 h 195665"/>
                      <a:gd name="connsiteX5" fmla="*/ 12352 w 301906"/>
                      <a:gd name="connsiteY5" fmla="*/ 171852 h 195665"/>
                      <a:gd name="connsiteX6" fmla="*/ 445 w 301906"/>
                      <a:gd name="connsiteY6" fmla="*/ 176615 h 195665"/>
                      <a:gd name="connsiteX7" fmla="*/ 98076 w 301906"/>
                      <a:gd name="connsiteY7" fmla="*/ 5165 h 195665"/>
                      <a:gd name="connsiteX8" fmla="*/ 214758 w 301906"/>
                      <a:gd name="connsiteY8" fmla="*/ 45646 h 195665"/>
                      <a:gd name="connsiteX9" fmla="*/ 300483 w 301906"/>
                      <a:gd name="connsiteY9" fmla="*/ 195665 h 195665"/>
                      <a:gd name="connsiteX0" fmla="*/ 300483 w 301906"/>
                      <a:gd name="connsiteY0" fmla="*/ 195665 h 195665"/>
                      <a:gd name="connsiteX1" fmla="*/ 271908 w 301906"/>
                      <a:gd name="connsiteY1" fmla="*/ 121846 h 195665"/>
                      <a:gd name="connsiteX2" fmla="*/ 195708 w 301906"/>
                      <a:gd name="connsiteY2" fmla="*/ 112321 h 195665"/>
                      <a:gd name="connsiteX3" fmla="*/ 52833 w 301906"/>
                      <a:gd name="connsiteY3" fmla="*/ 105177 h 195665"/>
                      <a:gd name="connsiteX4" fmla="*/ 43307 w 301906"/>
                      <a:gd name="connsiteY4" fmla="*/ 126608 h 195665"/>
                      <a:gd name="connsiteX5" fmla="*/ 12352 w 301906"/>
                      <a:gd name="connsiteY5" fmla="*/ 171852 h 195665"/>
                      <a:gd name="connsiteX6" fmla="*/ 445 w 301906"/>
                      <a:gd name="connsiteY6" fmla="*/ 176615 h 195665"/>
                      <a:gd name="connsiteX7" fmla="*/ 98076 w 301906"/>
                      <a:gd name="connsiteY7" fmla="*/ 5165 h 195665"/>
                      <a:gd name="connsiteX8" fmla="*/ 214758 w 301906"/>
                      <a:gd name="connsiteY8" fmla="*/ 45646 h 195665"/>
                      <a:gd name="connsiteX9" fmla="*/ 300483 w 301906"/>
                      <a:gd name="connsiteY9" fmla="*/ 195665 h 1956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301906" h="195665">
                        <a:moveTo>
                          <a:pt x="300483" y="195665"/>
                        </a:moveTo>
                        <a:cubicBezTo>
                          <a:pt x="231426" y="159153"/>
                          <a:pt x="281433" y="146452"/>
                          <a:pt x="271908" y="121846"/>
                        </a:cubicBezTo>
                        <a:cubicBezTo>
                          <a:pt x="246508" y="130578"/>
                          <a:pt x="221108" y="115496"/>
                          <a:pt x="195708" y="112321"/>
                        </a:cubicBezTo>
                        <a:cubicBezTo>
                          <a:pt x="117127" y="138515"/>
                          <a:pt x="86170" y="124227"/>
                          <a:pt x="52833" y="105177"/>
                        </a:cubicBezTo>
                        <a:lnTo>
                          <a:pt x="43307" y="126608"/>
                        </a:lnTo>
                        <a:cubicBezTo>
                          <a:pt x="32989" y="141689"/>
                          <a:pt x="32195" y="178203"/>
                          <a:pt x="12352" y="171852"/>
                        </a:cubicBezTo>
                        <a:lnTo>
                          <a:pt x="445" y="176615"/>
                        </a:lnTo>
                        <a:cubicBezTo>
                          <a:pt x="-2730" y="105177"/>
                          <a:pt x="9176" y="22627"/>
                          <a:pt x="98076" y="5165"/>
                        </a:cubicBezTo>
                        <a:cubicBezTo>
                          <a:pt x="186976" y="-12297"/>
                          <a:pt x="204439" y="17864"/>
                          <a:pt x="214758" y="45646"/>
                        </a:cubicBezTo>
                        <a:cubicBezTo>
                          <a:pt x="302864" y="31358"/>
                          <a:pt x="305246" y="133753"/>
                          <a:pt x="300483" y="195665"/>
                        </a:cubicBezTo>
                        <a:close/>
                      </a:path>
                    </a:pathLst>
                  </a:custGeom>
                  <a:solidFill>
                    <a:srgbClr val="663300"/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0" cap="none" spc="0" normalizeH="0" baseline="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142" name="Freeform 141"/>
                  <p:cNvSpPr/>
                  <p:nvPr/>
                </p:nvSpPr>
                <p:spPr bwMode="auto">
                  <a:xfrm flipH="1">
                    <a:off x="10217381" y="5101358"/>
                    <a:ext cx="397008" cy="944988"/>
                  </a:xfrm>
                  <a:custGeom>
                    <a:avLst/>
                    <a:gdLst>
                      <a:gd name="connsiteX0" fmla="*/ 230981 w 464344"/>
                      <a:gd name="connsiteY0" fmla="*/ 0 h 854869"/>
                      <a:gd name="connsiteX1" fmla="*/ 0 w 464344"/>
                      <a:gd name="connsiteY1" fmla="*/ 61913 h 854869"/>
                      <a:gd name="connsiteX2" fmla="*/ 38100 w 464344"/>
                      <a:gd name="connsiteY2" fmla="*/ 854869 h 854869"/>
                      <a:gd name="connsiteX3" fmla="*/ 195262 w 464344"/>
                      <a:gd name="connsiteY3" fmla="*/ 854869 h 854869"/>
                      <a:gd name="connsiteX4" fmla="*/ 233363 w 464344"/>
                      <a:gd name="connsiteY4" fmla="*/ 0 h 854869"/>
                      <a:gd name="connsiteX5" fmla="*/ 269082 w 464344"/>
                      <a:gd name="connsiteY5" fmla="*/ 854869 h 854869"/>
                      <a:gd name="connsiteX6" fmla="*/ 426244 w 464344"/>
                      <a:gd name="connsiteY6" fmla="*/ 854869 h 854869"/>
                      <a:gd name="connsiteX7" fmla="*/ 464344 w 464344"/>
                      <a:gd name="connsiteY7" fmla="*/ 61913 h 854869"/>
                      <a:gd name="connsiteX0" fmla="*/ 230981 w 464344"/>
                      <a:gd name="connsiteY0" fmla="*/ 0 h 854869"/>
                      <a:gd name="connsiteX1" fmla="*/ 0 w 464344"/>
                      <a:gd name="connsiteY1" fmla="*/ 1947 h 854869"/>
                      <a:gd name="connsiteX2" fmla="*/ 38100 w 464344"/>
                      <a:gd name="connsiteY2" fmla="*/ 854869 h 854869"/>
                      <a:gd name="connsiteX3" fmla="*/ 195262 w 464344"/>
                      <a:gd name="connsiteY3" fmla="*/ 854869 h 854869"/>
                      <a:gd name="connsiteX4" fmla="*/ 230981 w 464344"/>
                      <a:gd name="connsiteY4" fmla="*/ 0 h 854869"/>
                      <a:gd name="connsiteX5" fmla="*/ 233363 w 464344"/>
                      <a:gd name="connsiteY5" fmla="*/ 0 h 854869"/>
                      <a:gd name="connsiteX6" fmla="*/ 269082 w 464344"/>
                      <a:gd name="connsiteY6" fmla="*/ 854869 h 854869"/>
                      <a:gd name="connsiteX7" fmla="*/ 426244 w 464344"/>
                      <a:gd name="connsiteY7" fmla="*/ 854869 h 854869"/>
                      <a:gd name="connsiteX8" fmla="*/ 464344 w 464344"/>
                      <a:gd name="connsiteY8" fmla="*/ 61913 h 854869"/>
                      <a:gd name="connsiteX9" fmla="*/ 233363 w 464344"/>
                      <a:gd name="connsiteY9" fmla="*/ 0 h 854869"/>
                      <a:gd name="connsiteX0" fmla="*/ 230981 w 467334"/>
                      <a:gd name="connsiteY0" fmla="*/ 0 h 854869"/>
                      <a:gd name="connsiteX1" fmla="*/ 0 w 467334"/>
                      <a:gd name="connsiteY1" fmla="*/ 1947 h 854869"/>
                      <a:gd name="connsiteX2" fmla="*/ 38100 w 467334"/>
                      <a:gd name="connsiteY2" fmla="*/ 854869 h 854869"/>
                      <a:gd name="connsiteX3" fmla="*/ 195262 w 467334"/>
                      <a:gd name="connsiteY3" fmla="*/ 854869 h 854869"/>
                      <a:gd name="connsiteX4" fmla="*/ 230981 w 467334"/>
                      <a:gd name="connsiteY4" fmla="*/ 0 h 854869"/>
                      <a:gd name="connsiteX5" fmla="*/ 233363 w 467334"/>
                      <a:gd name="connsiteY5" fmla="*/ 0 h 854869"/>
                      <a:gd name="connsiteX6" fmla="*/ 269082 w 467334"/>
                      <a:gd name="connsiteY6" fmla="*/ 854869 h 854869"/>
                      <a:gd name="connsiteX7" fmla="*/ 426244 w 467334"/>
                      <a:gd name="connsiteY7" fmla="*/ 854869 h 854869"/>
                      <a:gd name="connsiteX8" fmla="*/ 467334 w 467334"/>
                      <a:gd name="connsiteY8" fmla="*/ 7398 h 854869"/>
                      <a:gd name="connsiteX9" fmla="*/ 233363 w 467334"/>
                      <a:gd name="connsiteY9" fmla="*/ 0 h 8548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467334" h="854869">
                        <a:moveTo>
                          <a:pt x="230981" y="0"/>
                        </a:moveTo>
                        <a:lnTo>
                          <a:pt x="0" y="1947"/>
                        </a:lnTo>
                        <a:lnTo>
                          <a:pt x="38100" y="854869"/>
                        </a:lnTo>
                        <a:lnTo>
                          <a:pt x="195262" y="854869"/>
                        </a:lnTo>
                        <a:lnTo>
                          <a:pt x="230981" y="0"/>
                        </a:lnTo>
                        <a:close/>
                        <a:moveTo>
                          <a:pt x="233363" y="0"/>
                        </a:moveTo>
                        <a:lnTo>
                          <a:pt x="269082" y="854869"/>
                        </a:lnTo>
                        <a:lnTo>
                          <a:pt x="426244" y="854869"/>
                        </a:lnTo>
                        <a:lnTo>
                          <a:pt x="467334" y="7398"/>
                        </a:lnTo>
                        <a:lnTo>
                          <a:pt x="233363" y="0"/>
                        </a:lnTo>
                        <a:close/>
                      </a:path>
                    </a:pathLst>
                  </a:custGeom>
                  <a:solidFill>
                    <a:srgbClr val="4BACC6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0" cap="none" spc="0" normalizeH="0" baseline="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143" name="Freeform 142"/>
                  <p:cNvSpPr/>
                  <p:nvPr/>
                </p:nvSpPr>
                <p:spPr bwMode="auto">
                  <a:xfrm>
                    <a:off x="10437132" y="6024536"/>
                    <a:ext cx="159466" cy="92773"/>
                  </a:xfrm>
                  <a:custGeom>
                    <a:avLst/>
                    <a:gdLst>
                      <a:gd name="connsiteX0" fmla="*/ 93857 w 187714"/>
                      <a:gd name="connsiteY0" fmla="*/ 0 h 93056"/>
                      <a:gd name="connsiteX1" fmla="*/ 180525 w 187714"/>
                      <a:gd name="connsiteY1" fmla="*/ 57448 h 93056"/>
                      <a:gd name="connsiteX2" fmla="*/ 187714 w 187714"/>
                      <a:gd name="connsiteY2" fmla="*/ 93056 h 93056"/>
                      <a:gd name="connsiteX3" fmla="*/ 0 w 187714"/>
                      <a:gd name="connsiteY3" fmla="*/ 93056 h 93056"/>
                      <a:gd name="connsiteX4" fmla="*/ 7189 w 187714"/>
                      <a:gd name="connsiteY4" fmla="*/ 57448 h 93056"/>
                      <a:gd name="connsiteX5" fmla="*/ 93857 w 187714"/>
                      <a:gd name="connsiteY5" fmla="*/ 0 h 930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87714" h="93056">
                        <a:moveTo>
                          <a:pt x="93857" y="0"/>
                        </a:moveTo>
                        <a:cubicBezTo>
                          <a:pt x="132818" y="0"/>
                          <a:pt x="166246" y="23688"/>
                          <a:pt x="180525" y="57448"/>
                        </a:cubicBezTo>
                        <a:lnTo>
                          <a:pt x="187714" y="93056"/>
                        </a:lnTo>
                        <a:lnTo>
                          <a:pt x="0" y="93056"/>
                        </a:lnTo>
                        <a:lnTo>
                          <a:pt x="7189" y="57448"/>
                        </a:lnTo>
                        <a:cubicBezTo>
                          <a:pt x="21468" y="23688"/>
                          <a:pt x="54896" y="0"/>
                          <a:pt x="93857" y="0"/>
                        </a:cubicBezTo>
                        <a:close/>
                      </a:path>
                    </a:pathLst>
                  </a:custGeom>
                  <a:solidFill>
                    <a:srgbClr val="3F3F3F">
                      <a:lumMod val="95000"/>
                      <a:lumOff val="5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ctr" defTabSz="932472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US" sz="2400" kern="0" dirty="0" smtClean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144" name="Freeform 143"/>
                  <p:cNvSpPr/>
                  <p:nvPr/>
                </p:nvSpPr>
                <p:spPr bwMode="auto">
                  <a:xfrm>
                    <a:off x="10236863" y="6029944"/>
                    <a:ext cx="159466" cy="92773"/>
                  </a:xfrm>
                  <a:custGeom>
                    <a:avLst/>
                    <a:gdLst>
                      <a:gd name="connsiteX0" fmla="*/ 93857 w 187714"/>
                      <a:gd name="connsiteY0" fmla="*/ 0 h 93056"/>
                      <a:gd name="connsiteX1" fmla="*/ 180525 w 187714"/>
                      <a:gd name="connsiteY1" fmla="*/ 57448 h 93056"/>
                      <a:gd name="connsiteX2" fmla="*/ 187714 w 187714"/>
                      <a:gd name="connsiteY2" fmla="*/ 93056 h 93056"/>
                      <a:gd name="connsiteX3" fmla="*/ 0 w 187714"/>
                      <a:gd name="connsiteY3" fmla="*/ 93056 h 93056"/>
                      <a:gd name="connsiteX4" fmla="*/ 7189 w 187714"/>
                      <a:gd name="connsiteY4" fmla="*/ 57448 h 93056"/>
                      <a:gd name="connsiteX5" fmla="*/ 93857 w 187714"/>
                      <a:gd name="connsiteY5" fmla="*/ 0 h 930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87714" h="93056">
                        <a:moveTo>
                          <a:pt x="93857" y="0"/>
                        </a:moveTo>
                        <a:cubicBezTo>
                          <a:pt x="132818" y="0"/>
                          <a:pt x="166246" y="23688"/>
                          <a:pt x="180525" y="57448"/>
                        </a:cubicBezTo>
                        <a:lnTo>
                          <a:pt x="187714" y="93056"/>
                        </a:lnTo>
                        <a:lnTo>
                          <a:pt x="0" y="93056"/>
                        </a:lnTo>
                        <a:lnTo>
                          <a:pt x="7189" y="57448"/>
                        </a:lnTo>
                        <a:cubicBezTo>
                          <a:pt x="21468" y="23688"/>
                          <a:pt x="54896" y="0"/>
                          <a:pt x="93857" y="0"/>
                        </a:cubicBezTo>
                        <a:close/>
                      </a:path>
                    </a:pathLst>
                  </a:custGeom>
                  <a:solidFill>
                    <a:srgbClr val="3F3F3F">
                      <a:lumMod val="95000"/>
                      <a:lumOff val="5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ctr" defTabSz="932472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US" sz="2400" kern="0" dirty="0" smtClean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grpSp>
                <p:nvGrpSpPr>
                  <p:cNvPr id="145" name="Group 144"/>
                  <p:cNvGrpSpPr/>
                  <p:nvPr/>
                </p:nvGrpSpPr>
                <p:grpSpPr>
                  <a:xfrm flipH="1">
                    <a:off x="9985133" y="4270518"/>
                    <a:ext cx="187051" cy="916362"/>
                    <a:chOff x="5891911" y="4348024"/>
                    <a:chExt cx="187051" cy="780844"/>
                  </a:xfrm>
                </p:grpSpPr>
                <p:sp>
                  <p:nvSpPr>
                    <p:cNvPr id="147" name="Rounded Rectangle 146"/>
                    <p:cNvSpPr/>
                    <p:nvPr/>
                  </p:nvSpPr>
                  <p:spPr bwMode="auto">
                    <a:xfrm>
                      <a:off x="5986406" y="4983218"/>
                      <a:ext cx="90837" cy="145650"/>
                    </a:xfrm>
                    <a:prstGeom prst="roundRect">
                      <a:avLst>
                        <a:gd name="adj" fmla="val 50000"/>
                      </a:avLst>
                    </a:prstGeom>
                    <a:solidFill>
                      <a:srgbClr val="FFC000"/>
                    </a:solidFill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ot="0" spcFirstLastPara="0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 defTabSz="932472" fontAlgn="base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defRPr/>
                      </a:pPr>
                      <a:endParaRPr lang="en-US" sz="2400" kern="0" dirty="0" smtClean="0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148" name="Freeform 147"/>
                    <p:cNvSpPr/>
                    <p:nvPr/>
                  </p:nvSpPr>
                  <p:spPr bwMode="auto">
                    <a:xfrm>
                      <a:off x="5891911" y="4348024"/>
                      <a:ext cx="187051" cy="708019"/>
                    </a:xfrm>
                    <a:custGeom>
                      <a:avLst/>
                      <a:gdLst>
                        <a:gd name="connsiteX0" fmla="*/ 7144 w 238125"/>
                        <a:gd name="connsiteY0" fmla="*/ 0 h 833437"/>
                        <a:gd name="connsiteX1" fmla="*/ 238125 w 238125"/>
                        <a:gd name="connsiteY1" fmla="*/ 833437 h 833437"/>
                        <a:gd name="connsiteX2" fmla="*/ 109537 w 238125"/>
                        <a:gd name="connsiteY2" fmla="*/ 833437 h 833437"/>
                        <a:gd name="connsiteX3" fmla="*/ 0 w 238125"/>
                        <a:gd name="connsiteY3" fmla="*/ 361950 h 833437"/>
                        <a:gd name="connsiteX4" fmla="*/ 7144 w 238125"/>
                        <a:gd name="connsiteY4" fmla="*/ 0 h 833437"/>
                        <a:gd name="connsiteX0" fmla="*/ 7144 w 238125"/>
                        <a:gd name="connsiteY0" fmla="*/ 0 h 833437"/>
                        <a:gd name="connsiteX1" fmla="*/ 238125 w 238125"/>
                        <a:gd name="connsiteY1" fmla="*/ 833437 h 833437"/>
                        <a:gd name="connsiteX2" fmla="*/ 109537 w 238125"/>
                        <a:gd name="connsiteY2" fmla="*/ 833437 h 833437"/>
                        <a:gd name="connsiteX3" fmla="*/ 0 w 238125"/>
                        <a:gd name="connsiteY3" fmla="*/ 361950 h 833437"/>
                        <a:gd name="connsiteX4" fmla="*/ 7144 w 238125"/>
                        <a:gd name="connsiteY4" fmla="*/ 0 h 833437"/>
                        <a:gd name="connsiteX0" fmla="*/ 7144 w 238125"/>
                        <a:gd name="connsiteY0" fmla="*/ 0 h 833437"/>
                        <a:gd name="connsiteX1" fmla="*/ 238125 w 238125"/>
                        <a:gd name="connsiteY1" fmla="*/ 833437 h 833437"/>
                        <a:gd name="connsiteX2" fmla="*/ 109537 w 238125"/>
                        <a:gd name="connsiteY2" fmla="*/ 833437 h 833437"/>
                        <a:gd name="connsiteX3" fmla="*/ 0 w 238125"/>
                        <a:gd name="connsiteY3" fmla="*/ 361950 h 833437"/>
                        <a:gd name="connsiteX4" fmla="*/ 7144 w 238125"/>
                        <a:gd name="connsiteY4" fmla="*/ 0 h 833437"/>
                        <a:gd name="connsiteX0" fmla="*/ 7144 w 238125"/>
                        <a:gd name="connsiteY0" fmla="*/ 0 h 833437"/>
                        <a:gd name="connsiteX1" fmla="*/ 238125 w 238125"/>
                        <a:gd name="connsiteY1" fmla="*/ 833437 h 833437"/>
                        <a:gd name="connsiteX2" fmla="*/ 109537 w 238125"/>
                        <a:gd name="connsiteY2" fmla="*/ 833437 h 833437"/>
                        <a:gd name="connsiteX3" fmla="*/ 0 w 238125"/>
                        <a:gd name="connsiteY3" fmla="*/ 361950 h 833437"/>
                        <a:gd name="connsiteX4" fmla="*/ 7144 w 238125"/>
                        <a:gd name="connsiteY4" fmla="*/ 0 h 833437"/>
                        <a:gd name="connsiteX0" fmla="*/ 7144 w 238125"/>
                        <a:gd name="connsiteY0" fmla="*/ 0 h 833437"/>
                        <a:gd name="connsiteX1" fmla="*/ 238125 w 238125"/>
                        <a:gd name="connsiteY1" fmla="*/ 833437 h 833437"/>
                        <a:gd name="connsiteX2" fmla="*/ 109537 w 238125"/>
                        <a:gd name="connsiteY2" fmla="*/ 833437 h 833437"/>
                        <a:gd name="connsiteX3" fmla="*/ 0 w 238125"/>
                        <a:gd name="connsiteY3" fmla="*/ 361950 h 833437"/>
                        <a:gd name="connsiteX4" fmla="*/ 7144 w 238125"/>
                        <a:gd name="connsiteY4" fmla="*/ 0 h 833437"/>
                        <a:gd name="connsiteX0" fmla="*/ 7144 w 238125"/>
                        <a:gd name="connsiteY0" fmla="*/ 0 h 833437"/>
                        <a:gd name="connsiteX1" fmla="*/ 238125 w 238125"/>
                        <a:gd name="connsiteY1" fmla="*/ 833437 h 833437"/>
                        <a:gd name="connsiteX2" fmla="*/ 109537 w 238125"/>
                        <a:gd name="connsiteY2" fmla="*/ 833437 h 833437"/>
                        <a:gd name="connsiteX3" fmla="*/ 0 w 238125"/>
                        <a:gd name="connsiteY3" fmla="*/ 361950 h 833437"/>
                        <a:gd name="connsiteX4" fmla="*/ 7144 w 238125"/>
                        <a:gd name="connsiteY4" fmla="*/ 0 h 833437"/>
                        <a:gd name="connsiteX0" fmla="*/ 7144 w 220185"/>
                        <a:gd name="connsiteY0" fmla="*/ 0 h 833437"/>
                        <a:gd name="connsiteX1" fmla="*/ 220185 w 220185"/>
                        <a:gd name="connsiteY1" fmla="*/ 827457 h 833437"/>
                        <a:gd name="connsiteX2" fmla="*/ 109537 w 220185"/>
                        <a:gd name="connsiteY2" fmla="*/ 833437 h 833437"/>
                        <a:gd name="connsiteX3" fmla="*/ 0 w 220185"/>
                        <a:gd name="connsiteY3" fmla="*/ 361950 h 833437"/>
                        <a:gd name="connsiteX4" fmla="*/ 7144 w 220185"/>
                        <a:gd name="connsiteY4" fmla="*/ 0 h 83343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20185" h="833437">
                          <a:moveTo>
                            <a:pt x="7144" y="0"/>
                          </a:moveTo>
                          <a:cubicBezTo>
                            <a:pt x="103188" y="253999"/>
                            <a:pt x="197960" y="490114"/>
                            <a:pt x="220185" y="827457"/>
                          </a:cubicBezTo>
                          <a:cubicBezTo>
                            <a:pt x="177322" y="827457"/>
                            <a:pt x="152400" y="833437"/>
                            <a:pt x="109537" y="833437"/>
                          </a:cubicBezTo>
                          <a:cubicBezTo>
                            <a:pt x="94457" y="714376"/>
                            <a:pt x="74612" y="516731"/>
                            <a:pt x="0" y="361950"/>
                          </a:cubicBezTo>
                          <a:lnTo>
                            <a:pt x="7144" y="0"/>
                          </a:lnTo>
                          <a:close/>
                        </a:path>
                      </a:pathLst>
                    </a:custGeom>
                    <a:solidFill>
                      <a:srgbClr val="FFC000"/>
                    </a:solidFill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ot="0" spcFirstLastPara="0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 defTabSz="932472" fontAlgn="base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defRPr/>
                      </a:pPr>
                      <a:endParaRPr lang="en-US" sz="2400" kern="0" dirty="0" smtClean="0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</p:grpSp>
              <p:sp>
                <p:nvSpPr>
                  <p:cNvPr id="146" name="Freeform 145"/>
                  <p:cNvSpPr/>
                  <p:nvPr/>
                </p:nvSpPr>
                <p:spPr>
                  <a:xfrm>
                    <a:off x="10030750" y="4246102"/>
                    <a:ext cx="753534" cy="855255"/>
                  </a:xfrm>
                  <a:custGeom>
                    <a:avLst/>
                    <a:gdLst>
                      <a:gd name="connsiteX0" fmla="*/ 143934 w 753534"/>
                      <a:gd name="connsiteY0" fmla="*/ 855134 h 855134"/>
                      <a:gd name="connsiteX1" fmla="*/ 148167 w 753534"/>
                      <a:gd name="connsiteY1" fmla="*/ 436034 h 855134"/>
                      <a:gd name="connsiteX2" fmla="*/ 131234 w 753534"/>
                      <a:gd name="connsiteY2" fmla="*/ 457200 h 855134"/>
                      <a:gd name="connsiteX3" fmla="*/ 0 w 753534"/>
                      <a:gd name="connsiteY3" fmla="*/ 410634 h 855134"/>
                      <a:gd name="connsiteX4" fmla="*/ 127000 w 753534"/>
                      <a:gd name="connsiteY4" fmla="*/ 25400 h 855134"/>
                      <a:gd name="connsiteX5" fmla="*/ 317500 w 753534"/>
                      <a:gd name="connsiteY5" fmla="*/ 0 h 855134"/>
                      <a:gd name="connsiteX6" fmla="*/ 359834 w 753534"/>
                      <a:gd name="connsiteY6" fmla="*/ 38100 h 855134"/>
                      <a:gd name="connsiteX7" fmla="*/ 419100 w 753534"/>
                      <a:gd name="connsiteY7" fmla="*/ 33867 h 855134"/>
                      <a:gd name="connsiteX8" fmla="*/ 461434 w 753534"/>
                      <a:gd name="connsiteY8" fmla="*/ 4234 h 855134"/>
                      <a:gd name="connsiteX9" fmla="*/ 630767 w 753534"/>
                      <a:gd name="connsiteY9" fmla="*/ 25400 h 855134"/>
                      <a:gd name="connsiteX10" fmla="*/ 753534 w 753534"/>
                      <a:gd name="connsiteY10" fmla="*/ 419100 h 855134"/>
                      <a:gd name="connsiteX11" fmla="*/ 622300 w 753534"/>
                      <a:gd name="connsiteY11" fmla="*/ 452967 h 855134"/>
                      <a:gd name="connsiteX12" fmla="*/ 605367 w 753534"/>
                      <a:gd name="connsiteY12" fmla="*/ 431800 h 855134"/>
                      <a:gd name="connsiteX13" fmla="*/ 609600 w 753534"/>
                      <a:gd name="connsiteY13" fmla="*/ 855134 h 855134"/>
                      <a:gd name="connsiteX14" fmla="*/ 143934 w 753534"/>
                      <a:gd name="connsiteY14" fmla="*/ 855134 h 855134"/>
                      <a:gd name="connsiteX0" fmla="*/ 143934 w 753534"/>
                      <a:gd name="connsiteY0" fmla="*/ 855134 h 855134"/>
                      <a:gd name="connsiteX1" fmla="*/ 148167 w 753534"/>
                      <a:gd name="connsiteY1" fmla="*/ 436034 h 855134"/>
                      <a:gd name="connsiteX2" fmla="*/ 131234 w 753534"/>
                      <a:gd name="connsiteY2" fmla="*/ 457200 h 855134"/>
                      <a:gd name="connsiteX3" fmla="*/ 0 w 753534"/>
                      <a:gd name="connsiteY3" fmla="*/ 410634 h 855134"/>
                      <a:gd name="connsiteX4" fmla="*/ 127000 w 753534"/>
                      <a:gd name="connsiteY4" fmla="*/ 25400 h 855134"/>
                      <a:gd name="connsiteX5" fmla="*/ 317500 w 753534"/>
                      <a:gd name="connsiteY5" fmla="*/ 0 h 855134"/>
                      <a:gd name="connsiteX6" fmla="*/ 359834 w 753534"/>
                      <a:gd name="connsiteY6" fmla="*/ 38100 h 855134"/>
                      <a:gd name="connsiteX7" fmla="*/ 419100 w 753534"/>
                      <a:gd name="connsiteY7" fmla="*/ 33867 h 855134"/>
                      <a:gd name="connsiteX8" fmla="*/ 461434 w 753534"/>
                      <a:gd name="connsiteY8" fmla="*/ 4234 h 855134"/>
                      <a:gd name="connsiteX9" fmla="*/ 630767 w 753534"/>
                      <a:gd name="connsiteY9" fmla="*/ 25400 h 855134"/>
                      <a:gd name="connsiteX10" fmla="*/ 753534 w 753534"/>
                      <a:gd name="connsiteY10" fmla="*/ 419100 h 855134"/>
                      <a:gd name="connsiteX11" fmla="*/ 622300 w 753534"/>
                      <a:gd name="connsiteY11" fmla="*/ 452967 h 855134"/>
                      <a:gd name="connsiteX12" fmla="*/ 605367 w 753534"/>
                      <a:gd name="connsiteY12" fmla="*/ 431800 h 855134"/>
                      <a:gd name="connsiteX13" fmla="*/ 609600 w 753534"/>
                      <a:gd name="connsiteY13" fmla="*/ 855134 h 855134"/>
                      <a:gd name="connsiteX14" fmla="*/ 143934 w 753534"/>
                      <a:gd name="connsiteY14" fmla="*/ 855134 h 855134"/>
                      <a:gd name="connsiteX0" fmla="*/ 143934 w 753534"/>
                      <a:gd name="connsiteY0" fmla="*/ 855134 h 855134"/>
                      <a:gd name="connsiteX1" fmla="*/ 148167 w 753534"/>
                      <a:gd name="connsiteY1" fmla="*/ 436034 h 855134"/>
                      <a:gd name="connsiteX2" fmla="*/ 131234 w 753534"/>
                      <a:gd name="connsiteY2" fmla="*/ 457200 h 855134"/>
                      <a:gd name="connsiteX3" fmla="*/ 0 w 753534"/>
                      <a:gd name="connsiteY3" fmla="*/ 410634 h 855134"/>
                      <a:gd name="connsiteX4" fmla="*/ 127000 w 753534"/>
                      <a:gd name="connsiteY4" fmla="*/ 25400 h 855134"/>
                      <a:gd name="connsiteX5" fmla="*/ 317500 w 753534"/>
                      <a:gd name="connsiteY5" fmla="*/ 0 h 855134"/>
                      <a:gd name="connsiteX6" fmla="*/ 359834 w 753534"/>
                      <a:gd name="connsiteY6" fmla="*/ 38100 h 855134"/>
                      <a:gd name="connsiteX7" fmla="*/ 419100 w 753534"/>
                      <a:gd name="connsiteY7" fmla="*/ 33867 h 855134"/>
                      <a:gd name="connsiteX8" fmla="*/ 461434 w 753534"/>
                      <a:gd name="connsiteY8" fmla="*/ 4234 h 855134"/>
                      <a:gd name="connsiteX9" fmla="*/ 630767 w 753534"/>
                      <a:gd name="connsiteY9" fmla="*/ 25400 h 855134"/>
                      <a:gd name="connsiteX10" fmla="*/ 753534 w 753534"/>
                      <a:gd name="connsiteY10" fmla="*/ 419100 h 855134"/>
                      <a:gd name="connsiteX11" fmla="*/ 622300 w 753534"/>
                      <a:gd name="connsiteY11" fmla="*/ 452967 h 855134"/>
                      <a:gd name="connsiteX12" fmla="*/ 605367 w 753534"/>
                      <a:gd name="connsiteY12" fmla="*/ 431800 h 855134"/>
                      <a:gd name="connsiteX13" fmla="*/ 609600 w 753534"/>
                      <a:gd name="connsiteY13" fmla="*/ 855134 h 855134"/>
                      <a:gd name="connsiteX14" fmla="*/ 143934 w 753534"/>
                      <a:gd name="connsiteY14" fmla="*/ 855134 h 855134"/>
                      <a:gd name="connsiteX0" fmla="*/ 143934 w 753534"/>
                      <a:gd name="connsiteY0" fmla="*/ 855134 h 855134"/>
                      <a:gd name="connsiteX1" fmla="*/ 148167 w 753534"/>
                      <a:gd name="connsiteY1" fmla="*/ 436034 h 855134"/>
                      <a:gd name="connsiteX2" fmla="*/ 131234 w 753534"/>
                      <a:gd name="connsiteY2" fmla="*/ 457200 h 855134"/>
                      <a:gd name="connsiteX3" fmla="*/ 0 w 753534"/>
                      <a:gd name="connsiteY3" fmla="*/ 410634 h 855134"/>
                      <a:gd name="connsiteX4" fmla="*/ 127000 w 753534"/>
                      <a:gd name="connsiteY4" fmla="*/ 25400 h 855134"/>
                      <a:gd name="connsiteX5" fmla="*/ 317500 w 753534"/>
                      <a:gd name="connsiteY5" fmla="*/ 0 h 855134"/>
                      <a:gd name="connsiteX6" fmla="*/ 359834 w 753534"/>
                      <a:gd name="connsiteY6" fmla="*/ 38100 h 855134"/>
                      <a:gd name="connsiteX7" fmla="*/ 419100 w 753534"/>
                      <a:gd name="connsiteY7" fmla="*/ 33867 h 855134"/>
                      <a:gd name="connsiteX8" fmla="*/ 461434 w 753534"/>
                      <a:gd name="connsiteY8" fmla="*/ 4234 h 855134"/>
                      <a:gd name="connsiteX9" fmla="*/ 630767 w 753534"/>
                      <a:gd name="connsiteY9" fmla="*/ 25400 h 855134"/>
                      <a:gd name="connsiteX10" fmla="*/ 753534 w 753534"/>
                      <a:gd name="connsiteY10" fmla="*/ 419100 h 855134"/>
                      <a:gd name="connsiteX11" fmla="*/ 622300 w 753534"/>
                      <a:gd name="connsiteY11" fmla="*/ 452967 h 855134"/>
                      <a:gd name="connsiteX12" fmla="*/ 605367 w 753534"/>
                      <a:gd name="connsiteY12" fmla="*/ 431800 h 855134"/>
                      <a:gd name="connsiteX13" fmla="*/ 609600 w 753534"/>
                      <a:gd name="connsiteY13" fmla="*/ 855134 h 855134"/>
                      <a:gd name="connsiteX14" fmla="*/ 143934 w 753534"/>
                      <a:gd name="connsiteY14" fmla="*/ 855134 h 855134"/>
                      <a:gd name="connsiteX0" fmla="*/ 143934 w 753534"/>
                      <a:gd name="connsiteY0" fmla="*/ 855134 h 855134"/>
                      <a:gd name="connsiteX1" fmla="*/ 148167 w 753534"/>
                      <a:gd name="connsiteY1" fmla="*/ 436034 h 855134"/>
                      <a:gd name="connsiteX2" fmla="*/ 131234 w 753534"/>
                      <a:gd name="connsiteY2" fmla="*/ 457200 h 855134"/>
                      <a:gd name="connsiteX3" fmla="*/ 0 w 753534"/>
                      <a:gd name="connsiteY3" fmla="*/ 410634 h 855134"/>
                      <a:gd name="connsiteX4" fmla="*/ 127000 w 753534"/>
                      <a:gd name="connsiteY4" fmla="*/ 25400 h 855134"/>
                      <a:gd name="connsiteX5" fmla="*/ 317500 w 753534"/>
                      <a:gd name="connsiteY5" fmla="*/ 0 h 855134"/>
                      <a:gd name="connsiteX6" fmla="*/ 359834 w 753534"/>
                      <a:gd name="connsiteY6" fmla="*/ 38100 h 855134"/>
                      <a:gd name="connsiteX7" fmla="*/ 419100 w 753534"/>
                      <a:gd name="connsiteY7" fmla="*/ 33867 h 855134"/>
                      <a:gd name="connsiteX8" fmla="*/ 461434 w 753534"/>
                      <a:gd name="connsiteY8" fmla="*/ 4234 h 855134"/>
                      <a:gd name="connsiteX9" fmla="*/ 630767 w 753534"/>
                      <a:gd name="connsiteY9" fmla="*/ 25400 h 855134"/>
                      <a:gd name="connsiteX10" fmla="*/ 753534 w 753534"/>
                      <a:gd name="connsiteY10" fmla="*/ 419100 h 855134"/>
                      <a:gd name="connsiteX11" fmla="*/ 622300 w 753534"/>
                      <a:gd name="connsiteY11" fmla="*/ 452967 h 855134"/>
                      <a:gd name="connsiteX12" fmla="*/ 605367 w 753534"/>
                      <a:gd name="connsiteY12" fmla="*/ 431800 h 855134"/>
                      <a:gd name="connsiteX13" fmla="*/ 609600 w 753534"/>
                      <a:gd name="connsiteY13" fmla="*/ 855134 h 855134"/>
                      <a:gd name="connsiteX14" fmla="*/ 143934 w 753534"/>
                      <a:gd name="connsiteY14" fmla="*/ 855134 h 855134"/>
                      <a:gd name="connsiteX0" fmla="*/ 143934 w 753534"/>
                      <a:gd name="connsiteY0" fmla="*/ 855134 h 855134"/>
                      <a:gd name="connsiteX1" fmla="*/ 148167 w 753534"/>
                      <a:gd name="connsiteY1" fmla="*/ 436034 h 855134"/>
                      <a:gd name="connsiteX2" fmla="*/ 131234 w 753534"/>
                      <a:gd name="connsiteY2" fmla="*/ 457200 h 855134"/>
                      <a:gd name="connsiteX3" fmla="*/ 0 w 753534"/>
                      <a:gd name="connsiteY3" fmla="*/ 410634 h 855134"/>
                      <a:gd name="connsiteX4" fmla="*/ 127000 w 753534"/>
                      <a:gd name="connsiteY4" fmla="*/ 25400 h 855134"/>
                      <a:gd name="connsiteX5" fmla="*/ 317500 w 753534"/>
                      <a:gd name="connsiteY5" fmla="*/ 0 h 855134"/>
                      <a:gd name="connsiteX6" fmla="*/ 359834 w 753534"/>
                      <a:gd name="connsiteY6" fmla="*/ 38100 h 855134"/>
                      <a:gd name="connsiteX7" fmla="*/ 419100 w 753534"/>
                      <a:gd name="connsiteY7" fmla="*/ 33867 h 855134"/>
                      <a:gd name="connsiteX8" fmla="*/ 461434 w 753534"/>
                      <a:gd name="connsiteY8" fmla="*/ 4234 h 855134"/>
                      <a:gd name="connsiteX9" fmla="*/ 630767 w 753534"/>
                      <a:gd name="connsiteY9" fmla="*/ 25400 h 855134"/>
                      <a:gd name="connsiteX10" fmla="*/ 753534 w 753534"/>
                      <a:gd name="connsiteY10" fmla="*/ 419100 h 855134"/>
                      <a:gd name="connsiteX11" fmla="*/ 622300 w 753534"/>
                      <a:gd name="connsiteY11" fmla="*/ 452967 h 855134"/>
                      <a:gd name="connsiteX12" fmla="*/ 605367 w 753534"/>
                      <a:gd name="connsiteY12" fmla="*/ 431800 h 855134"/>
                      <a:gd name="connsiteX13" fmla="*/ 609600 w 753534"/>
                      <a:gd name="connsiteY13" fmla="*/ 855134 h 855134"/>
                      <a:gd name="connsiteX14" fmla="*/ 143934 w 753534"/>
                      <a:gd name="connsiteY14" fmla="*/ 855134 h 855134"/>
                      <a:gd name="connsiteX0" fmla="*/ 143934 w 753534"/>
                      <a:gd name="connsiteY0" fmla="*/ 855255 h 855255"/>
                      <a:gd name="connsiteX1" fmla="*/ 148167 w 753534"/>
                      <a:gd name="connsiteY1" fmla="*/ 436155 h 855255"/>
                      <a:gd name="connsiteX2" fmla="*/ 131234 w 753534"/>
                      <a:gd name="connsiteY2" fmla="*/ 457321 h 855255"/>
                      <a:gd name="connsiteX3" fmla="*/ 0 w 753534"/>
                      <a:gd name="connsiteY3" fmla="*/ 410755 h 855255"/>
                      <a:gd name="connsiteX4" fmla="*/ 127000 w 753534"/>
                      <a:gd name="connsiteY4" fmla="*/ 25521 h 855255"/>
                      <a:gd name="connsiteX5" fmla="*/ 317500 w 753534"/>
                      <a:gd name="connsiteY5" fmla="*/ 121 h 855255"/>
                      <a:gd name="connsiteX6" fmla="*/ 359834 w 753534"/>
                      <a:gd name="connsiteY6" fmla="*/ 38221 h 855255"/>
                      <a:gd name="connsiteX7" fmla="*/ 419100 w 753534"/>
                      <a:gd name="connsiteY7" fmla="*/ 33988 h 855255"/>
                      <a:gd name="connsiteX8" fmla="*/ 463611 w 753534"/>
                      <a:gd name="connsiteY8" fmla="*/ 0 h 855255"/>
                      <a:gd name="connsiteX9" fmla="*/ 630767 w 753534"/>
                      <a:gd name="connsiteY9" fmla="*/ 25521 h 855255"/>
                      <a:gd name="connsiteX10" fmla="*/ 753534 w 753534"/>
                      <a:gd name="connsiteY10" fmla="*/ 419221 h 855255"/>
                      <a:gd name="connsiteX11" fmla="*/ 622300 w 753534"/>
                      <a:gd name="connsiteY11" fmla="*/ 453088 h 855255"/>
                      <a:gd name="connsiteX12" fmla="*/ 605367 w 753534"/>
                      <a:gd name="connsiteY12" fmla="*/ 431921 h 855255"/>
                      <a:gd name="connsiteX13" fmla="*/ 609600 w 753534"/>
                      <a:gd name="connsiteY13" fmla="*/ 855255 h 855255"/>
                      <a:gd name="connsiteX14" fmla="*/ 143934 w 753534"/>
                      <a:gd name="connsiteY14" fmla="*/ 855255 h 855255"/>
                      <a:gd name="connsiteX0" fmla="*/ 143934 w 753534"/>
                      <a:gd name="connsiteY0" fmla="*/ 855255 h 855255"/>
                      <a:gd name="connsiteX1" fmla="*/ 148167 w 753534"/>
                      <a:gd name="connsiteY1" fmla="*/ 436155 h 855255"/>
                      <a:gd name="connsiteX2" fmla="*/ 131234 w 753534"/>
                      <a:gd name="connsiteY2" fmla="*/ 457321 h 855255"/>
                      <a:gd name="connsiteX3" fmla="*/ 0 w 753534"/>
                      <a:gd name="connsiteY3" fmla="*/ 410755 h 855255"/>
                      <a:gd name="connsiteX4" fmla="*/ 127000 w 753534"/>
                      <a:gd name="connsiteY4" fmla="*/ 25521 h 855255"/>
                      <a:gd name="connsiteX5" fmla="*/ 317500 w 753534"/>
                      <a:gd name="connsiteY5" fmla="*/ 121 h 855255"/>
                      <a:gd name="connsiteX6" fmla="*/ 362011 w 753534"/>
                      <a:gd name="connsiteY6" fmla="*/ 38221 h 855255"/>
                      <a:gd name="connsiteX7" fmla="*/ 419100 w 753534"/>
                      <a:gd name="connsiteY7" fmla="*/ 33988 h 855255"/>
                      <a:gd name="connsiteX8" fmla="*/ 463611 w 753534"/>
                      <a:gd name="connsiteY8" fmla="*/ 0 h 855255"/>
                      <a:gd name="connsiteX9" fmla="*/ 630767 w 753534"/>
                      <a:gd name="connsiteY9" fmla="*/ 25521 h 855255"/>
                      <a:gd name="connsiteX10" fmla="*/ 753534 w 753534"/>
                      <a:gd name="connsiteY10" fmla="*/ 419221 h 855255"/>
                      <a:gd name="connsiteX11" fmla="*/ 622300 w 753534"/>
                      <a:gd name="connsiteY11" fmla="*/ 453088 h 855255"/>
                      <a:gd name="connsiteX12" fmla="*/ 605367 w 753534"/>
                      <a:gd name="connsiteY12" fmla="*/ 431921 h 855255"/>
                      <a:gd name="connsiteX13" fmla="*/ 609600 w 753534"/>
                      <a:gd name="connsiteY13" fmla="*/ 855255 h 855255"/>
                      <a:gd name="connsiteX14" fmla="*/ 143934 w 753534"/>
                      <a:gd name="connsiteY14" fmla="*/ 855255 h 855255"/>
                      <a:gd name="connsiteX0" fmla="*/ 157381 w 753534"/>
                      <a:gd name="connsiteY0" fmla="*/ 850773 h 855255"/>
                      <a:gd name="connsiteX1" fmla="*/ 148167 w 753534"/>
                      <a:gd name="connsiteY1" fmla="*/ 436155 h 855255"/>
                      <a:gd name="connsiteX2" fmla="*/ 131234 w 753534"/>
                      <a:gd name="connsiteY2" fmla="*/ 457321 h 855255"/>
                      <a:gd name="connsiteX3" fmla="*/ 0 w 753534"/>
                      <a:gd name="connsiteY3" fmla="*/ 410755 h 855255"/>
                      <a:gd name="connsiteX4" fmla="*/ 127000 w 753534"/>
                      <a:gd name="connsiteY4" fmla="*/ 25521 h 855255"/>
                      <a:gd name="connsiteX5" fmla="*/ 317500 w 753534"/>
                      <a:gd name="connsiteY5" fmla="*/ 121 h 855255"/>
                      <a:gd name="connsiteX6" fmla="*/ 362011 w 753534"/>
                      <a:gd name="connsiteY6" fmla="*/ 38221 h 855255"/>
                      <a:gd name="connsiteX7" fmla="*/ 419100 w 753534"/>
                      <a:gd name="connsiteY7" fmla="*/ 33988 h 855255"/>
                      <a:gd name="connsiteX8" fmla="*/ 463611 w 753534"/>
                      <a:gd name="connsiteY8" fmla="*/ 0 h 855255"/>
                      <a:gd name="connsiteX9" fmla="*/ 630767 w 753534"/>
                      <a:gd name="connsiteY9" fmla="*/ 25521 h 855255"/>
                      <a:gd name="connsiteX10" fmla="*/ 753534 w 753534"/>
                      <a:gd name="connsiteY10" fmla="*/ 419221 h 855255"/>
                      <a:gd name="connsiteX11" fmla="*/ 622300 w 753534"/>
                      <a:gd name="connsiteY11" fmla="*/ 453088 h 855255"/>
                      <a:gd name="connsiteX12" fmla="*/ 605367 w 753534"/>
                      <a:gd name="connsiteY12" fmla="*/ 431921 h 855255"/>
                      <a:gd name="connsiteX13" fmla="*/ 609600 w 753534"/>
                      <a:gd name="connsiteY13" fmla="*/ 855255 h 855255"/>
                      <a:gd name="connsiteX14" fmla="*/ 157381 w 753534"/>
                      <a:gd name="connsiteY14" fmla="*/ 850773 h 855255"/>
                      <a:gd name="connsiteX0" fmla="*/ 157381 w 753534"/>
                      <a:gd name="connsiteY0" fmla="*/ 850773 h 855255"/>
                      <a:gd name="connsiteX1" fmla="*/ 148167 w 753534"/>
                      <a:gd name="connsiteY1" fmla="*/ 436155 h 855255"/>
                      <a:gd name="connsiteX2" fmla="*/ 131234 w 753534"/>
                      <a:gd name="connsiteY2" fmla="*/ 457321 h 855255"/>
                      <a:gd name="connsiteX3" fmla="*/ 0 w 753534"/>
                      <a:gd name="connsiteY3" fmla="*/ 410755 h 855255"/>
                      <a:gd name="connsiteX4" fmla="*/ 127000 w 753534"/>
                      <a:gd name="connsiteY4" fmla="*/ 25521 h 855255"/>
                      <a:gd name="connsiteX5" fmla="*/ 317500 w 753534"/>
                      <a:gd name="connsiteY5" fmla="*/ 121 h 855255"/>
                      <a:gd name="connsiteX6" fmla="*/ 362011 w 753534"/>
                      <a:gd name="connsiteY6" fmla="*/ 38221 h 855255"/>
                      <a:gd name="connsiteX7" fmla="*/ 419100 w 753534"/>
                      <a:gd name="connsiteY7" fmla="*/ 33988 h 855255"/>
                      <a:gd name="connsiteX8" fmla="*/ 463611 w 753534"/>
                      <a:gd name="connsiteY8" fmla="*/ 0 h 855255"/>
                      <a:gd name="connsiteX9" fmla="*/ 630767 w 753534"/>
                      <a:gd name="connsiteY9" fmla="*/ 25521 h 855255"/>
                      <a:gd name="connsiteX10" fmla="*/ 753534 w 753534"/>
                      <a:gd name="connsiteY10" fmla="*/ 419221 h 855255"/>
                      <a:gd name="connsiteX11" fmla="*/ 622300 w 753534"/>
                      <a:gd name="connsiteY11" fmla="*/ 453088 h 855255"/>
                      <a:gd name="connsiteX12" fmla="*/ 605367 w 753534"/>
                      <a:gd name="connsiteY12" fmla="*/ 431921 h 855255"/>
                      <a:gd name="connsiteX13" fmla="*/ 596153 w 753534"/>
                      <a:gd name="connsiteY13" fmla="*/ 855255 h 855255"/>
                      <a:gd name="connsiteX14" fmla="*/ 157381 w 753534"/>
                      <a:gd name="connsiteY14" fmla="*/ 850773 h 8552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753534" h="855255">
                        <a:moveTo>
                          <a:pt x="157381" y="850773"/>
                        </a:moveTo>
                        <a:lnTo>
                          <a:pt x="148167" y="436155"/>
                        </a:lnTo>
                        <a:lnTo>
                          <a:pt x="131234" y="457321"/>
                        </a:lnTo>
                        <a:lnTo>
                          <a:pt x="0" y="410755"/>
                        </a:lnTo>
                        <a:lnTo>
                          <a:pt x="127000" y="25521"/>
                        </a:lnTo>
                        <a:lnTo>
                          <a:pt x="317500" y="121"/>
                        </a:lnTo>
                        <a:cubicBezTo>
                          <a:pt x="331611" y="12821"/>
                          <a:pt x="339191" y="23344"/>
                          <a:pt x="362011" y="38221"/>
                        </a:cubicBezTo>
                        <a:cubicBezTo>
                          <a:pt x="394829" y="38987"/>
                          <a:pt x="394990" y="35399"/>
                          <a:pt x="419100" y="33988"/>
                        </a:cubicBezTo>
                        <a:cubicBezTo>
                          <a:pt x="441920" y="17579"/>
                          <a:pt x="449500" y="9878"/>
                          <a:pt x="463611" y="0"/>
                        </a:cubicBezTo>
                        <a:lnTo>
                          <a:pt x="630767" y="25521"/>
                        </a:lnTo>
                        <a:lnTo>
                          <a:pt x="753534" y="419221"/>
                        </a:lnTo>
                        <a:lnTo>
                          <a:pt x="622300" y="453088"/>
                        </a:lnTo>
                        <a:lnTo>
                          <a:pt x="605367" y="431921"/>
                        </a:lnTo>
                        <a:lnTo>
                          <a:pt x="596153" y="855255"/>
                        </a:lnTo>
                        <a:lnTo>
                          <a:pt x="157381" y="850773"/>
                        </a:lnTo>
                        <a:close/>
                      </a:path>
                    </a:pathLst>
                  </a:custGeom>
                  <a:solidFill>
                    <a:srgbClr val="FD7425"/>
                  </a:solidFill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29" name="Group 128"/>
              <p:cNvGrpSpPr/>
              <p:nvPr/>
            </p:nvGrpSpPr>
            <p:grpSpPr>
              <a:xfrm>
                <a:off x="8916703" y="2359662"/>
                <a:ext cx="461877" cy="321114"/>
                <a:chOff x="7548883" y="4114998"/>
                <a:chExt cx="1041646" cy="724192"/>
              </a:xfrm>
            </p:grpSpPr>
            <p:sp>
              <p:nvSpPr>
                <p:cNvPr id="130" name="Rounded Rectangle 129"/>
                <p:cNvSpPr/>
                <p:nvPr/>
              </p:nvSpPr>
              <p:spPr bwMode="auto">
                <a:xfrm>
                  <a:off x="7647189" y="4122655"/>
                  <a:ext cx="831085" cy="709832"/>
                </a:xfrm>
                <a:prstGeom prst="roundRect">
                  <a:avLst>
                    <a:gd name="adj" fmla="val 8466"/>
                  </a:avLst>
                </a:prstGeom>
                <a:solidFill>
                  <a:sysClr val="window" lastClr="FFFFFF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31" name="Freeform 130"/>
                <p:cNvSpPr>
                  <a:spLocks noEditPoints="1"/>
                </p:cNvSpPr>
                <p:nvPr/>
              </p:nvSpPr>
              <p:spPr bwMode="black">
                <a:xfrm>
                  <a:off x="7548883" y="4114998"/>
                  <a:ext cx="1041646" cy="724192"/>
                </a:xfrm>
                <a:custGeom>
                  <a:avLst/>
                  <a:gdLst/>
                  <a:ahLst/>
                  <a:cxnLst>
                    <a:cxn ang="0">
                      <a:pos x="774" y="456"/>
                    </a:cxn>
                    <a:cxn ang="0">
                      <a:pos x="774" y="36"/>
                    </a:cxn>
                    <a:cxn ang="0">
                      <a:pos x="737" y="0"/>
                    </a:cxn>
                    <a:cxn ang="0">
                      <a:pos x="107" y="0"/>
                    </a:cxn>
                    <a:cxn ang="0">
                      <a:pos x="71" y="36"/>
                    </a:cxn>
                    <a:cxn ang="0">
                      <a:pos x="71" y="456"/>
                    </a:cxn>
                    <a:cxn ang="0">
                      <a:pos x="0" y="544"/>
                    </a:cxn>
                    <a:cxn ang="0">
                      <a:pos x="44" y="588"/>
                    </a:cxn>
                    <a:cxn ang="0">
                      <a:pos x="800" y="588"/>
                    </a:cxn>
                    <a:cxn ang="0">
                      <a:pos x="844" y="544"/>
                    </a:cxn>
                    <a:cxn ang="0">
                      <a:pos x="774" y="456"/>
                    </a:cxn>
                    <a:cxn ang="0">
                      <a:pos x="481" y="554"/>
                    </a:cxn>
                    <a:cxn ang="0">
                      <a:pos x="350" y="554"/>
                    </a:cxn>
                    <a:cxn ang="0">
                      <a:pos x="337" y="547"/>
                    </a:cxn>
                    <a:cxn ang="0">
                      <a:pos x="352" y="519"/>
                    </a:cxn>
                    <a:cxn ang="0">
                      <a:pos x="363" y="514"/>
                    </a:cxn>
                    <a:cxn ang="0">
                      <a:pos x="468" y="514"/>
                    </a:cxn>
                    <a:cxn ang="0">
                      <a:pos x="478" y="519"/>
                    </a:cxn>
                    <a:cxn ang="0">
                      <a:pos x="494" y="547"/>
                    </a:cxn>
                    <a:cxn ang="0">
                      <a:pos x="481" y="554"/>
                    </a:cxn>
                    <a:cxn ang="0">
                      <a:pos x="748" y="456"/>
                    </a:cxn>
                    <a:cxn ang="0">
                      <a:pos x="99" y="456"/>
                    </a:cxn>
                    <a:cxn ang="0">
                      <a:pos x="99" y="42"/>
                    </a:cxn>
                    <a:cxn ang="0">
                      <a:pos x="117" y="24"/>
                    </a:cxn>
                    <a:cxn ang="0">
                      <a:pos x="730" y="24"/>
                    </a:cxn>
                    <a:cxn ang="0">
                      <a:pos x="748" y="42"/>
                    </a:cxn>
                    <a:cxn ang="0">
                      <a:pos x="748" y="456"/>
                    </a:cxn>
                  </a:cxnLst>
                  <a:rect l="0" t="0" r="r" b="b"/>
                  <a:pathLst>
                    <a:path w="844" h="588">
                      <a:moveTo>
                        <a:pt x="774" y="456"/>
                      </a:moveTo>
                      <a:cubicBezTo>
                        <a:pt x="774" y="36"/>
                        <a:pt x="774" y="36"/>
                        <a:pt x="774" y="36"/>
                      </a:cubicBezTo>
                      <a:cubicBezTo>
                        <a:pt x="774" y="16"/>
                        <a:pt x="757" y="0"/>
                        <a:pt x="737" y="0"/>
                      </a:cubicBezTo>
                      <a:cubicBezTo>
                        <a:pt x="107" y="0"/>
                        <a:pt x="107" y="0"/>
                        <a:pt x="107" y="0"/>
                      </a:cubicBezTo>
                      <a:cubicBezTo>
                        <a:pt x="87" y="0"/>
                        <a:pt x="71" y="16"/>
                        <a:pt x="71" y="36"/>
                      </a:cubicBezTo>
                      <a:cubicBezTo>
                        <a:pt x="71" y="456"/>
                        <a:pt x="71" y="456"/>
                        <a:pt x="71" y="456"/>
                      </a:cubicBezTo>
                      <a:cubicBezTo>
                        <a:pt x="0" y="544"/>
                        <a:pt x="0" y="544"/>
                        <a:pt x="0" y="544"/>
                      </a:cubicBezTo>
                      <a:cubicBezTo>
                        <a:pt x="0" y="568"/>
                        <a:pt x="20" y="588"/>
                        <a:pt x="44" y="588"/>
                      </a:cubicBezTo>
                      <a:cubicBezTo>
                        <a:pt x="800" y="588"/>
                        <a:pt x="800" y="588"/>
                        <a:pt x="800" y="588"/>
                      </a:cubicBezTo>
                      <a:cubicBezTo>
                        <a:pt x="824" y="588"/>
                        <a:pt x="844" y="568"/>
                        <a:pt x="844" y="544"/>
                      </a:cubicBezTo>
                      <a:lnTo>
                        <a:pt x="774" y="456"/>
                      </a:lnTo>
                      <a:close/>
                      <a:moveTo>
                        <a:pt x="481" y="554"/>
                      </a:moveTo>
                      <a:cubicBezTo>
                        <a:pt x="350" y="554"/>
                        <a:pt x="350" y="554"/>
                        <a:pt x="350" y="554"/>
                      </a:cubicBezTo>
                      <a:cubicBezTo>
                        <a:pt x="343" y="554"/>
                        <a:pt x="337" y="551"/>
                        <a:pt x="337" y="547"/>
                      </a:cubicBezTo>
                      <a:cubicBezTo>
                        <a:pt x="352" y="519"/>
                        <a:pt x="352" y="519"/>
                        <a:pt x="352" y="519"/>
                      </a:cubicBezTo>
                      <a:cubicBezTo>
                        <a:pt x="352" y="516"/>
                        <a:pt x="357" y="514"/>
                        <a:pt x="363" y="514"/>
                      </a:cubicBezTo>
                      <a:cubicBezTo>
                        <a:pt x="468" y="514"/>
                        <a:pt x="468" y="514"/>
                        <a:pt x="468" y="514"/>
                      </a:cubicBezTo>
                      <a:cubicBezTo>
                        <a:pt x="473" y="514"/>
                        <a:pt x="478" y="516"/>
                        <a:pt x="478" y="519"/>
                      </a:cubicBezTo>
                      <a:cubicBezTo>
                        <a:pt x="494" y="547"/>
                        <a:pt x="494" y="547"/>
                        <a:pt x="494" y="547"/>
                      </a:cubicBezTo>
                      <a:cubicBezTo>
                        <a:pt x="494" y="551"/>
                        <a:pt x="488" y="554"/>
                        <a:pt x="481" y="554"/>
                      </a:cubicBezTo>
                      <a:close/>
                      <a:moveTo>
                        <a:pt x="748" y="456"/>
                      </a:moveTo>
                      <a:cubicBezTo>
                        <a:pt x="99" y="456"/>
                        <a:pt x="99" y="456"/>
                        <a:pt x="99" y="456"/>
                      </a:cubicBezTo>
                      <a:cubicBezTo>
                        <a:pt x="99" y="42"/>
                        <a:pt x="99" y="42"/>
                        <a:pt x="99" y="42"/>
                      </a:cubicBezTo>
                      <a:cubicBezTo>
                        <a:pt x="99" y="32"/>
                        <a:pt x="107" y="24"/>
                        <a:pt x="117" y="24"/>
                      </a:cubicBezTo>
                      <a:cubicBezTo>
                        <a:pt x="730" y="24"/>
                        <a:pt x="730" y="24"/>
                        <a:pt x="730" y="24"/>
                      </a:cubicBezTo>
                      <a:cubicBezTo>
                        <a:pt x="740" y="24"/>
                        <a:pt x="748" y="32"/>
                        <a:pt x="748" y="42"/>
                      </a:cubicBezTo>
                      <a:lnTo>
                        <a:pt x="748" y="45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extLst/>
              </p:spPr>
              <p:txBody>
                <a:bodyPr vert="horz" wrap="square" lIns="82305" tIns="41153" rIns="82305" bIns="4115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defTabSz="93231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endParaRPr>
                </a:p>
              </p:txBody>
            </p:sp>
            <p:grpSp>
              <p:nvGrpSpPr>
                <p:cNvPr id="132" name="Group 131"/>
                <p:cNvGrpSpPr/>
                <p:nvPr/>
              </p:nvGrpSpPr>
              <p:grpSpPr>
                <a:xfrm>
                  <a:off x="7699506" y="4176588"/>
                  <a:ext cx="430249" cy="272641"/>
                  <a:chOff x="4514106" y="3476226"/>
                  <a:chExt cx="697117" cy="441752"/>
                </a:xfrm>
              </p:grpSpPr>
              <p:sp>
                <p:nvSpPr>
                  <p:cNvPr id="133" name="Rectangle 132"/>
                  <p:cNvSpPr/>
                  <p:nvPr/>
                </p:nvSpPr>
                <p:spPr bwMode="auto">
                  <a:xfrm>
                    <a:off x="4514106" y="3703469"/>
                    <a:ext cx="219786" cy="213643"/>
                  </a:xfrm>
                  <a:prstGeom prst="rect">
                    <a:avLst/>
                  </a:prstGeom>
                  <a:solidFill>
                    <a:srgbClr val="4BACC6"/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0" cap="none" spc="0" normalizeH="0" baseline="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134" name="Rectangle 133"/>
                  <p:cNvSpPr/>
                  <p:nvPr/>
                </p:nvSpPr>
                <p:spPr bwMode="auto">
                  <a:xfrm>
                    <a:off x="4752723" y="3704335"/>
                    <a:ext cx="219787" cy="213643"/>
                  </a:xfrm>
                  <a:prstGeom prst="rect">
                    <a:avLst/>
                  </a:prstGeom>
                  <a:solidFill>
                    <a:srgbClr val="ADD40D"/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0" cap="none" spc="0" normalizeH="0" baseline="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135" name="Rectangle 134"/>
                  <p:cNvSpPr/>
                  <p:nvPr/>
                </p:nvSpPr>
                <p:spPr bwMode="auto">
                  <a:xfrm>
                    <a:off x="4514106" y="3476226"/>
                    <a:ext cx="219786" cy="213643"/>
                  </a:xfrm>
                  <a:prstGeom prst="rect">
                    <a:avLst/>
                  </a:prstGeom>
                  <a:solidFill>
                    <a:srgbClr val="AB0086"/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0" cap="none" spc="0" normalizeH="0" baseline="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136" name="Rectangle 135"/>
                  <p:cNvSpPr/>
                  <p:nvPr/>
                </p:nvSpPr>
                <p:spPr bwMode="auto">
                  <a:xfrm>
                    <a:off x="4752723" y="3476226"/>
                    <a:ext cx="219786" cy="213643"/>
                  </a:xfrm>
                  <a:prstGeom prst="rect">
                    <a:avLst/>
                  </a:prstGeom>
                  <a:solidFill>
                    <a:srgbClr val="FD7425"/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0" cap="none" spc="0" normalizeH="0" baseline="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137" name="Rectangle 136"/>
                  <p:cNvSpPr/>
                  <p:nvPr/>
                </p:nvSpPr>
                <p:spPr bwMode="auto">
                  <a:xfrm>
                    <a:off x="4991436" y="3704335"/>
                    <a:ext cx="219787" cy="213643"/>
                  </a:xfrm>
                  <a:prstGeom prst="rect">
                    <a:avLst/>
                  </a:prstGeom>
                  <a:solidFill>
                    <a:srgbClr val="FD7425"/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0" cap="none" spc="0" normalizeH="0" baseline="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</p:grpSp>
          </p:grpSp>
        </p:grpSp>
      </p:grpSp>
    </p:spTree>
    <p:extLst>
      <p:ext uri="{BB962C8B-B14F-4D97-AF65-F5344CB8AC3E}">
        <p14:creationId xmlns:p14="http://schemas.microsoft.com/office/powerpoint/2010/main" val="2065833314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661208" y="230894"/>
            <a:ext cx="7772400" cy="3200400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1889808" y="437164"/>
            <a:ext cx="7315200" cy="2743200"/>
          </a:xfrm>
          <a:prstGeom prst="rect">
            <a:avLst/>
          </a:prstGeom>
          <a:solidFill>
            <a:srgbClr val="FEA8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TextBox 78"/>
          <p:cNvSpPr txBox="1"/>
          <p:nvPr/>
        </p:nvSpPr>
        <p:spPr>
          <a:xfrm>
            <a:off x="2104678" y="637847"/>
            <a:ext cx="3916061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Avoid distractions with always-on data protection.</a:t>
            </a:r>
          </a:p>
          <a:p>
            <a:endParaRPr lang="en-US" sz="1400" dirty="0" smtClean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en-US" sz="14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Plus, see </a:t>
            </a:r>
            <a:r>
              <a:rPr lang="en-US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Microsoft Intune and </a:t>
            </a:r>
          </a:p>
          <a:p>
            <a:r>
              <a:rPr lang="en-US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Azure in action today!</a:t>
            </a:r>
            <a:endParaRPr lang="en-US" sz="16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461808" y="436585"/>
            <a:ext cx="2743200" cy="2743200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5" name="Group 74"/>
          <p:cNvGrpSpPr/>
          <p:nvPr/>
        </p:nvGrpSpPr>
        <p:grpSpPr>
          <a:xfrm>
            <a:off x="5153089" y="436585"/>
            <a:ext cx="4070303" cy="2832073"/>
            <a:chOff x="5092964" y="1526416"/>
            <a:chExt cx="4070306" cy="2832072"/>
          </a:xfrm>
        </p:grpSpPr>
        <p:pic>
          <p:nvPicPr>
            <p:cNvPr id="478" name="Picture 47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456160" y="2354697"/>
              <a:ext cx="924375" cy="381040"/>
            </a:xfrm>
            <a:prstGeom prst="rect">
              <a:avLst/>
            </a:prstGeom>
          </p:spPr>
        </p:pic>
        <p:pic>
          <p:nvPicPr>
            <p:cNvPr id="479" name="Picture 478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439824" y="2735737"/>
              <a:ext cx="515330" cy="212425"/>
            </a:xfrm>
            <a:prstGeom prst="rect">
              <a:avLst/>
            </a:prstGeom>
          </p:spPr>
        </p:pic>
        <p:sp>
          <p:nvSpPr>
            <p:cNvPr id="484" name="Oval 483"/>
            <p:cNvSpPr/>
            <p:nvPr/>
          </p:nvSpPr>
          <p:spPr>
            <a:xfrm>
              <a:off x="6044658" y="2231914"/>
              <a:ext cx="818301" cy="8183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IN"/>
            </a:p>
          </p:txBody>
        </p:sp>
        <p:pic>
          <p:nvPicPr>
            <p:cNvPr id="485" name="Picture 48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206997" y="2400904"/>
              <a:ext cx="493624" cy="562502"/>
            </a:xfrm>
            <a:prstGeom prst="rect">
              <a:avLst/>
            </a:prstGeom>
          </p:spPr>
        </p:pic>
        <p:pic>
          <p:nvPicPr>
            <p:cNvPr id="483" name="Picture 482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074887" y="1572156"/>
              <a:ext cx="725903" cy="299226"/>
            </a:xfrm>
            <a:prstGeom prst="rect">
              <a:avLst/>
            </a:prstGeom>
          </p:spPr>
        </p:pic>
        <p:sp>
          <p:nvSpPr>
            <p:cNvPr id="25" name="Rectangle 18"/>
            <p:cNvSpPr>
              <a:spLocks noChangeArrowheads="1"/>
            </p:cNvSpPr>
            <p:nvPr/>
          </p:nvSpPr>
          <p:spPr bwMode="auto">
            <a:xfrm>
              <a:off x="7734204" y="2105724"/>
              <a:ext cx="28897" cy="39217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9"/>
            <p:cNvSpPr>
              <a:spLocks/>
            </p:cNvSpPr>
            <p:nvPr/>
          </p:nvSpPr>
          <p:spPr bwMode="auto">
            <a:xfrm>
              <a:off x="7727325" y="2389186"/>
              <a:ext cx="44033" cy="108706"/>
            </a:xfrm>
            <a:custGeom>
              <a:avLst/>
              <a:gdLst>
                <a:gd name="T0" fmla="*/ 32 w 32"/>
                <a:gd name="T1" fmla="*/ 79 h 79"/>
                <a:gd name="T2" fmla="*/ 0 w 32"/>
                <a:gd name="T3" fmla="*/ 79 h 79"/>
                <a:gd name="T4" fmla="*/ 5 w 32"/>
                <a:gd name="T5" fmla="*/ 0 h 79"/>
                <a:gd name="T6" fmla="*/ 26 w 32"/>
                <a:gd name="T7" fmla="*/ 0 h 79"/>
                <a:gd name="T8" fmla="*/ 32 w 32"/>
                <a:gd name="T9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79">
                  <a:moveTo>
                    <a:pt x="32" y="79"/>
                  </a:moveTo>
                  <a:lnTo>
                    <a:pt x="0" y="79"/>
                  </a:lnTo>
                  <a:lnTo>
                    <a:pt x="5" y="0"/>
                  </a:lnTo>
                  <a:lnTo>
                    <a:pt x="26" y="0"/>
                  </a:lnTo>
                  <a:lnTo>
                    <a:pt x="32" y="79"/>
                  </a:lnTo>
                  <a:close/>
                </a:path>
              </a:pathLst>
            </a:custGeom>
            <a:solidFill>
              <a:srgbClr val="9B4F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0"/>
            <p:cNvSpPr>
              <a:spLocks/>
            </p:cNvSpPr>
            <p:nvPr/>
          </p:nvSpPr>
          <p:spPr bwMode="auto">
            <a:xfrm>
              <a:off x="7405332" y="1877303"/>
              <a:ext cx="688017" cy="305479"/>
            </a:xfrm>
            <a:custGeom>
              <a:avLst/>
              <a:gdLst>
                <a:gd name="T0" fmla="*/ 38 w 357"/>
                <a:gd name="T1" fmla="*/ 136 h 159"/>
                <a:gd name="T2" fmla="*/ 73 w 357"/>
                <a:gd name="T3" fmla="*/ 155 h 159"/>
                <a:gd name="T4" fmla="*/ 108 w 357"/>
                <a:gd name="T5" fmla="*/ 136 h 159"/>
                <a:gd name="T6" fmla="*/ 143 w 357"/>
                <a:gd name="T7" fmla="*/ 155 h 159"/>
                <a:gd name="T8" fmla="*/ 178 w 357"/>
                <a:gd name="T9" fmla="*/ 136 h 159"/>
                <a:gd name="T10" fmla="*/ 214 w 357"/>
                <a:gd name="T11" fmla="*/ 155 h 159"/>
                <a:gd name="T12" fmla="*/ 249 w 357"/>
                <a:gd name="T13" fmla="*/ 136 h 159"/>
                <a:gd name="T14" fmla="*/ 284 w 357"/>
                <a:gd name="T15" fmla="*/ 155 h 159"/>
                <a:gd name="T16" fmla="*/ 319 w 357"/>
                <a:gd name="T17" fmla="*/ 136 h 159"/>
                <a:gd name="T18" fmla="*/ 357 w 357"/>
                <a:gd name="T19" fmla="*/ 159 h 159"/>
                <a:gd name="T20" fmla="*/ 178 w 357"/>
                <a:gd name="T21" fmla="*/ 0 h 159"/>
                <a:gd name="T22" fmla="*/ 0 w 357"/>
                <a:gd name="T23" fmla="*/ 159 h 159"/>
                <a:gd name="T24" fmla="*/ 38 w 357"/>
                <a:gd name="T25" fmla="*/ 136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7" h="159">
                  <a:moveTo>
                    <a:pt x="38" y="136"/>
                  </a:moveTo>
                  <a:cubicBezTo>
                    <a:pt x="53" y="136"/>
                    <a:pt x="66" y="144"/>
                    <a:pt x="73" y="155"/>
                  </a:cubicBezTo>
                  <a:cubicBezTo>
                    <a:pt x="80" y="144"/>
                    <a:pt x="93" y="136"/>
                    <a:pt x="108" y="136"/>
                  </a:cubicBezTo>
                  <a:cubicBezTo>
                    <a:pt x="123" y="136"/>
                    <a:pt x="136" y="144"/>
                    <a:pt x="143" y="155"/>
                  </a:cubicBezTo>
                  <a:cubicBezTo>
                    <a:pt x="151" y="144"/>
                    <a:pt x="164" y="136"/>
                    <a:pt x="178" y="136"/>
                  </a:cubicBezTo>
                  <a:cubicBezTo>
                    <a:pt x="193" y="136"/>
                    <a:pt x="206" y="144"/>
                    <a:pt x="214" y="155"/>
                  </a:cubicBezTo>
                  <a:cubicBezTo>
                    <a:pt x="221" y="144"/>
                    <a:pt x="234" y="136"/>
                    <a:pt x="249" y="136"/>
                  </a:cubicBezTo>
                  <a:cubicBezTo>
                    <a:pt x="264" y="136"/>
                    <a:pt x="277" y="144"/>
                    <a:pt x="284" y="155"/>
                  </a:cubicBezTo>
                  <a:cubicBezTo>
                    <a:pt x="291" y="144"/>
                    <a:pt x="304" y="136"/>
                    <a:pt x="319" y="136"/>
                  </a:cubicBezTo>
                  <a:cubicBezTo>
                    <a:pt x="336" y="136"/>
                    <a:pt x="350" y="145"/>
                    <a:pt x="357" y="159"/>
                  </a:cubicBezTo>
                  <a:cubicBezTo>
                    <a:pt x="347" y="70"/>
                    <a:pt x="271" y="0"/>
                    <a:pt x="178" y="0"/>
                  </a:cubicBezTo>
                  <a:cubicBezTo>
                    <a:pt x="86" y="0"/>
                    <a:pt x="10" y="70"/>
                    <a:pt x="0" y="159"/>
                  </a:cubicBezTo>
                  <a:cubicBezTo>
                    <a:pt x="7" y="145"/>
                    <a:pt x="21" y="136"/>
                    <a:pt x="38" y="136"/>
                  </a:cubicBezTo>
                  <a:close/>
                </a:path>
              </a:pathLst>
            </a:custGeom>
            <a:solidFill>
              <a:srgbClr val="6821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1"/>
            <p:cNvSpPr>
              <a:spLocks/>
            </p:cNvSpPr>
            <p:nvPr/>
          </p:nvSpPr>
          <p:spPr bwMode="auto">
            <a:xfrm>
              <a:off x="7405332" y="1877303"/>
              <a:ext cx="363273" cy="305479"/>
            </a:xfrm>
            <a:custGeom>
              <a:avLst/>
              <a:gdLst>
                <a:gd name="T0" fmla="*/ 189 w 189"/>
                <a:gd name="T1" fmla="*/ 1 h 159"/>
                <a:gd name="T2" fmla="*/ 178 w 189"/>
                <a:gd name="T3" fmla="*/ 0 h 159"/>
                <a:gd name="T4" fmla="*/ 0 w 189"/>
                <a:gd name="T5" fmla="*/ 159 h 159"/>
                <a:gd name="T6" fmla="*/ 38 w 189"/>
                <a:gd name="T7" fmla="*/ 136 h 159"/>
                <a:gd name="T8" fmla="*/ 73 w 189"/>
                <a:gd name="T9" fmla="*/ 155 h 159"/>
                <a:gd name="T10" fmla="*/ 189 w 189"/>
                <a:gd name="T11" fmla="*/ 1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9" h="159">
                  <a:moveTo>
                    <a:pt x="189" y="1"/>
                  </a:moveTo>
                  <a:cubicBezTo>
                    <a:pt x="185" y="0"/>
                    <a:pt x="182" y="0"/>
                    <a:pt x="178" y="0"/>
                  </a:cubicBezTo>
                  <a:cubicBezTo>
                    <a:pt x="86" y="0"/>
                    <a:pt x="10" y="70"/>
                    <a:pt x="0" y="159"/>
                  </a:cubicBezTo>
                  <a:cubicBezTo>
                    <a:pt x="7" y="145"/>
                    <a:pt x="21" y="136"/>
                    <a:pt x="38" y="136"/>
                  </a:cubicBezTo>
                  <a:cubicBezTo>
                    <a:pt x="53" y="136"/>
                    <a:pt x="66" y="143"/>
                    <a:pt x="73" y="155"/>
                  </a:cubicBezTo>
                  <a:cubicBezTo>
                    <a:pt x="82" y="86"/>
                    <a:pt x="127" y="28"/>
                    <a:pt x="189" y="1"/>
                  </a:cubicBezTo>
                  <a:close/>
                </a:path>
              </a:pathLst>
            </a:custGeom>
            <a:solidFill>
              <a:srgbClr val="9B4F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2"/>
            <p:cNvSpPr>
              <a:spLocks/>
            </p:cNvSpPr>
            <p:nvPr/>
          </p:nvSpPr>
          <p:spPr bwMode="auto">
            <a:xfrm>
              <a:off x="7666778" y="1526416"/>
              <a:ext cx="176132" cy="198149"/>
            </a:xfrm>
            <a:custGeom>
              <a:avLst/>
              <a:gdLst>
                <a:gd name="T0" fmla="*/ 91 w 91"/>
                <a:gd name="T1" fmla="*/ 103 h 103"/>
                <a:gd name="T2" fmla="*/ 71 w 91"/>
                <a:gd name="T3" fmla="*/ 103 h 103"/>
                <a:gd name="T4" fmla="*/ 71 w 91"/>
                <a:gd name="T5" fmla="*/ 45 h 103"/>
                <a:gd name="T6" fmla="*/ 45 w 91"/>
                <a:gd name="T7" fmla="*/ 19 h 103"/>
                <a:gd name="T8" fmla="*/ 20 w 91"/>
                <a:gd name="T9" fmla="*/ 45 h 103"/>
                <a:gd name="T10" fmla="*/ 20 w 91"/>
                <a:gd name="T11" fmla="*/ 103 h 103"/>
                <a:gd name="T12" fmla="*/ 0 w 91"/>
                <a:gd name="T13" fmla="*/ 103 h 103"/>
                <a:gd name="T14" fmla="*/ 0 w 91"/>
                <a:gd name="T15" fmla="*/ 45 h 103"/>
                <a:gd name="T16" fmla="*/ 45 w 91"/>
                <a:gd name="T17" fmla="*/ 0 h 103"/>
                <a:gd name="T18" fmla="*/ 91 w 91"/>
                <a:gd name="T19" fmla="*/ 45 h 103"/>
                <a:gd name="T20" fmla="*/ 91 w 91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1" h="103">
                  <a:moveTo>
                    <a:pt x="91" y="103"/>
                  </a:moveTo>
                  <a:cubicBezTo>
                    <a:pt x="71" y="103"/>
                    <a:pt x="71" y="103"/>
                    <a:pt x="71" y="103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71" y="31"/>
                    <a:pt x="59" y="19"/>
                    <a:pt x="45" y="19"/>
                  </a:cubicBezTo>
                  <a:cubicBezTo>
                    <a:pt x="31" y="19"/>
                    <a:pt x="20" y="31"/>
                    <a:pt x="20" y="45"/>
                  </a:cubicBezTo>
                  <a:cubicBezTo>
                    <a:pt x="20" y="103"/>
                    <a:pt x="20" y="103"/>
                    <a:pt x="20" y="103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20"/>
                    <a:pt x="20" y="0"/>
                    <a:pt x="45" y="0"/>
                  </a:cubicBezTo>
                  <a:cubicBezTo>
                    <a:pt x="70" y="0"/>
                    <a:pt x="91" y="20"/>
                    <a:pt x="91" y="45"/>
                  </a:cubicBezTo>
                  <a:lnTo>
                    <a:pt x="91" y="103"/>
                  </a:lnTo>
                  <a:close/>
                </a:path>
              </a:pathLst>
            </a:custGeom>
            <a:solidFill>
              <a:srgbClr val="EB3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Rectangle 23"/>
            <p:cNvSpPr>
              <a:spLocks noChangeArrowheads="1"/>
            </p:cNvSpPr>
            <p:nvPr/>
          </p:nvSpPr>
          <p:spPr bwMode="auto">
            <a:xfrm>
              <a:off x="7613114" y="1719061"/>
              <a:ext cx="283463" cy="265576"/>
            </a:xfrm>
            <a:prstGeom prst="rect">
              <a:avLst/>
            </a:pr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Rectangle 24"/>
            <p:cNvSpPr>
              <a:spLocks noChangeArrowheads="1"/>
            </p:cNvSpPr>
            <p:nvPr/>
          </p:nvSpPr>
          <p:spPr bwMode="auto">
            <a:xfrm>
              <a:off x="7613114" y="1719061"/>
              <a:ext cx="72930" cy="265576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25"/>
            <p:cNvSpPr>
              <a:spLocks/>
            </p:cNvSpPr>
            <p:nvPr/>
          </p:nvSpPr>
          <p:spPr bwMode="auto">
            <a:xfrm>
              <a:off x="7724573" y="1805750"/>
              <a:ext cx="57793" cy="100451"/>
            </a:xfrm>
            <a:custGeom>
              <a:avLst/>
              <a:gdLst>
                <a:gd name="T0" fmla="*/ 30 w 30"/>
                <a:gd name="T1" fmla="*/ 15 h 52"/>
                <a:gd name="T2" fmla="*/ 15 w 30"/>
                <a:gd name="T3" fmla="*/ 0 h 52"/>
                <a:gd name="T4" fmla="*/ 0 w 30"/>
                <a:gd name="T5" fmla="*/ 15 h 52"/>
                <a:gd name="T6" fmla="*/ 10 w 30"/>
                <a:gd name="T7" fmla="*/ 29 h 52"/>
                <a:gd name="T8" fmla="*/ 10 w 30"/>
                <a:gd name="T9" fmla="*/ 52 h 52"/>
                <a:gd name="T10" fmla="*/ 20 w 30"/>
                <a:gd name="T11" fmla="*/ 52 h 52"/>
                <a:gd name="T12" fmla="*/ 20 w 30"/>
                <a:gd name="T13" fmla="*/ 29 h 52"/>
                <a:gd name="T14" fmla="*/ 30 w 30"/>
                <a:gd name="T15" fmla="*/ 1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" h="52">
                  <a:moveTo>
                    <a:pt x="30" y="15"/>
                  </a:moveTo>
                  <a:cubicBezTo>
                    <a:pt x="30" y="6"/>
                    <a:pt x="24" y="0"/>
                    <a:pt x="15" y="0"/>
                  </a:cubicBezTo>
                  <a:cubicBezTo>
                    <a:pt x="7" y="0"/>
                    <a:pt x="0" y="6"/>
                    <a:pt x="0" y="15"/>
                  </a:cubicBezTo>
                  <a:cubicBezTo>
                    <a:pt x="0" y="21"/>
                    <a:pt x="4" y="27"/>
                    <a:pt x="10" y="29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26" y="27"/>
                    <a:pt x="30" y="21"/>
                    <a:pt x="30" y="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Rectangle 26"/>
            <p:cNvSpPr>
              <a:spLocks noChangeArrowheads="1"/>
            </p:cNvSpPr>
            <p:nvPr/>
          </p:nvSpPr>
          <p:spPr bwMode="auto">
            <a:xfrm>
              <a:off x="7613114" y="1984633"/>
              <a:ext cx="280710" cy="37153"/>
            </a:xfrm>
            <a:prstGeom prst="rect">
              <a:avLst/>
            </a:prstGeom>
            <a:solidFill>
              <a:srgbClr val="4423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9" name="Freeform 498"/>
            <p:cNvSpPr>
              <a:spLocks/>
            </p:cNvSpPr>
            <p:nvPr/>
          </p:nvSpPr>
          <p:spPr bwMode="auto">
            <a:xfrm>
              <a:off x="5092964" y="3588233"/>
              <a:ext cx="521719" cy="759982"/>
            </a:xfrm>
            <a:custGeom>
              <a:avLst/>
              <a:gdLst>
                <a:gd name="T0" fmla="*/ 0 w 376"/>
                <a:gd name="T1" fmla="*/ 253 h 548"/>
                <a:gd name="T2" fmla="*/ 0 w 376"/>
                <a:gd name="T3" fmla="*/ 524 h 548"/>
                <a:gd name="T4" fmla="*/ 25 w 376"/>
                <a:gd name="T5" fmla="*/ 548 h 548"/>
                <a:gd name="T6" fmla="*/ 351 w 376"/>
                <a:gd name="T7" fmla="*/ 548 h 548"/>
                <a:gd name="T8" fmla="*/ 376 w 376"/>
                <a:gd name="T9" fmla="*/ 524 h 548"/>
                <a:gd name="T10" fmla="*/ 376 w 376"/>
                <a:gd name="T11" fmla="*/ 25 h 548"/>
                <a:gd name="T12" fmla="*/ 351 w 376"/>
                <a:gd name="T13" fmla="*/ 0 h 548"/>
                <a:gd name="T14" fmla="*/ 25 w 376"/>
                <a:gd name="T15" fmla="*/ 0 h 548"/>
                <a:gd name="T16" fmla="*/ 0 w 376"/>
                <a:gd name="T17" fmla="*/ 25 h 548"/>
                <a:gd name="T18" fmla="*/ 0 w 376"/>
                <a:gd name="T19" fmla="*/ 173 h 548"/>
                <a:gd name="T20" fmla="*/ 0 w 376"/>
                <a:gd name="T21" fmla="*/ 253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76" h="548">
                  <a:moveTo>
                    <a:pt x="0" y="253"/>
                  </a:moveTo>
                  <a:cubicBezTo>
                    <a:pt x="0" y="524"/>
                    <a:pt x="0" y="524"/>
                    <a:pt x="0" y="524"/>
                  </a:cubicBezTo>
                  <a:cubicBezTo>
                    <a:pt x="0" y="537"/>
                    <a:pt x="11" y="548"/>
                    <a:pt x="25" y="548"/>
                  </a:cubicBezTo>
                  <a:cubicBezTo>
                    <a:pt x="351" y="548"/>
                    <a:pt x="351" y="548"/>
                    <a:pt x="351" y="548"/>
                  </a:cubicBezTo>
                  <a:cubicBezTo>
                    <a:pt x="365" y="548"/>
                    <a:pt x="376" y="537"/>
                    <a:pt x="376" y="524"/>
                  </a:cubicBezTo>
                  <a:cubicBezTo>
                    <a:pt x="376" y="25"/>
                    <a:pt x="376" y="25"/>
                    <a:pt x="376" y="25"/>
                  </a:cubicBezTo>
                  <a:cubicBezTo>
                    <a:pt x="376" y="11"/>
                    <a:pt x="365" y="0"/>
                    <a:pt x="351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1"/>
                    <a:pt x="0" y="25"/>
                  </a:cubicBezTo>
                  <a:cubicBezTo>
                    <a:pt x="0" y="173"/>
                    <a:pt x="0" y="173"/>
                    <a:pt x="0" y="173"/>
                  </a:cubicBezTo>
                  <a:lnTo>
                    <a:pt x="0" y="253"/>
                  </a:lnTo>
                  <a:close/>
                </a:path>
              </a:pathLst>
            </a:cu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00" name="Rectangle 499"/>
            <p:cNvSpPr>
              <a:spLocks noChangeArrowheads="1"/>
            </p:cNvSpPr>
            <p:nvPr/>
          </p:nvSpPr>
          <p:spPr bwMode="auto">
            <a:xfrm>
              <a:off x="5142848" y="3638117"/>
              <a:ext cx="421951" cy="661388"/>
            </a:xfrm>
            <a:prstGeom prst="rect">
              <a:avLst/>
            </a:pr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01" name="Rectangle 500"/>
            <p:cNvSpPr>
              <a:spLocks noChangeArrowheads="1"/>
            </p:cNvSpPr>
            <p:nvPr/>
          </p:nvSpPr>
          <p:spPr bwMode="auto">
            <a:xfrm>
              <a:off x="5186276" y="3723211"/>
              <a:ext cx="215964" cy="215964"/>
            </a:xfrm>
            <a:prstGeom prst="rect">
              <a:avLst/>
            </a:prstGeom>
            <a:solidFill>
              <a:srgbClr val="EB3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02" name="Rectangle 501"/>
            <p:cNvSpPr>
              <a:spLocks noChangeArrowheads="1"/>
            </p:cNvSpPr>
            <p:nvPr/>
          </p:nvSpPr>
          <p:spPr bwMode="auto">
            <a:xfrm>
              <a:off x="5424540" y="3723211"/>
              <a:ext cx="96832" cy="96832"/>
            </a:xfrm>
            <a:prstGeom prst="rect">
              <a:avLst/>
            </a:prstGeom>
            <a:solidFill>
              <a:srgbClr val="EB3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03" name="Rectangle 502"/>
            <p:cNvSpPr>
              <a:spLocks noChangeArrowheads="1"/>
            </p:cNvSpPr>
            <p:nvPr/>
          </p:nvSpPr>
          <p:spPr bwMode="auto">
            <a:xfrm>
              <a:off x="5186276" y="3962648"/>
              <a:ext cx="95658" cy="97419"/>
            </a:xfrm>
            <a:prstGeom prst="rect">
              <a:avLst/>
            </a:prstGeom>
            <a:solidFill>
              <a:srgbClr val="EB3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04" name="Rectangle 503"/>
            <p:cNvSpPr>
              <a:spLocks noChangeArrowheads="1"/>
            </p:cNvSpPr>
            <p:nvPr/>
          </p:nvSpPr>
          <p:spPr bwMode="auto">
            <a:xfrm>
              <a:off x="5305407" y="3962648"/>
              <a:ext cx="96832" cy="97419"/>
            </a:xfrm>
            <a:prstGeom prst="rect">
              <a:avLst/>
            </a:prstGeom>
            <a:solidFill>
              <a:srgbClr val="EB3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05" name="Rectangle 504"/>
            <p:cNvSpPr>
              <a:spLocks noChangeArrowheads="1"/>
            </p:cNvSpPr>
            <p:nvPr/>
          </p:nvSpPr>
          <p:spPr bwMode="auto">
            <a:xfrm>
              <a:off x="5424540" y="3962648"/>
              <a:ext cx="96832" cy="97419"/>
            </a:xfrm>
            <a:prstGeom prst="rect">
              <a:avLst/>
            </a:prstGeom>
            <a:solidFill>
              <a:srgbClr val="EB3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06" name="Rectangle 505"/>
            <p:cNvSpPr>
              <a:spLocks noChangeArrowheads="1"/>
            </p:cNvSpPr>
            <p:nvPr/>
          </p:nvSpPr>
          <p:spPr bwMode="auto">
            <a:xfrm>
              <a:off x="5186276" y="4081782"/>
              <a:ext cx="95658" cy="97419"/>
            </a:xfrm>
            <a:prstGeom prst="rect">
              <a:avLst/>
            </a:prstGeom>
            <a:solidFill>
              <a:srgbClr val="EB3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07" name="Rectangle 506"/>
            <p:cNvSpPr>
              <a:spLocks noChangeArrowheads="1"/>
            </p:cNvSpPr>
            <p:nvPr/>
          </p:nvSpPr>
          <p:spPr bwMode="auto">
            <a:xfrm>
              <a:off x="5305407" y="4081782"/>
              <a:ext cx="96832" cy="97419"/>
            </a:xfrm>
            <a:prstGeom prst="rect">
              <a:avLst/>
            </a:prstGeom>
            <a:solidFill>
              <a:srgbClr val="EB3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08" name="Rectangle 507"/>
            <p:cNvSpPr>
              <a:spLocks noChangeArrowheads="1"/>
            </p:cNvSpPr>
            <p:nvPr/>
          </p:nvSpPr>
          <p:spPr bwMode="auto">
            <a:xfrm>
              <a:off x="5424540" y="4081782"/>
              <a:ext cx="96832" cy="97419"/>
            </a:xfrm>
            <a:prstGeom prst="rect">
              <a:avLst/>
            </a:prstGeom>
            <a:solidFill>
              <a:srgbClr val="EB3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09" name="Rectangle 508"/>
            <p:cNvSpPr>
              <a:spLocks noChangeArrowheads="1"/>
            </p:cNvSpPr>
            <p:nvPr/>
          </p:nvSpPr>
          <p:spPr bwMode="auto">
            <a:xfrm>
              <a:off x="5186276" y="4202675"/>
              <a:ext cx="335097" cy="96832"/>
            </a:xfrm>
            <a:prstGeom prst="rect">
              <a:avLst/>
            </a:prstGeom>
            <a:solidFill>
              <a:srgbClr val="EB3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10" name="Rectangle 509"/>
            <p:cNvSpPr>
              <a:spLocks noChangeArrowheads="1"/>
            </p:cNvSpPr>
            <p:nvPr/>
          </p:nvSpPr>
          <p:spPr bwMode="auto">
            <a:xfrm>
              <a:off x="5424541" y="3842343"/>
              <a:ext cx="96832" cy="96832"/>
            </a:xfrm>
            <a:prstGeom prst="rect">
              <a:avLst/>
            </a:prstGeom>
            <a:solidFill>
              <a:srgbClr val="EB3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486" name="Freeform 485"/>
            <p:cNvSpPr>
              <a:spLocks/>
            </p:cNvSpPr>
            <p:nvPr/>
          </p:nvSpPr>
          <p:spPr bwMode="auto">
            <a:xfrm>
              <a:off x="7984271" y="3343149"/>
              <a:ext cx="1178999" cy="887330"/>
            </a:xfrm>
            <a:custGeom>
              <a:avLst/>
              <a:gdLst>
                <a:gd name="T0" fmla="*/ 850 w 850"/>
                <a:gd name="T1" fmla="*/ 17 h 640"/>
                <a:gd name="T2" fmla="*/ 834 w 850"/>
                <a:gd name="T3" fmla="*/ 0 h 640"/>
                <a:gd name="T4" fmla="*/ 17 w 850"/>
                <a:gd name="T5" fmla="*/ 0 h 640"/>
                <a:gd name="T6" fmla="*/ 0 w 850"/>
                <a:gd name="T7" fmla="*/ 17 h 640"/>
                <a:gd name="T8" fmla="*/ 0 w 850"/>
                <a:gd name="T9" fmla="*/ 573 h 640"/>
                <a:gd name="T10" fmla="*/ 17 w 850"/>
                <a:gd name="T11" fmla="*/ 590 h 640"/>
                <a:gd name="T12" fmla="*/ 395 w 850"/>
                <a:gd name="T13" fmla="*/ 590 h 640"/>
                <a:gd name="T14" fmla="*/ 382 w 850"/>
                <a:gd name="T15" fmla="*/ 627 h 640"/>
                <a:gd name="T16" fmla="*/ 307 w 850"/>
                <a:gd name="T17" fmla="*/ 627 h 640"/>
                <a:gd name="T18" fmla="*/ 307 w 850"/>
                <a:gd name="T19" fmla="*/ 640 h 640"/>
                <a:gd name="T20" fmla="*/ 539 w 850"/>
                <a:gd name="T21" fmla="*/ 640 h 640"/>
                <a:gd name="T22" fmla="*/ 539 w 850"/>
                <a:gd name="T23" fmla="*/ 627 h 640"/>
                <a:gd name="T24" fmla="*/ 478 w 850"/>
                <a:gd name="T25" fmla="*/ 627 h 640"/>
                <a:gd name="T26" fmla="*/ 466 w 850"/>
                <a:gd name="T27" fmla="*/ 590 h 640"/>
                <a:gd name="T28" fmla="*/ 834 w 850"/>
                <a:gd name="T29" fmla="*/ 590 h 640"/>
                <a:gd name="T30" fmla="*/ 850 w 850"/>
                <a:gd name="T31" fmla="*/ 573 h 640"/>
                <a:gd name="T32" fmla="*/ 850 w 850"/>
                <a:gd name="T33" fmla="*/ 17 h 6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50" h="640">
                  <a:moveTo>
                    <a:pt x="850" y="17"/>
                  </a:moveTo>
                  <a:cubicBezTo>
                    <a:pt x="850" y="8"/>
                    <a:pt x="843" y="0"/>
                    <a:pt x="834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7" y="0"/>
                    <a:pt x="0" y="8"/>
                    <a:pt x="0" y="17"/>
                  </a:cubicBezTo>
                  <a:cubicBezTo>
                    <a:pt x="0" y="573"/>
                    <a:pt x="0" y="573"/>
                    <a:pt x="0" y="573"/>
                  </a:cubicBezTo>
                  <a:cubicBezTo>
                    <a:pt x="0" y="582"/>
                    <a:pt x="7" y="590"/>
                    <a:pt x="17" y="590"/>
                  </a:cubicBezTo>
                  <a:cubicBezTo>
                    <a:pt x="395" y="590"/>
                    <a:pt x="395" y="590"/>
                    <a:pt x="395" y="590"/>
                  </a:cubicBezTo>
                  <a:cubicBezTo>
                    <a:pt x="382" y="627"/>
                    <a:pt x="382" y="627"/>
                    <a:pt x="382" y="627"/>
                  </a:cubicBezTo>
                  <a:cubicBezTo>
                    <a:pt x="307" y="627"/>
                    <a:pt x="307" y="627"/>
                    <a:pt x="307" y="627"/>
                  </a:cubicBezTo>
                  <a:cubicBezTo>
                    <a:pt x="307" y="640"/>
                    <a:pt x="307" y="640"/>
                    <a:pt x="307" y="640"/>
                  </a:cubicBezTo>
                  <a:cubicBezTo>
                    <a:pt x="539" y="640"/>
                    <a:pt x="539" y="640"/>
                    <a:pt x="539" y="640"/>
                  </a:cubicBezTo>
                  <a:cubicBezTo>
                    <a:pt x="539" y="627"/>
                    <a:pt x="539" y="627"/>
                    <a:pt x="539" y="627"/>
                  </a:cubicBezTo>
                  <a:cubicBezTo>
                    <a:pt x="478" y="627"/>
                    <a:pt x="478" y="627"/>
                    <a:pt x="478" y="627"/>
                  </a:cubicBezTo>
                  <a:cubicBezTo>
                    <a:pt x="466" y="590"/>
                    <a:pt x="466" y="590"/>
                    <a:pt x="466" y="590"/>
                  </a:cubicBezTo>
                  <a:cubicBezTo>
                    <a:pt x="834" y="590"/>
                    <a:pt x="834" y="590"/>
                    <a:pt x="834" y="590"/>
                  </a:cubicBezTo>
                  <a:cubicBezTo>
                    <a:pt x="843" y="590"/>
                    <a:pt x="850" y="582"/>
                    <a:pt x="850" y="573"/>
                  </a:cubicBezTo>
                  <a:lnTo>
                    <a:pt x="850" y="17"/>
                  </a:lnTo>
                  <a:close/>
                </a:path>
              </a:pathLst>
            </a:cu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487" name="Rectangle 486"/>
            <p:cNvSpPr>
              <a:spLocks noChangeArrowheads="1"/>
            </p:cNvSpPr>
            <p:nvPr/>
          </p:nvSpPr>
          <p:spPr bwMode="auto">
            <a:xfrm>
              <a:off x="8013615" y="3372493"/>
              <a:ext cx="1121487" cy="630285"/>
            </a:xfrm>
            <a:prstGeom prst="rect">
              <a:avLst/>
            </a:pr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488" name="Freeform 487"/>
            <p:cNvSpPr>
              <a:spLocks/>
            </p:cNvSpPr>
            <p:nvPr/>
          </p:nvSpPr>
          <p:spPr bwMode="auto">
            <a:xfrm>
              <a:off x="8971956" y="4258060"/>
              <a:ext cx="122066" cy="61034"/>
            </a:xfrm>
            <a:custGeom>
              <a:avLst/>
              <a:gdLst>
                <a:gd name="T0" fmla="*/ 44 w 88"/>
                <a:gd name="T1" fmla="*/ 0 h 44"/>
                <a:gd name="T2" fmla="*/ 0 w 88"/>
                <a:gd name="T3" fmla="*/ 44 h 44"/>
                <a:gd name="T4" fmla="*/ 88 w 88"/>
                <a:gd name="T5" fmla="*/ 44 h 44"/>
                <a:gd name="T6" fmla="*/ 44 w 88"/>
                <a:gd name="T7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8" h="44">
                  <a:moveTo>
                    <a:pt x="44" y="0"/>
                  </a:moveTo>
                  <a:cubicBezTo>
                    <a:pt x="19" y="0"/>
                    <a:pt x="0" y="20"/>
                    <a:pt x="0" y="44"/>
                  </a:cubicBezTo>
                  <a:cubicBezTo>
                    <a:pt x="88" y="44"/>
                    <a:pt x="88" y="44"/>
                    <a:pt x="88" y="44"/>
                  </a:cubicBezTo>
                  <a:cubicBezTo>
                    <a:pt x="88" y="20"/>
                    <a:pt x="68" y="0"/>
                    <a:pt x="44" y="0"/>
                  </a:cubicBezTo>
                  <a:close/>
                </a:path>
              </a:pathLst>
            </a:cu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489" name="Freeform 488"/>
            <p:cNvSpPr>
              <a:spLocks/>
            </p:cNvSpPr>
            <p:nvPr/>
          </p:nvSpPr>
          <p:spPr bwMode="auto">
            <a:xfrm>
              <a:off x="8013615" y="4253953"/>
              <a:ext cx="914913" cy="63968"/>
            </a:xfrm>
            <a:custGeom>
              <a:avLst/>
              <a:gdLst>
                <a:gd name="T0" fmla="*/ 1559 w 1559"/>
                <a:gd name="T1" fmla="*/ 109 h 109"/>
                <a:gd name="T2" fmla="*/ 0 w 1559"/>
                <a:gd name="T3" fmla="*/ 109 h 109"/>
                <a:gd name="T4" fmla="*/ 0 w 1559"/>
                <a:gd name="T5" fmla="*/ 64 h 109"/>
                <a:gd name="T6" fmla="*/ 158 w 1559"/>
                <a:gd name="T7" fmla="*/ 0 h 109"/>
                <a:gd name="T8" fmla="*/ 1401 w 1559"/>
                <a:gd name="T9" fmla="*/ 0 h 109"/>
                <a:gd name="T10" fmla="*/ 1559 w 1559"/>
                <a:gd name="T11" fmla="*/ 64 h 109"/>
                <a:gd name="T12" fmla="*/ 1559 w 1559"/>
                <a:gd name="T13" fmla="*/ 10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59" h="109">
                  <a:moveTo>
                    <a:pt x="1559" y="109"/>
                  </a:moveTo>
                  <a:lnTo>
                    <a:pt x="0" y="109"/>
                  </a:lnTo>
                  <a:lnTo>
                    <a:pt x="0" y="64"/>
                  </a:lnTo>
                  <a:lnTo>
                    <a:pt x="158" y="0"/>
                  </a:lnTo>
                  <a:lnTo>
                    <a:pt x="1401" y="0"/>
                  </a:lnTo>
                  <a:lnTo>
                    <a:pt x="1559" y="64"/>
                  </a:lnTo>
                  <a:lnTo>
                    <a:pt x="1559" y="109"/>
                  </a:lnTo>
                  <a:close/>
                </a:path>
              </a:pathLst>
            </a:cu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490" name="Freeform 489"/>
            <p:cNvSpPr>
              <a:spLocks/>
            </p:cNvSpPr>
            <p:nvPr/>
          </p:nvSpPr>
          <p:spPr bwMode="auto">
            <a:xfrm>
              <a:off x="8727822" y="4216394"/>
              <a:ext cx="306340" cy="90377"/>
            </a:xfrm>
            <a:custGeom>
              <a:avLst/>
              <a:gdLst>
                <a:gd name="T0" fmla="*/ 218 w 221"/>
                <a:gd name="T1" fmla="*/ 65 h 65"/>
                <a:gd name="T2" fmla="*/ 0 w 221"/>
                <a:gd name="T3" fmla="*/ 7 h 65"/>
                <a:gd name="T4" fmla="*/ 0 w 221"/>
                <a:gd name="T5" fmla="*/ 0 h 65"/>
                <a:gd name="T6" fmla="*/ 221 w 221"/>
                <a:gd name="T7" fmla="*/ 59 h 65"/>
                <a:gd name="T8" fmla="*/ 218 w 221"/>
                <a:gd name="T9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1" h="65">
                  <a:moveTo>
                    <a:pt x="218" y="65"/>
                  </a:moveTo>
                  <a:cubicBezTo>
                    <a:pt x="152" y="27"/>
                    <a:pt x="76" y="7"/>
                    <a:pt x="0" y="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7" y="0"/>
                    <a:pt x="154" y="21"/>
                    <a:pt x="221" y="59"/>
                  </a:cubicBezTo>
                  <a:lnTo>
                    <a:pt x="218" y="65"/>
                  </a:lnTo>
                  <a:close/>
                </a:path>
              </a:pathLst>
            </a:cu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491" name="Rectangle 490"/>
            <p:cNvSpPr>
              <a:spLocks noChangeArrowheads="1"/>
            </p:cNvSpPr>
            <p:nvPr/>
          </p:nvSpPr>
          <p:spPr bwMode="auto">
            <a:xfrm>
              <a:off x="8863385" y="3454066"/>
              <a:ext cx="231809" cy="231809"/>
            </a:xfrm>
            <a:prstGeom prst="rect">
              <a:avLst/>
            </a:pr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492" name="Rectangle 491"/>
            <p:cNvSpPr>
              <a:spLocks noChangeArrowheads="1"/>
            </p:cNvSpPr>
            <p:nvPr/>
          </p:nvSpPr>
          <p:spPr bwMode="auto">
            <a:xfrm>
              <a:off x="8611037" y="3454066"/>
              <a:ext cx="232982" cy="231809"/>
            </a:xfrm>
            <a:prstGeom prst="rect">
              <a:avLst/>
            </a:pr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493" name="Rectangle 492"/>
            <p:cNvSpPr>
              <a:spLocks noChangeArrowheads="1"/>
            </p:cNvSpPr>
            <p:nvPr/>
          </p:nvSpPr>
          <p:spPr bwMode="auto">
            <a:xfrm>
              <a:off x="8360449" y="3454066"/>
              <a:ext cx="231222" cy="231809"/>
            </a:xfrm>
            <a:prstGeom prst="rect">
              <a:avLst/>
            </a:pr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494" name="Rectangle 493"/>
            <p:cNvSpPr>
              <a:spLocks noChangeArrowheads="1"/>
            </p:cNvSpPr>
            <p:nvPr/>
          </p:nvSpPr>
          <p:spPr bwMode="auto">
            <a:xfrm>
              <a:off x="8863385" y="3705241"/>
              <a:ext cx="231809" cy="232396"/>
            </a:xfrm>
            <a:prstGeom prst="rect">
              <a:avLst/>
            </a:pr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495" name="Rectangle 494"/>
            <p:cNvSpPr>
              <a:spLocks noChangeArrowheads="1"/>
            </p:cNvSpPr>
            <p:nvPr/>
          </p:nvSpPr>
          <p:spPr bwMode="auto">
            <a:xfrm>
              <a:off x="8611037" y="3705241"/>
              <a:ext cx="232982" cy="232396"/>
            </a:xfrm>
            <a:prstGeom prst="rect">
              <a:avLst/>
            </a:pr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496" name="Rectangle 495"/>
            <p:cNvSpPr>
              <a:spLocks noChangeArrowheads="1"/>
            </p:cNvSpPr>
            <p:nvPr/>
          </p:nvSpPr>
          <p:spPr bwMode="auto">
            <a:xfrm>
              <a:off x="8360449" y="3705241"/>
              <a:ext cx="231222" cy="232396"/>
            </a:xfrm>
            <a:prstGeom prst="rect">
              <a:avLst/>
            </a:pr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497" name="Rectangle 496"/>
            <p:cNvSpPr>
              <a:spLocks noChangeArrowheads="1"/>
            </p:cNvSpPr>
            <p:nvPr/>
          </p:nvSpPr>
          <p:spPr bwMode="auto">
            <a:xfrm>
              <a:off x="8109274" y="3454066"/>
              <a:ext cx="231809" cy="231809"/>
            </a:xfrm>
            <a:prstGeom prst="rect">
              <a:avLst/>
            </a:pr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498" name="Rectangle 497"/>
            <p:cNvSpPr>
              <a:spLocks noChangeArrowheads="1"/>
            </p:cNvSpPr>
            <p:nvPr/>
          </p:nvSpPr>
          <p:spPr bwMode="auto">
            <a:xfrm>
              <a:off x="8109274" y="3705241"/>
              <a:ext cx="231809" cy="232396"/>
            </a:xfrm>
            <a:prstGeom prst="rect">
              <a:avLst/>
            </a:pr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2" name="Rectangle 5"/>
            <p:cNvSpPr>
              <a:spLocks noChangeArrowheads="1"/>
            </p:cNvSpPr>
            <p:nvPr/>
          </p:nvSpPr>
          <p:spPr bwMode="auto">
            <a:xfrm>
              <a:off x="7574614" y="3318251"/>
              <a:ext cx="294098" cy="1040237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Rectangle 6"/>
            <p:cNvSpPr>
              <a:spLocks noChangeArrowheads="1"/>
            </p:cNvSpPr>
            <p:nvPr/>
          </p:nvSpPr>
          <p:spPr bwMode="auto">
            <a:xfrm>
              <a:off x="6577945" y="3318251"/>
              <a:ext cx="295914" cy="1040237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Rectangle 7"/>
            <p:cNvSpPr>
              <a:spLocks noChangeArrowheads="1"/>
            </p:cNvSpPr>
            <p:nvPr/>
          </p:nvSpPr>
          <p:spPr bwMode="auto">
            <a:xfrm>
              <a:off x="6654194" y="3398129"/>
              <a:ext cx="366715" cy="960359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Rectangle 8"/>
            <p:cNvSpPr>
              <a:spLocks noChangeArrowheads="1"/>
            </p:cNvSpPr>
            <p:nvPr/>
          </p:nvSpPr>
          <p:spPr bwMode="auto">
            <a:xfrm>
              <a:off x="7427563" y="3537918"/>
              <a:ext cx="364901" cy="82057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Rectangle 9"/>
            <p:cNvSpPr>
              <a:spLocks noChangeArrowheads="1"/>
            </p:cNvSpPr>
            <p:nvPr/>
          </p:nvSpPr>
          <p:spPr bwMode="auto">
            <a:xfrm>
              <a:off x="6962815" y="3684966"/>
              <a:ext cx="537365" cy="673522"/>
            </a:xfrm>
            <a:prstGeom prst="rect">
              <a:avLst/>
            </a:prstGeom>
            <a:solidFill>
              <a:srgbClr val="9B4F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Rectangle 10"/>
            <p:cNvSpPr>
              <a:spLocks noChangeArrowheads="1"/>
            </p:cNvSpPr>
            <p:nvPr/>
          </p:nvSpPr>
          <p:spPr bwMode="auto">
            <a:xfrm>
              <a:off x="6937400" y="3664996"/>
              <a:ext cx="588197" cy="19970"/>
            </a:xfrm>
            <a:prstGeom prst="rect">
              <a:avLst/>
            </a:prstGeom>
            <a:solidFill>
              <a:srgbClr val="6821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Rectangle 11"/>
            <p:cNvSpPr>
              <a:spLocks noChangeArrowheads="1"/>
            </p:cNvSpPr>
            <p:nvPr/>
          </p:nvSpPr>
          <p:spPr bwMode="auto">
            <a:xfrm>
              <a:off x="7256914" y="4220516"/>
              <a:ext cx="70802" cy="137972"/>
            </a:xfrm>
            <a:prstGeom prst="rect">
              <a:avLst/>
            </a:prstGeom>
            <a:solidFill>
              <a:srgbClr val="6821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Rectangle 12"/>
            <p:cNvSpPr>
              <a:spLocks noChangeArrowheads="1"/>
            </p:cNvSpPr>
            <p:nvPr/>
          </p:nvSpPr>
          <p:spPr bwMode="auto">
            <a:xfrm>
              <a:off x="7137096" y="4220515"/>
              <a:ext cx="68986" cy="137972"/>
            </a:xfrm>
            <a:prstGeom prst="rect">
              <a:avLst/>
            </a:prstGeom>
            <a:solidFill>
              <a:srgbClr val="6821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Rectangle 13"/>
            <p:cNvSpPr>
              <a:spLocks noChangeArrowheads="1"/>
            </p:cNvSpPr>
            <p:nvPr/>
          </p:nvSpPr>
          <p:spPr bwMode="auto">
            <a:xfrm>
              <a:off x="7015462" y="3744874"/>
              <a:ext cx="433886" cy="72617"/>
            </a:xfrm>
            <a:prstGeom prst="rect">
              <a:avLst/>
            </a:prstGeom>
            <a:solidFill>
              <a:srgbClr val="6821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Rectangle 14"/>
            <p:cNvSpPr>
              <a:spLocks noChangeArrowheads="1"/>
            </p:cNvSpPr>
            <p:nvPr/>
          </p:nvSpPr>
          <p:spPr bwMode="auto">
            <a:xfrm>
              <a:off x="7015462" y="3868325"/>
              <a:ext cx="433886" cy="67171"/>
            </a:xfrm>
            <a:prstGeom prst="rect">
              <a:avLst/>
            </a:prstGeom>
            <a:solidFill>
              <a:srgbClr val="6821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Rectangle 15"/>
            <p:cNvSpPr>
              <a:spLocks noChangeArrowheads="1"/>
            </p:cNvSpPr>
            <p:nvPr/>
          </p:nvSpPr>
          <p:spPr bwMode="auto">
            <a:xfrm>
              <a:off x="7015462" y="3986325"/>
              <a:ext cx="433886" cy="72617"/>
            </a:xfrm>
            <a:prstGeom prst="rect">
              <a:avLst/>
            </a:prstGeom>
            <a:solidFill>
              <a:srgbClr val="6821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Rectangle 16"/>
            <p:cNvSpPr>
              <a:spLocks noChangeArrowheads="1"/>
            </p:cNvSpPr>
            <p:nvPr/>
          </p:nvSpPr>
          <p:spPr bwMode="auto">
            <a:xfrm>
              <a:off x="7015462" y="4109775"/>
              <a:ext cx="433886" cy="67171"/>
            </a:xfrm>
            <a:prstGeom prst="rect">
              <a:avLst/>
            </a:prstGeom>
            <a:solidFill>
              <a:srgbClr val="6821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Rectangle 17"/>
            <p:cNvSpPr>
              <a:spLocks noChangeArrowheads="1"/>
            </p:cNvSpPr>
            <p:nvPr/>
          </p:nvSpPr>
          <p:spPr bwMode="auto">
            <a:xfrm>
              <a:off x="7051772" y="3579671"/>
              <a:ext cx="205143" cy="85325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pic>
          <p:nvPicPr>
            <p:cNvPr id="482" name="Picture 481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702241" y="3483909"/>
              <a:ext cx="1030814" cy="703670"/>
            </a:xfrm>
            <a:prstGeom prst="rect">
              <a:avLst/>
            </a:prstGeom>
          </p:spPr>
        </p:pic>
        <p:pic>
          <p:nvPicPr>
            <p:cNvPr id="480" name="Picture 479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331982" y="2320695"/>
              <a:ext cx="820691" cy="942011"/>
            </a:xfrm>
            <a:prstGeom prst="rect">
              <a:avLst/>
            </a:prstGeom>
          </p:spPr>
        </p:pic>
      </p:grpSp>
      <p:sp>
        <p:nvSpPr>
          <p:cNvPr id="528" name="Rectangle 527"/>
          <p:cNvSpPr/>
          <p:nvPr/>
        </p:nvSpPr>
        <p:spPr>
          <a:xfrm>
            <a:off x="5842418" y="3756881"/>
            <a:ext cx="3122757" cy="2743200"/>
          </a:xfrm>
          <a:prstGeom prst="rect">
            <a:avLst/>
          </a:prstGeom>
          <a:solidFill>
            <a:srgbClr val="FEA8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9" name="Rectangle 528"/>
          <p:cNvSpPr/>
          <p:nvPr/>
        </p:nvSpPr>
        <p:spPr>
          <a:xfrm>
            <a:off x="6463980" y="3756881"/>
            <a:ext cx="2501196" cy="2743200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52" name="Picture 65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7020" y="4717416"/>
            <a:ext cx="792291" cy="326594"/>
          </a:xfrm>
          <a:prstGeom prst="rect">
            <a:avLst/>
          </a:prstGeom>
        </p:spPr>
      </p:pic>
      <p:pic>
        <p:nvPicPr>
          <p:cNvPr id="653" name="Picture 65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37297" y="5044010"/>
            <a:ext cx="441695" cy="182072"/>
          </a:xfrm>
          <a:prstGeom prst="rect">
            <a:avLst/>
          </a:prstGeom>
        </p:spPr>
      </p:pic>
      <p:sp>
        <p:nvSpPr>
          <p:cNvPr id="654" name="Oval 653"/>
          <p:cNvSpPr/>
          <p:nvPr/>
        </p:nvSpPr>
        <p:spPr>
          <a:xfrm>
            <a:off x="6287382" y="4612177"/>
            <a:ext cx="701374" cy="701374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55132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10264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65397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220529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775661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330793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85926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441058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N"/>
          </a:p>
        </p:txBody>
      </p:sp>
      <p:pic>
        <p:nvPicPr>
          <p:cNvPr id="655" name="Picture 65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26524" y="4757021"/>
            <a:ext cx="423090" cy="482127"/>
          </a:xfrm>
          <a:prstGeom prst="rect">
            <a:avLst/>
          </a:prstGeom>
        </p:spPr>
      </p:pic>
      <p:pic>
        <p:nvPicPr>
          <p:cNvPr id="656" name="Picture 65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91809" y="4046691"/>
            <a:ext cx="622179" cy="256470"/>
          </a:xfrm>
          <a:prstGeom prst="rect">
            <a:avLst/>
          </a:prstGeom>
        </p:spPr>
      </p:pic>
      <p:sp>
        <p:nvSpPr>
          <p:cNvPr id="657" name="Rectangle 18"/>
          <p:cNvSpPr>
            <a:spLocks noChangeArrowheads="1"/>
          </p:cNvSpPr>
          <p:nvPr/>
        </p:nvSpPr>
        <p:spPr bwMode="auto">
          <a:xfrm>
            <a:off x="7656725" y="4338320"/>
            <a:ext cx="24768" cy="336133"/>
          </a:xfrm>
          <a:prstGeom prst="rect">
            <a:avLst/>
          </a:prstGeom>
          <a:solidFill>
            <a:srgbClr val="D2D2D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8" name="Freeform 19"/>
          <p:cNvSpPr>
            <a:spLocks/>
          </p:cNvSpPr>
          <p:nvPr/>
        </p:nvSpPr>
        <p:spPr bwMode="auto">
          <a:xfrm>
            <a:off x="7650829" y="4581279"/>
            <a:ext cx="37741" cy="93173"/>
          </a:xfrm>
          <a:custGeom>
            <a:avLst/>
            <a:gdLst>
              <a:gd name="T0" fmla="*/ 32 w 32"/>
              <a:gd name="T1" fmla="*/ 79 h 79"/>
              <a:gd name="T2" fmla="*/ 0 w 32"/>
              <a:gd name="T3" fmla="*/ 79 h 79"/>
              <a:gd name="T4" fmla="*/ 5 w 32"/>
              <a:gd name="T5" fmla="*/ 0 h 79"/>
              <a:gd name="T6" fmla="*/ 26 w 32"/>
              <a:gd name="T7" fmla="*/ 0 h 79"/>
              <a:gd name="T8" fmla="*/ 32 w 32"/>
              <a:gd name="T9" fmla="*/ 79 h 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2" h="79">
                <a:moveTo>
                  <a:pt x="32" y="79"/>
                </a:moveTo>
                <a:lnTo>
                  <a:pt x="0" y="79"/>
                </a:lnTo>
                <a:lnTo>
                  <a:pt x="5" y="0"/>
                </a:lnTo>
                <a:lnTo>
                  <a:pt x="26" y="0"/>
                </a:lnTo>
                <a:lnTo>
                  <a:pt x="32" y="79"/>
                </a:lnTo>
                <a:close/>
              </a:path>
            </a:pathLst>
          </a:custGeom>
          <a:solidFill>
            <a:srgbClr val="9B4F9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9" name="Freeform 20"/>
          <p:cNvSpPr>
            <a:spLocks/>
          </p:cNvSpPr>
          <p:nvPr/>
        </p:nvSpPr>
        <p:spPr bwMode="auto">
          <a:xfrm>
            <a:off x="7374845" y="4142538"/>
            <a:ext cx="589706" cy="261830"/>
          </a:xfrm>
          <a:custGeom>
            <a:avLst/>
            <a:gdLst>
              <a:gd name="T0" fmla="*/ 38 w 357"/>
              <a:gd name="T1" fmla="*/ 136 h 159"/>
              <a:gd name="T2" fmla="*/ 73 w 357"/>
              <a:gd name="T3" fmla="*/ 155 h 159"/>
              <a:gd name="T4" fmla="*/ 108 w 357"/>
              <a:gd name="T5" fmla="*/ 136 h 159"/>
              <a:gd name="T6" fmla="*/ 143 w 357"/>
              <a:gd name="T7" fmla="*/ 155 h 159"/>
              <a:gd name="T8" fmla="*/ 178 w 357"/>
              <a:gd name="T9" fmla="*/ 136 h 159"/>
              <a:gd name="T10" fmla="*/ 214 w 357"/>
              <a:gd name="T11" fmla="*/ 155 h 159"/>
              <a:gd name="T12" fmla="*/ 249 w 357"/>
              <a:gd name="T13" fmla="*/ 136 h 159"/>
              <a:gd name="T14" fmla="*/ 284 w 357"/>
              <a:gd name="T15" fmla="*/ 155 h 159"/>
              <a:gd name="T16" fmla="*/ 319 w 357"/>
              <a:gd name="T17" fmla="*/ 136 h 159"/>
              <a:gd name="T18" fmla="*/ 357 w 357"/>
              <a:gd name="T19" fmla="*/ 159 h 159"/>
              <a:gd name="T20" fmla="*/ 178 w 357"/>
              <a:gd name="T21" fmla="*/ 0 h 159"/>
              <a:gd name="T22" fmla="*/ 0 w 357"/>
              <a:gd name="T23" fmla="*/ 159 h 159"/>
              <a:gd name="T24" fmla="*/ 38 w 357"/>
              <a:gd name="T25" fmla="*/ 136 h 1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57" h="159">
                <a:moveTo>
                  <a:pt x="38" y="136"/>
                </a:moveTo>
                <a:cubicBezTo>
                  <a:pt x="53" y="136"/>
                  <a:pt x="66" y="144"/>
                  <a:pt x="73" y="155"/>
                </a:cubicBezTo>
                <a:cubicBezTo>
                  <a:pt x="80" y="144"/>
                  <a:pt x="93" y="136"/>
                  <a:pt x="108" y="136"/>
                </a:cubicBezTo>
                <a:cubicBezTo>
                  <a:pt x="123" y="136"/>
                  <a:pt x="136" y="144"/>
                  <a:pt x="143" y="155"/>
                </a:cubicBezTo>
                <a:cubicBezTo>
                  <a:pt x="151" y="144"/>
                  <a:pt x="164" y="136"/>
                  <a:pt x="178" y="136"/>
                </a:cubicBezTo>
                <a:cubicBezTo>
                  <a:pt x="193" y="136"/>
                  <a:pt x="206" y="144"/>
                  <a:pt x="214" y="155"/>
                </a:cubicBezTo>
                <a:cubicBezTo>
                  <a:pt x="221" y="144"/>
                  <a:pt x="234" y="136"/>
                  <a:pt x="249" y="136"/>
                </a:cubicBezTo>
                <a:cubicBezTo>
                  <a:pt x="264" y="136"/>
                  <a:pt x="277" y="144"/>
                  <a:pt x="284" y="155"/>
                </a:cubicBezTo>
                <a:cubicBezTo>
                  <a:pt x="291" y="144"/>
                  <a:pt x="304" y="136"/>
                  <a:pt x="319" y="136"/>
                </a:cubicBezTo>
                <a:cubicBezTo>
                  <a:pt x="336" y="136"/>
                  <a:pt x="350" y="145"/>
                  <a:pt x="357" y="159"/>
                </a:cubicBezTo>
                <a:cubicBezTo>
                  <a:pt x="347" y="70"/>
                  <a:pt x="271" y="0"/>
                  <a:pt x="178" y="0"/>
                </a:cubicBezTo>
                <a:cubicBezTo>
                  <a:pt x="86" y="0"/>
                  <a:pt x="10" y="70"/>
                  <a:pt x="0" y="159"/>
                </a:cubicBezTo>
                <a:cubicBezTo>
                  <a:pt x="7" y="145"/>
                  <a:pt x="21" y="136"/>
                  <a:pt x="38" y="136"/>
                </a:cubicBezTo>
                <a:close/>
              </a:path>
            </a:pathLst>
          </a:custGeom>
          <a:solidFill>
            <a:srgbClr val="68217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0" name="Freeform 21"/>
          <p:cNvSpPr>
            <a:spLocks/>
          </p:cNvSpPr>
          <p:nvPr/>
        </p:nvSpPr>
        <p:spPr bwMode="auto">
          <a:xfrm>
            <a:off x="7374845" y="4142538"/>
            <a:ext cx="311365" cy="261830"/>
          </a:xfrm>
          <a:custGeom>
            <a:avLst/>
            <a:gdLst>
              <a:gd name="T0" fmla="*/ 189 w 189"/>
              <a:gd name="T1" fmla="*/ 1 h 159"/>
              <a:gd name="T2" fmla="*/ 178 w 189"/>
              <a:gd name="T3" fmla="*/ 0 h 159"/>
              <a:gd name="T4" fmla="*/ 0 w 189"/>
              <a:gd name="T5" fmla="*/ 159 h 159"/>
              <a:gd name="T6" fmla="*/ 38 w 189"/>
              <a:gd name="T7" fmla="*/ 136 h 159"/>
              <a:gd name="T8" fmla="*/ 73 w 189"/>
              <a:gd name="T9" fmla="*/ 155 h 159"/>
              <a:gd name="T10" fmla="*/ 189 w 189"/>
              <a:gd name="T11" fmla="*/ 1 h 1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89" h="159">
                <a:moveTo>
                  <a:pt x="189" y="1"/>
                </a:moveTo>
                <a:cubicBezTo>
                  <a:pt x="185" y="0"/>
                  <a:pt x="182" y="0"/>
                  <a:pt x="178" y="0"/>
                </a:cubicBezTo>
                <a:cubicBezTo>
                  <a:pt x="86" y="0"/>
                  <a:pt x="10" y="70"/>
                  <a:pt x="0" y="159"/>
                </a:cubicBezTo>
                <a:cubicBezTo>
                  <a:pt x="7" y="145"/>
                  <a:pt x="21" y="136"/>
                  <a:pt x="38" y="136"/>
                </a:cubicBezTo>
                <a:cubicBezTo>
                  <a:pt x="53" y="136"/>
                  <a:pt x="66" y="143"/>
                  <a:pt x="73" y="155"/>
                </a:cubicBezTo>
                <a:cubicBezTo>
                  <a:pt x="82" y="86"/>
                  <a:pt x="127" y="28"/>
                  <a:pt x="189" y="1"/>
                </a:cubicBezTo>
                <a:close/>
              </a:path>
            </a:pathLst>
          </a:custGeom>
          <a:solidFill>
            <a:srgbClr val="9B4F9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1" name="Freeform 22"/>
          <p:cNvSpPr>
            <a:spLocks/>
          </p:cNvSpPr>
          <p:nvPr/>
        </p:nvSpPr>
        <p:spPr bwMode="auto">
          <a:xfrm>
            <a:off x="7598933" y="3841789"/>
            <a:ext cx="150965" cy="169836"/>
          </a:xfrm>
          <a:custGeom>
            <a:avLst/>
            <a:gdLst>
              <a:gd name="T0" fmla="*/ 91 w 91"/>
              <a:gd name="T1" fmla="*/ 103 h 103"/>
              <a:gd name="T2" fmla="*/ 71 w 91"/>
              <a:gd name="T3" fmla="*/ 103 h 103"/>
              <a:gd name="T4" fmla="*/ 71 w 91"/>
              <a:gd name="T5" fmla="*/ 45 h 103"/>
              <a:gd name="T6" fmla="*/ 45 w 91"/>
              <a:gd name="T7" fmla="*/ 19 h 103"/>
              <a:gd name="T8" fmla="*/ 20 w 91"/>
              <a:gd name="T9" fmla="*/ 45 h 103"/>
              <a:gd name="T10" fmla="*/ 20 w 91"/>
              <a:gd name="T11" fmla="*/ 103 h 103"/>
              <a:gd name="T12" fmla="*/ 0 w 91"/>
              <a:gd name="T13" fmla="*/ 103 h 103"/>
              <a:gd name="T14" fmla="*/ 0 w 91"/>
              <a:gd name="T15" fmla="*/ 45 h 103"/>
              <a:gd name="T16" fmla="*/ 45 w 91"/>
              <a:gd name="T17" fmla="*/ 0 h 103"/>
              <a:gd name="T18" fmla="*/ 91 w 91"/>
              <a:gd name="T19" fmla="*/ 45 h 103"/>
              <a:gd name="T20" fmla="*/ 91 w 91"/>
              <a:gd name="T21" fmla="*/ 103 h 1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1" h="103">
                <a:moveTo>
                  <a:pt x="91" y="103"/>
                </a:moveTo>
                <a:cubicBezTo>
                  <a:pt x="71" y="103"/>
                  <a:pt x="71" y="103"/>
                  <a:pt x="71" y="103"/>
                </a:cubicBezTo>
                <a:cubicBezTo>
                  <a:pt x="71" y="45"/>
                  <a:pt x="71" y="45"/>
                  <a:pt x="71" y="45"/>
                </a:cubicBezTo>
                <a:cubicBezTo>
                  <a:pt x="71" y="31"/>
                  <a:pt x="59" y="19"/>
                  <a:pt x="45" y="19"/>
                </a:cubicBezTo>
                <a:cubicBezTo>
                  <a:pt x="31" y="19"/>
                  <a:pt x="20" y="31"/>
                  <a:pt x="20" y="45"/>
                </a:cubicBezTo>
                <a:cubicBezTo>
                  <a:pt x="20" y="103"/>
                  <a:pt x="20" y="103"/>
                  <a:pt x="20" y="103"/>
                </a:cubicBezTo>
                <a:cubicBezTo>
                  <a:pt x="0" y="103"/>
                  <a:pt x="0" y="103"/>
                  <a:pt x="0" y="103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20"/>
                  <a:pt x="20" y="0"/>
                  <a:pt x="45" y="0"/>
                </a:cubicBezTo>
                <a:cubicBezTo>
                  <a:pt x="70" y="0"/>
                  <a:pt x="91" y="20"/>
                  <a:pt x="91" y="45"/>
                </a:cubicBezTo>
                <a:lnTo>
                  <a:pt x="91" y="103"/>
                </a:lnTo>
                <a:close/>
              </a:path>
            </a:pathLst>
          </a:custGeom>
          <a:solidFill>
            <a:srgbClr val="EB3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2" name="Rectangle 23"/>
          <p:cNvSpPr>
            <a:spLocks noChangeArrowheads="1"/>
          </p:cNvSpPr>
          <p:nvPr/>
        </p:nvSpPr>
        <p:spPr bwMode="auto">
          <a:xfrm>
            <a:off x="7552937" y="4006907"/>
            <a:ext cx="242959" cy="227628"/>
          </a:xfrm>
          <a:prstGeom prst="rect">
            <a:avLst/>
          </a:prstGeom>
          <a:solidFill>
            <a:srgbClr val="FFB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3" name="Rectangle 24"/>
          <p:cNvSpPr>
            <a:spLocks noChangeArrowheads="1"/>
          </p:cNvSpPr>
          <p:nvPr/>
        </p:nvSpPr>
        <p:spPr bwMode="auto">
          <a:xfrm>
            <a:off x="7552937" y="4006907"/>
            <a:ext cx="62509" cy="227628"/>
          </a:xfrm>
          <a:prstGeom prst="rect">
            <a:avLst/>
          </a:prstGeom>
          <a:solidFill>
            <a:srgbClr val="FF8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4" name="Freeform 25"/>
          <p:cNvSpPr>
            <a:spLocks/>
          </p:cNvSpPr>
          <p:nvPr/>
        </p:nvSpPr>
        <p:spPr bwMode="auto">
          <a:xfrm>
            <a:off x="7648470" y="4081209"/>
            <a:ext cx="49535" cy="86098"/>
          </a:xfrm>
          <a:custGeom>
            <a:avLst/>
            <a:gdLst>
              <a:gd name="T0" fmla="*/ 30 w 30"/>
              <a:gd name="T1" fmla="*/ 15 h 52"/>
              <a:gd name="T2" fmla="*/ 15 w 30"/>
              <a:gd name="T3" fmla="*/ 0 h 52"/>
              <a:gd name="T4" fmla="*/ 0 w 30"/>
              <a:gd name="T5" fmla="*/ 15 h 52"/>
              <a:gd name="T6" fmla="*/ 10 w 30"/>
              <a:gd name="T7" fmla="*/ 29 h 52"/>
              <a:gd name="T8" fmla="*/ 10 w 30"/>
              <a:gd name="T9" fmla="*/ 52 h 52"/>
              <a:gd name="T10" fmla="*/ 20 w 30"/>
              <a:gd name="T11" fmla="*/ 52 h 52"/>
              <a:gd name="T12" fmla="*/ 20 w 30"/>
              <a:gd name="T13" fmla="*/ 29 h 52"/>
              <a:gd name="T14" fmla="*/ 30 w 30"/>
              <a:gd name="T15" fmla="*/ 15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0" h="52">
                <a:moveTo>
                  <a:pt x="30" y="15"/>
                </a:moveTo>
                <a:cubicBezTo>
                  <a:pt x="30" y="6"/>
                  <a:pt x="24" y="0"/>
                  <a:pt x="15" y="0"/>
                </a:cubicBezTo>
                <a:cubicBezTo>
                  <a:pt x="7" y="0"/>
                  <a:pt x="0" y="6"/>
                  <a:pt x="0" y="15"/>
                </a:cubicBezTo>
                <a:cubicBezTo>
                  <a:pt x="0" y="21"/>
                  <a:pt x="4" y="27"/>
                  <a:pt x="10" y="29"/>
                </a:cubicBezTo>
                <a:cubicBezTo>
                  <a:pt x="10" y="52"/>
                  <a:pt x="10" y="52"/>
                  <a:pt x="10" y="52"/>
                </a:cubicBezTo>
                <a:cubicBezTo>
                  <a:pt x="20" y="52"/>
                  <a:pt x="20" y="52"/>
                  <a:pt x="20" y="52"/>
                </a:cubicBezTo>
                <a:cubicBezTo>
                  <a:pt x="20" y="29"/>
                  <a:pt x="20" y="29"/>
                  <a:pt x="20" y="29"/>
                </a:cubicBezTo>
                <a:cubicBezTo>
                  <a:pt x="26" y="27"/>
                  <a:pt x="30" y="21"/>
                  <a:pt x="30" y="1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5" name="Rectangle 26"/>
          <p:cNvSpPr>
            <a:spLocks noChangeArrowheads="1"/>
          </p:cNvSpPr>
          <p:nvPr/>
        </p:nvSpPr>
        <p:spPr bwMode="auto">
          <a:xfrm>
            <a:off x="7552937" y="4234532"/>
            <a:ext cx="240599" cy="31844"/>
          </a:xfrm>
          <a:prstGeom prst="rect">
            <a:avLst/>
          </a:prstGeom>
          <a:solidFill>
            <a:srgbClr val="4423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77" name="Group 76"/>
          <p:cNvGrpSpPr/>
          <p:nvPr/>
        </p:nvGrpSpPr>
        <p:grpSpPr>
          <a:xfrm>
            <a:off x="7596018" y="4776200"/>
            <a:ext cx="447171" cy="651389"/>
            <a:chOff x="5435972" y="5774694"/>
            <a:chExt cx="447171" cy="651389"/>
          </a:xfrm>
        </p:grpSpPr>
        <p:sp>
          <p:nvSpPr>
            <p:cNvPr id="666" name="Freeform 665"/>
            <p:cNvSpPr>
              <a:spLocks/>
            </p:cNvSpPr>
            <p:nvPr/>
          </p:nvSpPr>
          <p:spPr bwMode="auto">
            <a:xfrm>
              <a:off x="5435972" y="5774694"/>
              <a:ext cx="447171" cy="651389"/>
            </a:xfrm>
            <a:custGeom>
              <a:avLst/>
              <a:gdLst>
                <a:gd name="T0" fmla="*/ 0 w 376"/>
                <a:gd name="T1" fmla="*/ 253 h 548"/>
                <a:gd name="T2" fmla="*/ 0 w 376"/>
                <a:gd name="T3" fmla="*/ 524 h 548"/>
                <a:gd name="T4" fmla="*/ 25 w 376"/>
                <a:gd name="T5" fmla="*/ 548 h 548"/>
                <a:gd name="T6" fmla="*/ 351 w 376"/>
                <a:gd name="T7" fmla="*/ 548 h 548"/>
                <a:gd name="T8" fmla="*/ 376 w 376"/>
                <a:gd name="T9" fmla="*/ 524 h 548"/>
                <a:gd name="T10" fmla="*/ 376 w 376"/>
                <a:gd name="T11" fmla="*/ 25 h 548"/>
                <a:gd name="T12" fmla="*/ 351 w 376"/>
                <a:gd name="T13" fmla="*/ 0 h 548"/>
                <a:gd name="T14" fmla="*/ 25 w 376"/>
                <a:gd name="T15" fmla="*/ 0 h 548"/>
                <a:gd name="T16" fmla="*/ 0 w 376"/>
                <a:gd name="T17" fmla="*/ 25 h 548"/>
                <a:gd name="T18" fmla="*/ 0 w 376"/>
                <a:gd name="T19" fmla="*/ 173 h 548"/>
                <a:gd name="T20" fmla="*/ 0 w 376"/>
                <a:gd name="T21" fmla="*/ 253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76" h="548">
                  <a:moveTo>
                    <a:pt x="0" y="253"/>
                  </a:moveTo>
                  <a:cubicBezTo>
                    <a:pt x="0" y="524"/>
                    <a:pt x="0" y="524"/>
                    <a:pt x="0" y="524"/>
                  </a:cubicBezTo>
                  <a:cubicBezTo>
                    <a:pt x="0" y="537"/>
                    <a:pt x="11" y="548"/>
                    <a:pt x="25" y="548"/>
                  </a:cubicBezTo>
                  <a:cubicBezTo>
                    <a:pt x="351" y="548"/>
                    <a:pt x="351" y="548"/>
                    <a:pt x="351" y="548"/>
                  </a:cubicBezTo>
                  <a:cubicBezTo>
                    <a:pt x="365" y="548"/>
                    <a:pt x="376" y="537"/>
                    <a:pt x="376" y="524"/>
                  </a:cubicBezTo>
                  <a:cubicBezTo>
                    <a:pt x="376" y="25"/>
                    <a:pt x="376" y="25"/>
                    <a:pt x="376" y="25"/>
                  </a:cubicBezTo>
                  <a:cubicBezTo>
                    <a:pt x="376" y="11"/>
                    <a:pt x="365" y="0"/>
                    <a:pt x="351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1"/>
                    <a:pt x="0" y="25"/>
                  </a:cubicBezTo>
                  <a:cubicBezTo>
                    <a:pt x="0" y="173"/>
                    <a:pt x="0" y="173"/>
                    <a:pt x="0" y="173"/>
                  </a:cubicBezTo>
                  <a:lnTo>
                    <a:pt x="0" y="253"/>
                  </a:lnTo>
                  <a:close/>
                </a:path>
              </a:pathLst>
            </a:cu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667" name="Rectangle 666"/>
            <p:cNvSpPr>
              <a:spLocks noChangeArrowheads="1"/>
            </p:cNvSpPr>
            <p:nvPr/>
          </p:nvSpPr>
          <p:spPr bwMode="auto">
            <a:xfrm>
              <a:off x="5478728" y="5817450"/>
              <a:ext cx="361659" cy="566883"/>
            </a:xfrm>
            <a:prstGeom prst="rect">
              <a:avLst/>
            </a:pr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668" name="Rectangle 667"/>
            <p:cNvSpPr>
              <a:spLocks noChangeArrowheads="1"/>
            </p:cNvSpPr>
            <p:nvPr/>
          </p:nvSpPr>
          <p:spPr bwMode="auto">
            <a:xfrm>
              <a:off x="5515951" y="5890385"/>
              <a:ext cx="185105" cy="185105"/>
            </a:xfrm>
            <a:prstGeom prst="rect">
              <a:avLst/>
            </a:prstGeom>
            <a:solidFill>
              <a:srgbClr val="EB3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669" name="Rectangle 668"/>
            <p:cNvSpPr>
              <a:spLocks noChangeArrowheads="1"/>
            </p:cNvSpPr>
            <p:nvPr/>
          </p:nvSpPr>
          <p:spPr bwMode="auto">
            <a:xfrm>
              <a:off x="5720169" y="5890385"/>
              <a:ext cx="82996" cy="82996"/>
            </a:xfrm>
            <a:prstGeom prst="rect">
              <a:avLst/>
            </a:prstGeom>
            <a:solidFill>
              <a:srgbClr val="EB3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670" name="Rectangle 669"/>
            <p:cNvSpPr>
              <a:spLocks noChangeArrowheads="1"/>
            </p:cNvSpPr>
            <p:nvPr/>
          </p:nvSpPr>
          <p:spPr bwMode="auto">
            <a:xfrm>
              <a:off x="5515951" y="6095609"/>
              <a:ext cx="81989" cy="83499"/>
            </a:xfrm>
            <a:prstGeom prst="rect">
              <a:avLst/>
            </a:prstGeom>
            <a:solidFill>
              <a:srgbClr val="EB3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671" name="Rectangle 670"/>
            <p:cNvSpPr>
              <a:spLocks noChangeArrowheads="1"/>
            </p:cNvSpPr>
            <p:nvPr/>
          </p:nvSpPr>
          <p:spPr bwMode="auto">
            <a:xfrm>
              <a:off x="5618059" y="6095609"/>
              <a:ext cx="82996" cy="83499"/>
            </a:xfrm>
            <a:prstGeom prst="rect">
              <a:avLst/>
            </a:prstGeom>
            <a:solidFill>
              <a:srgbClr val="EB3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672" name="Rectangle 671"/>
            <p:cNvSpPr>
              <a:spLocks noChangeArrowheads="1"/>
            </p:cNvSpPr>
            <p:nvPr/>
          </p:nvSpPr>
          <p:spPr bwMode="auto">
            <a:xfrm>
              <a:off x="5720169" y="6095609"/>
              <a:ext cx="82996" cy="83499"/>
            </a:xfrm>
            <a:prstGeom prst="rect">
              <a:avLst/>
            </a:prstGeom>
            <a:solidFill>
              <a:srgbClr val="EB3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673" name="Rectangle 672"/>
            <p:cNvSpPr>
              <a:spLocks noChangeArrowheads="1"/>
            </p:cNvSpPr>
            <p:nvPr/>
          </p:nvSpPr>
          <p:spPr bwMode="auto">
            <a:xfrm>
              <a:off x="5515951" y="6197720"/>
              <a:ext cx="81989" cy="83499"/>
            </a:xfrm>
            <a:prstGeom prst="rect">
              <a:avLst/>
            </a:prstGeom>
            <a:solidFill>
              <a:srgbClr val="EB3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674" name="Rectangle 673"/>
            <p:cNvSpPr>
              <a:spLocks noChangeArrowheads="1"/>
            </p:cNvSpPr>
            <p:nvPr/>
          </p:nvSpPr>
          <p:spPr bwMode="auto">
            <a:xfrm>
              <a:off x="5618059" y="6197720"/>
              <a:ext cx="82996" cy="83499"/>
            </a:xfrm>
            <a:prstGeom prst="rect">
              <a:avLst/>
            </a:prstGeom>
            <a:solidFill>
              <a:srgbClr val="EB3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675" name="Rectangle 674"/>
            <p:cNvSpPr>
              <a:spLocks noChangeArrowheads="1"/>
            </p:cNvSpPr>
            <p:nvPr/>
          </p:nvSpPr>
          <p:spPr bwMode="auto">
            <a:xfrm>
              <a:off x="5720169" y="6197720"/>
              <a:ext cx="82996" cy="83499"/>
            </a:xfrm>
            <a:prstGeom prst="rect">
              <a:avLst/>
            </a:prstGeom>
            <a:solidFill>
              <a:srgbClr val="EB3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676" name="Rectangle 675"/>
            <p:cNvSpPr>
              <a:spLocks noChangeArrowheads="1"/>
            </p:cNvSpPr>
            <p:nvPr/>
          </p:nvSpPr>
          <p:spPr bwMode="auto">
            <a:xfrm>
              <a:off x="5515951" y="6301339"/>
              <a:ext cx="287215" cy="82996"/>
            </a:xfrm>
            <a:prstGeom prst="rect">
              <a:avLst/>
            </a:prstGeom>
            <a:solidFill>
              <a:srgbClr val="EB3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677" name="Rectangle 676"/>
            <p:cNvSpPr>
              <a:spLocks noChangeArrowheads="1"/>
            </p:cNvSpPr>
            <p:nvPr/>
          </p:nvSpPr>
          <p:spPr bwMode="auto">
            <a:xfrm>
              <a:off x="5720170" y="5992494"/>
              <a:ext cx="82996" cy="82996"/>
            </a:xfrm>
            <a:prstGeom prst="rect">
              <a:avLst/>
            </a:prstGeom>
            <a:solidFill>
              <a:srgbClr val="EB3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sp>
        <p:nvSpPr>
          <p:cNvPr id="678" name="Freeform 677"/>
          <p:cNvSpPr>
            <a:spLocks/>
          </p:cNvSpPr>
          <p:nvPr/>
        </p:nvSpPr>
        <p:spPr bwMode="auto">
          <a:xfrm>
            <a:off x="7914141" y="5564629"/>
            <a:ext cx="1010532" cy="760541"/>
          </a:xfrm>
          <a:custGeom>
            <a:avLst/>
            <a:gdLst>
              <a:gd name="T0" fmla="*/ 850 w 850"/>
              <a:gd name="T1" fmla="*/ 17 h 640"/>
              <a:gd name="T2" fmla="*/ 834 w 850"/>
              <a:gd name="T3" fmla="*/ 0 h 640"/>
              <a:gd name="T4" fmla="*/ 17 w 850"/>
              <a:gd name="T5" fmla="*/ 0 h 640"/>
              <a:gd name="T6" fmla="*/ 0 w 850"/>
              <a:gd name="T7" fmla="*/ 17 h 640"/>
              <a:gd name="T8" fmla="*/ 0 w 850"/>
              <a:gd name="T9" fmla="*/ 573 h 640"/>
              <a:gd name="T10" fmla="*/ 17 w 850"/>
              <a:gd name="T11" fmla="*/ 590 h 640"/>
              <a:gd name="T12" fmla="*/ 395 w 850"/>
              <a:gd name="T13" fmla="*/ 590 h 640"/>
              <a:gd name="T14" fmla="*/ 382 w 850"/>
              <a:gd name="T15" fmla="*/ 627 h 640"/>
              <a:gd name="T16" fmla="*/ 307 w 850"/>
              <a:gd name="T17" fmla="*/ 627 h 640"/>
              <a:gd name="T18" fmla="*/ 307 w 850"/>
              <a:gd name="T19" fmla="*/ 640 h 640"/>
              <a:gd name="T20" fmla="*/ 539 w 850"/>
              <a:gd name="T21" fmla="*/ 640 h 640"/>
              <a:gd name="T22" fmla="*/ 539 w 850"/>
              <a:gd name="T23" fmla="*/ 627 h 640"/>
              <a:gd name="T24" fmla="*/ 478 w 850"/>
              <a:gd name="T25" fmla="*/ 627 h 640"/>
              <a:gd name="T26" fmla="*/ 466 w 850"/>
              <a:gd name="T27" fmla="*/ 590 h 640"/>
              <a:gd name="T28" fmla="*/ 834 w 850"/>
              <a:gd name="T29" fmla="*/ 590 h 640"/>
              <a:gd name="T30" fmla="*/ 850 w 850"/>
              <a:gd name="T31" fmla="*/ 573 h 640"/>
              <a:gd name="T32" fmla="*/ 850 w 850"/>
              <a:gd name="T33" fmla="*/ 17 h 6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850" h="640">
                <a:moveTo>
                  <a:pt x="850" y="17"/>
                </a:moveTo>
                <a:cubicBezTo>
                  <a:pt x="850" y="8"/>
                  <a:pt x="843" y="0"/>
                  <a:pt x="834" y="0"/>
                </a:cubicBezTo>
                <a:cubicBezTo>
                  <a:pt x="17" y="0"/>
                  <a:pt x="17" y="0"/>
                  <a:pt x="17" y="0"/>
                </a:cubicBezTo>
                <a:cubicBezTo>
                  <a:pt x="7" y="0"/>
                  <a:pt x="0" y="8"/>
                  <a:pt x="0" y="17"/>
                </a:cubicBezTo>
                <a:cubicBezTo>
                  <a:pt x="0" y="573"/>
                  <a:pt x="0" y="573"/>
                  <a:pt x="0" y="573"/>
                </a:cubicBezTo>
                <a:cubicBezTo>
                  <a:pt x="0" y="582"/>
                  <a:pt x="7" y="590"/>
                  <a:pt x="17" y="590"/>
                </a:cubicBezTo>
                <a:cubicBezTo>
                  <a:pt x="395" y="590"/>
                  <a:pt x="395" y="590"/>
                  <a:pt x="395" y="590"/>
                </a:cubicBezTo>
                <a:cubicBezTo>
                  <a:pt x="382" y="627"/>
                  <a:pt x="382" y="627"/>
                  <a:pt x="382" y="627"/>
                </a:cubicBezTo>
                <a:cubicBezTo>
                  <a:pt x="307" y="627"/>
                  <a:pt x="307" y="627"/>
                  <a:pt x="307" y="627"/>
                </a:cubicBezTo>
                <a:cubicBezTo>
                  <a:pt x="307" y="640"/>
                  <a:pt x="307" y="640"/>
                  <a:pt x="307" y="640"/>
                </a:cubicBezTo>
                <a:cubicBezTo>
                  <a:pt x="539" y="640"/>
                  <a:pt x="539" y="640"/>
                  <a:pt x="539" y="640"/>
                </a:cubicBezTo>
                <a:cubicBezTo>
                  <a:pt x="539" y="627"/>
                  <a:pt x="539" y="627"/>
                  <a:pt x="539" y="627"/>
                </a:cubicBezTo>
                <a:cubicBezTo>
                  <a:pt x="478" y="627"/>
                  <a:pt x="478" y="627"/>
                  <a:pt x="478" y="627"/>
                </a:cubicBezTo>
                <a:cubicBezTo>
                  <a:pt x="466" y="590"/>
                  <a:pt x="466" y="590"/>
                  <a:pt x="466" y="590"/>
                </a:cubicBezTo>
                <a:cubicBezTo>
                  <a:pt x="834" y="590"/>
                  <a:pt x="834" y="590"/>
                  <a:pt x="834" y="590"/>
                </a:cubicBezTo>
                <a:cubicBezTo>
                  <a:pt x="843" y="590"/>
                  <a:pt x="850" y="582"/>
                  <a:pt x="850" y="573"/>
                </a:cubicBezTo>
                <a:lnTo>
                  <a:pt x="850" y="17"/>
                </a:lnTo>
                <a:close/>
              </a:path>
            </a:pathLst>
          </a:custGeom>
          <a:solidFill>
            <a:srgbClr val="50505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5132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10264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65397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20529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5661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30793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85926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41058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679" name="Rectangle 678"/>
          <p:cNvSpPr>
            <a:spLocks noChangeArrowheads="1"/>
          </p:cNvSpPr>
          <p:nvPr/>
        </p:nvSpPr>
        <p:spPr bwMode="auto">
          <a:xfrm>
            <a:off x="7939292" y="5589781"/>
            <a:ext cx="961238" cy="540224"/>
          </a:xfrm>
          <a:prstGeom prst="rect">
            <a:avLst/>
          </a:prstGeom>
          <a:solidFill>
            <a:srgbClr val="F5F5F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5132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10264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65397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20529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5661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30793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85926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41058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680" name="Freeform 679"/>
          <p:cNvSpPr>
            <a:spLocks/>
          </p:cNvSpPr>
          <p:nvPr/>
        </p:nvSpPr>
        <p:spPr bwMode="auto">
          <a:xfrm>
            <a:off x="8760696" y="6348810"/>
            <a:ext cx="104624" cy="52313"/>
          </a:xfrm>
          <a:custGeom>
            <a:avLst/>
            <a:gdLst>
              <a:gd name="T0" fmla="*/ 44 w 88"/>
              <a:gd name="T1" fmla="*/ 0 h 44"/>
              <a:gd name="T2" fmla="*/ 0 w 88"/>
              <a:gd name="T3" fmla="*/ 44 h 44"/>
              <a:gd name="T4" fmla="*/ 88 w 88"/>
              <a:gd name="T5" fmla="*/ 44 h 44"/>
              <a:gd name="T6" fmla="*/ 44 w 88"/>
              <a:gd name="T7" fmla="*/ 0 h 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8" h="44">
                <a:moveTo>
                  <a:pt x="44" y="0"/>
                </a:moveTo>
                <a:cubicBezTo>
                  <a:pt x="19" y="0"/>
                  <a:pt x="0" y="20"/>
                  <a:pt x="0" y="44"/>
                </a:cubicBezTo>
                <a:cubicBezTo>
                  <a:pt x="88" y="44"/>
                  <a:pt x="88" y="44"/>
                  <a:pt x="88" y="44"/>
                </a:cubicBezTo>
                <a:cubicBezTo>
                  <a:pt x="88" y="20"/>
                  <a:pt x="68" y="0"/>
                  <a:pt x="44" y="0"/>
                </a:cubicBezTo>
                <a:close/>
              </a:path>
            </a:pathLst>
          </a:custGeom>
          <a:solidFill>
            <a:srgbClr val="50505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5132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10264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65397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20529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5661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30793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85926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41058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681" name="Freeform 680"/>
          <p:cNvSpPr>
            <a:spLocks/>
          </p:cNvSpPr>
          <p:nvPr/>
        </p:nvSpPr>
        <p:spPr bwMode="auto">
          <a:xfrm>
            <a:off x="7939292" y="6345290"/>
            <a:ext cx="784181" cy="54828"/>
          </a:xfrm>
          <a:custGeom>
            <a:avLst/>
            <a:gdLst>
              <a:gd name="T0" fmla="*/ 1559 w 1559"/>
              <a:gd name="T1" fmla="*/ 109 h 109"/>
              <a:gd name="T2" fmla="*/ 0 w 1559"/>
              <a:gd name="T3" fmla="*/ 109 h 109"/>
              <a:gd name="T4" fmla="*/ 0 w 1559"/>
              <a:gd name="T5" fmla="*/ 64 h 109"/>
              <a:gd name="T6" fmla="*/ 158 w 1559"/>
              <a:gd name="T7" fmla="*/ 0 h 109"/>
              <a:gd name="T8" fmla="*/ 1401 w 1559"/>
              <a:gd name="T9" fmla="*/ 0 h 109"/>
              <a:gd name="T10" fmla="*/ 1559 w 1559"/>
              <a:gd name="T11" fmla="*/ 64 h 109"/>
              <a:gd name="T12" fmla="*/ 1559 w 1559"/>
              <a:gd name="T13" fmla="*/ 109 h 1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559" h="109">
                <a:moveTo>
                  <a:pt x="1559" y="109"/>
                </a:moveTo>
                <a:lnTo>
                  <a:pt x="0" y="109"/>
                </a:lnTo>
                <a:lnTo>
                  <a:pt x="0" y="64"/>
                </a:lnTo>
                <a:lnTo>
                  <a:pt x="158" y="0"/>
                </a:lnTo>
                <a:lnTo>
                  <a:pt x="1401" y="0"/>
                </a:lnTo>
                <a:lnTo>
                  <a:pt x="1559" y="64"/>
                </a:lnTo>
                <a:lnTo>
                  <a:pt x="1559" y="109"/>
                </a:lnTo>
                <a:close/>
              </a:path>
            </a:pathLst>
          </a:custGeom>
          <a:solidFill>
            <a:srgbClr val="50505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5132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10264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65397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20529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5661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30793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85926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41058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682" name="Freeform 681"/>
          <p:cNvSpPr>
            <a:spLocks/>
          </p:cNvSpPr>
          <p:nvPr/>
        </p:nvSpPr>
        <p:spPr bwMode="auto">
          <a:xfrm>
            <a:off x="8551446" y="6313098"/>
            <a:ext cx="262567" cy="77463"/>
          </a:xfrm>
          <a:custGeom>
            <a:avLst/>
            <a:gdLst>
              <a:gd name="T0" fmla="*/ 218 w 221"/>
              <a:gd name="T1" fmla="*/ 65 h 65"/>
              <a:gd name="T2" fmla="*/ 0 w 221"/>
              <a:gd name="T3" fmla="*/ 7 h 65"/>
              <a:gd name="T4" fmla="*/ 0 w 221"/>
              <a:gd name="T5" fmla="*/ 0 h 65"/>
              <a:gd name="T6" fmla="*/ 221 w 221"/>
              <a:gd name="T7" fmla="*/ 59 h 65"/>
              <a:gd name="T8" fmla="*/ 218 w 221"/>
              <a:gd name="T9" fmla="*/ 65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21" h="65">
                <a:moveTo>
                  <a:pt x="218" y="65"/>
                </a:moveTo>
                <a:cubicBezTo>
                  <a:pt x="152" y="27"/>
                  <a:pt x="76" y="7"/>
                  <a:pt x="0" y="7"/>
                </a:cubicBezTo>
                <a:cubicBezTo>
                  <a:pt x="0" y="0"/>
                  <a:pt x="0" y="0"/>
                  <a:pt x="0" y="0"/>
                </a:cubicBezTo>
                <a:cubicBezTo>
                  <a:pt x="77" y="0"/>
                  <a:pt x="154" y="21"/>
                  <a:pt x="221" y="59"/>
                </a:cubicBezTo>
                <a:lnTo>
                  <a:pt x="218" y="65"/>
                </a:lnTo>
                <a:close/>
              </a:path>
            </a:pathLst>
          </a:custGeom>
          <a:solidFill>
            <a:srgbClr val="50505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5132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10264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65397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20529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5661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30793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85926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41058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683" name="Rectangle 682"/>
          <p:cNvSpPr>
            <a:spLocks noChangeArrowheads="1"/>
          </p:cNvSpPr>
          <p:nvPr/>
        </p:nvSpPr>
        <p:spPr bwMode="auto">
          <a:xfrm>
            <a:off x="8667638" y="5659698"/>
            <a:ext cx="198686" cy="198686"/>
          </a:xfrm>
          <a:prstGeom prst="rect">
            <a:avLst/>
          </a:prstGeom>
          <a:solidFill>
            <a:srgbClr val="00BC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5132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10264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65397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20529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5661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30793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85926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41058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684" name="Rectangle 683"/>
          <p:cNvSpPr>
            <a:spLocks noChangeArrowheads="1"/>
          </p:cNvSpPr>
          <p:nvPr/>
        </p:nvSpPr>
        <p:spPr bwMode="auto">
          <a:xfrm>
            <a:off x="8451348" y="5659698"/>
            <a:ext cx="199691" cy="198686"/>
          </a:xfrm>
          <a:prstGeom prst="rect">
            <a:avLst/>
          </a:prstGeom>
          <a:solidFill>
            <a:srgbClr val="00BC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5132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10264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65397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20529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5661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30793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85926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41058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685" name="Rectangle 684"/>
          <p:cNvSpPr>
            <a:spLocks noChangeArrowheads="1"/>
          </p:cNvSpPr>
          <p:nvPr/>
        </p:nvSpPr>
        <p:spPr bwMode="auto">
          <a:xfrm>
            <a:off x="8236567" y="5659698"/>
            <a:ext cx="198183" cy="198686"/>
          </a:xfrm>
          <a:prstGeom prst="rect">
            <a:avLst/>
          </a:prstGeom>
          <a:solidFill>
            <a:srgbClr val="00BC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5132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10264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65397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20529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5661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30793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85926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41058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686" name="Rectangle 685"/>
          <p:cNvSpPr>
            <a:spLocks noChangeArrowheads="1"/>
          </p:cNvSpPr>
          <p:nvPr/>
        </p:nvSpPr>
        <p:spPr bwMode="auto">
          <a:xfrm>
            <a:off x="8667638" y="5874983"/>
            <a:ext cx="198686" cy="199189"/>
          </a:xfrm>
          <a:prstGeom prst="rect">
            <a:avLst/>
          </a:prstGeom>
          <a:solidFill>
            <a:srgbClr val="00BC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5132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10264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65397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20529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5661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30793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85926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41058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687" name="Rectangle 686"/>
          <p:cNvSpPr>
            <a:spLocks noChangeArrowheads="1"/>
          </p:cNvSpPr>
          <p:nvPr/>
        </p:nvSpPr>
        <p:spPr bwMode="auto">
          <a:xfrm>
            <a:off x="8451348" y="5874983"/>
            <a:ext cx="199691" cy="199189"/>
          </a:xfrm>
          <a:prstGeom prst="rect">
            <a:avLst/>
          </a:prstGeom>
          <a:solidFill>
            <a:srgbClr val="00BC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5132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10264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65397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20529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5661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30793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85926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41058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688" name="Rectangle 687"/>
          <p:cNvSpPr>
            <a:spLocks noChangeArrowheads="1"/>
          </p:cNvSpPr>
          <p:nvPr/>
        </p:nvSpPr>
        <p:spPr bwMode="auto">
          <a:xfrm>
            <a:off x="8236567" y="5874983"/>
            <a:ext cx="198183" cy="199189"/>
          </a:xfrm>
          <a:prstGeom prst="rect">
            <a:avLst/>
          </a:prstGeom>
          <a:solidFill>
            <a:srgbClr val="00BC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5132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10264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65397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20529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5661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30793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85926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41058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689" name="Rectangle 688"/>
          <p:cNvSpPr>
            <a:spLocks noChangeArrowheads="1"/>
          </p:cNvSpPr>
          <p:nvPr/>
        </p:nvSpPr>
        <p:spPr bwMode="auto">
          <a:xfrm>
            <a:off x="8021282" y="5659698"/>
            <a:ext cx="198686" cy="198686"/>
          </a:xfrm>
          <a:prstGeom prst="rect">
            <a:avLst/>
          </a:prstGeom>
          <a:solidFill>
            <a:srgbClr val="00BC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5132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10264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65397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20529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5661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30793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85926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41058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690" name="Rectangle 689"/>
          <p:cNvSpPr>
            <a:spLocks noChangeArrowheads="1"/>
          </p:cNvSpPr>
          <p:nvPr/>
        </p:nvSpPr>
        <p:spPr bwMode="auto">
          <a:xfrm>
            <a:off x="8021282" y="5874983"/>
            <a:ext cx="198686" cy="199189"/>
          </a:xfrm>
          <a:prstGeom prst="rect">
            <a:avLst/>
          </a:prstGeom>
          <a:solidFill>
            <a:srgbClr val="00BC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5132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10264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65397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20529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5661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30793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85926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41058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691" name="Rectangle 5"/>
          <p:cNvSpPr>
            <a:spLocks noChangeArrowheads="1"/>
          </p:cNvSpPr>
          <p:nvPr/>
        </p:nvSpPr>
        <p:spPr bwMode="auto">
          <a:xfrm>
            <a:off x="7596678" y="5543289"/>
            <a:ext cx="252074" cy="891599"/>
          </a:xfrm>
          <a:prstGeom prst="rect">
            <a:avLst/>
          </a:prstGeom>
          <a:solidFill>
            <a:srgbClr val="D2D2D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2" name="Rectangle 6"/>
          <p:cNvSpPr>
            <a:spLocks noChangeArrowheads="1"/>
          </p:cNvSpPr>
          <p:nvPr/>
        </p:nvSpPr>
        <p:spPr bwMode="auto">
          <a:xfrm>
            <a:off x="6742422" y="5543289"/>
            <a:ext cx="253631" cy="891599"/>
          </a:xfrm>
          <a:prstGeom prst="rect">
            <a:avLst/>
          </a:prstGeom>
          <a:solidFill>
            <a:srgbClr val="D2D2D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3" name="Rectangle 7"/>
          <p:cNvSpPr>
            <a:spLocks noChangeArrowheads="1"/>
          </p:cNvSpPr>
          <p:nvPr/>
        </p:nvSpPr>
        <p:spPr bwMode="auto">
          <a:xfrm>
            <a:off x="6807776" y="5611753"/>
            <a:ext cx="314315" cy="823135"/>
          </a:xfrm>
          <a:prstGeom prst="rect">
            <a:avLst/>
          </a:prstGeom>
          <a:solidFill>
            <a:srgbClr val="D2D2D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4" name="Rectangle 8"/>
          <p:cNvSpPr>
            <a:spLocks noChangeArrowheads="1"/>
          </p:cNvSpPr>
          <p:nvPr/>
        </p:nvSpPr>
        <p:spPr bwMode="auto">
          <a:xfrm>
            <a:off x="7470639" y="5731568"/>
            <a:ext cx="312760" cy="703320"/>
          </a:xfrm>
          <a:prstGeom prst="rect">
            <a:avLst/>
          </a:prstGeom>
          <a:solidFill>
            <a:srgbClr val="D2D2D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5" name="Rectangle 9"/>
          <p:cNvSpPr>
            <a:spLocks noChangeArrowheads="1"/>
          </p:cNvSpPr>
          <p:nvPr/>
        </p:nvSpPr>
        <p:spPr bwMode="auto">
          <a:xfrm>
            <a:off x="7072298" y="5857605"/>
            <a:ext cx="460581" cy="577283"/>
          </a:xfrm>
          <a:prstGeom prst="rect">
            <a:avLst/>
          </a:prstGeom>
          <a:solidFill>
            <a:srgbClr val="9B4F9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6" name="Rectangle 10"/>
          <p:cNvSpPr>
            <a:spLocks noChangeArrowheads="1"/>
          </p:cNvSpPr>
          <p:nvPr/>
        </p:nvSpPr>
        <p:spPr bwMode="auto">
          <a:xfrm>
            <a:off x="7050515" y="5840488"/>
            <a:ext cx="504150" cy="17117"/>
          </a:xfrm>
          <a:prstGeom prst="rect">
            <a:avLst/>
          </a:prstGeom>
          <a:solidFill>
            <a:srgbClr val="68217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7" name="Rectangle 11"/>
          <p:cNvSpPr>
            <a:spLocks noChangeArrowheads="1"/>
          </p:cNvSpPr>
          <p:nvPr/>
        </p:nvSpPr>
        <p:spPr bwMode="auto">
          <a:xfrm>
            <a:off x="7324374" y="6316631"/>
            <a:ext cx="60685" cy="118257"/>
          </a:xfrm>
          <a:prstGeom prst="rect">
            <a:avLst/>
          </a:prstGeom>
          <a:solidFill>
            <a:srgbClr val="68217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8" name="Rectangle 12"/>
          <p:cNvSpPr>
            <a:spLocks noChangeArrowheads="1"/>
          </p:cNvSpPr>
          <p:nvPr/>
        </p:nvSpPr>
        <p:spPr bwMode="auto">
          <a:xfrm>
            <a:off x="7221676" y="6316630"/>
            <a:ext cx="59129" cy="118257"/>
          </a:xfrm>
          <a:prstGeom prst="rect">
            <a:avLst/>
          </a:prstGeom>
          <a:solidFill>
            <a:srgbClr val="68217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9" name="Rectangle 13"/>
          <p:cNvSpPr>
            <a:spLocks noChangeArrowheads="1"/>
          </p:cNvSpPr>
          <p:nvPr/>
        </p:nvSpPr>
        <p:spPr bwMode="auto">
          <a:xfrm>
            <a:off x="7117423" y="5908952"/>
            <a:ext cx="371888" cy="62241"/>
          </a:xfrm>
          <a:prstGeom prst="rect">
            <a:avLst/>
          </a:prstGeom>
          <a:solidFill>
            <a:srgbClr val="68217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0" name="Rectangle 14"/>
          <p:cNvSpPr>
            <a:spLocks noChangeArrowheads="1"/>
          </p:cNvSpPr>
          <p:nvPr/>
        </p:nvSpPr>
        <p:spPr bwMode="auto">
          <a:xfrm>
            <a:off x="7117423" y="6014764"/>
            <a:ext cx="371888" cy="57573"/>
          </a:xfrm>
          <a:prstGeom prst="rect">
            <a:avLst/>
          </a:prstGeom>
          <a:solidFill>
            <a:srgbClr val="68217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1" name="Rectangle 15"/>
          <p:cNvSpPr>
            <a:spLocks noChangeArrowheads="1"/>
          </p:cNvSpPr>
          <p:nvPr/>
        </p:nvSpPr>
        <p:spPr bwMode="auto">
          <a:xfrm>
            <a:off x="7117423" y="6115903"/>
            <a:ext cx="371888" cy="62241"/>
          </a:xfrm>
          <a:prstGeom prst="rect">
            <a:avLst/>
          </a:prstGeom>
          <a:solidFill>
            <a:srgbClr val="68217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2" name="Rectangle 16"/>
          <p:cNvSpPr>
            <a:spLocks noChangeArrowheads="1"/>
          </p:cNvSpPr>
          <p:nvPr/>
        </p:nvSpPr>
        <p:spPr bwMode="auto">
          <a:xfrm>
            <a:off x="7117423" y="6221713"/>
            <a:ext cx="371888" cy="57573"/>
          </a:xfrm>
          <a:prstGeom prst="rect">
            <a:avLst/>
          </a:prstGeom>
          <a:solidFill>
            <a:srgbClr val="68217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3" name="Rectangle 17"/>
          <p:cNvSpPr>
            <a:spLocks noChangeArrowheads="1"/>
          </p:cNvSpPr>
          <p:nvPr/>
        </p:nvSpPr>
        <p:spPr bwMode="auto">
          <a:xfrm>
            <a:off x="7148544" y="5767355"/>
            <a:ext cx="175830" cy="73133"/>
          </a:xfrm>
          <a:prstGeom prst="rect">
            <a:avLst/>
          </a:prstGeom>
          <a:solidFill>
            <a:srgbClr val="96969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704" name="Picture 70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17100" y="5685276"/>
            <a:ext cx="883521" cy="603124"/>
          </a:xfrm>
          <a:prstGeom prst="rect">
            <a:avLst/>
          </a:prstGeom>
        </p:spPr>
      </p:pic>
      <p:pic>
        <p:nvPicPr>
          <p:cNvPr id="705" name="Picture 70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12168" y="4688273"/>
            <a:ext cx="703423" cy="807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50508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700710" y="3502266"/>
            <a:ext cx="9306460" cy="3159074"/>
            <a:chOff x="476169" y="2261876"/>
            <a:chExt cx="9306460" cy="3159074"/>
          </a:xfrm>
        </p:grpSpPr>
        <p:pic>
          <p:nvPicPr>
            <p:cNvPr id="2" name="Picture 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9872" r="11799" b="12846"/>
            <a:stretch/>
          </p:blipFill>
          <p:spPr>
            <a:xfrm>
              <a:off x="2502550" y="2264228"/>
              <a:ext cx="7280079" cy="3149601"/>
            </a:xfrm>
            <a:prstGeom prst="rect">
              <a:avLst/>
            </a:prstGeom>
          </p:spPr>
        </p:pic>
        <p:sp>
          <p:nvSpPr>
            <p:cNvPr id="3" name="Rectangle 2"/>
            <p:cNvSpPr/>
            <p:nvPr/>
          </p:nvSpPr>
          <p:spPr>
            <a:xfrm flipH="1">
              <a:off x="476169" y="2261876"/>
              <a:ext cx="5524449" cy="3159074"/>
            </a:xfrm>
            <a:prstGeom prst="rect">
              <a:avLst/>
            </a:prstGeom>
            <a:gradFill>
              <a:gsLst>
                <a:gs pos="0">
                  <a:srgbClr val="1C1C1C"/>
                </a:gs>
                <a:gs pos="43000">
                  <a:srgbClr val="333333"/>
                </a:gs>
                <a:gs pos="65000">
                  <a:schemeClr val="tx1">
                    <a:lumMod val="75000"/>
                    <a:lumOff val="25000"/>
                  </a:schemeClr>
                </a:gs>
                <a:gs pos="100000">
                  <a:schemeClr val="bg1">
                    <a:lumMod val="50000"/>
                    <a:alpha val="75000"/>
                  </a:schemeClr>
                </a:gs>
              </a:gsLst>
              <a:lin ang="108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TextBox 3"/>
            <p:cNvSpPr txBox="1"/>
            <p:nvPr/>
          </p:nvSpPr>
          <p:spPr>
            <a:xfrm>
              <a:off x="820749" y="2494673"/>
              <a:ext cx="4501541" cy="264687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4000" dirty="0" smtClean="0">
                  <a:solidFill>
                    <a:srgbClr val="FFA333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Drive your marketing in the right direction</a:t>
              </a:r>
              <a:endParaRPr lang="en-US" sz="1600" dirty="0" smtClean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  <a:p>
              <a:endParaRPr lang="en-US" sz="1400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r>
                <a:rPr lang="en-US" sz="1600" dirty="0" smtClean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earn how to tell your story, connect with customers, and measure your marketing success</a:t>
              </a:r>
              <a:endParaRPr lang="en-US" dirty="0" smtClean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" name="Freeform 9"/>
            <p:cNvSpPr>
              <a:spLocks noEditPoints="1"/>
            </p:cNvSpPr>
            <p:nvPr/>
          </p:nvSpPr>
          <p:spPr bwMode="black">
            <a:xfrm>
              <a:off x="5372131" y="4672388"/>
              <a:ext cx="365760" cy="365760"/>
            </a:xfrm>
            <a:custGeom>
              <a:avLst/>
              <a:gdLst>
                <a:gd name="T0" fmla="*/ 88 w 149"/>
                <a:gd name="T1" fmla="*/ 67 h 149"/>
                <a:gd name="T2" fmla="*/ 65 w 149"/>
                <a:gd name="T3" fmla="*/ 46 h 149"/>
                <a:gd name="T4" fmla="*/ 84 w 149"/>
                <a:gd name="T5" fmla="*/ 46 h 149"/>
                <a:gd name="T6" fmla="*/ 115 w 149"/>
                <a:gd name="T7" fmla="*/ 75 h 149"/>
                <a:gd name="T8" fmla="*/ 84 w 149"/>
                <a:gd name="T9" fmla="*/ 104 h 149"/>
                <a:gd name="T10" fmla="*/ 65 w 149"/>
                <a:gd name="T11" fmla="*/ 104 h 149"/>
                <a:gd name="T12" fmla="*/ 88 w 149"/>
                <a:gd name="T13" fmla="*/ 82 h 149"/>
                <a:gd name="T14" fmla="*/ 36 w 149"/>
                <a:gd name="T15" fmla="*/ 82 h 149"/>
                <a:gd name="T16" fmla="*/ 36 w 149"/>
                <a:gd name="T17" fmla="*/ 67 h 149"/>
                <a:gd name="T18" fmla="*/ 88 w 149"/>
                <a:gd name="T19" fmla="*/ 67 h 149"/>
                <a:gd name="T20" fmla="*/ 74 w 149"/>
                <a:gd name="T21" fmla="*/ 9 h 149"/>
                <a:gd name="T22" fmla="*/ 140 w 149"/>
                <a:gd name="T23" fmla="*/ 75 h 149"/>
                <a:gd name="T24" fmla="*/ 74 w 149"/>
                <a:gd name="T25" fmla="*/ 140 h 149"/>
                <a:gd name="T26" fmla="*/ 9 w 149"/>
                <a:gd name="T27" fmla="*/ 75 h 149"/>
                <a:gd name="T28" fmla="*/ 74 w 149"/>
                <a:gd name="T29" fmla="*/ 9 h 149"/>
                <a:gd name="T30" fmla="*/ 74 w 149"/>
                <a:gd name="T31" fmla="*/ 0 h 149"/>
                <a:gd name="T32" fmla="*/ 0 w 149"/>
                <a:gd name="T33" fmla="*/ 75 h 149"/>
                <a:gd name="T34" fmla="*/ 74 w 149"/>
                <a:gd name="T35" fmla="*/ 149 h 149"/>
                <a:gd name="T36" fmla="*/ 149 w 149"/>
                <a:gd name="T37" fmla="*/ 75 h 149"/>
                <a:gd name="T38" fmla="*/ 74 w 149"/>
                <a:gd name="T3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9" h="149">
                  <a:moveTo>
                    <a:pt x="88" y="67"/>
                  </a:moveTo>
                  <a:cubicBezTo>
                    <a:pt x="65" y="46"/>
                    <a:pt x="65" y="46"/>
                    <a:pt x="65" y="46"/>
                  </a:cubicBezTo>
                  <a:cubicBezTo>
                    <a:pt x="84" y="46"/>
                    <a:pt x="84" y="46"/>
                    <a:pt x="84" y="46"/>
                  </a:cubicBezTo>
                  <a:cubicBezTo>
                    <a:pt x="115" y="75"/>
                    <a:pt x="115" y="75"/>
                    <a:pt x="115" y="75"/>
                  </a:cubicBezTo>
                  <a:cubicBezTo>
                    <a:pt x="84" y="104"/>
                    <a:pt x="84" y="104"/>
                    <a:pt x="84" y="104"/>
                  </a:cubicBezTo>
                  <a:cubicBezTo>
                    <a:pt x="65" y="104"/>
                    <a:pt x="65" y="104"/>
                    <a:pt x="65" y="104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6" y="67"/>
                    <a:pt x="36" y="67"/>
                    <a:pt x="36" y="67"/>
                  </a:cubicBezTo>
                  <a:lnTo>
                    <a:pt x="88" y="67"/>
                  </a:lnTo>
                  <a:close/>
                  <a:moveTo>
                    <a:pt x="74" y="9"/>
                  </a:moveTo>
                  <a:cubicBezTo>
                    <a:pt x="110" y="9"/>
                    <a:pt x="140" y="39"/>
                    <a:pt x="140" y="75"/>
                  </a:cubicBezTo>
                  <a:cubicBezTo>
                    <a:pt x="140" y="111"/>
                    <a:pt x="110" y="140"/>
                    <a:pt x="74" y="140"/>
                  </a:cubicBezTo>
                  <a:cubicBezTo>
                    <a:pt x="38" y="140"/>
                    <a:pt x="9" y="111"/>
                    <a:pt x="9" y="75"/>
                  </a:cubicBezTo>
                  <a:cubicBezTo>
                    <a:pt x="9" y="39"/>
                    <a:pt x="38" y="9"/>
                    <a:pt x="74" y="9"/>
                  </a:cubicBezTo>
                  <a:moveTo>
                    <a:pt x="74" y="0"/>
                  </a:moveTo>
                  <a:cubicBezTo>
                    <a:pt x="33" y="0"/>
                    <a:pt x="0" y="33"/>
                    <a:pt x="0" y="75"/>
                  </a:cubicBezTo>
                  <a:cubicBezTo>
                    <a:pt x="0" y="116"/>
                    <a:pt x="33" y="149"/>
                    <a:pt x="74" y="149"/>
                  </a:cubicBezTo>
                  <a:cubicBezTo>
                    <a:pt x="116" y="149"/>
                    <a:pt x="149" y="116"/>
                    <a:pt x="149" y="75"/>
                  </a:cubicBezTo>
                  <a:cubicBezTo>
                    <a:pt x="149" y="33"/>
                    <a:pt x="116" y="0"/>
                    <a:pt x="74" y="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8" tIns="34293" rIns="68588" bIns="34293" numCol="1" anchor="t" anchorCtr="0" compatLnSpc="1">
              <a:prstTxWarp prst="textNoShape">
                <a:avLst/>
              </a:prstTxWarp>
            </a:bodyPr>
            <a:lstStyle/>
            <a:p>
              <a:endParaRPr lang="en-US" sz="1324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655526" y="172081"/>
            <a:ext cx="9351644" cy="3143250"/>
            <a:chOff x="1396233" y="438272"/>
            <a:chExt cx="9351644" cy="3143250"/>
          </a:xfrm>
        </p:grpSpPr>
        <p:sp>
          <p:nvSpPr>
            <p:cNvPr id="9" name="Rectangle 8"/>
            <p:cNvSpPr/>
            <p:nvPr/>
          </p:nvSpPr>
          <p:spPr>
            <a:xfrm>
              <a:off x="1396233" y="438272"/>
              <a:ext cx="9334503" cy="3143250"/>
            </a:xfrm>
            <a:prstGeom prst="rect">
              <a:avLst/>
            </a:prstGeom>
            <a:solidFill>
              <a:srgbClr val="FFA3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5196461" y="438272"/>
              <a:ext cx="5551416" cy="314325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5508535" y="641126"/>
              <a:ext cx="4545429" cy="27392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600" dirty="0" smtClean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Map your way to success with Marketing SureStep</a:t>
              </a:r>
            </a:p>
            <a:p>
              <a:endParaRPr lang="en-US" sz="1600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endParaRPr 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r>
                <a:rPr lang="en-US" sz="1400" dirty="0" smtClean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Get our step-by-step guidance to help drive your marketing in the right direction.  </a:t>
              </a:r>
              <a:endPara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12" name="Group 11"/>
            <p:cNvGrpSpPr/>
            <p:nvPr/>
          </p:nvGrpSpPr>
          <p:grpSpPr>
            <a:xfrm>
              <a:off x="1558618" y="565335"/>
              <a:ext cx="3565192" cy="2889124"/>
              <a:chOff x="1552261" y="558253"/>
              <a:chExt cx="3565192" cy="2889124"/>
            </a:xfrm>
          </p:grpSpPr>
          <p:sp>
            <p:nvSpPr>
              <p:cNvPr id="14" name="Freeform 279"/>
              <p:cNvSpPr>
                <a:spLocks/>
              </p:cNvSpPr>
              <p:nvPr/>
            </p:nvSpPr>
            <p:spPr bwMode="auto">
              <a:xfrm>
                <a:off x="4283740" y="1042553"/>
                <a:ext cx="833713" cy="502877"/>
              </a:xfrm>
              <a:custGeom>
                <a:avLst/>
                <a:gdLst>
                  <a:gd name="T0" fmla="*/ 39 w 401"/>
                  <a:gd name="T1" fmla="*/ 120 h 241"/>
                  <a:gd name="T2" fmla="*/ 105 w 401"/>
                  <a:gd name="T3" fmla="*/ 68 h 241"/>
                  <a:gd name="T4" fmla="*/ 106 w 401"/>
                  <a:gd name="T5" fmla="*/ 68 h 241"/>
                  <a:gd name="T6" fmla="*/ 106 w 401"/>
                  <a:gd name="T7" fmla="*/ 68 h 241"/>
                  <a:gd name="T8" fmla="*/ 174 w 401"/>
                  <a:gd name="T9" fmla="*/ 0 h 241"/>
                  <a:gd name="T10" fmla="*/ 234 w 401"/>
                  <a:gd name="T11" fmla="*/ 36 h 241"/>
                  <a:gd name="T12" fmla="*/ 256 w 401"/>
                  <a:gd name="T13" fmla="*/ 32 h 241"/>
                  <a:gd name="T14" fmla="*/ 319 w 401"/>
                  <a:gd name="T15" fmla="*/ 96 h 241"/>
                  <a:gd name="T16" fmla="*/ 319 w 401"/>
                  <a:gd name="T17" fmla="*/ 96 h 241"/>
                  <a:gd name="T18" fmla="*/ 328 w 401"/>
                  <a:gd name="T19" fmla="*/ 96 h 241"/>
                  <a:gd name="T20" fmla="*/ 401 w 401"/>
                  <a:gd name="T21" fmla="*/ 168 h 241"/>
                  <a:gd name="T22" fmla="*/ 328 w 401"/>
                  <a:gd name="T23" fmla="*/ 241 h 241"/>
                  <a:gd name="T24" fmla="*/ 62 w 401"/>
                  <a:gd name="T25" fmla="*/ 241 h 241"/>
                  <a:gd name="T26" fmla="*/ 0 w 401"/>
                  <a:gd name="T27" fmla="*/ 178 h 241"/>
                  <a:gd name="T28" fmla="*/ 39 w 401"/>
                  <a:gd name="T29" fmla="*/ 12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01" h="241">
                    <a:moveTo>
                      <a:pt x="39" y="120"/>
                    </a:moveTo>
                    <a:cubicBezTo>
                      <a:pt x="47" y="90"/>
                      <a:pt x="73" y="68"/>
                      <a:pt x="105" y="68"/>
                    </a:cubicBezTo>
                    <a:cubicBezTo>
                      <a:pt x="106" y="68"/>
                      <a:pt x="106" y="68"/>
                      <a:pt x="106" y="68"/>
                    </a:cubicBezTo>
                    <a:cubicBezTo>
                      <a:pt x="106" y="68"/>
                      <a:pt x="106" y="68"/>
                      <a:pt x="106" y="68"/>
                    </a:cubicBezTo>
                    <a:cubicBezTo>
                      <a:pt x="106" y="30"/>
                      <a:pt x="136" y="0"/>
                      <a:pt x="174" y="0"/>
                    </a:cubicBezTo>
                    <a:cubicBezTo>
                      <a:pt x="200" y="0"/>
                      <a:pt x="223" y="14"/>
                      <a:pt x="234" y="36"/>
                    </a:cubicBezTo>
                    <a:cubicBezTo>
                      <a:pt x="241" y="33"/>
                      <a:pt x="248" y="32"/>
                      <a:pt x="256" y="32"/>
                    </a:cubicBezTo>
                    <a:cubicBezTo>
                      <a:pt x="291" y="32"/>
                      <a:pt x="319" y="61"/>
                      <a:pt x="319" y="96"/>
                    </a:cubicBezTo>
                    <a:cubicBezTo>
                      <a:pt x="319" y="96"/>
                      <a:pt x="319" y="96"/>
                      <a:pt x="319" y="96"/>
                    </a:cubicBezTo>
                    <a:cubicBezTo>
                      <a:pt x="322" y="96"/>
                      <a:pt x="325" y="96"/>
                      <a:pt x="328" y="96"/>
                    </a:cubicBezTo>
                    <a:cubicBezTo>
                      <a:pt x="368" y="96"/>
                      <a:pt x="401" y="128"/>
                      <a:pt x="401" y="168"/>
                    </a:cubicBezTo>
                    <a:cubicBezTo>
                      <a:pt x="401" y="208"/>
                      <a:pt x="368" y="241"/>
                      <a:pt x="328" y="241"/>
                    </a:cubicBezTo>
                    <a:cubicBezTo>
                      <a:pt x="62" y="241"/>
                      <a:pt x="62" y="241"/>
                      <a:pt x="62" y="241"/>
                    </a:cubicBezTo>
                    <a:cubicBezTo>
                      <a:pt x="28" y="241"/>
                      <a:pt x="0" y="213"/>
                      <a:pt x="0" y="178"/>
                    </a:cubicBezTo>
                    <a:cubicBezTo>
                      <a:pt x="0" y="152"/>
                      <a:pt x="16" y="129"/>
                      <a:pt x="39" y="120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Freeform 269"/>
              <p:cNvSpPr>
                <a:spLocks/>
              </p:cNvSpPr>
              <p:nvPr/>
            </p:nvSpPr>
            <p:spPr bwMode="auto">
              <a:xfrm>
                <a:off x="2483288" y="558253"/>
                <a:ext cx="2317957" cy="1255794"/>
              </a:xfrm>
              <a:custGeom>
                <a:avLst/>
                <a:gdLst>
                  <a:gd name="T0" fmla="*/ 523 w 580"/>
                  <a:gd name="T1" fmla="*/ 173 h 349"/>
                  <a:gd name="T2" fmla="*/ 427 w 580"/>
                  <a:gd name="T3" fmla="*/ 98 h 349"/>
                  <a:gd name="T4" fmla="*/ 426 w 580"/>
                  <a:gd name="T5" fmla="*/ 98 h 349"/>
                  <a:gd name="T6" fmla="*/ 426 w 580"/>
                  <a:gd name="T7" fmla="*/ 98 h 349"/>
                  <a:gd name="T8" fmla="*/ 328 w 580"/>
                  <a:gd name="T9" fmla="*/ 0 h 349"/>
                  <a:gd name="T10" fmla="*/ 241 w 580"/>
                  <a:gd name="T11" fmla="*/ 52 h 349"/>
                  <a:gd name="T12" fmla="*/ 210 w 580"/>
                  <a:gd name="T13" fmla="*/ 46 h 349"/>
                  <a:gd name="T14" fmla="*/ 117 w 580"/>
                  <a:gd name="T15" fmla="*/ 139 h 349"/>
                  <a:gd name="T16" fmla="*/ 117 w 580"/>
                  <a:gd name="T17" fmla="*/ 140 h 349"/>
                  <a:gd name="T18" fmla="*/ 105 w 580"/>
                  <a:gd name="T19" fmla="*/ 139 h 349"/>
                  <a:gd name="T20" fmla="*/ 0 w 580"/>
                  <a:gd name="T21" fmla="*/ 244 h 349"/>
                  <a:gd name="T22" fmla="*/ 105 w 580"/>
                  <a:gd name="T23" fmla="*/ 349 h 349"/>
                  <a:gd name="T24" fmla="*/ 489 w 580"/>
                  <a:gd name="T25" fmla="*/ 349 h 349"/>
                  <a:gd name="T26" fmla="*/ 580 w 580"/>
                  <a:gd name="T27" fmla="*/ 258 h 349"/>
                  <a:gd name="T28" fmla="*/ 523 w 580"/>
                  <a:gd name="T29" fmla="*/ 173 h 3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80" h="349">
                    <a:moveTo>
                      <a:pt x="523" y="173"/>
                    </a:moveTo>
                    <a:cubicBezTo>
                      <a:pt x="512" y="130"/>
                      <a:pt x="473" y="98"/>
                      <a:pt x="427" y="98"/>
                    </a:cubicBezTo>
                    <a:cubicBezTo>
                      <a:pt x="426" y="98"/>
                      <a:pt x="426" y="98"/>
                      <a:pt x="426" y="98"/>
                    </a:cubicBezTo>
                    <a:cubicBezTo>
                      <a:pt x="426" y="98"/>
                      <a:pt x="426" y="98"/>
                      <a:pt x="426" y="98"/>
                    </a:cubicBezTo>
                    <a:cubicBezTo>
                      <a:pt x="426" y="44"/>
                      <a:pt x="382" y="0"/>
                      <a:pt x="328" y="0"/>
                    </a:cubicBezTo>
                    <a:cubicBezTo>
                      <a:pt x="290" y="0"/>
                      <a:pt x="258" y="21"/>
                      <a:pt x="241" y="52"/>
                    </a:cubicBezTo>
                    <a:cubicBezTo>
                      <a:pt x="231" y="48"/>
                      <a:pt x="221" y="46"/>
                      <a:pt x="210" y="46"/>
                    </a:cubicBezTo>
                    <a:cubicBezTo>
                      <a:pt x="159" y="46"/>
                      <a:pt x="117" y="88"/>
                      <a:pt x="117" y="139"/>
                    </a:cubicBezTo>
                    <a:cubicBezTo>
                      <a:pt x="117" y="140"/>
                      <a:pt x="117" y="140"/>
                      <a:pt x="117" y="140"/>
                    </a:cubicBezTo>
                    <a:cubicBezTo>
                      <a:pt x="113" y="139"/>
                      <a:pt x="109" y="139"/>
                      <a:pt x="105" y="139"/>
                    </a:cubicBezTo>
                    <a:cubicBezTo>
                      <a:pt x="47" y="139"/>
                      <a:pt x="0" y="186"/>
                      <a:pt x="0" y="244"/>
                    </a:cubicBezTo>
                    <a:cubicBezTo>
                      <a:pt x="0" y="302"/>
                      <a:pt x="47" y="349"/>
                      <a:pt x="105" y="349"/>
                    </a:cubicBezTo>
                    <a:cubicBezTo>
                      <a:pt x="489" y="349"/>
                      <a:pt x="489" y="349"/>
                      <a:pt x="489" y="349"/>
                    </a:cubicBezTo>
                    <a:cubicBezTo>
                      <a:pt x="540" y="349"/>
                      <a:pt x="580" y="308"/>
                      <a:pt x="580" y="258"/>
                    </a:cubicBezTo>
                    <a:cubicBezTo>
                      <a:pt x="580" y="219"/>
                      <a:pt x="557" y="187"/>
                      <a:pt x="523" y="173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16" name="Group 15"/>
              <p:cNvGrpSpPr/>
              <p:nvPr/>
            </p:nvGrpSpPr>
            <p:grpSpPr>
              <a:xfrm>
                <a:off x="1552261" y="1303462"/>
                <a:ext cx="3114523" cy="2143915"/>
                <a:chOff x="2577801" y="862925"/>
                <a:chExt cx="4707404" cy="3240392"/>
              </a:xfrm>
            </p:grpSpPr>
            <p:grpSp>
              <p:nvGrpSpPr>
                <p:cNvPr id="18" name="Group 17"/>
                <p:cNvGrpSpPr/>
                <p:nvPr/>
              </p:nvGrpSpPr>
              <p:grpSpPr>
                <a:xfrm>
                  <a:off x="3247177" y="862925"/>
                  <a:ext cx="4038028" cy="3240392"/>
                  <a:chOff x="7279828" y="2020379"/>
                  <a:chExt cx="2621979" cy="2104057"/>
                </a:xfrm>
              </p:grpSpPr>
              <p:sp>
                <p:nvSpPr>
                  <p:cNvPr id="95" name="Freeform 94"/>
                  <p:cNvSpPr>
                    <a:spLocks/>
                  </p:cNvSpPr>
                  <p:nvPr/>
                </p:nvSpPr>
                <p:spPr bwMode="auto">
                  <a:xfrm>
                    <a:off x="7279828" y="2020379"/>
                    <a:ext cx="653876" cy="2104057"/>
                  </a:xfrm>
                  <a:custGeom>
                    <a:avLst/>
                    <a:gdLst>
                      <a:gd name="T0" fmla="*/ 0 w 202"/>
                      <a:gd name="T1" fmla="*/ 0 h 650"/>
                      <a:gd name="T2" fmla="*/ 0 w 202"/>
                      <a:gd name="T3" fmla="*/ 576 h 650"/>
                      <a:gd name="T4" fmla="*/ 202 w 202"/>
                      <a:gd name="T5" fmla="*/ 650 h 650"/>
                      <a:gd name="T6" fmla="*/ 202 w 202"/>
                      <a:gd name="T7" fmla="*/ 74 h 650"/>
                      <a:gd name="T8" fmla="*/ 0 w 202"/>
                      <a:gd name="T9" fmla="*/ 0 h 65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02" h="650">
                        <a:moveTo>
                          <a:pt x="0" y="0"/>
                        </a:moveTo>
                        <a:lnTo>
                          <a:pt x="0" y="576"/>
                        </a:lnTo>
                        <a:lnTo>
                          <a:pt x="202" y="650"/>
                        </a:lnTo>
                        <a:lnTo>
                          <a:pt x="202" y="74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chemeClr val="tx1">
                      <a:lumMod val="75000"/>
                      <a:lumOff val="2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96" name="Freeform 95"/>
                  <p:cNvSpPr>
                    <a:spLocks/>
                  </p:cNvSpPr>
                  <p:nvPr/>
                </p:nvSpPr>
                <p:spPr bwMode="auto">
                  <a:xfrm>
                    <a:off x="8590818" y="2020379"/>
                    <a:ext cx="653876" cy="2104057"/>
                  </a:xfrm>
                  <a:custGeom>
                    <a:avLst/>
                    <a:gdLst>
                      <a:gd name="T0" fmla="*/ 0 w 202"/>
                      <a:gd name="T1" fmla="*/ 0 h 650"/>
                      <a:gd name="T2" fmla="*/ 0 w 202"/>
                      <a:gd name="T3" fmla="*/ 576 h 650"/>
                      <a:gd name="T4" fmla="*/ 202 w 202"/>
                      <a:gd name="T5" fmla="*/ 650 h 650"/>
                      <a:gd name="T6" fmla="*/ 202 w 202"/>
                      <a:gd name="T7" fmla="*/ 74 h 650"/>
                      <a:gd name="T8" fmla="*/ 0 w 202"/>
                      <a:gd name="T9" fmla="*/ 0 h 65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02" h="650">
                        <a:moveTo>
                          <a:pt x="0" y="0"/>
                        </a:moveTo>
                        <a:lnTo>
                          <a:pt x="0" y="576"/>
                        </a:lnTo>
                        <a:lnTo>
                          <a:pt x="202" y="650"/>
                        </a:lnTo>
                        <a:lnTo>
                          <a:pt x="202" y="74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chemeClr val="tx1">
                      <a:lumMod val="75000"/>
                      <a:lumOff val="2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97" name="Freeform 96"/>
                  <p:cNvSpPr>
                    <a:spLocks/>
                  </p:cNvSpPr>
                  <p:nvPr/>
                </p:nvSpPr>
                <p:spPr bwMode="auto">
                  <a:xfrm>
                    <a:off x="7933704" y="2020379"/>
                    <a:ext cx="657113" cy="2104057"/>
                  </a:xfrm>
                  <a:custGeom>
                    <a:avLst/>
                    <a:gdLst>
                      <a:gd name="T0" fmla="*/ 203 w 203"/>
                      <a:gd name="T1" fmla="*/ 0 h 650"/>
                      <a:gd name="T2" fmla="*/ 203 w 203"/>
                      <a:gd name="T3" fmla="*/ 576 h 650"/>
                      <a:gd name="T4" fmla="*/ 0 w 203"/>
                      <a:gd name="T5" fmla="*/ 650 h 650"/>
                      <a:gd name="T6" fmla="*/ 0 w 203"/>
                      <a:gd name="T7" fmla="*/ 74 h 650"/>
                      <a:gd name="T8" fmla="*/ 203 w 203"/>
                      <a:gd name="T9" fmla="*/ 0 h 65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03" h="650">
                        <a:moveTo>
                          <a:pt x="203" y="0"/>
                        </a:moveTo>
                        <a:lnTo>
                          <a:pt x="203" y="576"/>
                        </a:lnTo>
                        <a:lnTo>
                          <a:pt x="0" y="650"/>
                        </a:lnTo>
                        <a:lnTo>
                          <a:pt x="0" y="74"/>
                        </a:lnTo>
                        <a:lnTo>
                          <a:pt x="203" y="0"/>
                        </a:lnTo>
                        <a:close/>
                      </a:path>
                    </a:pathLst>
                  </a:custGeom>
                  <a:solidFill>
                    <a:schemeClr val="tx1">
                      <a:lumMod val="75000"/>
                      <a:lumOff val="2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98" name="Freeform 97"/>
                  <p:cNvSpPr>
                    <a:spLocks/>
                  </p:cNvSpPr>
                  <p:nvPr/>
                </p:nvSpPr>
                <p:spPr bwMode="auto">
                  <a:xfrm>
                    <a:off x="9244694" y="2020379"/>
                    <a:ext cx="657113" cy="2104057"/>
                  </a:xfrm>
                  <a:custGeom>
                    <a:avLst/>
                    <a:gdLst>
                      <a:gd name="T0" fmla="*/ 203 w 203"/>
                      <a:gd name="T1" fmla="*/ 0 h 650"/>
                      <a:gd name="T2" fmla="*/ 203 w 203"/>
                      <a:gd name="T3" fmla="*/ 576 h 650"/>
                      <a:gd name="T4" fmla="*/ 0 w 203"/>
                      <a:gd name="T5" fmla="*/ 650 h 650"/>
                      <a:gd name="T6" fmla="*/ 0 w 203"/>
                      <a:gd name="T7" fmla="*/ 74 h 650"/>
                      <a:gd name="T8" fmla="*/ 203 w 203"/>
                      <a:gd name="T9" fmla="*/ 0 h 65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03" h="650">
                        <a:moveTo>
                          <a:pt x="203" y="0"/>
                        </a:moveTo>
                        <a:lnTo>
                          <a:pt x="203" y="576"/>
                        </a:lnTo>
                        <a:lnTo>
                          <a:pt x="0" y="650"/>
                        </a:lnTo>
                        <a:lnTo>
                          <a:pt x="0" y="74"/>
                        </a:lnTo>
                        <a:lnTo>
                          <a:pt x="203" y="0"/>
                        </a:lnTo>
                        <a:close/>
                      </a:path>
                    </a:pathLst>
                  </a:custGeom>
                  <a:solidFill>
                    <a:schemeClr val="tx1">
                      <a:lumMod val="75000"/>
                      <a:lumOff val="2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99" name="Freeform 98"/>
                  <p:cNvSpPr>
                    <a:spLocks/>
                  </p:cNvSpPr>
                  <p:nvPr/>
                </p:nvSpPr>
                <p:spPr bwMode="auto">
                  <a:xfrm>
                    <a:off x="7351042" y="2127200"/>
                    <a:ext cx="582662" cy="1922785"/>
                  </a:xfrm>
                  <a:custGeom>
                    <a:avLst/>
                    <a:gdLst>
                      <a:gd name="T0" fmla="*/ 180 w 180"/>
                      <a:gd name="T1" fmla="*/ 594 h 594"/>
                      <a:gd name="T2" fmla="*/ 180 w 180"/>
                      <a:gd name="T3" fmla="*/ 66 h 594"/>
                      <a:gd name="T4" fmla="*/ 0 w 180"/>
                      <a:gd name="T5" fmla="*/ 0 h 594"/>
                      <a:gd name="T6" fmla="*/ 0 w 180"/>
                      <a:gd name="T7" fmla="*/ 528 h 594"/>
                      <a:gd name="T8" fmla="*/ 180 w 180"/>
                      <a:gd name="T9" fmla="*/ 594 h 59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80" h="594">
                        <a:moveTo>
                          <a:pt x="180" y="594"/>
                        </a:moveTo>
                        <a:lnTo>
                          <a:pt x="180" y="66"/>
                        </a:lnTo>
                        <a:lnTo>
                          <a:pt x="0" y="0"/>
                        </a:lnTo>
                        <a:lnTo>
                          <a:pt x="0" y="528"/>
                        </a:lnTo>
                        <a:lnTo>
                          <a:pt x="180" y="594"/>
                        </a:lnTo>
                        <a:close/>
                      </a:path>
                    </a:pathLst>
                  </a:custGeom>
                  <a:solidFill>
                    <a:srgbClr val="FF8C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00" name="Freeform 99"/>
                  <p:cNvSpPr>
                    <a:spLocks/>
                  </p:cNvSpPr>
                  <p:nvPr/>
                </p:nvSpPr>
                <p:spPr bwMode="auto">
                  <a:xfrm>
                    <a:off x="9247931" y="2127200"/>
                    <a:ext cx="582662" cy="1922785"/>
                  </a:xfrm>
                  <a:custGeom>
                    <a:avLst/>
                    <a:gdLst>
                      <a:gd name="T0" fmla="*/ 0 w 180"/>
                      <a:gd name="T1" fmla="*/ 594 h 594"/>
                      <a:gd name="T2" fmla="*/ 0 w 180"/>
                      <a:gd name="T3" fmla="*/ 66 h 594"/>
                      <a:gd name="T4" fmla="*/ 180 w 180"/>
                      <a:gd name="T5" fmla="*/ 0 h 594"/>
                      <a:gd name="T6" fmla="*/ 180 w 180"/>
                      <a:gd name="T7" fmla="*/ 528 h 594"/>
                      <a:gd name="T8" fmla="*/ 0 w 180"/>
                      <a:gd name="T9" fmla="*/ 594 h 59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80" h="594">
                        <a:moveTo>
                          <a:pt x="0" y="594"/>
                        </a:moveTo>
                        <a:lnTo>
                          <a:pt x="0" y="66"/>
                        </a:lnTo>
                        <a:lnTo>
                          <a:pt x="180" y="0"/>
                        </a:lnTo>
                        <a:lnTo>
                          <a:pt x="180" y="528"/>
                        </a:lnTo>
                        <a:lnTo>
                          <a:pt x="0" y="594"/>
                        </a:lnTo>
                        <a:close/>
                      </a:path>
                    </a:pathLst>
                  </a:custGeom>
                  <a:solidFill>
                    <a:srgbClr val="AC2F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01" name="Freeform 100"/>
                  <p:cNvSpPr>
                    <a:spLocks/>
                  </p:cNvSpPr>
                  <p:nvPr/>
                </p:nvSpPr>
                <p:spPr bwMode="auto">
                  <a:xfrm>
                    <a:off x="7933704" y="2101304"/>
                    <a:ext cx="657113" cy="1948681"/>
                  </a:xfrm>
                  <a:custGeom>
                    <a:avLst/>
                    <a:gdLst>
                      <a:gd name="T0" fmla="*/ 0 w 203"/>
                      <a:gd name="T1" fmla="*/ 602 h 602"/>
                      <a:gd name="T2" fmla="*/ 0 w 203"/>
                      <a:gd name="T3" fmla="*/ 74 h 602"/>
                      <a:gd name="T4" fmla="*/ 203 w 203"/>
                      <a:gd name="T5" fmla="*/ 0 h 602"/>
                      <a:gd name="T6" fmla="*/ 203 w 203"/>
                      <a:gd name="T7" fmla="*/ 529 h 602"/>
                      <a:gd name="T8" fmla="*/ 0 w 203"/>
                      <a:gd name="T9" fmla="*/ 602 h 60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03" h="602">
                        <a:moveTo>
                          <a:pt x="0" y="602"/>
                        </a:moveTo>
                        <a:lnTo>
                          <a:pt x="0" y="74"/>
                        </a:lnTo>
                        <a:lnTo>
                          <a:pt x="203" y="0"/>
                        </a:lnTo>
                        <a:lnTo>
                          <a:pt x="203" y="529"/>
                        </a:lnTo>
                        <a:lnTo>
                          <a:pt x="0" y="602"/>
                        </a:lnTo>
                        <a:close/>
                      </a:path>
                    </a:pathLst>
                  </a:custGeom>
                  <a:solidFill>
                    <a:srgbClr val="AC2F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02" name="Freeform 101"/>
                  <p:cNvSpPr>
                    <a:spLocks/>
                  </p:cNvSpPr>
                  <p:nvPr/>
                </p:nvSpPr>
                <p:spPr bwMode="auto">
                  <a:xfrm>
                    <a:off x="8590818" y="2101304"/>
                    <a:ext cx="657113" cy="1948681"/>
                  </a:xfrm>
                  <a:custGeom>
                    <a:avLst/>
                    <a:gdLst>
                      <a:gd name="T0" fmla="*/ 203 w 203"/>
                      <a:gd name="T1" fmla="*/ 602 h 602"/>
                      <a:gd name="T2" fmla="*/ 203 w 203"/>
                      <a:gd name="T3" fmla="*/ 74 h 602"/>
                      <a:gd name="T4" fmla="*/ 0 w 203"/>
                      <a:gd name="T5" fmla="*/ 0 h 602"/>
                      <a:gd name="T6" fmla="*/ 0 w 203"/>
                      <a:gd name="T7" fmla="*/ 529 h 602"/>
                      <a:gd name="T8" fmla="*/ 203 w 203"/>
                      <a:gd name="T9" fmla="*/ 602 h 60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03" h="602">
                        <a:moveTo>
                          <a:pt x="203" y="602"/>
                        </a:moveTo>
                        <a:lnTo>
                          <a:pt x="203" y="74"/>
                        </a:lnTo>
                        <a:lnTo>
                          <a:pt x="0" y="0"/>
                        </a:lnTo>
                        <a:lnTo>
                          <a:pt x="0" y="529"/>
                        </a:lnTo>
                        <a:lnTo>
                          <a:pt x="203" y="602"/>
                        </a:lnTo>
                        <a:close/>
                      </a:path>
                    </a:pathLst>
                  </a:custGeom>
                  <a:solidFill>
                    <a:srgbClr val="FF8C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03" name="Freeform 102"/>
                  <p:cNvSpPr>
                    <a:spLocks/>
                  </p:cNvSpPr>
                  <p:nvPr/>
                </p:nvSpPr>
                <p:spPr bwMode="auto">
                  <a:xfrm>
                    <a:off x="8590818" y="2101304"/>
                    <a:ext cx="262198" cy="398152"/>
                  </a:xfrm>
                  <a:custGeom>
                    <a:avLst/>
                    <a:gdLst>
                      <a:gd name="T0" fmla="*/ 81 w 81"/>
                      <a:gd name="T1" fmla="*/ 30 h 123"/>
                      <a:gd name="T2" fmla="*/ 0 w 81"/>
                      <a:gd name="T3" fmla="*/ 0 h 123"/>
                      <a:gd name="T4" fmla="*/ 0 w 81"/>
                      <a:gd name="T5" fmla="*/ 123 h 123"/>
                      <a:gd name="T6" fmla="*/ 81 w 81"/>
                      <a:gd name="T7" fmla="*/ 30 h 12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81" h="123">
                        <a:moveTo>
                          <a:pt x="81" y="30"/>
                        </a:moveTo>
                        <a:lnTo>
                          <a:pt x="0" y="0"/>
                        </a:lnTo>
                        <a:lnTo>
                          <a:pt x="0" y="123"/>
                        </a:lnTo>
                        <a:lnTo>
                          <a:pt x="81" y="30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04" name="Freeform 103"/>
                  <p:cNvSpPr>
                    <a:spLocks/>
                  </p:cNvSpPr>
                  <p:nvPr/>
                </p:nvSpPr>
                <p:spPr bwMode="auto">
                  <a:xfrm>
                    <a:off x="7933704" y="2101304"/>
                    <a:ext cx="657113" cy="1103821"/>
                  </a:xfrm>
                  <a:custGeom>
                    <a:avLst/>
                    <a:gdLst>
                      <a:gd name="T0" fmla="*/ 0 w 203"/>
                      <a:gd name="T1" fmla="*/ 74 h 341"/>
                      <a:gd name="T2" fmla="*/ 0 w 203"/>
                      <a:gd name="T3" fmla="*/ 341 h 341"/>
                      <a:gd name="T4" fmla="*/ 64 w 203"/>
                      <a:gd name="T5" fmla="*/ 334 h 341"/>
                      <a:gd name="T6" fmla="*/ 102 w 203"/>
                      <a:gd name="T7" fmla="*/ 334 h 341"/>
                      <a:gd name="T8" fmla="*/ 177 w 203"/>
                      <a:gd name="T9" fmla="*/ 271 h 341"/>
                      <a:gd name="T10" fmla="*/ 198 w 203"/>
                      <a:gd name="T11" fmla="*/ 129 h 341"/>
                      <a:gd name="T12" fmla="*/ 203 w 203"/>
                      <a:gd name="T13" fmla="*/ 123 h 341"/>
                      <a:gd name="T14" fmla="*/ 203 w 203"/>
                      <a:gd name="T15" fmla="*/ 0 h 341"/>
                      <a:gd name="T16" fmla="*/ 0 w 203"/>
                      <a:gd name="T17" fmla="*/ 74 h 34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3" h="341">
                        <a:moveTo>
                          <a:pt x="0" y="74"/>
                        </a:moveTo>
                        <a:lnTo>
                          <a:pt x="0" y="341"/>
                        </a:lnTo>
                        <a:lnTo>
                          <a:pt x="64" y="334"/>
                        </a:lnTo>
                        <a:lnTo>
                          <a:pt x="102" y="334"/>
                        </a:lnTo>
                        <a:lnTo>
                          <a:pt x="177" y="271"/>
                        </a:lnTo>
                        <a:lnTo>
                          <a:pt x="198" y="129"/>
                        </a:lnTo>
                        <a:lnTo>
                          <a:pt x="203" y="123"/>
                        </a:lnTo>
                        <a:lnTo>
                          <a:pt x="203" y="0"/>
                        </a:lnTo>
                        <a:lnTo>
                          <a:pt x="0" y="74"/>
                        </a:lnTo>
                        <a:close/>
                      </a:path>
                    </a:pathLst>
                  </a:custGeom>
                  <a:solidFill>
                    <a:schemeClr val="bg1">
                      <a:lumMod val="8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05" name="Freeform 104"/>
                  <p:cNvSpPr>
                    <a:spLocks/>
                  </p:cNvSpPr>
                  <p:nvPr/>
                </p:nvSpPr>
                <p:spPr bwMode="auto">
                  <a:xfrm>
                    <a:off x="7351042" y="2127200"/>
                    <a:ext cx="582662" cy="1207405"/>
                  </a:xfrm>
                  <a:custGeom>
                    <a:avLst/>
                    <a:gdLst>
                      <a:gd name="T0" fmla="*/ 180 w 180"/>
                      <a:gd name="T1" fmla="*/ 66 h 373"/>
                      <a:gd name="T2" fmla="*/ 0 w 180"/>
                      <a:gd name="T3" fmla="*/ 0 h 373"/>
                      <a:gd name="T4" fmla="*/ 0 w 180"/>
                      <a:gd name="T5" fmla="*/ 246 h 373"/>
                      <a:gd name="T6" fmla="*/ 41 w 180"/>
                      <a:gd name="T7" fmla="*/ 228 h 373"/>
                      <a:gd name="T8" fmla="*/ 72 w 180"/>
                      <a:gd name="T9" fmla="*/ 256 h 373"/>
                      <a:gd name="T10" fmla="*/ 52 w 180"/>
                      <a:gd name="T11" fmla="*/ 297 h 373"/>
                      <a:gd name="T12" fmla="*/ 90 w 180"/>
                      <a:gd name="T13" fmla="*/ 321 h 373"/>
                      <a:gd name="T14" fmla="*/ 152 w 180"/>
                      <a:gd name="T15" fmla="*/ 373 h 373"/>
                      <a:gd name="T16" fmla="*/ 180 w 180"/>
                      <a:gd name="T17" fmla="*/ 333 h 373"/>
                      <a:gd name="T18" fmla="*/ 180 w 180"/>
                      <a:gd name="T19" fmla="*/ 66 h 37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180" h="373">
                        <a:moveTo>
                          <a:pt x="180" y="66"/>
                        </a:moveTo>
                        <a:lnTo>
                          <a:pt x="0" y="0"/>
                        </a:lnTo>
                        <a:lnTo>
                          <a:pt x="0" y="246"/>
                        </a:lnTo>
                        <a:lnTo>
                          <a:pt x="41" y="228"/>
                        </a:lnTo>
                        <a:lnTo>
                          <a:pt x="72" y="256"/>
                        </a:lnTo>
                        <a:lnTo>
                          <a:pt x="52" y="297"/>
                        </a:lnTo>
                        <a:lnTo>
                          <a:pt x="90" y="321"/>
                        </a:lnTo>
                        <a:lnTo>
                          <a:pt x="152" y="373"/>
                        </a:lnTo>
                        <a:lnTo>
                          <a:pt x="180" y="333"/>
                        </a:lnTo>
                        <a:lnTo>
                          <a:pt x="180" y="66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06" name="Freeform 105"/>
                  <p:cNvSpPr>
                    <a:spLocks/>
                  </p:cNvSpPr>
                  <p:nvPr/>
                </p:nvSpPr>
                <p:spPr bwMode="auto">
                  <a:xfrm>
                    <a:off x="9247931" y="2567434"/>
                    <a:ext cx="582662" cy="1482551"/>
                  </a:xfrm>
                  <a:custGeom>
                    <a:avLst/>
                    <a:gdLst>
                      <a:gd name="T0" fmla="*/ 180 w 180"/>
                      <a:gd name="T1" fmla="*/ 392 h 458"/>
                      <a:gd name="T2" fmla="*/ 180 w 180"/>
                      <a:gd name="T3" fmla="*/ 64 h 458"/>
                      <a:gd name="T4" fmla="*/ 140 w 180"/>
                      <a:gd name="T5" fmla="*/ 50 h 458"/>
                      <a:gd name="T6" fmla="*/ 73 w 180"/>
                      <a:gd name="T7" fmla="*/ 50 h 458"/>
                      <a:gd name="T8" fmla="*/ 0 w 180"/>
                      <a:gd name="T9" fmla="*/ 0 h 458"/>
                      <a:gd name="T10" fmla="*/ 0 w 180"/>
                      <a:gd name="T11" fmla="*/ 458 h 458"/>
                      <a:gd name="T12" fmla="*/ 180 w 180"/>
                      <a:gd name="T13" fmla="*/ 392 h 45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80" h="458">
                        <a:moveTo>
                          <a:pt x="180" y="392"/>
                        </a:moveTo>
                        <a:lnTo>
                          <a:pt x="180" y="64"/>
                        </a:lnTo>
                        <a:lnTo>
                          <a:pt x="140" y="50"/>
                        </a:lnTo>
                        <a:lnTo>
                          <a:pt x="73" y="50"/>
                        </a:lnTo>
                        <a:lnTo>
                          <a:pt x="0" y="0"/>
                        </a:lnTo>
                        <a:lnTo>
                          <a:pt x="0" y="458"/>
                        </a:lnTo>
                        <a:lnTo>
                          <a:pt x="180" y="392"/>
                        </a:lnTo>
                        <a:close/>
                      </a:path>
                    </a:pathLst>
                  </a:custGeom>
                  <a:solidFill>
                    <a:schemeClr val="bg1">
                      <a:lumMod val="8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07" name="Freeform 106"/>
                  <p:cNvSpPr>
                    <a:spLocks/>
                  </p:cNvSpPr>
                  <p:nvPr/>
                </p:nvSpPr>
                <p:spPr bwMode="auto">
                  <a:xfrm>
                    <a:off x="8788275" y="2567434"/>
                    <a:ext cx="459656" cy="1482551"/>
                  </a:xfrm>
                  <a:custGeom>
                    <a:avLst/>
                    <a:gdLst>
                      <a:gd name="T0" fmla="*/ 53 w 142"/>
                      <a:gd name="T1" fmla="*/ 426 h 458"/>
                      <a:gd name="T2" fmla="*/ 142 w 142"/>
                      <a:gd name="T3" fmla="*/ 458 h 458"/>
                      <a:gd name="T4" fmla="*/ 142 w 142"/>
                      <a:gd name="T5" fmla="*/ 0 h 458"/>
                      <a:gd name="T6" fmla="*/ 56 w 142"/>
                      <a:gd name="T7" fmla="*/ 10 h 458"/>
                      <a:gd name="T8" fmla="*/ 56 w 142"/>
                      <a:gd name="T9" fmla="*/ 50 h 458"/>
                      <a:gd name="T10" fmla="*/ 56 w 142"/>
                      <a:gd name="T11" fmla="*/ 204 h 458"/>
                      <a:gd name="T12" fmla="*/ 0 w 142"/>
                      <a:gd name="T13" fmla="*/ 274 h 458"/>
                      <a:gd name="T14" fmla="*/ 51 w 142"/>
                      <a:gd name="T15" fmla="*/ 327 h 458"/>
                      <a:gd name="T16" fmla="*/ 53 w 142"/>
                      <a:gd name="T17" fmla="*/ 426 h 45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42" h="458">
                        <a:moveTo>
                          <a:pt x="53" y="426"/>
                        </a:moveTo>
                        <a:lnTo>
                          <a:pt x="142" y="458"/>
                        </a:lnTo>
                        <a:lnTo>
                          <a:pt x="142" y="0"/>
                        </a:lnTo>
                        <a:lnTo>
                          <a:pt x="56" y="10"/>
                        </a:lnTo>
                        <a:lnTo>
                          <a:pt x="56" y="50"/>
                        </a:lnTo>
                        <a:lnTo>
                          <a:pt x="56" y="204"/>
                        </a:lnTo>
                        <a:lnTo>
                          <a:pt x="0" y="274"/>
                        </a:lnTo>
                        <a:lnTo>
                          <a:pt x="51" y="327"/>
                        </a:lnTo>
                        <a:lnTo>
                          <a:pt x="53" y="426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08" name="Freeform 107"/>
                  <p:cNvSpPr>
                    <a:spLocks/>
                  </p:cNvSpPr>
                  <p:nvPr/>
                </p:nvSpPr>
                <p:spPr bwMode="auto">
                  <a:xfrm>
                    <a:off x="7551737" y="2347317"/>
                    <a:ext cx="223354" cy="381967"/>
                  </a:xfrm>
                  <a:custGeom>
                    <a:avLst/>
                    <a:gdLst>
                      <a:gd name="T0" fmla="*/ 69 w 69"/>
                      <a:gd name="T1" fmla="*/ 118 h 118"/>
                      <a:gd name="T2" fmla="*/ 69 w 69"/>
                      <a:gd name="T3" fmla="*/ 25 h 118"/>
                      <a:gd name="T4" fmla="*/ 0 w 69"/>
                      <a:gd name="T5" fmla="*/ 0 h 118"/>
                      <a:gd name="T6" fmla="*/ 0 w 69"/>
                      <a:gd name="T7" fmla="*/ 93 h 118"/>
                      <a:gd name="T8" fmla="*/ 69 w 69"/>
                      <a:gd name="T9" fmla="*/ 118 h 11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69" h="118">
                        <a:moveTo>
                          <a:pt x="69" y="118"/>
                        </a:moveTo>
                        <a:lnTo>
                          <a:pt x="69" y="25"/>
                        </a:lnTo>
                        <a:lnTo>
                          <a:pt x="0" y="0"/>
                        </a:lnTo>
                        <a:lnTo>
                          <a:pt x="0" y="93"/>
                        </a:lnTo>
                        <a:lnTo>
                          <a:pt x="69" y="118"/>
                        </a:lnTo>
                        <a:close/>
                      </a:path>
                    </a:pathLst>
                  </a:custGeom>
                  <a:solidFill>
                    <a:srgbClr val="002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09" name="Freeform 108"/>
                  <p:cNvSpPr>
                    <a:spLocks/>
                  </p:cNvSpPr>
                  <p:nvPr/>
                </p:nvSpPr>
                <p:spPr bwMode="auto">
                  <a:xfrm>
                    <a:off x="7775091" y="2431479"/>
                    <a:ext cx="32370" cy="388441"/>
                  </a:xfrm>
                  <a:custGeom>
                    <a:avLst/>
                    <a:gdLst>
                      <a:gd name="T0" fmla="*/ 0 w 10"/>
                      <a:gd name="T1" fmla="*/ 0 h 120"/>
                      <a:gd name="T2" fmla="*/ 0 w 10"/>
                      <a:gd name="T3" fmla="*/ 1 h 120"/>
                      <a:gd name="T4" fmla="*/ 0 w 10"/>
                      <a:gd name="T5" fmla="*/ 92 h 120"/>
                      <a:gd name="T6" fmla="*/ 10 w 10"/>
                      <a:gd name="T7" fmla="*/ 120 h 120"/>
                      <a:gd name="T8" fmla="*/ 0 w 10"/>
                      <a:gd name="T9" fmla="*/ 0 h 12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0" h="120">
                        <a:moveTo>
                          <a:pt x="0" y="0"/>
                        </a:moveTo>
                        <a:lnTo>
                          <a:pt x="0" y="1"/>
                        </a:lnTo>
                        <a:lnTo>
                          <a:pt x="0" y="92"/>
                        </a:lnTo>
                        <a:lnTo>
                          <a:pt x="10" y="12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AC2F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0" name="Freeform 109"/>
                  <p:cNvSpPr>
                    <a:spLocks/>
                  </p:cNvSpPr>
                  <p:nvPr/>
                </p:nvSpPr>
                <p:spPr bwMode="auto">
                  <a:xfrm>
                    <a:off x="7775091" y="2431479"/>
                    <a:ext cx="32370" cy="388441"/>
                  </a:xfrm>
                  <a:custGeom>
                    <a:avLst/>
                    <a:gdLst>
                      <a:gd name="T0" fmla="*/ 0 w 10"/>
                      <a:gd name="T1" fmla="*/ 0 h 120"/>
                      <a:gd name="T2" fmla="*/ 0 w 10"/>
                      <a:gd name="T3" fmla="*/ 1 h 120"/>
                      <a:gd name="T4" fmla="*/ 0 w 10"/>
                      <a:gd name="T5" fmla="*/ 92 h 120"/>
                      <a:gd name="T6" fmla="*/ 10 w 10"/>
                      <a:gd name="T7" fmla="*/ 120 h 12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0" h="120">
                        <a:moveTo>
                          <a:pt x="0" y="0"/>
                        </a:moveTo>
                        <a:lnTo>
                          <a:pt x="0" y="1"/>
                        </a:lnTo>
                        <a:lnTo>
                          <a:pt x="0" y="92"/>
                        </a:lnTo>
                        <a:lnTo>
                          <a:pt x="10" y="120"/>
                        </a:lnTo>
                      </a:path>
                    </a:pathLst>
                  </a:cu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1" name="Oval 110"/>
                  <p:cNvSpPr>
                    <a:spLocks noChangeArrowheads="1"/>
                  </p:cNvSpPr>
                  <p:nvPr/>
                </p:nvSpPr>
                <p:spPr bwMode="auto">
                  <a:xfrm>
                    <a:off x="7794513" y="2829632"/>
                    <a:ext cx="35607" cy="32370"/>
                  </a:xfrm>
                  <a:prstGeom prst="ellipse">
                    <a:avLst/>
                  </a:prstGeom>
                  <a:solidFill>
                    <a:srgbClr val="3333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2" name="Freeform 111"/>
                  <p:cNvSpPr>
                    <a:spLocks/>
                  </p:cNvSpPr>
                  <p:nvPr/>
                </p:nvSpPr>
                <p:spPr bwMode="auto">
                  <a:xfrm>
                    <a:off x="7564685" y="2373213"/>
                    <a:ext cx="194221" cy="330175"/>
                  </a:xfrm>
                  <a:custGeom>
                    <a:avLst/>
                    <a:gdLst>
                      <a:gd name="T0" fmla="*/ 60 w 60"/>
                      <a:gd name="T1" fmla="*/ 102 h 102"/>
                      <a:gd name="T2" fmla="*/ 60 w 60"/>
                      <a:gd name="T3" fmla="*/ 22 h 102"/>
                      <a:gd name="T4" fmla="*/ 0 w 60"/>
                      <a:gd name="T5" fmla="*/ 0 h 102"/>
                      <a:gd name="T6" fmla="*/ 0 w 60"/>
                      <a:gd name="T7" fmla="*/ 81 h 102"/>
                      <a:gd name="T8" fmla="*/ 60 w 60"/>
                      <a:gd name="T9" fmla="*/ 102 h 10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60" h="102">
                        <a:moveTo>
                          <a:pt x="60" y="102"/>
                        </a:moveTo>
                        <a:lnTo>
                          <a:pt x="60" y="22"/>
                        </a:lnTo>
                        <a:lnTo>
                          <a:pt x="0" y="0"/>
                        </a:lnTo>
                        <a:lnTo>
                          <a:pt x="0" y="81"/>
                        </a:lnTo>
                        <a:lnTo>
                          <a:pt x="60" y="102"/>
                        </a:lnTo>
                        <a:close/>
                      </a:path>
                    </a:pathLst>
                  </a:custGeom>
                  <a:solidFill>
                    <a:srgbClr val="AC2F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3" name="Freeform 112"/>
                  <p:cNvSpPr>
                    <a:spLocks/>
                  </p:cNvSpPr>
                  <p:nvPr/>
                </p:nvSpPr>
                <p:spPr bwMode="auto">
                  <a:xfrm>
                    <a:off x="9367700" y="2939690"/>
                    <a:ext cx="223354" cy="381967"/>
                  </a:xfrm>
                  <a:custGeom>
                    <a:avLst/>
                    <a:gdLst>
                      <a:gd name="T0" fmla="*/ 69 w 69"/>
                      <a:gd name="T1" fmla="*/ 0 h 118"/>
                      <a:gd name="T2" fmla="*/ 69 w 69"/>
                      <a:gd name="T3" fmla="*/ 93 h 118"/>
                      <a:gd name="T4" fmla="*/ 0 w 69"/>
                      <a:gd name="T5" fmla="*/ 118 h 118"/>
                      <a:gd name="T6" fmla="*/ 0 w 69"/>
                      <a:gd name="T7" fmla="*/ 25 h 118"/>
                      <a:gd name="T8" fmla="*/ 69 w 69"/>
                      <a:gd name="T9" fmla="*/ 0 h 11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69" h="118">
                        <a:moveTo>
                          <a:pt x="69" y="0"/>
                        </a:moveTo>
                        <a:lnTo>
                          <a:pt x="69" y="93"/>
                        </a:lnTo>
                        <a:lnTo>
                          <a:pt x="0" y="118"/>
                        </a:lnTo>
                        <a:lnTo>
                          <a:pt x="0" y="25"/>
                        </a:lnTo>
                        <a:lnTo>
                          <a:pt x="69" y="0"/>
                        </a:lnTo>
                        <a:close/>
                      </a:path>
                    </a:pathLst>
                  </a:custGeom>
                  <a:solidFill>
                    <a:srgbClr val="002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4" name="Freeform 113"/>
                  <p:cNvSpPr>
                    <a:spLocks/>
                  </p:cNvSpPr>
                  <p:nvPr/>
                </p:nvSpPr>
                <p:spPr bwMode="auto">
                  <a:xfrm>
                    <a:off x="9380648" y="2965586"/>
                    <a:ext cx="194221" cy="330175"/>
                  </a:xfrm>
                  <a:custGeom>
                    <a:avLst/>
                    <a:gdLst>
                      <a:gd name="T0" fmla="*/ 60 w 60"/>
                      <a:gd name="T1" fmla="*/ 0 h 102"/>
                      <a:gd name="T2" fmla="*/ 60 w 60"/>
                      <a:gd name="T3" fmla="*/ 80 h 102"/>
                      <a:gd name="T4" fmla="*/ 0 w 60"/>
                      <a:gd name="T5" fmla="*/ 102 h 102"/>
                      <a:gd name="T6" fmla="*/ 0 w 60"/>
                      <a:gd name="T7" fmla="*/ 22 h 102"/>
                      <a:gd name="T8" fmla="*/ 60 w 60"/>
                      <a:gd name="T9" fmla="*/ 0 h 10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60" h="102">
                        <a:moveTo>
                          <a:pt x="60" y="0"/>
                        </a:moveTo>
                        <a:lnTo>
                          <a:pt x="60" y="80"/>
                        </a:lnTo>
                        <a:lnTo>
                          <a:pt x="0" y="102"/>
                        </a:lnTo>
                        <a:lnTo>
                          <a:pt x="0" y="22"/>
                        </a:lnTo>
                        <a:lnTo>
                          <a:pt x="60" y="0"/>
                        </a:lnTo>
                        <a:close/>
                      </a:path>
                    </a:pathLst>
                  </a:custGeom>
                  <a:solidFill>
                    <a:srgbClr val="FAA33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5" name="Freeform 114"/>
                  <p:cNvSpPr>
                    <a:spLocks/>
                  </p:cNvSpPr>
                  <p:nvPr/>
                </p:nvSpPr>
                <p:spPr bwMode="auto">
                  <a:xfrm>
                    <a:off x="9591054" y="2939690"/>
                    <a:ext cx="32370" cy="391678"/>
                  </a:xfrm>
                  <a:custGeom>
                    <a:avLst/>
                    <a:gdLst>
                      <a:gd name="T0" fmla="*/ 0 w 10"/>
                      <a:gd name="T1" fmla="*/ 0 h 121"/>
                      <a:gd name="T2" fmla="*/ 0 w 10"/>
                      <a:gd name="T3" fmla="*/ 2 h 121"/>
                      <a:gd name="T4" fmla="*/ 0 w 10"/>
                      <a:gd name="T5" fmla="*/ 93 h 121"/>
                      <a:gd name="T6" fmla="*/ 10 w 10"/>
                      <a:gd name="T7" fmla="*/ 121 h 121"/>
                      <a:gd name="T8" fmla="*/ 0 w 10"/>
                      <a:gd name="T9" fmla="*/ 0 h 12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0" h="121">
                        <a:moveTo>
                          <a:pt x="0" y="0"/>
                        </a:moveTo>
                        <a:lnTo>
                          <a:pt x="0" y="2"/>
                        </a:lnTo>
                        <a:lnTo>
                          <a:pt x="0" y="93"/>
                        </a:lnTo>
                        <a:lnTo>
                          <a:pt x="10" y="121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AA33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6" name="Freeform 115"/>
                  <p:cNvSpPr>
                    <a:spLocks/>
                  </p:cNvSpPr>
                  <p:nvPr/>
                </p:nvSpPr>
                <p:spPr bwMode="auto">
                  <a:xfrm>
                    <a:off x="9591054" y="2939690"/>
                    <a:ext cx="32370" cy="391678"/>
                  </a:xfrm>
                  <a:custGeom>
                    <a:avLst/>
                    <a:gdLst>
                      <a:gd name="T0" fmla="*/ 0 w 10"/>
                      <a:gd name="T1" fmla="*/ 0 h 121"/>
                      <a:gd name="T2" fmla="*/ 0 w 10"/>
                      <a:gd name="T3" fmla="*/ 2 h 121"/>
                      <a:gd name="T4" fmla="*/ 0 w 10"/>
                      <a:gd name="T5" fmla="*/ 93 h 121"/>
                      <a:gd name="T6" fmla="*/ 10 w 10"/>
                      <a:gd name="T7" fmla="*/ 121 h 12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0" h="121">
                        <a:moveTo>
                          <a:pt x="0" y="0"/>
                        </a:moveTo>
                        <a:lnTo>
                          <a:pt x="0" y="2"/>
                        </a:lnTo>
                        <a:lnTo>
                          <a:pt x="0" y="93"/>
                        </a:lnTo>
                        <a:lnTo>
                          <a:pt x="10" y="121"/>
                        </a:lnTo>
                      </a:path>
                    </a:pathLst>
                  </a:cu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7" name="Oval 116"/>
                  <p:cNvSpPr>
                    <a:spLocks noChangeArrowheads="1"/>
                  </p:cNvSpPr>
                  <p:nvPr/>
                </p:nvSpPr>
                <p:spPr bwMode="auto">
                  <a:xfrm>
                    <a:off x="9610476" y="3337843"/>
                    <a:ext cx="35607" cy="32370"/>
                  </a:xfrm>
                  <a:prstGeom prst="ellipse">
                    <a:avLst/>
                  </a:prstGeom>
                  <a:solidFill>
                    <a:srgbClr val="3333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8" name="Freeform 117"/>
                  <p:cNvSpPr>
                    <a:spLocks/>
                  </p:cNvSpPr>
                  <p:nvPr/>
                </p:nvSpPr>
                <p:spPr bwMode="auto">
                  <a:xfrm>
                    <a:off x="7457864" y="3574144"/>
                    <a:ext cx="123006" cy="178036"/>
                  </a:xfrm>
                  <a:custGeom>
                    <a:avLst/>
                    <a:gdLst>
                      <a:gd name="T0" fmla="*/ 10 w 38"/>
                      <a:gd name="T1" fmla="*/ 6 h 55"/>
                      <a:gd name="T2" fmla="*/ 0 w 38"/>
                      <a:gd name="T3" fmla="*/ 21 h 55"/>
                      <a:gd name="T4" fmla="*/ 6 w 38"/>
                      <a:gd name="T5" fmla="*/ 24 h 55"/>
                      <a:gd name="T6" fmla="*/ 12 w 38"/>
                      <a:gd name="T7" fmla="*/ 13 h 55"/>
                      <a:gd name="T8" fmla="*/ 12 w 38"/>
                      <a:gd name="T9" fmla="*/ 54 h 55"/>
                      <a:gd name="T10" fmla="*/ 18 w 38"/>
                      <a:gd name="T11" fmla="*/ 55 h 55"/>
                      <a:gd name="T12" fmla="*/ 18 w 38"/>
                      <a:gd name="T13" fmla="*/ 14 h 55"/>
                      <a:gd name="T14" fmla="*/ 30 w 38"/>
                      <a:gd name="T15" fmla="*/ 32 h 55"/>
                      <a:gd name="T16" fmla="*/ 38 w 38"/>
                      <a:gd name="T17" fmla="*/ 35 h 55"/>
                      <a:gd name="T18" fmla="*/ 22 w 38"/>
                      <a:gd name="T19" fmla="*/ 10 h 55"/>
                      <a:gd name="T20" fmla="*/ 15 w 38"/>
                      <a:gd name="T21" fmla="*/ 0 h 55"/>
                      <a:gd name="T22" fmla="*/ 10 w 38"/>
                      <a:gd name="T23" fmla="*/ 6 h 5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38" h="55">
                        <a:moveTo>
                          <a:pt x="10" y="6"/>
                        </a:moveTo>
                        <a:lnTo>
                          <a:pt x="0" y="21"/>
                        </a:lnTo>
                        <a:lnTo>
                          <a:pt x="6" y="24"/>
                        </a:lnTo>
                        <a:lnTo>
                          <a:pt x="12" y="13"/>
                        </a:lnTo>
                        <a:lnTo>
                          <a:pt x="12" y="54"/>
                        </a:lnTo>
                        <a:lnTo>
                          <a:pt x="18" y="55"/>
                        </a:lnTo>
                        <a:lnTo>
                          <a:pt x="18" y="14"/>
                        </a:lnTo>
                        <a:lnTo>
                          <a:pt x="30" y="32"/>
                        </a:lnTo>
                        <a:lnTo>
                          <a:pt x="38" y="35"/>
                        </a:lnTo>
                        <a:lnTo>
                          <a:pt x="22" y="10"/>
                        </a:lnTo>
                        <a:lnTo>
                          <a:pt x="15" y="0"/>
                        </a:lnTo>
                        <a:lnTo>
                          <a:pt x="10" y="6"/>
                        </a:lnTo>
                        <a:close/>
                      </a:path>
                    </a:pathLst>
                  </a:custGeom>
                  <a:solidFill>
                    <a:srgbClr val="3333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9" name="Freeform 118"/>
                  <p:cNvSpPr>
                    <a:spLocks/>
                  </p:cNvSpPr>
                  <p:nvPr/>
                </p:nvSpPr>
                <p:spPr bwMode="auto">
                  <a:xfrm>
                    <a:off x="7805140" y="2854827"/>
                    <a:ext cx="1837622" cy="665829"/>
                  </a:xfrm>
                  <a:custGeom>
                    <a:avLst/>
                    <a:gdLst>
                      <a:gd name="T0" fmla="*/ 1211 w 1211"/>
                      <a:gd name="T1" fmla="*/ 364 h 1702"/>
                      <a:gd name="T2" fmla="*/ 1189 w 1211"/>
                      <a:gd name="T3" fmla="*/ 337 h 1702"/>
                      <a:gd name="T4" fmla="*/ 968 w 1211"/>
                      <a:gd name="T5" fmla="*/ 420 h 1702"/>
                      <a:gd name="T6" fmla="*/ 922 w 1211"/>
                      <a:gd name="T7" fmla="*/ 387 h 1702"/>
                      <a:gd name="T8" fmla="*/ 871 w 1211"/>
                      <a:gd name="T9" fmla="*/ 296 h 1702"/>
                      <a:gd name="T10" fmla="*/ 790 w 1211"/>
                      <a:gd name="T11" fmla="*/ 339 h 1702"/>
                      <a:gd name="T12" fmla="*/ 427 w 1211"/>
                      <a:gd name="T13" fmla="*/ 51 h 1702"/>
                      <a:gd name="T14" fmla="*/ 326 w 1211"/>
                      <a:gd name="T15" fmla="*/ 70 h 1702"/>
                      <a:gd name="T16" fmla="*/ 297 w 1211"/>
                      <a:gd name="T17" fmla="*/ 0 h 1702"/>
                      <a:gd name="T18" fmla="*/ 237 w 1211"/>
                      <a:gd name="T19" fmla="*/ 43 h 1702"/>
                      <a:gd name="T20" fmla="*/ 104 w 1211"/>
                      <a:gd name="T21" fmla="*/ 3 h 1702"/>
                      <a:gd name="T22" fmla="*/ 23 w 1211"/>
                      <a:gd name="T23" fmla="*/ 28 h 1702"/>
                      <a:gd name="T24" fmla="*/ 14 w 1211"/>
                      <a:gd name="T25" fmla="*/ 8 h 1702"/>
                      <a:gd name="T26" fmla="*/ 0 w 1211"/>
                      <a:gd name="T27" fmla="*/ 15 h 1702"/>
                      <a:gd name="T28" fmla="*/ 15 w 1211"/>
                      <a:gd name="T29" fmla="*/ 47 h 1702"/>
                      <a:gd name="T30" fmla="*/ 104 w 1211"/>
                      <a:gd name="T31" fmla="*/ 20 h 1702"/>
                      <a:gd name="T32" fmla="*/ 240 w 1211"/>
                      <a:gd name="T33" fmla="*/ 60 h 1702"/>
                      <a:gd name="T34" fmla="*/ 290 w 1211"/>
                      <a:gd name="T35" fmla="*/ 23 h 1702"/>
                      <a:gd name="T36" fmla="*/ 317 w 1211"/>
                      <a:gd name="T37" fmla="*/ 88 h 1702"/>
                      <a:gd name="T38" fmla="*/ 423 w 1211"/>
                      <a:gd name="T39" fmla="*/ 67 h 1702"/>
                      <a:gd name="T40" fmla="*/ 788 w 1211"/>
                      <a:gd name="T41" fmla="*/ 357 h 1702"/>
                      <a:gd name="T42" fmla="*/ 865 w 1211"/>
                      <a:gd name="T43" fmla="*/ 317 h 1702"/>
                      <a:gd name="T44" fmla="*/ 910 w 1211"/>
                      <a:gd name="T45" fmla="*/ 397 h 1702"/>
                      <a:gd name="T46" fmla="*/ 966 w 1211"/>
                      <a:gd name="T47" fmla="*/ 437 h 1702"/>
                      <a:gd name="T48" fmla="*/ 1184 w 1211"/>
                      <a:gd name="T49" fmla="*/ 355 h 1702"/>
                      <a:gd name="T50" fmla="*/ 1191 w 1211"/>
                      <a:gd name="T51" fmla="*/ 364 h 1702"/>
                      <a:gd name="T52" fmla="*/ 1158 w 1211"/>
                      <a:gd name="T53" fmla="*/ 401 h 1702"/>
                      <a:gd name="T54" fmla="*/ 1158 w 1211"/>
                      <a:gd name="T55" fmla="*/ 472 h 1702"/>
                      <a:gd name="T56" fmla="*/ 1102 w 1211"/>
                      <a:gd name="T57" fmla="*/ 493 h 1702"/>
                      <a:gd name="T58" fmla="*/ 1102 w 1211"/>
                      <a:gd name="T59" fmla="*/ 554 h 1702"/>
                      <a:gd name="T60" fmla="*/ 942 w 1211"/>
                      <a:gd name="T61" fmla="*/ 650 h 1702"/>
                      <a:gd name="T62" fmla="*/ 499 w 1211"/>
                      <a:gd name="T63" fmla="*/ 532 h 1702"/>
                      <a:gd name="T64" fmla="*/ 499 w 1211"/>
                      <a:gd name="T65" fmla="*/ 1702 h 1702"/>
                      <a:gd name="T66" fmla="*/ 506 w 1211"/>
                      <a:gd name="T67" fmla="*/ 1702 h 1702"/>
                      <a:gd name="T68" fmla="*/ 514 w 1211"/>
                      <a:gd name="T69" fmla="*/ 1702 h 1702"/>
                      <a:gd name="T70" fmla="*/ 514 w 1211"/>
                      <a:gd name="T71" fmla="*/ 552 h 1702"/>
                      <a:gd name="T72" fmla="*/ 942 w 1211"/>
                      <a:gd name="T73" fmla="*/ 666 h 1702"/>
                      <a:gd name="T74" fmla="*/ 945 w 1211"/>
                      <a:gd name="T75" fmla="*/ 667 h 1702"/>
                      <a:gd name="T76" fmla="*/ 1118 w 1211"/>
                      <a:gd name="T77" fmla="*/ 563 h 1702"/>
                      <a:gd name="T78" fmla="*/ 1118 w 1211"/>
                      <a:gd name="T79" fmla="*/ 504 h 1702"/>
                      <a:gd name="T80" fmla="*/ 1173 w 1211"/>
                      <a:gd name="T81" fmla="*/ 483 h 1702"/>
                      <a:gd name="T82" fmla="*/ 1173 w 1211"/>
                      <a:gd name="T83" fmla="*/ 407 h 1702"/>
                      <a:gd name="T84" fmla="*/ 1211 w 1211"/>
                      <a:gd name="T85" fmla="*/ 364 h 1702"/>
                      <a:gd name="connsiteX0" fmla="*/ 10000 w 10000"/>
                      <a:gd name="connsiteY0" fmla="*/ 2139 h 10000"/>
                      <a:gd name="connsiteX1" fmla="*/ 9818 w 10000"/>
                      <a:gd name="connsiteY1" fmla="*/ 1980 h 10000"/>
                      <a:gd name="connsiteX2" fmla="*/ 7993 w 10000"/>
                      <a:gd name="connsiteY2" fmla="*/ 2468 h 10000"/>
                      <a:gd name="connsiteX3" fmla="*/ 7614 w 10000"/>
                      <a:gd name="connsiteY3" fmla="*/ 2274 h 10000"/>
                      <a:gd name="connsiteX4" fmla="*/ 7192 w 10000"/>
                      <a:gd name="connsiteY4" fmla="*/ 1739 h 10000"/>
                      <a:gd name="connsiteX5" fmla="*/ 6524 w 10000"/>
                      <a:gd name="connsiteY5" fmla="*/ 1992 h 10000"/>
                      <a:gd name="connsiteX6" fmla="*/ 3526 w 10000"/>
                      <a:gd name="connsiteY6" fmla="*/ 300 h 10000"/>
                      <a:gd name="connsiteX7" fmla="*/ 2692 w 10000"/>
                      <a:gd name="connsiteY7" fmla="*/ 411 h 10000"/>
                      <a:gd name="connsiteX8" fmla="*/ 2453 w 10000"/>
                      <a:gd name="connsiteY8" fmla="*/ 0 h 10000"/>
                      <a:gd name="connsiteX9" fmla="*/ 1957 w 10000"/>
                      <a:gd name="connsiteY9" fmla="*/ 253 h 10000"/>
                      <a:gd name="connsiteX10" fmla="*/ 859 w 10000"/>
                      <a:gd name="connsiteY10" fmla="*/ 18 h 10000"/>
                      <a:gd name="connsiteX11" fmla="*/ 190 w 10000"/>
                      <a:gd name="connsiteY11" fmla="*/ 165 h 10000"/>
                      <a:gd name="connsiteX12" fmla="*/ 116 w 10000"/>
                      <a:gd name="connsiteY12" fmla="*/ 47 h 10000"/>
                      <a:gd name="connsiteX13" fmla="*/ 0 w 10000"/>
                      <a:gd name="connsiteY13" fmla="*/ 88 h 10000"/>
                      <a:gd name="connsiteX14" fmla="*/ 124 w 10000"/>
                      <a:gd name="connsiteY14" fmla="*/ 276 h 10000"/>
                      <a:gd name="connsiteX15" fmla="*/ 859 w 10000"/>
                      <a:gd name="connsiteY15" fmla="*/ 118 h 10000"/>
                      <a:gd name="connsiteX16" fmla="*/ 1982 w 10000"/>
                      <a:gd name="connsiteY16" fmla="*/ 353 h 10000"/>
                      <a:gd name="connsiteX17" fmla="*/ 2395 w 10000"/>
                      <a:gd name="connsiteY17" fmla="*/ 135 h 10000"/>
                      <a:gd name="connsiteX18" fmla="*/ 2618 w 10000"/>
                      <a:gd name="connsiteY18" fmla="*/ 517 h 10000"/>
                      <a:gd name="connsiteX19" fmla="*/ 3493 w 10000"/>
                      <a:gd name="connsiteY19" fmla="*/ 394 h 10000"/>
                      <a:gd name="connsiteX20" fmla="*/ 6507 w 10000"/>
                      <a:gd name="connsiteY20" fmla="*/ 2098 h 10000"/>
                      <a:gd name="connsiteX21" fmla="*/ 7143 w 10000"/>
                      <a:gd name="connsiteY21" fmla="*/ 1863 h 10000"/>
                      <a:gd name="connsiteX22" fmla="*/ 7514 w 10000"/>
                      <a:gd name="connsiteY22" fmla="*/ 2333 h 10000"/>
                      <a:gd name="connsiteX23" fmla="*/ 7977 w 10000"/>
                      <a:gd name="connsiteY23" fmla="*/ 2568 h 10000"/>
                      <a:gd name="connsiteX24" fmla="*/ 9777 w 10000"/>
                      <a:gd name="connsiteY24" fmla="*/ 2086 h 10000"/>
                      <a:gd name="connsiteX25" fmla="*/ 9835 w 10000"/>
                      <a:gd name="connsiteY25" fmla="*/ 2139 h 10000"/>
                      <a:gd name="connsiteX26" fmla="*/ 9562 w 10000"/>
                      <a:gd name="connsiteY26" fmla="*/ 2356 h 10000"/>
                      <a:gd name="connsiteX27" fmla="*/ 9562 w 10000"/>
                      <a:gd name="connsiteY27" fmla="*/ 2773 h 10000"/>
                      <a:gd name="connsiteX28" fmla="*/ 9100 w 10000"/>
                      <a:gd name="connsiteY28" fmla="*/ 2897 h 10000"/>
                      <a:gd name="connsiteX29" fmla="*/ 9100 w 10000"/>
                      <a:gd name="connsiteY29" fmla="*/ 3255 h 10000"/>
                      <a:gd name="connsiteX30" fmla="*/ 7779 w 10000"/>
                      <a:gd name="connsiteY30" fmla="*/ 3819 h 10000"/>
                      <a:gd name="connsiteX31" fmla="*/ 4121 w 10000"/>
                      <a:gd name="connsiteY31" fmla="*/ 3126 h 10000"/>
                      <a:gd name="connsiteX32" fmla="*/ 4121 w 10000"/>
                      <a:gd name="connsiteY32" fmla="*/ 10000 h 10000"/>
                      <a:gd name="connsiteX33" fmla="*/ 4178 w 10000"/>
                      <a:gd name="connsiteY33" fmla="*/ 10000 h 10000"/>
                      <a:gd name="connsiteX34" fmla="*/ 4244 w 10000"/>
                      <a:gd name="connsiteY34" fmla="*/ 3243 h 10000"/>
                      <a:gd name="connsiteX35" fmla="*/ 7779 w 10000"/>
                      <a:gd name="connsiteY35" fmla="*/ 3913 h 10000"/>
                      <a:gd name="connsiteX36" fmla="*/ 7803 w 10000"/>
                      <a:gd name="connsiteY36" fmla="*/ 3919 h 10000"/>
                      <a:gd name="connsiteX37" fmla="*/ 9232 w 10000"/>
                      <a:gd name="connsiteY37" fmla="*/ 3308 h 10000"/>
                      <a:gd name="connsiteX38" fmla="*/ 9232 w 10000"/>
                      <a:gd name="connsiteY38" fmla="*/ 2961 h 10000"/>
                      <a:gd name="connsiteX39" fmla="*/ 9686 w 10000"/>
                      <a:gd name="connsiteY39" fmla="*/ 2838 h 10000"/>
                      <a:gd name="connsiteX40" fmla="*/ 9686 w 10000"/>
                      <a:gd name="connsiteY40" fmla="*/ 2391 h 10000"/>
                      <a:gd name="connsiteX41" fmla="*/ 10000 w 10000"/>
                      <a:gd name="connsiteY41" fmla="*/ 2139 h 10000"/>
                      <a:gd name="connsiteX0" fmla="*/ 10000 w 10000"/>
                      <a:gd name="connsiteY0" fmla="*/ 2139 h 10000"/>
                      <a:gd name="connsiteX1" fmla="*/ 9818 w 10000"/>
                      <a:gd name="connsiteY1" fmla="*/ 1980 h 10000"/>
                      <a:gd name="connsiteX2" fmla="*/ 7993 w 10000"/>
                      <a:gd name="connsiteY2" fmla="*/ 2468 h 10000"/>
                      <a:gd name="connsiteX3" fmla="*/ 7614 w 10000"/>
                      <a:gd name="connsiteY3" fmla="*/ 2274 h 10000"/>
                      <a:gd name="connsiteX4" fmla="*/ 7192 w 10000"/>
                      <a:gd name="connsiteY4" fmla="*/ 1739 h 10000"/>
                      <a:gd name="connsiteX5" fmla="*/ 6524 w 10000"/>
                      <a:gd name="connsiteY5" fmla="*/ 1992 h 10000"/>
                      <a:gd name="connsiteX6" fmla="*/ 3526 w 10000"/>
                      <a:gd name="connsiteY6" fmla="*/ 300 h 10000"/>
                      <a:gd name="connsiteX7" fmla="*/ 2692 w 10000"/>
                      <a:gd name="connsiteY7" fmla="*/ 411 h 10000"/>
                      <a:gd name="connsiteX8" fmla="*/ 2453 w 10000"/>
                      <a:gd name="connsiteY8" fmla="*/ 0 h 10000"/>
                      <a:gd name="connsiteX9" fmla="*/ 1957 w 10000"/>
                      <a:gd name="connsiteY9" fmla="*/ 253 h 10000"/>
                      <a:gd name="connsiteX10" fmla="*/ 859 w 10000"/>
                      <a:gd name="connsiteY10" fmla="*/ 18 h 10000"/>
                      <a:gd name="connsiteX11" fmla="*/ 190 w 10000"/>
                      <a:gd name="connsiteY11" fmla="*/ 165 h 10000"/>
                      <a:gd name="connsiteX12" fmla="*/ 116 w 10000"/>
                      <a:gd name="connsiteY12" fmla="*/ 47 h 10000"/>
                      <a:gd name="connsiteX13" fmla="*/ 0 w 10000"/>
                      <a:gd name="connsiteY13" fmla="*/ 88 h 10000"/>
                      <a:gd name="connsiteX14" fmla="*/ 124 w 10000"/>
                      <a:gd name="connsiteY14" fmla="*/ 276 h 10000"/>
                      <a:gd name="connsiteX15" fmla="*/ 859 w 10000"/>
                      <a:gd name="connsiteY15" fmla="*/ 118 h 10000"/>
                      <a:gd name="connsiteX16" fmla="*/ 1982 w 10000"/>
                      <a:gd name="connsiteY16" fmla="*/ 353 h 10000"/>
                      <a:gd name="connsiteX17" fmla="*/ 2395 w 10000"/>
                      <a:gd name="connsiteY17" fmla="*/ 135 h 10000"/>
                      <a:gd name="connsiteX18" fmla="*/ 2618 w 10000"/>
                      <a:gd name="connsiteY18" fmla="*/ 517 h 10000"/>
                      <a:gd name="connsiteX19" fmla="*/ 3493 w 10000"/>
                      <a:gd name="connsiteY19" fmla="*/ 394 h 10000"/>
                      <a:gd name="connsiteX20" fmla="*/ 6507 w 10000"/>
                      <a:gd name="connsiteY20" fmla="*/ 2098 h 10000"/>
                      <a:gd name="connsiteX21" fmla="*/ 7143 w 10000"/>
                      <a:gd name="connsiteY21" fmla="*/ 1863 h 10000"/>
                      <a:gd name="connsiteX22" fmla="*/ 7514 w 10000"/>
                      <a:gd name="connsiteY22" fmla="*/ 2333 h 10000"/>
                      <a:gd name="connsiteX23" fmla="*/ 7977 w 10000"/>
                      <a:gd name="connsiteY23" fmla="*/ 2568 h 10000"/>
                      <a:gd name="connsiteX24" fmla="*/ 9777 w 10000"/>
                      <a:gd name="connsiteY24" fmla="*/ 2086 h 10000"/>
                      <a:gd name="connsiteX25" fmla="*/ 9835 w 10000"/>
                      <a:gd name="connsiteY25" fmla="*/ 2139 h 10000"/>
                      <a:gd name="connsiteX26" fmla="*/ 9562 w 10000"/>
                      <a:gd name="connsiteY26" fmla="*/ 2356 h 10000"/>
                      <a:gd name="connsiteX27" fmla="*/ 9562 w 10000"/>
                      <a:gd name="connsiteY27" fmla="*/ 2773 h 10000"/>
                      <a:gd name="connsiteX28" fmla="*/ 9100 w 10000"/>
                      <a:gd name="connsiteY28" fmla="*/ 2897 h 10000"/>
                      <a:gd name="connsiteX29" fmla="*/ 9100 w 10000"/>
                      <a:gd name="connsiteY29" fmla="*/ 3255 h 10000"/>
                      <a:gd name="connsiteX30" fmla="*/ 7779 w 10000"/>
                      <a:gd name="connsiteY30" fmla="*/ 3819 h 10000"/>
                      <a:gd name="connsiteX31" fmla="*/ 4121 w 10000"/>
                      <a:gd name="connsiteY31" fmla="*/ 3126 h 10000"/>
                      <a:gd name="connsiteX32" fmla="*/ 4121 w 10000"/>
                      <a:gd name="connsiteY32" fmla="*/ 10000 h 10000"/>
                      <a:gd name="connsiteX33" fmla="*/ 4178 w 10000"/>
                      <a:gd name="connsiteY33" fmla="*/ 10000 h 10000"/>
                      <a:gd name="connsiteX34" fmla="*/ 7779 w 10000"/>
                      <a:gd name="connsiteY34" fmla="*/ 3913 h 10000"/>
                      <a:gd name="connsiteX35" fmla="*/ 7803 w 10000"/>
                      <a:gd name="connsiteY35" fmla="*/ 3919 h 10000"/>
                      <a:gd name="connsiteX36" fmla="*/ 9232 w 10000"/>
                      <a:gd name="connsiteY36" fmla="*/ 3308 h 10000"/>
                      <a:gd name="connsiteX37" fmla="*/ 9232 w 10000"/>
                      <a:gd name="connsiteY37" fmla="*/ 2961 h 10000"/>
                      <a:gd name="connsiteX38" fmla="*/ 9686 w 10000"/>
                      <a:gd name="connsiteY38" fmla="*/ 2838 h 10000"/>
                      <a:gd name="connsiteX39" fmla="*/ 9686 w 10000"/>
                      <a:gd name="connsiteY39" fmla="*/ 2391 h 10000"/>
                      <a:gd name="connsiteX40" fmla="*/ 10000 w 10000"/>
                      <a:gd name="connsiteY40" fmla="*/ 2139 h 10000"/>
                      <a:gd name="connsiteX0" fmla="*/ 10000 w 10000"/>
                      <a:gd name="connsiteY0" fmla="*/ 2139 h 10000"/>
                      <a:gd name="connsiteX1" fmla="*/ 9818 w 10000"/>
                      <a:gd name="connsiteY1" fmla="*/ 1980 h 10000"/>
                      <a:gd name="connsiteX2" fmla="*/ 7993 w 10000"/>
                      <a:gd name="connsiteY2" fmla="*/ 2468 h 10000"/>
                      <a:gd name="connsiteX3" fmla="*/ 7614 w 10000"/>
                      <a:gd name="connsiteY3" fmla="*/ 2274 h 10000"/>
                      <a:gd name="connsiteX4" fmla="*/ 7192 w 10000"/>
                      <a:gd name="connsiteY4" fmla="*/ 1739 h 10000"/>
                      <a:gd name="connsiteX5" fmla="*/ 6524 w 10000"/>
                      <a:gd name="connsiteY5" fmla="*/ 1992 h 10000"/>
                      <a:gd name="connsiteX6" fmla="*/ 3526 w 10000"/>
                      <a:gd name="connsiteY6" fmla="*/ 300 h 10000"/>
                      <a:gd name="connsiteX7" fmla="*/ 2692 w 10000"/>
                      <a:gd name="connsiteY7" fmla="*/ 411 h 10000"/>
                      <a:gd name="connsiteX8" fmla="*/ 2453 w 10000"/>
                      <a:gd name="connsiteY8" fmla="*/ 0 h 10000"/>
                      <a:gd name="connsiteX9" fmla="*/ 1957 w 10000"/>
                      <a:gd name="connsiteY9" fmla="*/ 253 h 10000"/>
                      <a:gd name="connsiteX10" fmla="*/ 859 w 10000"/>
                      <a:gd name="connsiteY10" fmla="*/ 18 h 10000"/>
                      <a:gd name="connsiteX11" fmla="*/ 190 w 10000"/>
                      <a:gd name="connsiteY11" fmla="*/ 165 h 10000"/>
                      <a:gd name="connsiteX12" fmla="*/ 116 w 10000"/>
                      <a:gd name="connsiteY12" fmla="*/ 47 h 10000"/>
                      <a:gd name="connsiteX13" fmla="*/ 0 w 10000"/>
                      <a:gd name="connsiteY13" fmla="*/ 88 h 10000"/>
                      <a:gd name="connsiteX14" fmla="*/ 124 w 10000"/>
                      <a:gd name="connsiteY14" fmla="*/ 276 h 10000"/>
                      <a:gd name="connsiteX15" fmla="*/ 859 w 10000"/>
                      <a:gd name="connsiteY15" fmla="*/ 118 h 10000"/>
                      <a:gd name="connsiteX16" fmla="*/ 1982 w 10000"/>
                      <a:gd name="connsiteY16" fmla="*/ 353 h 10000"/>
                      <a:gd name="connsiteX17" fmla="*/ 2395 w 10000"/>
                      <a:gd name="connsiteY17" fmla="*/ 135 h 10000"/>
                      <a:gd name="connsiteX18" fmla="*/ 2618 w 10000"/>
                      <a:gd name="connsiteY18" fmla="*/ 517 h 10000"/>
                      <a:gd name="connsiteX19" fmla="*/ 3493 w 10000"/>
                      <a:gd name="connsiteY19" fmla="*/ 394 h 10000"/>
                      <a:gd name="connsiteX20" fmla="*/ 6507 w 10000"/>
                      <a:gd name="connsiteY20" fmla="*/ 2098 h 10000"/>
                      <a:gd name="connsiteX21" fmla="*/ 7143 w 10000"/>
                      <a:gd name="connsiteY21" fmla="*/ 1863 h 10000"/>
                      <a:gd name="connsiteX22" fmla="*/ 7514 w 10000"/>
                      <a:gd name="connsiteY22" fmla="*/ 2333 h 10000"/>
                      <a:gd name="connsiteX23" fmla="*/ 7977 w 10000"/>
                      <a:gd name="connsiteY23" fmla="*/ 2568 h 10000"/>
                      <a:gd name="connsiteX24" fmla="*/ 9777 w 10000"/>
                      <a:gd name="connsiteY24" fmla="*/ 2086 h 10000"/>
                      <a:gd name="connsiteX25" fmla="*/ 9835 w 10000"/>
                      <a:gd name="connsiteY25" fmla="*/ 2139 h 10000"/>
                      <a:gd name="connsiteX26" fmla="*/ 9562 w 10000"/>
                      <a:gd name="connsiteY26" fmla="*/ 2356 h 10000"/>
                      <a:gd name="connsiteX27" fmla="*/ 9562 w 10000"/>
                      <a:gd name="connsiteY27" fmla="*/ 2773 h 10000"/>
                      <a:gd name="connsiteX28" fmla="*/ 9100 w 10000"/>
                      <a:gd name="connsiteY28" fmla="*/ 2897 h 10000"/>
                      <a:gd name="connsiteX29" fmla="*/ 9100 w 10000"/>
                      <a:gd name="connsiteY29" fmla="*/ 3255 h 10000"/>
                      <a:gd name="connsiteX30" fmla="*/ 7779 w 10000"/>
                      <a:gd name="connsiteY30" fmla="*/ 3819 h 10000"/>
                      <a:gd name="connsiteX31" fmla="*/ 4121 w 10000"/>
                      <a:gd name="connsiteY31" fmla="*/ 3126 h 10000"/>
                      <a:gd name="connsiteX32" fmla="*/ 4121 w 10000"/>
                      <a:gd name="connsiteY32" fmla="*/ 10000 h 10000"/>
                      <a:gd name="connsiteX33" fmla="*/ 7779 w 10000"/>
                      <a:gd name="connsiteY33" fmla="*/ 3913 h 10000"/>
                      <a:gd name="connsiteX34" fmla="*/ 7803 w 10000"/>
                      <a:gd name="connsiteY34" fmla="*/ 3919 h 10000"/>
                      <a:gd name="connsiteX35" fmla="*/ 9232 w 10000"/>
                      <a:gd name="connsiteY35" fmla="*/ 3308 h 10000"/>
                      <a:gd name="connsiteX36" fmla="*/ 9232 w 10000"/>
                      <a:gd name="connsiteY36" fmla="*/ 2961 h 10000"/>
                      <a:gd name="connsiteX37" fmla="*/ 9686 w 10000"/>
                      <a:gd name="connsiteY37" fmla="*/ 2838 h 10000"/>
                      <a:gd name="connsiteX38" fmla="*/ 9686 w 10000"/>
                      <a:gd name="connsiteY38" fmla="*/ 2391 h 10000"/>
                      <a:gd name="connsiteX39" fmla="*/ 10000 w 10000"/>
                      <a:gd name="connsiteY39" fmla="*/ 2139 h 10000"/>
                      <a:gd name="connsiteX0" fmla="*/ 10000 w 10000"/>
                      <a:gd name="connsiteY0" fmla="*/ 2139 h 3919"/>
                      <a:gd name="connsiteX1" fmla="*/ 9818 w 10000"/>
                      <a:gd name="connsiteY1" fmla="*/ 1980 h 3919"/>
                      <a:gd name="connsiteX2" fmla="*/ 7993 w 10000"/>
                      <a:gd name="connsiteY2" fmla="*/ 2468 h 3919"/>
                      <a:gd name="connsiteX3" fmla="*/ 7614 w 10000"/>
                      <a:gd name="connsiteY3" fmla="*/ 2274 h 3919"/>
                      <a:gd name="connsiteX4" fmla="*/ 7192 w 10000"/>
                      <a:gd name="connsiteY4" fmla="*/ 1739 h 3919"/>
                      <a:gd name="connsiteX5" fmla="*/ 6524 w 10000"/>
                      <a:gd name="connsiteY5" fmla="*/ 1992 h 3919"/>
                      <a:gd name="connsiteX6" fmla="*/ 3526 w 10000"/>
                      <a:gd name="connsiteY6" fmla="*/ 300 h 3919"/>
                      <a:gd name="connsiteX7" fmla="*/ 2692 w 10000"/>
                      <a:gd name="connsiteY7" fmla="*/ 411 h 3919"/>
                      <a:gd name="connsiteX8" fmla="*/ 2453 w 10000"/>
                      <a:gd name="connsiteY8" fmla="*/ 0 h 3919"/>
                      <a:gd name="connsiteX9" fmla="*/ 1957 w 10000"/>
                      <a:gd name="connsiteY9" fmla="*/ 253 h 3919"/>
                      <a:gd name="connsiteX10" fmla="*/ 859 w 10000"/>
                      <a:gd name="connsiteY10" fmla="*/ 18 h 3919"/>
                      <a:gd name="connsiteX11" fmla="*/ 190 w 10000"/>
                      <a:gd name="connsiteY11" fmla="*/ 165 h 3919"/>
                      <a:gd name="connsiteX12" fmla="*/ 116 w 10000"/>
                      <a:gd name="connsiteY12" fmla="*/ 47 h 3919"/>
                      <a:gd name="connsiteX13" fmla="*/ 0 w 10000"/>
                      <a:gd name="connsiteY13" fmla="*/ 88 h 3919"/>
                      <a:gd name="connsiteX14" fmla="*/ 124 w 10000"/>
                      <a:gd name="connsiteY14" fmla="*/ 276 h 3919"/>
                      <a:gd name="connsiteX15" fmla="*/ 859 w 10000"/>
                      <a:gd name="connsiteY15" fmla="*/ 118 h 3919"/>
                      <a:gd name="connsiteX16" fmla="*/ 1982 w 10000"/>
                      <a:gd name="connsiteY16" fmla="*/ 353 h 3919"/>
                      <a:gd name="connsiteX17" fmla="*/ 2395 w 10000"/>
                      <a:gd name="connsiteY17" fmla="*/ 135 h 3919"/>
                      <a:gd name="connsiteX18" fmla="*/ 2618 w 10000"/>
                      <a:gd name="connsiteY18" fmla="*/ 517 h 3919"/>
                      <a:gd name="connsiteX19" fmla="*/ 3493 w 10000"/>
                      <a:gd name="connsiteY19" fmla="*/ 394 h 3919"/>
                      <a:gd name="connsiteX20" fmla="*/ 6507 w 10000"/>
                      <a:gd name="connsiteY20" fmla="*/ 2098 h 3919"/>
                      <a:gd name="connsiteX21" fmla="*/ 7143 w 10000"/>
                      <a:gd name="connsiteY21" fmla="*/ 1863 h 3919"/>
                      <a:gd name="connsiteX22" fmla="*/ 7514 w 10000"/>
                      <a:gd name="connsiteY22" fmla="*/ 2333 h 3919"/>
                      <a:gd name="connsiteX23" fmla="*/ 7977 w 10000"/>
                      <a:gd name="connsiteY23" fmla="*/ 2568 h 3919"/>
                      <a:gd name="connsiteX24" fmla="*/ 9777 w 10000"/>
                      <a:gd name="connsiteY24" fmla="*/ 2086 h 3919"/>
                      <a:gd name="connsiteX25" fmla="*/ 9835 w 10000"/>
                      <a:gd name="connsiteY25" fmla="*/ 2139 h 3919"/>
                      <a:gd name="connsiteX26" fmla="*/ 9562 w 10000"/>
                      <a:gd name="connsiteY26" fmla="*/ 2356 h 3919"/>
                      <a:gd name="connsiteX27" fmla="*/ 9562 w 10000"/>
                      <a:gd name="connsiteY27" fmla="*/ 2773 h 3919"/>
                      <a:gd name="connsiteX28" fmla="*/ 9100 w 10000"/>
                      <a:gd name="connsiteY28" fmla="*/ 2897 h 3919"/>
                      <a:gd name="connsiteX29" fmla="*/ 9100 w 10000"/>
                      <a:gd name="connsiteY29" fmla="*/ 3255 h 3919"/>
                      <a:gd name="connsiteX30" fmla="*/ 7779 w 10000"/>
                      <a:gd name="connsiteY30" fmla="*/ 3819 h 3919"/>
                      <a:gd name="connsiteX31" fmla="*/ 4121 w 10000"/>
                      <a:gd name="connsiteY31" fmla="*/ 3126 h 3919"/>
                      <a:gd name="connsiteX32" fmla="*/ 7779 w 10000"/>
                      <a:gd name="connsiteY32" fmla="*/ 3913 h 3919"/>
                      <a:gd name="connsiteX33" fmla="*/ 7803 w 10000"/>
                      <a:gd name="connsiteY33" fmla="*/ 3919 h 3919"/>
                      <a:gd name="connsiteX34" fmla="*/ 9232 w 10000"/>
                      <a:gd name="connsiteY34" fmla="*/ 3308 h 3919"/>
                      <a:gd name="connsiteX35" fmla="*/ 9232 w 10000"/>
                      <a:gd name="connsiteY35" fmla="*/ 2961 h 3919"/>
                      <a:gd name="connsiteX36" fmla="*/ 9686 w 10000"/>
                      <a:gd name="connsiteY36" fmla="*/ 2838 h 3919"/>
                      <a:gd name="connsiteX37" fmla="*/ 9686 w 10000"/>
                      <a:gd name="connsiteY37" fmla="*/ 2391 h 3919"/>
                      <a:gd name="connsiteX38" fmla="*/ 10000 w 10000"/>
                      <a:gd name="connsiteY38" fmla="*/ 2139 h 3919"/>
                      <a:gd name="connsiteX0" fmla="*/ 10000 w 10000"/>
                      <a:gd name="connsiteY0" fmla="*/ 5458 h 10000"/>
                      <a:gd name="connsiteX1" fmla="*/ 9818 w 10000"/>
                      <a:gd name="connsiteY1" fmla="*/ 5052 h 10000"/>
                      <a:gd name="connsiteX2" fmla="*/ 7993 w 10000"/>
                      <a:gd name="connsiteY2" fmla="*/ 6298 h 10000"/>
                      <a:gd name="connsiteX3" fmla="*/ 7614 w 10000"/>
                      <a:gd name="connsiteY3" fmla="*/ 5803 h 10000"/>
                      <a:gd name="connsiteX4" fmla="*/ 7192 w 10000"/>
                      <a:gd name="connsiteY4" fmla="*/ 4437 h 10000"/>
                      <a:gd name="connsiteX5" fmla="*/ 6524 w 10000"/>
                      <a:gd name="connsiteY5" fmla="*/ 5083 h 10000"/>
                      <a:gd name="connsiteX6" fmla="*/ 3526 w 10000"/>
                      <a:gd name="connsiteY6" fmla="*/ 766 h 10000"/>
                      <a:gd name="connsiteX7" fmla="*/ 2692 w 10000"/>
                      <a:gd name="connsiteY7" fmla="*/ 1049 h 10000"/>
                      <a:gd name="connsiteX8" fmla="*/ 2453 w 10000"/>
                      <a:gd name="connsiteY8" fmla="*/ 0 h 10000"/>
                      <a:gd name="connsiteX9" fmla="*/ 1957 w 10000"/>
                      <a:gd name="connsiteY9" fmla="*/ 646 h 10000"/>
                      <a:gd name="connsiteX10" fmla="*/ 859 w 10000"/>
                      <a:gd name="connsiteY10" fmla="*/ 46 h 10000"/>
                      <a:gd name="connsiteX11" fmla="*/ 190 w 10000"/>
                      <a:gd name="connsiteY11" fmla="*/ 421 h 10000"/>
                      <a:gd name="connsiteX12" fmla="*/ 116 w 10000"/>
                      <a:gd name="connsiteY12" fmla="*/ 120 h 10000"/>
                      <a:gd name="connsiteX13" fmla="*/ 0 w 10000"/>
                      <a:gd name="connsiteY13" fmla="*/ 225 h 10000"/>
                      <a:gd name="connsiteX14" fmla="*/ 124 w 10000"/>
                      <a:gd name="connsiteY14" fmla="*/ 704 h 10000"/>
                      <a:gd name="connsiteX15" fmla="*/ 859 w 10000"/>
                      <a:gd name="connsiteY15" fmla="*/ 301 h 10000"/>
                      <a:gd name="connsiteX16" fmla="*/ 1982 w 10000"/>
                      <a:gd name="connsiteY16" fmla="*/ 901 h 10000"/>
                      <a:gd name="connsiteX17" fmla="*/ 2395 w 10000"/>
                      <a:gd name="connsiteY17" fmla="*/ 344 h 10000"/>
                      <a:gd name="connsiteX18" fmla="*/ 2618 w 10000"/>
                      <a:gd name="connsiteY18" fmla="*/ 1319 h 10000"/>
                      <a:gd name="connsiteX19" fmla="*/ 3493 w 10000"/>
                      <a:gd name="connsiteY19" fmla="*/ 1005 h 10000"/>
                      <a:gd name="connsiteX20" fmla="*/ 6507 w 10000"/>
                      <a:gd name="connsiteY20" fmla="*/ 5353 h 10000"/>
                      <a:gd name="connsiteX21" fmla="*/ 7143 w 10000"/>
                      <a:gd name="connsiteY21" fmla="*/ 4754 h 10000"/>
                      <a:gd name="connsiteX22" fmla="*/ 7514 w 10000"/>
                      <a:gd name="connsiteY22" fmla="*/ 5953 h 10000"/>
                      <a:gd name="connsiteX23" fmla="*/ 7977 w 10000"/>
                      <a:gd name="connsiteY23" fmla="*/ 6553 h 10000"/>
                      <a:gd name="connsiteX24" fmla="*/ 9777 w 10000"/>
                      <a:gd name="connsiteY24" fmla="*/ 5323 h 10000"/>
                      <a:gd name="connsiteX25" fmla="*/ 9835 w 10000"/>
                      <a:gd name="connsiteY25" fmla="*/ 5458 h 10000"/>
                      <a:gd name="connsiteX26" fmla="*/ 9562 w 10000"/>
                      <a:gd name="connsiteY26" fmla="*/ 6012 h 10000"/>
                      <a:gd name="connsiteX27" fmla="*/ 9562 w 10000"/>
                      <a:gd name="connsiteY27" fmla="*/ 7076 h 10000"/>
                      <a:gd name="connsiteX28" fmla="*/ 9100 w 10000"/>
                      <a:gd name="connsiteY28" fmla="*/ 7392 h 10000"/>
                      <a:gd name="connsiteX29" fmla="*/ 9100 w 10000"/>
                      <a:gd name="connsiteY29" fmla="*/ 8306 h 10000"/>
                      <a:gd name="connsiteX30" fmla="*/ 7779 w 10000"/>
                      <a:gd name="connsiteY30" fmla="*/ 9745 h 10000"/>
                      <a:gd name="connsiteX31" fmla="*/ 7779 w 10000"/>
                      <a:gd name="connsiteY31" fmla="*/ 9985 h 10000"/>
                      <a:gd name="connsiteX32" fmla="*/ 7803 w 10000"/>
                      <a:gd name="connsiteY32" fmla="*/ 10000 h 10000"/>
                      <a:gd name="connsiteX33" fmla="*/ 9232 w 10000"/>
                      <a:gd name="connsiteY33" fmla="*/ 8441 h 10000"/>
                      <a:gd name="connsiteX34" fmla="*/ 9232 w 10000"/>
                      <a:gd name="connsiteY34" fmla="*/ 7555 h 10000"/>
                      <a:gd name="connsiteX35" fmla="*/ 9686 w 10000"/>
                      <a:gd name="connsiteY35" fmla="*/ 7242 h 10000"/>
                      <a:gd name="connsiteX36" fmla="*/ 9686 w 10000"/>
                      <a:gd name="connsiteY36" fmla="*/ 6101 h 10000"/>
                      <a:gd name="connsiteX37" fmla="*/ 10000 w 10000"/>
                      <a:gd name="connsiteY37" fmla="*/ 5458 h 10000"/>
                      <a:gd name="connsiteX0" fmla="*/ 10000 w 10000"/>
                      <a:gd name="connsiteY0" fmla="*/ 5458 h 9985"/>
                      <a:gd name="connsiteX1" fmla="*/ 9818 w 10000"/>
                      <a:gd name="connsiteY1" fmla="*/ 5052 h 9985"/>
                      <a:gd name="connsiteX2" fmla="*/ 7993 w 10000"/>
                      <a:gd name="connsiteY2" fmla="*/ 6298 h 9985"/>
                      <a:gd name="connsiteX3" fmla="*/ 7614 w 10000"/>
                      <a:gd name="connsiteY3" fmla="*/ 5803 h 9985"/>
                      <a:gd name="connsiteX4" fmla="*/ 7192 w 10000"/>
                      <a:gd name="connsiteY4" fmla="*/ 4437 h 9985"/>
                      <a:gd name="connsiteX5" fmla="*/ 6524 w 10000"/>
                      <a:gd name="connsiteY5" fmla="*/ 5083 h 9985"/>
                      <a:gd name="connsiteX6" fmla="*/ 3526 w 10000"/>
                      <a:gd name="connsiteY6" fmla="*/ 766 h 9985"/>
                      <a:gd name="connsiteX7" fmla="*/ 2692 w 10000"/>
                      <a:gd name="connsiteY7" fmla="*/ 1049 h 9985"/>
                      <a:gd name="connsiteX8" fmla="*/ 2453 w 10000"/>
                      <a:gd name="connsiteY8" fmla="*/ 0 h 9985"/>
                      <a:gd name="connsiteX9" fmla="*/ 1957 w 10000"/>
                      <a:gd name="connsiteY9" fmla="*/ 646 h 9985"/>
                      <a:gd name="connsiteX10" fmla="*/ 859 w 10000"/>
                      <a:gd name="connsiteY10" fmla="*/ 46 h 9985"/>
                      <a:gd name="connsiteX11" fmla="*/ 190 w 10000"/>
                      <a:gd name="connsiteY11" fmla="*/ 421 h 9985"/>
                      <a:gd name="connsiteX12" fmla="*/ 116 w 10000"/>
                      <a:gd name="connsiteY12" fmla="*/ 120 h 9985"/>
                      <a:gd name="connsiteX13" fmla="*/ 0 w 10000"/>
                      <a:gd name="connsiteY13" fmla="*/ 225 h 9985"/>
                      <a:gd name="connsiteX14" fmla="*/ 124 w 10000"/>
                      <a:gd name="connsiteY14" fmla="*/ 704 h 9985"/>
                      <a:gd name="connsiteX15" fmla="*/ 859 w 10000"/>
                      <a:gd name="connsiteY15" fmla="*/ 301 h 9985"/>
                      <a:gd name="connsiteX16" fmla="*/ 1982 w 10000"/>
                      <a:gd name="connsiteY16" fmla="*/ 901 h 9985"/>
                      <a:gd name="connsiteX17" fmla="*/ 2395 w 10000"/>
                      <a:gd name="connsiteY17" fmla="*/ 344 h 9985"/>
                      <a:gd name="connsiteX18" fmla="*/ 2618 w 10000"/>
                      <a:gd name="connsiteY18" fmla="*/ 1319 h 9985"/>
                      <a:gd name="connsiteX19" fmla="*/ 3493 w 10000"/>
                      <a:gd name="connsiteY19" fmla="*/ 1005 h 9985"/>
                      <a:gd name="connsiteX20" fmla="*/ 6507 w 10000"/>
                      <a:gd name="connsiteY20" fmla="*/ 5353 h 9985"/>
                      <a:gd name="connsiteX21" fmla="*/ 7143 w 10000"/>
                      <a:gd name="connsiteY21" fmla="*/ 4754 h 9985"/>
                      <a:gd name="connsiteX22" fmla="*/ 7514 w 10000"/>
                      <a:gd name="connsiteY22" fmla="*/ 5953 h 9985"/>
                      <a:gd name="connsiteX23" fmla="*/ 7977 w 10000"/>
                      <a:gd name="connsiteY23" fmla="*/ 6553 h 9985"/>
                      <a:gd name="connsiteX24" fmla="*/ 9777 w 10000"/>
                      <a:gd name="connsiteY24" fmla="*/ 5323 h 9985"/>
                      <a:gd name="connsiteX25" fmla="*/ 9835 w 10000"/>
                      <a:gd name="connsiteY25" fmla="*/ 5458 h 9985"/>
                      <a:gd name="connsiteX26" fmla="*/ 9562 w 10000"/>
                      <a:gd name="connsiteY26" fmla="*/ 6012 h 9985"/>
                      <a:gd name="connsiteX27" fmla="*/ 9562 w 10000"/>
                      <a:gd name="connsiteY27" fmla="*/ 7076 h 9985"/>
                      <a:gd name="connsiteX28" fmla="*/ 9100 w 10000"/>
                      <a:gd name="connsiteY28" fmla="*/ 7392 h 9985"/>
                      <a:gd name="connsiteX29" fmla="*/ 9100 w 10000"/>
                      <a:gd name="connsiteY29" fmla="*/ 8306 h 9985"/>
                      <a:gd name="connsiteX30" fmla="*/ 7779 w 10000"/>
                      <a:gd name="connsiteY30" fmla="*/ 9745 h 9985"/>
                      <a:gd name="connsiteX31" fmla="*/ 7779 w 10000"/>
                      <a:gd name="connsiteY31" fmla="*/ 9985 h 9985"/>
                      <a:gd name="connsiteX32" fmla="*/ 9232 w 10000"/>
                      <a:gd name="connsiteY32" fmla="*/ 8441 h 9985"/>
                      <a:gd name="connsiteX33" fmla="*/ 9232 w 10000"/>
                      <a:gd name="connsiteY33" fmla="*/ 7555 h 9985"/>
                      <a:gd name="connsiteX34" fmla="*/ 9686 w 10000"/>
                      <a:gd name="connsiteY34" fmla="*/ 7242 h 9985"/>
                      <a:gd name="connsiteX35" fmla="*/ 9686 w 10000"/>
                      <a:gd name="connsiteY35" fmla="*/ 6101 h 9985"/>
                      <a:gd name="connsiteX36" fmla="*/ 10000 w 10000"/>
                      <a:gd name="connsiteY36" fmla="*/ 5458 h 9985"/>
                      <a:gd name="connsiteX0" fmla="*/ 10000 w 10000"/>
                      <a:gd name="connsiteY0" fmla="*/ 5466 h 9760"/>
                      <a:gd name="connsiteX1" fmla="*/ 9818 w 10000"/>
                      <a:gd name="connsiteY1" fmla="*/ 5060 h 9760"/>
                      <a:gd name="connsiteX2" fmla="*/ 7993 w 10000"/>
                      <a:gd name="connsiteY2" fmla="*/ 6307 h 9760"/>
                      <a:gd name="connsiteX3" fmla="*/ 7614 w 10000"/>
                      <a:gd name="connsiteY3" fmla="*/ 5812 h 9760"/>
                      <a:gd name="connsiteX4" fmla="*/ 7192 w 10000"/>
                      <a:gd name="connsiteY4" fmla="*/ 4444 h 9760"/>
                      <a:gd name="connsiteX5" fmla="*/ 6524 w 10000"/>
                      <a:gd name="connsiteY5" fmla="*/ 5091 h 9760"/>
                      <a:gd name="connsiteX6" fmla="*/ 3526 w 10000"/>
                      <a:gd name="connsiteY6" fmla="*/ 767 h 9760"/>
                      <a:gd name="connsiteX7" fmla="*/ 2692 w 10000"/>
                      <a:gd name="connsiteY7" fmla="*/ 1051 h 9760"/>
                      <a:gd name="connsiteX8" fmla="*/ 2453 w 10000"/>
                      <a:gd name="connsiteY8" fmla="*/ 0 h 9760"/>
                      <a:gd name="connsiteX9" fmla="*/ 1957 w 10000"/>
                      <a:gd name="connsiteY9" fmla="*/ 647 h 9760"/>
                      <a:gd name="connsiteX10" fmla="*/ 859 w 10000"/>
                      <a:gd name="connsiteY10" fmla="*/ 46 h 9760"/>
                      <a:gd name="connsiteX11" fmla="*/ 190 w 10000"/>
                      <a:gd name="connsiteY11" fmla="*/ 422 h 9760"/>
                      <a:gd name="connsiteX12" fmla="*/ 116 w 10000"/>
                      <a:gd name="connsiteY12" fmla="*/ 120 h 9760"/>
                      <a:gd name="connsiteX13" fmla="*/ 0 w 10000"/>
                      <a:gd name="connsiteY13" fmla="*/ 225 h 9760"/>
                      <a:gd name="connsiteX14" fmla="*/ 124 w 10000"/>
                      <a:gd name="connsiteY14" fmla="*/ 705 h 9760"/>
                      <a:gd name="connsiteX15" fmla="*/ 859 w 10000"/>
                      <a:gd name="connsiteY15" fmla="*/ 301 h 9760"/>
                      <a:gd name="connsiteX16" fmla="*/ 1982 w 10000"/>
                      <a:gd name="connsiteY16" fmla="*/ 902 h 9760"/>
                      <a:gd name="connsiteX17" fmla="*/ 2395 w 10000"/>
                      <a:gd name="connsiteY17" fmla="*/ 345 h 9760"/>
                      <a:gd name="connsiteX18" fmla="*/ 2618 w 10000"/>
                      <a:gd name="connsiteY18" fmla="*/ 1321 h 9760"/>
                      <a:gd name="connsiteX19" fmla="*/ 3493 w 10000"/>
                      <a:gd name="connsiteY19" fmla="*/ 1007 h 9760"/>
                      <a:gd name="connsiteX20" fmla="*/ 6507 w 10000"/>
                      <a:gd name="connsiteY20" fmla="*/ 5361 h 9760"/>
                      <a:gd name="connsiteX21" fmla="*/ 7143 w 10000"/>
                      <a:gd name="connsiteY21" fmla="*/ 4761 h 9760"/>
                      <a:gd name="connsiteX22" fmla="*/ 7514 w 10000"/>
                      <a:gd name="connsiteY22" fmla="*/ 5962 h 9760"/>
                      <a:gd name="connsiteX23" fmla="*/ 7977 w 10000"/>
                      <a:gd name="connsiteY23" fmla="*/ 6563 h 9760"/>
                      <a:gd name="connsiteX24" fmla="*/ 9777 w 10000"/>
                      <a:gd name="connsiteY24" fmla="*/ 5331 h 9760"/>
                      <a:gd name="connsiteX25" fmla="*/ 9835 w 10000"/>
                      <a:gd name="connsiteY25" fmla="*/ 5466 h 9760"/>
                      <a:gd name="connsiteX26" fmla="*/ 9562 w 10000"/>
                      <a:gd name="connsiteY26" fmla="*/ 6021 h 9760"/>
                      <a:gd name="connsiteX27" fmla="*/ 9562 w 10000"/>
                      <a:gd name="connsiteY27" fmla="*/ 7087 h 9760"/>
                      <a:gd name="connsiteX28" fmla="*/ 9100 w 10000"/>
                      <a:gd name="connsiteY28" fmla="*/ 7403 h 9760"/>
                      <a:gd name="connsiteX29" fmla="*/ 9100 w 10000"/>
                      <a:gd name="connsiteY29" fmla="*/ 8318 h 9760"/>
                      <a:gd name="connsiteX30" fmla="*/ 7779 w 10000"/>
                      <a:gd name="connsiteY30" fmla="*/ 9760 h 9760"/>
                      <a:gd name="connsiteX31" fmla="*/ 9232 w 10000"/>
                      <a:gd name="connsiteY31" fmla="*/ 8454 h 9760"/>
                      <a:gd name="connsiteX32" fmla="*/ 9232 w 10000"/>
                      <a:gd name="connsiteY32" fmla="*/ 7566 h 9760"/>
                      <a:gd name="connsiteX33" fmla="*/ 9686 w 10000"/>
                      <a:gd name="connsiteY33" fmla="*/ 7253 h 9760"/>
                      <a:gd name="connsiteX34" fmla="*/ 9686 w 10000"/>
                      <a:gd name="connsiteY34" fmla="*/ 6110 h 9760"/>
                      <a:gd name="connsiteX35" fmla="*/ 10000 w 10000"/>
                      <a:gd name="connsiteY35" fmla="*/ 5466 h 9760"/>
                      <a:gd name="connsiteX0" fmla="*/ 10000 w 10000"/>
                      <a:gd name="connsiteY0" fmla="*/ 5600 h 8662"/>
                      <a:gd name="connsiteX1" fmla="*/ 9818 w 10000"/>
                      <a:gd name="connsiteY1" fmla="*/ 5184 h 8662"/>
                      <a:gd name="connsiteX2" fmla="*/ 7993 w 10000"/>
                      <a:gd name="connsiteY2" fmla="*/ 6462 h 8662"/>
                      <a:gd name="connsiteX3" fmla="*/ 7614 w 10000"/>
                      <a:gd name="connsiteY3" fmla="*/ 5955 h 8662"/>
                      <a:gd name="connsiteX4" fmla="*/ 7192 w 10000"/>
                      <a:gd name="connsiteY4" fmla="*/ 4553 h 8662"/>
                      <a:gd name="connsiteX5" fmla="*/ 6524 w 10000"/>
                      <a:gd name="connsiteY5" fmla="*/ 5216 h 8662"/>
                      <a:gd name="connsiteX6" fmla="*/ 3526 w 10000"/>
                      <a:gd name="connsiteY6" fmla="*/ 786 h 8662"/>
                      <a:gd name="connsiteX7" fmla="*/ 2692 w 10000"/>
                      <a:gd name="connsiteY7" fmla="*/ 1077 h 8662"/>
                      <a:gd name="connsiteX8" fmla="*/ 2453 w 10000"/>
                      <a:gd name="connsiteY8" fmla="*/ 0 h 8662"/>
                      <a:gd name="connsiteX9" fmla="*/ 1957 w 10000"/>
                      <a:gd name="connsiteY9" fmla="*/ 663 h 8662"/>
                      <a:gd name="connsiteX10" fmla="*/ 859 w 10000"/>
                      <a:gd name="connsiteY10" fmla="*/ 47 h 8662"/>
                      <a:gd name="connsiteX11" fmla="*/ 190 w 10000"/>
                      <a:gd name="connsiteY11" fmla="*/ 432 h 8662"/>
                      <a:gd name="connsiteX12" fmla="*/ 116 w 10000"/>
                      <a:gd name="connsiteY12" fmla="*/ 123 h 8662"/>
                      <a:gd name="connsiteX13" fmla="*/ 0 w 10000"/>
                      <a:gd name="connsiteY13" fmla="*/ 231 h 8662"/>
                      <a:gd name="connsiteX14" fmla="*/ 124 w 10000"/>
                      <a:gd name="connsiteY14" fmla="*/ 722 h 8662"/>
                      <a:gd name="connsiteX15" fmla="*/ 859 w 10000"/>
                      <a:gd name="connsiteY15" fmla="*/ 308 h 8662"/>
                      <a:gd name="connsiteX16" fmla="*/ 1982 w 10000"/>
                      <a:gd name="connsiteY16" fmla="*/ 924 h 8662"/>
                      <a:gd name="connsiteX17" fmla="*/ 2395 w 10000"/>
                      <a:gd name="connsiteY17" fmla="*/ 353 h 8662"/>
                      <a:gd name="connsiteX18" fmla="*/ 2618 w 10000"/>
                      <a:gd name="connsiteY18" fmla="*/ 1353 h 8662"/>
                      <a:gd name="connsiteX19" fmla="*/ 3493 w 10000"/>
                      <a:gd name="connsiteY19" fmla="*/ 1032 h 8662"/>
                      <a:gd name="connsiteX20" fmla="*/ 6507 w 10000"/>
                      <a:gd name="connsiteY20" fmla="*/ 5493 h 8662"/>
                      <a:gd name="connsiteX21" fmla="*/ 7143 w 10000"/>
                      <a:gd name="connsiteY21" fmla="*/ 4878 h 8662"/>
                      <a:gd name="connsiteX22" fmla="*/ 7514 w 10000"/>
                      <a:gd name="connsiteY22" fmla="*/ 6109 h 8662"/>
                      <a:gd name="connsiteX23" fmla="*/ 7977 w 10000"/>
                      <a:gd name="connsiteY23" fmla="*/ 6724 h 8662"/>
                      <a:gd name="connsiteX24" fmla="*/ 9777 w 10000"/>
                      <a:gd name="connsiteY24" fmla="*/ 5462 h 8662"/>
                      <a:gd name="connsiteX25" fmla="*/ 9835 w 10000"/>
                      <a:gd name="connsiteY25" fmla="*/ 5600 h 8662"/>
                      <a:gd name="connsiteX26" fmla="*/ 9562 w 10000"/>
                      <a:gd name="connsiteY26" fmla="*/ 6169 h 8662"/>
                      <a:gd name="connsiteX27" fmla="*/ 9562 w 10000"/>
                      <a:gd name="connsiteY27" fmla="*/ 7261 h 8662"/>
                      <a:gd name="connsiteX28" fmla="*/ 9100 w 10000"/>
                      <a:gd name="connsiteY28" fmla="*/ 7585 h 8662"/>
                      <a:gd name="connsiteX29" fmla="*/ 9100 w 10000"/>
                      <a:gd name="connsiteY29" fmla="*/ 8523 h 8662"/>
                      <a:gd name="connsiteX30" fmla="*/ 9232 w 10000"/>
                      <a:gd name="connsiteY30" fmla="*/ 8662 h 8662"/>
                      <a:gd name="connsiteX31" fmla="*/ 9232 w 10000"/>
                      <a:gd name="connsiteY31" fmla="*/ 7752 h 8662"/>
                      <a:gd name="connsiteX32" fmla="*/ 9686 w 10000"/>
                      <a:gd name="connsiteY32" fmla="*/ 7431 h 8662"/>
                      <a:gd name="connsiteX33" fmla="*/ 9686 w 10000"/>
                      <a:gd name="connsiteY33" fmla="*/ 6260 h 8662"/>
                      <a:gd name="connsiteX34" fmla="*/ 10000 w 10000"/>
                      <a:gd name="connsiteY34" fmla="*/ 5600 h 8662"/>
                      <a:gd name="connsiteX0" fmla="*/ 10000 w 10000"/>
                      <a:gd name="connsiteY0" fmla="*/ 6465 h 9840"/>
                      <a:gd name="connsiteX1" fmla="*/ 9818 w 10000"/>
                      <a:gd name="connsiteY1" fmla="*/ 5985 h 9840"/>
                      <a:gd name="connsiteX2" fmla="*/ 7993 w 10000"/>
                      <a:gd name="connsiteY2" fmla="*/ 7460 h 9840"/>
                      <a:gd name="connsiteX3" fmla="*/ 7614 w 10000"/>
                      <a:gd name="connsiteY3" fmla="*/ 6875 h 9840"/>
                      <a:gd name="connsiteX4" fmla="*/ 7192 w 10000"/>
                      <a:gd name="connsiteY4" fmla="*/ 5256 h 9840"/>
                      <a:gd name="connsiteX5" fmla="*/ 6524 w 10000"/>
                      <a:gd name="connsiteY5" fmla="*/ 6022 h 9840"/>
                      <a:gd name="connsiteX6" fmla="*/ 3526 w 10000"/>
                      <a:gd name="connsiteY6" fmla="*/ 907 h 9840"/>
                      <a:gd name="connsiteX7" fmla="*/ 2692 w 10000"/>
                      <a:gd name="connsiteY7" fmla="*/ 1243 h 9840"/>
                      <a:gd name="connsiteX8" fmla="*/ 2453 w 10000"/>
                      <a:gd name="connsiteY8" fmla="*/ 0 h 9840"/>
                      <a:gd name="connsiteX9" fmla="*/ 1957 w 10000"/>
                      <a:gd name="connsiteY9" fmla="*/ 765 h 9840"/>
                      <a:gd name="connsiteX10" fmla="*/ 859 w 10000"/>
                      <a:gd name="connsiteY10" fmla="*/ 54 h 9840"/>
                      <a:gd name="connsiteX11" fmla="*/ 190 w 10000"/>
                      <a:gd name="connsiteY11" fmla="*/ 499 h 9840"/>
                      <a:gd name="connsiteX12" fmla="*/ 116 w 10000"/>
                      <a:gd name="connsiteY12" fmla="*/ 142 h 9840"/>
                      <a:gd name="connsiteX13" fmla="*/ 0 w 10000"/>
                      <a:gd name="connsiteY13" fmla="*/ 267 h 9840"/>
                      <a:gd name="connsiteX14" fmla="*/ 124 w 10000"/>
                      <a:gd name="connsiteY14" fmla="*/ 834 h 9840"/>
                      <a:gd name="connsiteX15" fmla="*/ 859 w 10000"/>
                      <a:gd name="connsiteY15" fmla="*/ 356 h 9840"/>
                      <a:gd name="connsiteX16" fmla="*/ 1982 w 10000"/>
                      <a:gd name="connsiteY16" fmla="*/ 1067 h 9840"/>
                      <a:gd name="connsiteX17" fmla="*/ 2395 w 10000"/>
                      <a:gd name="connsiteY17" fmla="*/ 408 h 9840"/>
                      <a:gd name="connsiteX18" fmla="*/ 2618 w 10000"/>
                      <a:gd name="connsiteY18" fmla="*/ 1562 h 9840"/>
                      <a:gd name="connsiteX19" fmla="*/ 3493 w 10000"/>
                      <a:gd name="connsiteY19" fmla="*/ 1191 h 9840"/>
                      <a:gd name="connsiteX20" fmla="*/ 6507 w 10000"/>
                      <a:gd name="connsiteY20" fmla="*/ 6341 h 9840"/>
                      <a:gd name="connsiteX21" fmla="*/ 7143 w 10000"/>
                      <a:gd name="connsiteY21" fmla="*/ 5631 h 9840"/>
                      <a:gd name="connsiteX22" fmla="*/ 7514 w 10000"/>
                      <a:gd name="connsiteY22" fmla="*/ 7053 h 9840"/>
                      <a:gd name="connsiteX23" fmla="*/ 7977 w 10000"/>
                      <a:gd name="connsiteY23" fmla="*/ 7763 h 9840"/>
                      <a:gd name="connsiteX24" fmla="*/ 9777 w 10000"/>
                      <a:gd name="connsiteY24" fmla="*/ 6306 h 9840"/>
                      <a:gd name="connsiteX25" fmla="*/ 9835 w 10000"/>
                      <a:gd name="connsiteY25" fmla="*/ 6465 h 9840"/>
                      <a:gd name="connsiteX26" fmla="*/ 9562 w 10000"/>
                      <a:gd name="connsiteY26" fmla="*/ 7122 h 9840"/>
                      <a:gd name="connsiteX27" fmla="*/ 9562 w 10000"/>
                      <a:gd name="connsiteY27" fmla="*/ 8383 h 9840"/>
                      <a:gd name="connsiteX28" fmla="*/ 9100 w 10000"/>
                      <a:gd name="connsiteY28" fmla="*/ 8757 h 9840"/>
                      <a:gd name="connsiteX29" fmla="*/ 9100 w 10000"/>
                      <a:gd name="connsiteY29" fmla="*/ 9840 h 9840"/>
                      <a:gd name="connsiteX30" fmla="*/ 9232 w 10000"/>
                      <a:gd name="connsiteY30" fmla="*/ 8949 h 9840"/>
                      <a:gd name="connsiteX31" fmla="*/ 9686 w 10000"/>
                      <a:gd name="connsiteY31" fmla="*/ 8579 h 9840"/>
                      <a:gd name="connsiteX32" fmla="*/ 9686 w 10000"/>
                      <a:gd name="connsiteY32" fmla="*/ 7227 h 9840"/>
                      <a:gd name="connsiteX33" fmla="*/ 10000 w 10000"/>
                      <a:gd name="connsiteY33" fmla="*/ 6465 h 9840"/>
                      <a:gd name="connsiteX0" fmla="*/ 10000 w 10000"/>
                      <a:gd name="connsiteY0" fmla="*/ 6570 h 10000"/>
                      <a:gd name="connsiteX1" fmla="*/ 9818 w 10000"/>
                      <a:gd name="connsiteY1" fmla="*/ 6082 h 10000"/>
                      <a:gd name="connsiteX2" fmla="*/ 7993 w 10000"/>
                      <a:gd name="connsiteY2" fmla="*/ 7581 h 10000"/>
                      <a:gd name="connsiteX3" fmla="*/ 7614 w 10000"/>
                      <a:gd name="connsiteY3" fmla="*/ 6987 h 10000"/>
                      <a:gd name="connsiteX4" fmla="*/ 7192 w 10000"/>
                      <a:gd name="connsiteY4" fmla="*/ 5341 h 10000"/>
                      <a:gd name="connsiteX5" fmla="*/ 6524 w 10000"/>
                      <a:gd name="connsiteY5" fmla="*/ 6120 h 10000"/>
                      <a:gd name="connsiteX6" fmla="*/ 3526 w 10000"/>
                      <a:gd name="connsiteY6" fmla="*/ 922 h 10000"/>
                      <a:gd name="connsiteX7" fmla="*/ 2692 w 10000"/>
                      <a:gd name="connsiteY7" fmla="*/ 1263 h 10000"/>
                      <a:gd name="connsiteX8" fmla="*/ 2453 w 10000"/>
                      <a:gd name="connsiteY8" fmla="*/ 0 h 10000"/>
                      <a:gd name="connsiteX9" fmla="*/ 1957 w 10000"/>
                      <a:gd name="connsiteY9" fmla="*/ 777 h 10000"/>
                      <a:gd name="connsiteX10" fmla="*/ 859 w 10000"/>
                      <a:gd name="connsiteY10" fmla="*/ 55 h 10000"/>
                      <a:gd name="connsiteX11" fmla="*/ 190 w 10000"/>
                      <a:gd name="connsiteY11" fmla="*/ 507 h 10000"/>
                      <a:gd name="connsiteX12" fmla="*/ 116 w 10000"/>
                      <a:gd name="connsiteY12" fmla="*/ 144 h 10000"/>
                      <a:gd name="connsiteX13" fmla="*/ 0 w 10000"/>
                      <a:gd name="connsiteY13" fmla="*/ 271 h 10000"/>
                      <a:gd name="connsiteX14" fmla="*/ 124 w 10000"/>
                      <a:gd name="connsiteY14" fmla="*/ 848 h 10000"/>
                      <a:gd name="connsiteX15" fmla="*/ 859 w 10000"/>
                      <a:gd name="connsiteY15" fmla="*/ 362 h 10000"/>
                      <a:gd name="connsiteX16" fmla="*/ 1982 w 10000"/>
                      <a:gd name="connsiteY16" fmla="*/ 1084 h 10000"/>
                      <a:gd name="connsiteX17" fmla="*/ 2395 w 10000"/>
                      <a:gd name="connsiteY17" fmla="*/ 415 h 10000"/>
                      <a:gd name="connsiteX18" fmla="*/ 2618 w 10000"/>
                      <a:gd name="connsiteY18" fmla="*/ 1587 h 10000"/>
                      <a:gd name="connsiteX19" fmla="*/ 3493 w 10000"/>
                      <a:gd name="connsiteY19" fmla="*/ 1210 h 10000"/>
                      <a:gd name="connsiteX20" fmla="*/ 6507 w 10000"/>
                      <a:gd name="connsiteY20" fmla="*/ 6444 h 10000"/>
                      <a:gd name="connsiteX21" fmla="*/ 7143 w 10000"/>
                      <a:gd name="connsiteY21" fmla="*/ 5723 h 10000"/>
                      <a:gd name="connsiteX22" fmla="*/ 7514 w 10000"/>
                      <a:gd name="connsiteY22" fmla="*/ 7168 h 10000"/>
                      <a:gd name="connsiteX23" fmla="*/ 7977 w 10000"/>
                      <a:gd name="connsiteY23" fmla="*/ 7889 h 10000"/>
                      <a:gd name="connsiteX24" fmla="*/ 9777 w 10000"/>
                      <a:gd name="connsiteY24" fmla="*/ 6409 h 10000"/>
                      <a:gd name="connsiteX25" fmla="*/ 9835 w 10000"/>
                      <a:gd name="connsiteY25" fmla="*/ 6570 h 10000"/>
                      <a:gd name="connsiteX26" fmla="*/ 9562 w 10000"/>
                      <a:gd name="connsiteY26" fmla="*/ 7238 h 10000"/>
                      <a:gd name="connsiteX27" fmla="*/ 9562 w 10000"/>
                      <a:gd name="connsiteY27" fmla="*/ 8519 h 10000"/>
                      <a:gd name="connsiteX28" fmla="*/ 9100 w 10000"/>
                      <a:gd name="connsiteY28" fmla="*/ 8899 h 10000"/>
                      <a:gd name="connsiteX29" fmla="*/ 9100 w 10000"/>
                      <a:gd name="connsiteY29" fmla="*/ 10000 h 10000"/>
                      <a:gd name="connsiteX30" fmla="*/ 9686 w 10000"/>
                      <a:gd name="connsiteY30" fmla="*/ 8718 h 10000"/>
                      <a:gd name="connsiteX31" fmla="*/ 9686 w 10000"/>
                      <a:gd name="connsiteY31" fmla="*/ 7345 h 10000"/>
                      <a:gd name="connsiteX32" fmla="*/ 10000 w 10000"/>
                      <a:gd name="connsiteY32" fmla="*/ 6570 h 10000"/>
                      <a:gd name="connsiteX0" fmla="*/ 10000 w 10000"/>
                      <a:gd name="connsiteY0" fmla="*/ 6570 h 10000"/>
                      <a:gd name="connsiteX1" fmla="*/ 9818 w 10000"/>
                      <a:gd name="connsiteY1" fmla="*/ 6082 h 10000"/>
                      <a:gd name="connsiteX2" fmla="*/ 7993 w 10000"/>
                      <a:gd name="connsiteY2" fmla="*/ 7581 h 10000"/>
                      <a:gd name="connsiteX3" fmla="*/ 7614 w 10000"/>
                      <a:gd name="connsiteY3" fmla="*/ 6987 h 10000"/>
                      <a:gd name="connsiteX4" fmla="*/ 7192 w 10000"/>
                      <a:gd name="connsiteY4" fmla="*/ 5341 h 10000"/>
                      <a:gd name="connsiteX5" fmla="*/ 6524 w 10000"/>
                      <a:gd name="connsiteY5" fmla="*/ 6120 h 10000"/>
                      <a:gd name="connsiteX6" fmla="*/ 3526 w 10000"/>
                      <a:gd name="connsiteY6" fmla="*/ 922 h 10000"/>
                      <a:gd name="connsiteX7" fmla="*/ 2692 w 10000"/>
                      <a:gd name="connsiteY7" fmla="*/ 1263 h 10000"/>
                      <a:gd name="connsiteX8" fmla="*/ 2453 w 10000"/>
                      <a:gd name="connsiteY8" fmla="*/ 0 h 10000"/>
                      <a:gd name="connsiteX9" fmla="*/ 1957 w 10000"/>
                      <a:gd name="connsiteY9" fmla="*/ 777 h 10000"/>
                      <a:gd name="connsiteX10" fmla="*/ 859 w 10000"/>
                      <a:gd name="connsiteY10" fmla="*/ 55 h 10000"/>
                      <a:gd name="connsiteX11" fmla="*/ 190 w 10000"/>
                      <a:gd name="connsiteY11" fmla="*/ 507 h 10000"/>
                      <a:gd name="connsiteX12" fmla="*/ 116 w 10000"/>
                      <a:gd name="connsiteY12" fmla="*/ 144 h 10000"/>
                      <a:gd name="connsiteX13" fmla="*/ 0 w 10000"/>
                      <a:gd name="connsiteY13" fmla="*/ 271 h 10000"/>
                      <a:gd name="connsiteX14" fmla="*/ 124 w 10000"/>
                      <a:gd name="connsiteY14" fmla="*/ 848 h 10000"/>
                      <a:gd name="connsiteX15" fmla="*/ 859 w 10000"/>
                      <a:gd name="connsiteY15" fmla="*/ 362 h 10000"/>
                      <a:gd name="connsiteX16" fmla="*/ 1982 w 10000"/>
                      <a:gd name="connsiteY16" fmla="*/ 1084 h 10000"/>
                      <a:gd name="connsiteX17" fmla="*/ 2395 w 10000"/>
                      <a:gd name="connsiteY17" fmla="*/ 415 h 10000"/>
                      <a:gd name="connsiteX18" fmla="*/ 2618 w 10000"/>
                      <a:gd name="connsiteY18" fmla="*/ 1587 h 10000"/>
                      <a:gd name="connsiteX19" fmla="*/ 3493 w 10000"/>
                      <a:gd name="connsiteY19" fmla="*/ 1210 h 10000"/>
                      <a:gd name="connsiteX20" fmla="*/ 6507 w 10000"/>
                      <a:gd name="connsiteY20" fmla="*/ 6444 h 10000"/>
                      <a:gd name="connsiteX21" fmla="*/ 7143 w 10000"/>
                      <a:gd name="connsiteY21" fmla="*/ 5723 h 10000"/>
                      <a:gd name="connsiteX22" fmla="*/ 7514 w 10000"/>
                      <a:gd name="connsiteY22" fmla="*/ 7168 h 10000"/>
                      <a:gd name="connsiteX23" fmla="*/ 7977 w 10000"/>
                      <a:gd name="connsiteY23" fmla="*/ 7889 h 10000"/>
                      <a:gd name="connsiteX24" fmla="*/ 9777 w 10000"/>
                      <a:gd name="connsiteY24" fmla="*/ 6409 h 10000"/>
                      <a:gd name="connsiteX25" fmla="*/ 9835 w 10000"/>
                      <a:gd name="connsiteY25" fmla="*/ 6570 h 10000"/>
                      <a:gd name="connsiteX26" fmla="*/ 9562 w 10000"/>
                      <a:gd name="connsiteY26" fmla="*/ 7238 h 10000"/>
                      <a:gd name="connsiteX27" fmla="*/ 9562 w 10000"/>
                      <a:gd name="connsiteY27" fmla="*/ 8519 h 10000"/>
                      <a:gd name="connsiteX28" fmla="*/ 9100 w 10000"/>
                      <a:gd name="connsiteY28" fmla="*/ 8899 h 10000"/>
                      <a:gd name="connsiteX29" fmla="*/ 9100 w 10000"/>
                      <a:gd name="connsiteY29" fmla="*/ 10000 h 10000"/>
                      <a:gd name="connsiteX30" fmla="*/ 9686 w 10000"/>
                      <a:gd name="connsiteY30" fmla="*/ 7345 h 10000"/>
                      <a:gd name="connsiteX31" fmla="*/ 10000 w 10000"/>
                      <a:gd name="connsiteY31" fmla="*/ 6570 h 10000"/>
                      <a:gd name="connsiteX0" fmla="*/ 10000 w 10000"/>
                      <a:gd name="connsiteY0" fmla="*/ 6570 h 10000"/>
                      <a:gd name="connsiteX1" fmla="*/ 9818 w 10000"/>
                      <a:gd name="connsiteY1" fmla="*/ 6082 h 10000"/>
                      <a:gd name="connsiteX2" fmla="*/ 7993 w 10000"/>
                      <a:gd name="connsiteY2" fmla="*/ 7581 h 10000"/>
                      <a:gd name="connsiteX3" fmla="*/ 7614 w 10000"/>
                      <a:gd name="connsiteY3" fmla="*/ 6987 h 10000"/>
                      <a:gd name="connsiteX4" fmla="*/ 7192 w 10000"/>
                      <a:gd name="connsiteY4" fmla="*/ 5341 h 10000"/>
                      <a:gd name="connsiteX5" fmla="*/ 6524 w 10000"/>
                      <a:gd name="connsiteY5" fmla="*/ 6120 h 10000"/>
                      <a:gd name="connsiteX6" fmla="*/ 3526 w 10000"/>
                      <a:gd name="connsiteY6" fmla="*/ 922 h 10000"/>
                      <a:gd name="connsiteX7" fmla="*/ 2692 w 10000"/>
                      <a:gd name="connsiteY7" fmla="*/ 1263 h 10000"/>
                      <a:gd name="connsiteX8" fmla="*/ 2453 w 10000"/>
                      <a:gd name="connsiteY8" fmla="*/ 0 h 10000"/>
                      <a:gd name="connsiteX9" fmla="*/ 1957 w 10000"/>
                      <a:gd name="connsiteY9" fmla="*/ 777 h 10000"/>
                      <a:gd name="connsiteX10" fmla="*/ 859 w 10000"/>
                      <a:gd name="connsiteY10" fmla="*/ 55 h 10000"/>
                      <a:gd name="connsiteX11" fmla="*/ 190 w 10000"/>
                      <a:gd name="connsiteY11" fmla="*/ 507 h 10000"/>
                      <a:gd name="connsiteX12" fmla="*/ 116 w 10000"/>
                      <a:gd name="connsiteY12" fmla="*/ 144 h 10000"/>
                      <a:gd name="connsiteX13" fmla="*/ 0 w 10000"/>
                      <a:gd name="connsiteY13" fmla="*/ 271 h 10000"/>
                      <a:gd name="connsiteX14" fmla="*/ 124 w 10000"/>
                      <a:gd name="connsiteY14" fmla="*/ 848 h 10000"/>
                      <a:gd name="connsiteX15" fmla="*/ 859 w 10000"/>
                      <a:gd name="connsiteY15" fmla="*/ 362 h 10000"/>
                      <a:gd name="connsiteX16" fmla="*/ 1982 w 10000"/>
                      <a:gd name="connsiteY16" fmla="*/ 1084 h 10000"/>
                      <a:gd name="connsiteX17" fmla="*/ 2395 w 10000"/>
                      <a:gd name="connsiteY17" fmla="*/ 415 h 10000"/>
                      <a:gd name="connsiteX18" fmla="*/ 2618 w 10000"/>
                      <a:gd name="connsiteY18" fmla="*/ 1587 h 10000"/>
                      <a:gd name="connsiteX19" fmla="*/ 3493 w 10000"/>
                      <a:gd name="connsiteY19" fmla="*/ 1210 h 10000"/>
                      <a:gd name="connsiteX20" fmla="*/ 6507 w 10000"/>
                      <a:gd name="connsiteY20" fmla="*/ 6444 h 10000"/>
                      <a:gd name="connsiteX21" fmla="*/ 7143 w 10000"/>
                      <a:gd name="connsiteY21" fmla="*/ 5723 h 10000"/>
                      <a:gd name="connsiteX22" fmla="*/ 7514 w 10000"/>
                      <a:gd name="connsiteY22" fmla="*/ 7168 h 10000"/>
                      <a:gd name="connsiteX23" fmla="*/ 7977 w 10000"/>
                      <a:gd name="connsiteY23" fmla="*/ 7889 h 10000"/>
                      <a:gd name="connsiteX24" fmla="*/ 9777 w 10000"/>
                      <a:gd name="connsiteY24" fmla="*/ 6409 h 10000"/>
                      <a:gd name="connsiteX25" fmla="*/ 9835 w 10000"/>
                      <a:gd name="connsiteY25" fmla="*/ 6570 h 10000"/>
                      <a:gd name="connsiteX26" fmla="*/ 9562 w 10000"/>
                      <a:gd name="connsiteY26" fmla="*/ 7238 h 10000"/>
                      <a:gd name="connsiteX27" fmla="*/ 9562 w 10000"/>
                      <a:gd name="connsiteY27" fmla="*/ 8519 h 10000"/>
                      <a:gd name="connsiteX28" fmla="*/ 9100 w 10000"/>
                      <a:gd name="connsiteY28" fmla="*/ 10000 h 10000"/>
                      <a:gd name="connsiteX29" fmla="*/ 9686 w 10000"/>
                      <a:gd name="connsiteY29" fmla="*/ 7345 h 10000"/>
                      <a:gd name="connsiteX30" fmla="*/ 10000 w 10000"/>
                      <a:gd name="connsiteY30" fmla="*/ 6570 h 10000"/>
                      <a:gd name="connsiteX0" fmla="*/ 10000 w 10000"/>
                      <a:gd name="connsiteY0" fmla="*/ 6570 h 8519"/>
                      <a:gd name="connsiteX1" fmla="*/ 9818 w 10000"/>
                      <a:gd name="connsiteY1" fmla="*/ 6082 h 8519"/>
                      <a:gd name="connsiteX2" fmla="*/ 7993 w 10000"/>
                      <a:gd name="connsiteY2" fmla="*/ 7581 h 8519"/>
                      <a:gd name="connsiteX3" fmla="*/ 7614 w 10000"/>
                      <a:gd name="connsiteY3" fmla="*/ 6987 h 8519"/>
                      <a:gd name="connsiteX4" fmla="*/ 7192 w 10000"/>
                      <a:gd name="connsiteY4" fmla="*/ 5341 h 8519"/>
                      <a:gd name="connsiteX5" fmla="*/ 6524 w 10000"/>
                      <a:gd name="connsiteY5" fmla="*/ 6120 h 8519"/>
                      <a:gd name="connsiteX6" fmla="*/ 3526 w 10000"/>
                      <a:gd name="connsiteY6" fmla="*/ 922 h 8519"/>
                      <a:gd name="connsiteX7" fmla="*/ 2692 w 10000"/>
                      <a:gd name="connsiteY7" fmla="*/ 1263 h 8519"/>
                      <a:gd name="connsiteX8" fmla="*/ 2453 w 10000"/>
                      <a:gd name="connsiteY8" fmla="*/ 0 h 8519"/>
                      <a:gd name="connsiteX9" fmla="*/ 1957 w 10000"/>
                      <a:gd name="connsiteY9" fmla="*/ 777 h 8519"/>
                      <a:gd name="connsiteX10" fmla="*/ 859 w 10000"/>
                      <a:gd name="connsiteY10" fmla="*/ 55 h 8519"/>
                      <a:gd name="connsiteX11" fmla="*/ 190 w 10000"/>
                      <a:gd name="connsiteY11" fmla="*/ 507 h 8519"/>
                      <a:gd name="connsiteX12" fmla="*/ 116 w 10000"/>
                      <a:gd name="connsiteY12" fmla="*/ 144 h 8519"/>
                      <a:gd name="connsiteX13" fmla="*/ 0 w 10000"/>
                      <a:gd name="connsiteY13" fmla="*/ 271 h 8519"/>
                      <a:gd name="connsiteX14" fmla="*/ 124 w 10000"/>
                      <a:gd name="connsiteY14" fmla="*/ 848 h 8519"/>
                      <a:gd name="connsiteX15" fmla="*/ 859 w 10000"/>
                      <a:gd name="connsiteY15" fmla="*/ 362 h 8519"/>
                      <a:gd name="connsiteX16" fmla="*/ 1982 w 10000"/>
                      <a:gd name="connsiteY16" fmla="*/ 1084 h 8519"/>
                      <a:gd name="connsiteX17" fmla="*/ 2395 w 10000"/>
                      <a:gd name="connsiteY17" fmla="*/ 415 h 8519"/>
                      <a:gd name="connsiteX18" fmla="*/ 2618 w 10000"/>
                      <a:gd name="connsiteY18" fmla="*/ 1587 h 8519"/>
                      <a:gd name="connsiteX19" fmla="*/ 3493 w 10000"/>
                      <a:gd name="connsiteY19" fmla="*/ 1210 h 8519"/>
                      <a:gd name="connsiteX20" fmla="*/ 6507 w 10000"/>
                      <a:gd name="connsiteY20" fmla="*/ 6444 h 8519"/>
                      <a:gd name="connsiteX21" fmla="*/ 7143 w 10000"/>
                      <a:gd name="connsiteY21" fmla="*/ 5723 h 8519"/>
                      <a:gd name="connsiteX22" fmla="*/ 7514 w 10000"/>
                      <a:gd name="connsiteY22" fmla="*/ 7168 h 8519"/>
                      <a:gd name="connsiteX23" fmla="*/ 7977 w 10000"/>
                      <a:gd name="connsiteY23" fmla="*/ 7889 h 8519"/>
                      <a:gd name="connsiteX24" fmla="*/ 9777 w 10000"/>
                      <a:gd name="connsiteY24" fmla="*/ 6409 h 8519"/>
                      <a:gd name="connsiteX25" fmla="*/ 9835 w 10000"/>
                      <a:gd name="connsiteY25" fmla="*/ 6570 h 8519"/>
                      <a:gd name="connsiteX26" fmla="*/ 9562 w 10000"/>
                      <a:gd name="connsiteY26" fmla="*/ 7238 h 8519"/>
                      <a:gd name="connsiteX27" fmla="*/ 9562 w 10000"/>
                      <a:gd name="connsiteY27" fmla="*/ 8519 h 8519"/>
                      <a:gd name="connsiteX28" fmla="*/ 9686 w 10000"/>
                      <a:gd name="connsiteY28" fmla="*/ 7345 h 8519"/>
                      <a:gd name="connsiteX29" fmla="*/ 10000 w 10000"/>
                      <a:gd name="connsiteY29" fmla="*/ 6570 h 8519"/>
                      <a:gd name="connsiteX0" fmla="*/ 10000 w 10000"/>
                      <a:gd name="connsiteY0" fmla="*/ 7712 h 9260"/>
                      <a:gd name="connsiteX1" fmla="*/ 9818 w 10000"/>
                      <a:gd name="connsiteY1" fmla="*/ 7139 h 9260"/>
                      <a:gd name="connsiteX2" fmla="*/ 7993 w 10000"/>
                      <a:gd name="connsiteY2" fmla="*/ 8899 h 9260"/>
                      <a:gd name="connsiteX3" fmla="*/ 7614 w 10000"/>
                      <a:gd name="connsiteY3" fmla="*/ 8202 h 9260"/>
                      <a:gd name="connsiteX4" fmla="*/ 7192 w 10000"/>
                      <a:gd name="connsiteY4" fmla="*/ 6270 h 9260"/>
                      <a:gd name="connsiteX5" fmla="*/ 6524 w 10000"/>
                      <a:gd name="connsiteY5" fmla="*/ 7184 h 9260"/>
                      <a:gd name="connsiteX6" fmla="*/ 3526 w 10000"/>
                      <a:gd name="connsiteY6" fmla="*/ 1082 h 9260"/>
                      <a:gd name="connsiteX7" fmla="*/ 2692 w 10000"/>
                      <a:gd name="connsiteY7" fmla="*/ 1483 h 9260"/>
                      <a:gd name="connsiteX8" fmla="*/ 2453 w 10000"/>
                      <a:gd name="connsiteY8" fmla="*/ 0 h 9260"/>
                      <a:gd name="connsiteX9" fmla="*/ 1957 w 10000"/>
                      <a:gd name="connsiteY9" fmla="*/ 912 h 9260"/>
                      <a:gd name="connsiteX10" fmla="*/ 859 w 10000"/>
                      <a:gd name="connsiteY10" fmla="*/ 65 h 9260"/>
                      <a:gd name="connsiteX11" fmla="*/ 190 w 10000"/>
                      <a:gd name="connsiteY11" fmla="*/ 595 h 9260"/>
                      <a:gd name="connsiteX12" fmla="*/ 116 w 10000"/>
                      <a:gd name="connsiteY12" fmla="*/ 169 h 9260"/>
                      <a:gd name="connsiteX13" fmla="*/ 0 w 10000"/>
                      <a:gd name="connsiteY13" fmla="*/ 318 h 9260"/>
                      <a:gd name="connsiteX14" fmla="*/ 124 w 10000"/>
                      <a:gd name="connsiteY14" fmla="*/ 995 h 9260"/>
                      <a:gd name="connsiteX15" fmla="*/ 859 w 10000"/>
                      <a:gd name="connsiteY15" fmla="*/ 425 h 9260"/>
                      <a:gd name="connsiteX16" fmla="*/ 1982 w 10000"/>
                      <a:gd name="connsiteY16" fmla="*/ 1272 h 9260"/>
                      <a:gd name="connsiteX17" fmla="*/ 2395 w 10000"/>
                      <a:gd name="connsiteY17" fmla="*/ 487 h 9260"/>
                      <a:gd name="connsiteX18" fmla="*/ 2618 w 10000"/>
                      <a:gd name="connsiteY18" fmla="*/ 1863 h 9260"/>
                      <a:gd name="connsiteX19" fmla="*/ 3493 w 10000"/>
                      <a:gd name="connsiteY19" fmla="*/ 1420 h 9260"/>
                      <a:gd name="connsiteX20" fmla="*/ 6507 w 10000"/>
                      <a:gd name="connsiteY20" fmla="*/ 7564 h 9260"/>
                      <a:gd name="connsiteX21" fmla="*/ 7143 w 10000"/>
                      <a:gd name="connsiteY21" fmla="*/ 6718 h 9260"/>
                      <a:gd name="connsiteX22" fmla="*/ 7514 w 10000"/>
                      <a:gd name="connsiteY22" fmla="*/ 8414 h 9260"/>
                      <a:gd name="connsiteX23" fmla="*/ 7977 w 10000"/>
                      <a:gd name="connsiteY23" fmla="*/ 9260 h 9260"/>
                      <a:gd name="connsiteX24" fmla="*/ 9777 w 10000"/>
                      <a:gd name="connsiteY24" fmla="*/ 7523 h 9260"/>
                      <a:gd name="connsiteX25" fmla="*/ 9835 w 10000"/>
                      <a:gd name="connsiteY25" fmla="*/ 7712 h 9260"/>
                      <a:gd name="connsiteX26" fmla="*/ 9562 w 10000"/>
                      <a:gd name="connsiteY26" fmla="*/ 8496 h 9260"/>
                      <a:gd name="connsiteX27" fmla="*/ 9686 w 10000"/>
                      <a:gd name="connsiteY27" fmla="*/ 8622 h 9260"/>
                      <a:gd name="connsiteX28" fmla="*/ 10000 w 10000"/>
                      <a:gd name="connsiteY28" fmla="*/ 7712 h 9260"/>
                      <a:gd name="connsiteX0" fmla="*/ 9686 w 9922"/>
                      <a:gd name="connsiteY0" fmla="*/ 9311 h 10000"/>
                      <a:gd name="connsiteX1" fmla="*/ 9818 w 9922"/>
                      <a:gd name="connsiteY1" fmla="*/ 7710 h 10000"/>
                      <a:gd name="connsiteX2" fmla="*/ 7993 w 9922"/>
                      <a:gd name="connsiteY2" fmla="*/ 9610 h 10000"/>
                      <a:gd name="connsiteX3" fmla="*/ 7614 w 9922"/>
                      <a:gd name="connsiteY3" fmla="*/ 8857 h 10000"/>
                      <a:gd name="connsiteX4" fmla="*/ 7192 w 9922"/>
                      <a:gd name="connsiteY4" fmla="*/ 6771 h 10000"/>
                      <a:gd name="connsiteX5" fmla="*/ 6524 w 9922"/>
                      <a:gd name="connsiteY5" fmla="*/ 7758 h 10000"/>
                      <a:gd name="connsiteX6" fmla="*/ 3526 w 9922"/>
                      <a:gd name="connsiteY6" fmla="*/ 1168 h 10000"/>
                      <a:gd name="connsiteX7" fmla="*/ 2692 w 9922"/>
                      <a:gd name="connsiteY7" fmla="*/ 1602 h 10000"/>
                      <a:gd name="connsiteX8" fmla="*/ 2453 w 9922"/>
                      <a:gd name="connsiteY8" fmla="*/ 0 h 10000"/>
                      <a:gd name="connsiteX9" fmla="*/ 1957 w 9922"/>
                      <a:gd name="connsiteY9" fmla="*/ 985 h 10000"/>
                      <a:gd name="connsiteX10" fmla="*/ 859 w 9922"/>
                      <a:gd name="connsiteY10" fmla="*/ 70 h 10000"/>
                      <a:gd name="connsiteX11" fmla="*/ 190 w 9922"/>
                      <a:gd name="connsiteY11" fmla="*/ 643 h 10000"/>
                      <a:gd name="connsiteX12" fmla="*/ 116 w 9922"/>
                      <a:gd name="connsiteY12" fmla="*/ 183 h 10000"/>
                      <a:gd name="connsiteX13" fmla="*/ 0 w 9922"/>
                      <a:gd name="connsiteY13" fmla="*/ 343 h 10000"/>
                      <a:gd name="connsiteX14" fmla="*/ 124 w 9922"/>
                      <a:gd name="connsiteY14" fmla="*/ 1075 h 10000"/>
                      <a:gd name="connsiteX15" fmla="*/ 859 w 9922"/>
                      <a:gd name="connsiteY15" fmla="*/ 459 h 10000"/>
                      <a:gd name="connsiteX16" fmla="*/ 1982 w 9922"/>
                      <a:gd name="connsiteY16" fmla="*/ 1374 h 10000"/>
                      <a:gd name="connsiteX17" fmla="*/ 2395 w 9922"/>
                      <a:gd name="connsiteY17" fmla="*/ 526 h 10000"/>
                      <a:gd name="connsiteX18" fmla="*/ 2618 w 9922"/>
                      <a:gd name="connsiteY18" fmla="*/ 2012 h 10000"/>
                      <a:gd name="connsiteX19" fmla="*/ 3493 w 9922"/>
                      <a:gd name="connsiteY19" fmla="*/ 1533 h 10000"/>
                      <a:gd name="connsiteX20" fmla="*/ 6507 w 9922"/>
                      <a:gd name="connsiteY20" fmla="*/ 8168 h 10000"/>
                      <a:gd name="connsiteX21" fmla="*/ 7143 w 9922"/>
                      <a:gd name="connsiteY21" fmla="*/ 7255 h 10000"/>
                      <a:gd name="connsiteX22" fmla="*/ 7514 w 9922"/>
                      <a:gd name="connsiteY22" fmla="*/ 9086 h 10000"/>
                      <a:gd name="connsiteX23" fmla="*/ 7977 w 9922"/>
                      <a:gd name="connsiteY23" fmla="*/ 10000 h 10000"/>
                      <a:gd name="connsiteX24" fmla="*/ 9777 w 9922"/>
                      <a:gd name="connsiteY24" fmla="*/ 8124 h 10000"/>
                      <a:gd name="connsiteX25" fmla="*/ 9835 w 9922"/>
                      <a:gd name="connsiteY25" fmla="*/ 8328 h 10000"/>
                      <a:gd name="connsiteX26" fmla="*/ 9562 w 9922"/>
                      <a:gd name="connsiteY26" fmla="*/ 9175 h 10000"/>
                      <a:gd name="connsiteX27" fmla="*/ 9686 w 9922"/>
                      <a:gd name="connsiteY27" fmla="*/ 9311 h 10000"/>
                      <a:gd name="connsiteX0" fmla="*/ 9637 w 9969"/>
                      <a:gd name="connsiteY0" fmla="*/ 9175 h 10000"/>
                      <a:gd name="connsiteX1" fmla="*/ 9895 w 9969"/>
                      <a:gd name="connsiteY1" fmla="*/ 7710 h 10000"/>
                      <a:gd name="connsiteX2" fmla="*/ 8056 w 9969"/>
                      <a:gd name="connsiteY2" fmla="*/ 9610 h 10000"/>
                      <a:gd name="connsiteX3" fmla="*/ 7674 w 9969"/>
                      <a:gd name="connsiteY3" fmla="*/ 8857 h 10000"/>
                      <a:gd name="connsiteX4" fmla="*/ 7249 w 9969"/>
                      <a:gd name="connsiteY4" fmla="*/ 6771 h 10000"/>
                      <a:gd name="connsiteX5" fmla="*/ 6575 w 9969"/>
                      <a:gd name="connsiteY5" fmla="*/ 7758 h 10000"/>
                      <a:gd name="connsiteX6" fmla="*/ 3554 w 9969"/>
                      <a:gd name="connsiteY6" fmla="*/ 1168 h 10000"/>
                      <a:gd name="connsiteX7" fmla="*/ 2713 w 9969"/>
                      <a:gd name="connsiteY7" fmla="*/ 1602 h 10000"/>
                      <a:gd name="connsiteX8" fmla="*/ 2472 w 9969"/>
                      <a:gd name="connsiteY8" fmla="*/ 0 h 10000"/>
                      <a:gd name="connsiteX9" fmla="*/ 1972 w 9969"/>
                      <a:gd name="connsiteY9" fmla="*/ 985 h 10000"/>
                      <a:gd name="connsiteX10" fmla="*/ 866 w 9969"/>
                      <a:gd name="connsiteY10" fmla="*/ 70 h 10000"/>
                      <a:gd name="connsiteX11" fmla="*/ 191 w 9969"/>
                      <a:gd name="connsiteY11" fmla="*/ 643 h 10000"/>
                      <a:gd name="connsiteX12" fmla="*/ 117 w 9969"/>
                      <a:gd name="connsiteY12" fmla="*/ 183 h 10000"/>
                      <a:gd name="connsiteX13" fmla="*/ 0 w 9969"/>
                      <a:gd name="connsiteY13" fmla="*/ 343 h 10000"/>
                      <a:gd name="connsiteX14" fmla="*/ 125 w 9969"/>
                      <a:gd name="connsiteY14" fmla="*/ 1075 h 10000"/>
                      <a:gd name="connsiteX15" fmla="*/ 866 w 9969"/>
                      <a:gd name="connsiteY15" fmla="*/ 459 h 10000"/>
                      <a:gd name="connsiteX16" fmla="*/ 1998 w 9969"/>
                      <a:gd name="connsiteY16" fmla="*/ 1374 h 10000"/>
                      <a:gd name="connsiteX17" fmla="*/ 2414 w 9969"/>
                      <a:gd name="connsiteY17" fmla="*/ 526 h 10000"/>
                      <a:gd name="connsiteX18" fmla="*/ 2639 w 9969"/>
                      <a:gd name="connsiteY18" fmla="*/ 2012 h 10000"/>
                      <a:gd name="connsiteX19" fmla="*/ 3520 w 9969"/>
                      <a:gd name="connsiteY19" fmla="*/ 1533 h 10000"/>
                      <a:gd name="connsiteX20" fmla="*/ 6558 w 9969"/>
                      <a:gd name="connsiteY20" fmla="*/ 8168 h 10000"/>
                      <a:gd name="connsiteX21" fmla="*/ 7199 w 9969"/>
                      <a:gd name="connsiteY21" fmla="*/ 7255 h 10000"/>
                      <a:gd name="connsiteX22" fmla="*/ 7573 w 9969"/>
                      <a:gd name="connsiteY22" fmla="*/ 9086 h 10000"/>
                      <a:gd name="connsiteX23" fmla="*/ 8040 w 9969"/>
                      <a:gd name="connsiteY23" fmla="*/ 10000 h 10000"/>
                      <a:gd name="connsiteX24" fmla="*/ 9854 w 9969"/>
                      <a:gd name="connsiteY24" fmla="*/ 8124 h 10000"/>
                      <a:gd name="connsiteX25" fmla="*/ 9912 w 9969"/>
                      <a:gd name="connsiteY25" fmla="*/ 8328 h 10000"/>
                      <a:gd name="connsiteX26" fmla="*/ 9637 w 9969"/>
                      <a:gd name="connsiteY26" fmla="*/ 9175 h 10000"/>
                      <a:gd name="connsiteX0" fmla="*/ 9943 w 10069"/>
                      <a:gd name="connsiteY0" fmla="*/ 8328 h 10000"/>
                      <a:gd name="connsiteX1" fmla="*/ 9926 w 10069"/>
                      <a:gd name="connsiteY1" fmla="*/ 7710 h 10000"/>
                      <a:gd name="connsiteX2" fmla="*/ 8081 w 10069"/>
                      <a:gd name="connsiteY2" fmla="*/ 9610 h 10000"/>
                      <a:gd name="connsiteX3" fmla="*/ 7698 w 10069"/>
                      <a:gd name="connsiteY3" fmla="*/ 8857 h 10000"/>
                      <a:gd name="connsiteX4" fmla="*/ 7272 w 10069"/>
                      <a:gd name="connsiteY4" fmla="*/ 6771 h 10000"/>
                      <a:gd name="connsiteX5" fmla="*/ 6595 w 10069"/>
                      <a:gd name="connsiteY5" fmla="*/ 7758 h 10000"/>
                      <a:gd name="connsiteX6" fmla="*/ 3565 w 10069"/>
                      <a:gd name="connsiteY6" fmla="*/ 1168 h 10000"/>
                      <a:gd name="connsiteX7" fmla="*/ 2721 w 10069"/>
                      <a:gd name="connsiteY7" fmla="*/ 1602 h 10000"/>
                      <a:gd name="connsiteX8" fmla="*/ 2480 w 10069"/>
                      <a:gd name="connsiteY8" fmla="*/ 0 h 10000"/>
                      <a:gd name="connsiteX9" fmla="*/ 1978 w 10069"/>
                      <a:gd name="connsiteY9" fmla="*/ 985 h 10000"/>
                      <a:gd name="connsiteX10" fmla="*/ 869 w 10069"/>
                      <a:gd name="connsiteY10" fmla="*/ 70 h 10000"/>
                      <a:gd name="connsiteX11" fmla="*/ 192 w 10069"/>
                      <a:gd name="connsiteY11" fmla="*/ 643 h 10000"/>
                      <a:gd name="connsiteX12" fmla="*/ 117 w 10069"/>
                      <a:gd name="connsiteY12" fmla="*/ 183 h 10000"/>
                      <a:gd name="connsiteX13" fmla="*/ 0 w 10069"/>
                      <a:gd name="connsiteY13" fmla="*/ 343 h 10000"/>
                      <a:gd name="connsiteX14" fmla="*/ 125 w 10069"/>
                      <a:gd name="connsiteY14" fmla="*/ 1075 h 10000"/>
                      <a:gd name="connsiteX15" fmla="*/ 869 w 10069"/>
                      <a:gd name="connsiteY15" fmla="*/ 459 h 10000"/>
                      <a:gd name="connsiteX16" fmla="*/ 2004 w 10069"/>
                      <a:gd name="connsiteY16" fmla="*/ 1374 h 10000"/>
                      <a:gd name="connsiteX17" fmla="*/ 2422 w 10069"/>
                      <a:gd name="connsiteY17" fmla="*/ 526 h 10000"/>
                      <a:gd name="connsiteX18" fmla="*/ 2647 w 10069"/>
                      <a:gd name="connsiteY18" fmla="*/ 2012 h 10000"/>
                      <a:gd name="connsiteX19" fmla="*/ 3531 w 10069"/>
                      <a:gd name="connsiteY19" fmla="*/ 1533 h 10000"/>
                      <a:gd name="connsiteX20" fmla="*/ 6578 w 10069"/>
                      <a:gd name="connsiteY20" fmla="*/ 8168 h 10000"/>
                      <a:gd name="connsiteX21" fmla="*/ 7221 w 10069"/>
                      <a:gd name="connsiteY21" fmla="*/ 7255 h 10000"/>
                      <a:gd name="connsiteX22" fmla="*/ 7597 w 10069"/>
                      <a:gd name="connsiteY22" fmla="*/ 9086 h 10000"/>
                      <a:gd name="connsiteX23" fmla="*/ 8065 w 10069"/>
                      <a:gd name="connsiteY23" fmla="*/ 10000 h 10000"/>
                      <a:gd name="connsiteX24" fmla="*/ 9885 w 10069"/>
                      <a:gd name="connsiteY24" fmla="*/ 8124 h 10000"/>
                      <a:gd name="connsiteX25" fmla="*/ 9943 w 10069"/>
                      <a:gd name="connsiteY25" fmla="*/ 8328 h 100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</a:cxnLst>
                    <a:rect l="l" t="t" r="r" b="b"/>
                    <a:pathLst>
                      <a:path w="10069" h="10000">
                        <a:moveTo>
                          <a:pt x="9943" y="8328"/>
                        </a:moveTo>
                        <a:cubicBezTo>
                          <a:pt x="9950" y="8259"/>
                          <a:pt x="10236" y="7496"/>
                          <a:pt x="9926" y="7710"/>
                        </a:cubicBezTo>
                        <a:cubicBezTo>
                          <a:pt x="9616" y="7924"/>
                          <a:pt x="8696" y="8977"/>
                          <a:pt x="8081" y="9610"/>
                        </a:cubicBezTo>
                        <a:lnTo>
                          <a:pt x="7698" y="8857"/>
                        </a:lnTo>
                        <a:cubicBezTo>
                          <a:pt x="7555" y="8162"/>
                          <a:pt x="7414" y="7465"/>
                          <a:pt x="7272" y="6771"/>
                        </a:cubicBezTo>
                        <a:lnTo>
                          <a:pt x="6595" y="7758"/>
                        </a:lnTo>
                        <a:lnTo>
                          <a:pt x="3565" y="1168"/>
                        </a:lnTo>
                        <a:lnTo>
                          <a:pt x="2721" y="1602"/>
                        </a:lnTo>
                        <a:cubicBezTo>
                          <a:pt x="2641" y="1067"/>
                          <a:pt x="2561" y="533"/>
                          <a:pt x="2480" y="0"/>
                        </a:cubicBezTo>
                        <a:lnTo>
                          <a:pt x="1978" y="985"/>
                        </a:lnTo>
                        <a:lnTo>
                          <a:pt x="869" y="70"/>
                        </a:lnTo>
                        <a:lnTo>
                          <a:pt x="192" y="643"/>
                        </a:lnTo>
                        <a:cubicBezTo>
                          <a:pt x="167" y="490"/>
                          <a:pt x="142" y="334"/>
                          <a:pt x="117" y="183"/>
                        </a:cubicBezTo>
                        <a:cubicBezTo>
                          <a:pt x="78" y="235"/>
                          <a:pt x="39" y="290"/>
                          <a:pt x="0" y="343"/>
                        </a:cubicBezTo>
                        <a:cubicBezTo>
                          <a:pt x="41" y="586"/>
                          <a:pt x="84" y="829"/>
                          <a:pt x="125" y="1075"/>
                        </a:cubicBezTo>
                        <a:lnTo>
                          <a:pt x="869" y="459"/>
                        </a:lnTo>
                        <a:lnTo>
                          <a:pt x="2004" y="1374"/>
                        </a:lnTo>
                        <a:lnTo>
                          <a:pt x="2422" y="526"/>
                        </a:lnTo>
                        <a:cubicBezTo>
                          <a:pt x="2496" y="1021"/>
                          <a:pt x="2572" y="1515"/>
                          <a:pt x="2647" y="2012"/>
                        </a:cubicBezTo>
                        <a:lnTo>
                          <a:pt x="3531" y="1533"/>
                        </a:lnTo>
                        <a:lnTo>
                          <a:pt x="6578" y="8168"/>
                        </a:lnTo>
                        <a:lnTo>
                          <a:pt x="7221" y="7255"/>
                        </a:lnTo>
                        <a:cubicBezTo>
                          <a:pt x="7347" y="7865"/>
                          <a:pt x="7471" y="8475"/>
                          <a:pt x="7597" y="9086"/>
                        </a:cubicBezTo>
                        <a:lnTo>
                          <a:pt x="8065" y="10000"/>
                        </a:lnTo>
                        <a:lnTo>
                          <a:pt x="9885" y="8124"/>
                        </a:lnTo>
                        <a:cubicBezTo>
                          <a:pt x="9904" y="8193"/>
                          <a:pt x="9936" y="8397"/>
                          <a:pt x="9943" y="8328"/>
                        </a:cubicBezTo>
                        <a:close/>
                      </a:path>
                    </a:pathLst>
                  </a:custGeom>
                  <a:solidFill>
                    <a:schemeClr val="tx1">
                      <a:lumMod val="50000"/>
                      <a:lumOff val="50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</p:grpSp>
            <p:sp>
              <p:nvSpPr>
                <p:cNvPr id="19" name="Freeform 119"/>
                <p:cNvSpPr>
                  <a:spLocks/>
                </p:cNvSpPr>
                <p:nvPr/>
              </p:nvSpPr>
              <p:spPr bwMode="auto">
                <a:xfrm>
                  <a:off x="2600026" y="3876576"/>
                  <a:ext cx="938197" cy="125415"/>
                </a:xfrm>
                <a:custGeom>
                  <a:avLst/>
                  <a:gdLst>
                    <a:gd name="T0" fmla="*/ 460 w 648"/>
                    <a:gd name="T1" fmla="*/ 0 h 87"/>
                    <a:gd name="T2" fmla="*/ 306 w 648"/>
                    <a:gd name="T3" fmla="*/ 0 h 87"/>
                    <a:gd name="T4" fmla="*/ 334 w 648"/>
                    <a:gd name="T5" fmla="*/ 29 h 87"/>
                    <a:gd name="T6" fmla="*/ 334 w 648"/>
                    <a:gd name="T7" fmla="*/ 45 h 87"/>
                    <a:gd name="T8" fmla="*/ 211 w 648"/>
                    <a:gd name="T9" fmla="*/ 45 h 87"/>
                    <a:gd name="T10" fmla="*/ 211 w 648"/>
                    <a:gd name="T11" fmla="*/ 0 h 87"/>
                    <a:gd name="T12" fmla="*/ 43 w 648"/>
                    <a:gd name="T13" fmla="*/ 0 h 87"/>
                    <a:gd name="T14" fmla="*/ 0 w 648"/>
                    <a:gd name="T15" fmla="*/ 43 h 87"/>
                    <a:gd name="T16" fmla="*/ 43 w 648"/>
                    <a:gd name="T17" fmla="*/ 87 h 87"/>
                    <a:gd name="T18" fmla="*/ 604 w 648"/>
                    <a:gd name="T19" fmla="*/ 87 h 87"/>
                    <a:gd name="T20" fmla="*/ 648 w 648"/>
                    <a:gd name="T21" fmla="*/ 43 h 87"/>
                    <a:gd name="T22" fmla="*/ 647 w 648"/>
                    <a:gd name="T23" fmla="*/ 39 h 87"/>
                    <a:gd name="T24" fmla="*/ 460 w 648"/>
                    <a:gd name="T25" fmla="*/ 39 h 87"/>
                    <a:gd name="T26" fmla="*/ 460 w 648"/>
                    <a:gd name="T27" fmla="*/ 0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648" h="87">
                      <a:moveTo>
                        <a:pt x="460" y="0"/>
                      </a:moveTo>
                      <a:cubicBezTo>
                        <a:pt x="306" y="0"/>
                        <a:pt x="306" y="0"/>
                        <a:pt x="306" y="0"/>
                      </a:cubicBezTo>
                      <a:cubicBezTo>
                        <a:pt x="334" y="29"/>
                        <a:pt x="334" y="29"/>
                        <a:pt x="334" y="29"/>
                      </a:cubicBezTo>
                      <a:cubicBezTo>
                        <a:pt x="334" y="45"/>
                        <a:pt x="334" y="45"/>
                        <a:pt x="334" y="45"/>
                      </a:cubicBezTo>
                      <a:cubicBezTo>
                        <a:pt x="211" y="45"/>
                        <a:pt x="211" y="45"/>
                        <a:pt x="211" y="45"/>
                      </a:cubicBezTo>
                      <a:cubicBezTo>
                        <a:pt x="211" y="0"/>
                        <a:pt x="211" y="0"/>
                        <a:pt x="211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19" y="0"/>
                        <a:pt x="0" y="20"/>
                        <a:pt x="0" y="43"/>
                      </a:cubicBezTo>
                      <a:cubicBezTo>
                        <a:pt x="0" y="67"/>
                        <a:pt x="19" y="87"/>
                        <a:pt x="43" y="87"/>
                      </a:cubicBezTo>
                      <a:cubicBezTo>
                        <a:pt x="604" y="87"/>
                        <a:pt x="604" y="87"/>
                        <a:pt x="604" y="87"/>
                      </a:cubicBezTo>
                      <a:cubicBezTo>
                        <a:pt x="628" y="87"/>
                        <a:pt x="648" y="67"/>
                        <a:pt x="648" y="43"/>
                      </a:cubicBezTo>
                      <a:cubicBezTo>
                        <a:pt x="648" y="42"/>
                        <a:pt x="648" y="41"/>
                        <a:pt x="647" y="39"/>
                      </a:cubicBezTo>
                      <a:cubicBezTo>
                        <a:pt x="460" y="39"/>
                        <a:pt x="460" y="39"/>
                        <a:pt x="460" y="39"/>
                      </a:cubicBezTo>
                      <a:cubicBezTo>
                        <a:pt x="460" y="0"/>
                        <a:pt x="460" y="0"/>
                        <a:pt x="460" y="0"/>
                      </a:cubicBez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" name="Rectangle 120"/>
                <p:cNvSpPr>
                  <a:spLocks noChangeArrowheads="1"/>
                </p:cNvSpPr>
                <p:nvPr/>
              </p:nvSpPr>
              <p:spPr bwMode="auto">
                <a:xfrm>
                  <a:off x="2904821" y="3186000"/>
                  <a:ext cx="100011" cy="655651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" name="Rectangle 121"/>
                <p:cNvSpPr>
                  <a:spLocks noChangeArrowheads="1"/>
                </p:cNvSpPr>
                <p:nvPr/>
              </p:nvSpPr>
              <p:spPr bwMode="auto">
                <a:xfrm>
                  <a:off x="2904821" y="3186000"/>
                  <a:ext cx="100011" cy="6556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" name="Freeform 122"/>
                <p:cNvSpPr>
                  <a:spLocks/>
                </p:cNvSpPr>
                <p:nvPr/>
              </p:nvSpPr>
              <p:spPr bwMode="auto">
                <a:xfrm>
                  <a:off x="2904821" y="3841651"/>
                  <a:ext cx="179385" cy="100015"/>
                </a:xfrm>
                <a:custGeom>
                  <a:avLst/>
                  <a:gdLst>
                    <a:gd name="T0" fmla="*/ 113 w 113"/>
                    <a:gd name="T1" fmla="*/ 48 h 63"/>
                    <a:gd name="T2" fmla="*/ 64 w 113"/>
                    <a:gd name="T3" fmla="*/ 0 h 63"/>
                    <a:gd name="T4" fmla="*/ 0 w 113"/>
                    <a:gd name="T5" fmla="*/ 0 h 63"/>
                    <a:gd name="T6" fmla="*/ 0 w 113"/>
                    <a:gd name="T7" fmla="*/ 63 h 63"/>
                    <a:gd name="T8" fmla="*/ 113 w 113"/>
                    <a:gd name="T9" fmla="*/ 63 h 63"/>
                    <a:gd name="T10" fmla="*/ 113 w 113"/>
                    <a:gd name="T11" fmla="*/ 48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13" h="63">
                      <a:moveTo>
                        <a:pt x="113" y="48"/>
                      </a:moveTo>
                      <a:lnTo>
                        <a:pt x="64" y="0"/>
                      </a:lnTo>
                      <a:lnTo>
                        <a:pt x="0" y="0"/>
                      </a:lnTo>
                      <a:lnTo>
                        <a:pt x="0" y="63"/>
                      </a:lnTo>
                      <a:lnTo>
                        <a:pt x="113" y="63"/>
                      </a:lnTo>
                      <a:lnTo>
                        <a:pt x="113" y="48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" name="Freeform 123"/>
                <p:cNvSpPr>
                  <a:spLocks/>
                </p:cNvSpPr>
                <p:nvPr/>
              </p:nvSpPr>
              <p:spPr bwMode="auto">
                <a:xfrm>
                  <a:off x="2904821" y="3841651"/>
                  <a:ext cx="179385" cy="100015"/>
                </a:xfrm>
                <a:custGeom>
                  <a:avLst/>
                  <a:gdLst>
                    <a:gd name="T0" fmla="*/ 113 w 113"/>
                    <a:gd name="T1" fmla="*/ 48 h 63"/>
                    <a:gd name="T2" fmla="*/ 64 w 113"/>
                    <a:gd name="T3" fmla="*/ 0 h 63"/>
                    <a:gd name="T4" fmla="*/ 0 w 113"/>
                    <a:gd name="T5" fmla="*/ 0 h 63"/>
                    <a:gd name="T6" fmla="*/ 0 w 113"/>
                    <a:gd name="T7" fmla="*/ 63 h 63"/>
                    <a:gd name="T8" fmla="*/ 113 w 113"/>
                    <a:gd name="T9" fmla="*/ 63 h 63"/>
                    <a:gd name="T10" fmla="*/ 113 w 113"/>
                    <a:gd name="T11" fmla="*/ 48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13" h="63">
                      <a:moveTo>
                        <a:pt x="113" y="48"/>
                      </a:moveTo>
                      <a:lnTo>
                        <a:pt x="64" y="0"/>
                      </a:lnTo>
                      <a:lnTo>
                        <a:pt x="0" y="0"/>
                      </a:lnTo>
                      <a:lnTo>
                        <a:pt x="0" y="63"/>
                      </a:lnTo>
                      <a:lnTo>
                        <a:pt x="113" y="63"/>
                      </a:lnTo>
                      <a:lnTo>
                        <a:pt x="113" y="48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" name="Rectangle 124"/>
                <p:cNvSpPr>
                  <a:spLocks noChangeArrowheads="1"/>
                </p:cNvSpPr>
                <p:nvPr/>
              </p:nvSpPr>
              <p:spPr bwMode="auto">
                <a:xfrm>
                  <a:off x="2904821" y="3216163"/>
                  <a:ext cx="49212" cy="625488"/>
                </a:xfrm>
                <a:prstGeom prst="rect">
                  <a:avLst/>
                </a:prstGeom>
                <a:solidFill>
                  <a:schemeClr val="tx1">
                    <a:lumMod val="65000"/>
                    <a:lumOff val="3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" name="Rectangle 125"/>
                <p:cNvSpPr>
                  <a:spLocks noChangeArrowheads="1"/>
                </p:cNvSpPr>
                <p:nvPr/>
              </p:nvSpPr>
              <p:spPr bwMode="auto">
                <a:xfrm>
                  <a:off x="2904821" y="3216163"/>
                  <a:ext cx="49212" cy="6254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" name="Rectangle 126"/>
                <p:cNvSpPr>
                  <a:spLocks noChangeArrowheads="1"/>
                </p:cNvSpPr>
                <p:nvPr/>
              </p:nvSpPr>
              <p:spPr bwMode="auto">
                <a:xfrm>
                  <a:off x="2904821" y="3841651"/>
                  <a:ext cx="49212" cy="100015"/>
                </a:xfrm>
                <a:prstGeom prst="rect">
                  <a:avLst/>
                </a:prstGeom>
                <a:solidFill>
                  <a:srgbClr val="001B4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" name="Rectangle 127"/>
                <p:cNvSpPr>
                  <a:spLocks noChangeArrowheads="1"/>
                </p:cNvSpPr>
                <p:nvPr/>
              </p:nvSpPr>
              <p:spPr bwMode="auto">
                <a:xfrm>
                  <a:off x="2904821" y="3841651"/>
                  <a:ext cx="49212" cy="10001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" name="Freeform 128"/>
                <p:cNvSpPr>
                  <a:spLocks noEditPoints="1"/>
                </p:cNvSpPr>
                <p:nvPr/>
              </p:nvSpPr>
              <p:spPr bwMode="auto">
                <a:xfrm>
                  <a:off x="3071505" y="3133611"/>
                  <a:ext cx="387344" cy="490548"/>
                </a:xfrm>
                <a:custGeom>
                  <a:avLst/>
                  <a:gdLst>
                    <a:gd name="T0" fmla="*/ 138 w 267"/>
                    <a:gd name="T1" fmla="*/ 318 h 340"/>
                    <a:gd name="T2" fmla="*/ 192 w 267"/>
                    <a:gd name="T3" fmla="*/ 176 h 340"/>
                    <a:gd name="T4" fmla="*/ 0 w 267"/>
                    <a:gd name="T5" fmla="*/ 54 h 340"/>
                    <a:gd name="T6" fmla="*/ 34 w 267"/>
                    <a:gd name="T7" fmla="*/ 0 h 340"/>
                    <a:gd name="T8" fmla="*/ 248 w 267"/>
                    <a:gd name="T9" fmla="*/ 136 h 340"/>
                    <a:gd name="T10" fmla="*/ 261 w 267"/>
                    <a:gd name="T11" fmla="*/ 174 h 340"/>
                    <a:gd name="T12" fmla="*/ 198 w 267"/>
                    <a:gd name="T13" fmla="*/ 340 h 340"/>
                    <a:gd name="T14" fmla="*/ 138 w 267"/>
                    <a:gd name="T15" fmla="*/ 318 h 340"/>
                    <a:gd name="T16" fmla="*/ 0 w 267"/>
                    <a:gd name="T17" fmla="*/ 54 h 340"/>
                    <a:gd name="T18" fmla="*/ 0 w 267"/>
                    <a:gd name="T19" fmla="*/ 54 h 340"/>
                    <a:gd name="T20" fmla="*/ 0 w 267"/>
                    <a:gd name="T21" fmla="*/ 54 h 340"/>
                    <a:gd name="T22" fmla="*/ 0 w 267"/>
                    <a:gd name="T23" fmla="*/ 54 h 3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67" h="340">
                      <a:moveTo>
                        <a:pt x="138" y="318"/>
                      </a:moveTo>
                      <a:cubicBezTo>
                        <a:pt x="192" y="176"/>
                        <a:pt x="192" y="176"/>
                        <a:pt x="192" y="176"/>
                      </a:cubicBezTo>
                      <a:cubicBezTo>
                        <a:pt x="0" y="54"/>
                        <a:pt x="0" y="54"/>
                        <a:pt x="0" y="54"/>
                      </a:cubicBezTo>
                      <a:cubicBezTo>
                        <a:pt x="34" y="0"/>
                        <a:pt x="34" y="0"/>
                        <a:pt x="34" y="0"/>
                      </a:cubicBezTo>
                      <a:cubicBezTo>
                        <a:pt x="248" y="136"/>
                        <a:pt x="248" y="136"/>
                        <a:pt x="248" y="136"/>
                      </a:cubicBezTo>
                      <a:cubicBezTo>
                        <a:pt x="261" y="144"/>
                        <a:pt x="267" y="160"/>
                        <a:pt x="261" y="174"/>
                      </a:cubicBezTo>
                      <a:cubicBezTo>
                        <a:pt x="198" y="340"/>
                        <a:pt x="198" y="340"/>
                        <a:pt x="198" y="340"/>
                      </a:cubicBezTo>
                      <a:cubicBezTo>
                        <a:pt x="138" y="318"/>
                        <a:pt x="138" y="318"/>
                        <a:pt x="138" y="318"/>
                      </a:cubicBezTo>
                      <a:moveTo>
                        <a:pt x="0" y="54"/>
                      </a:moveTo>
                      <a:cubicBezTo>
                        <a:pt x="0" y="54"/>
                        <a:pt x="0" y="54"/>
                        <a:pt x="0" y="54"/>
                      </a:cubicBezTo>
                      <a:cubicBezTo>
                        <a:pt x="0" y="54"/>
                        <a:pt x="0" y="54"/>
                        <a:pt x="0" y="54"/>
                      </a:cubicBezTo>
                      <a:cubicBezTo>
                        <a:pt x="0" y="54"/>
                        <a:pt x="0" y="54"/>
                        <a:pt x="0" y="54"/>
                      </a:cubicBezTo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" name="Freeform 129"/>
                <p:cNvSpPr>
                  <a:spLocks/>
                </p:cNvSpPr>
                <p:nvPr/>
              </p:nvSpPr>
              <p:spPr bwMode="auto">
                <a:xfrm>
                  <a:off x="3271527" y="3589233"/>
                  <a:ext cx="179385" cy="100015"/>
                </a:xfrm>
                <a:custGeom>
                  <a:avLst/>
                  <a:gdLst>
                    <a:gd name="T0" fmla="*/ 113 w 113"/>
                    <a:gd name="T1" fmla="*/ 48 h 63"/>
                    <a:gd name="T2" fmla="*/ 65 w 113"/>
                    <a:gd name="T3" fmla="*/ 0 h 63"/>
                    <a:gd name="T4" fmla="*/ 0 w 113"/>
                    <a:gd name="T5" fmla="*/ 0 h 63"/>
                    <a:gd name="T6" fmla="*/ 0 w 113"/>
                    <a:gd name="T7" fmla="*/ 63 h 63"/>
                    <a:gd name="T8" fmla="*/ 113 w 113"/>
                    <a:gd name="T9" fmla="*/ 63 h 63"/>
                    <a:gd name="T10" fmla="*/ 113 w 113"/>
                    <a:gd name="T11" fmla="*/ 48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13" h="63">
                      <a:moveTo>
                        <a:pt x="113" y="48"/>
                      </a:moveTo>
                      <a:lnTo>
                        <a:pt x="65" y="0"/>
                      </a:lnTo>
                      <a:lnTo>
                        <a:pt x="0" y="0"/>
                      </a:lnTo>
                      <a:lnTo>
                        <a:pt x="0" y="63"/>
                      </a:lnTo>
                      <a:lnTo>
                        <a:pt x="113" y="63"/>
                      </a:lnTo>
                      <a:lnTo>
                        <a:pt x="113" y="48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" name="Freeform 130"/>
                <p:cNvSpPr>
                  <a:spLocks/>
                </p:cNvSpPr>
                <p:nvPr/>
              </p:nvSpPr>
              <p:spPr bwMode="auto">
                <a:xfrm>
                  <a:off x="3271527" y="3589233"/>
                  <a:ext cx="179385" cy="100015"/>
                </a:xfrm>
                <a:custGeom>
                  <a:avLst/>
                  <a:gdLst>
                    <a:gd name="T0" fmla="*/ 113 w 113"/>
                    <a:gd name="T1" fmla="*/ 48 h 63"/>
                    <a:gd name="T2" fmla="*/ 65 w 113"/>
                    <a:gd name="T3" fmla="*/ 0 h 63"/>
                    <a:gd name="T4" fmla="*/ 0 w 113"/>
                    <a:gd name="T5" fmla="*/ 0 h 63"/>
                    <a:gd name="T6" fmla="*/ 0 w 113"/>
                    <a:gd name="T7" fmla="*/ 63 h 63"/>
                    <a:gd name="T8" fmla="*/ 113 w 113"/>
                    <a:gd name="T9" fmla="*/ 63 h 63"/>
                    <a:gd name="T10" fmla="*/ 113 w 113"/>
                    <a:gd name="T11" fmla="*/ 48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13" h="63">
                      <a:moveTo>
                        <a:pt x="113" y="48"/>
                      </a:moveTo>
                      <a:lnTo>
                        <a:pt x="65" y="0"/>
                      </a:lnTo>
                      <a:lnTo>
                        <a:pt x="0" y="0"/>
                      </a:lnTo>
                      <a:lnTo>
                        <a:pt x="0" y="63"/>
                      </a:lnTo>
                      <a:lnTo>
                        <a:pt x="113" y="63"/>
                      </a:lnTo>
                      <a:lnTo>
                        <a:pt x="113" y="48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" name="Freeform 131"/>
                <p:cNvSpPr>
                  <a:spLocks/>
                </p:cNvSpPr>
                <p:nvPr/>
              </p:nvSpPr>
              <p:spPr bwMode="auto">
                <a:xfrm>
                  <a:off x="3081030" y="3216163"/>
                  <a:ext cx="315907" cy="373070"/>
                </a:xfrm>
                <a:custGeom>
                  <a:avLst/>
                  <a:gdLst>
                    <a:gd name="T0" fmla="*/ 46 w 199"/>
                    <a:gd name="T1" fmla="*/ 0 h 235"/>
                    <a:gd name="T2" fmla="*/ 0 w 199"/>
                    <a:gd name="T3" fmla="*/ 0 h 235"/>
                    <a:gd name="T4" fmla="*/ 169 w 199"/>
                    <a:gd name="T5" fmla="*/ 108 h 235"/>
                    <a:gd name="T6" fmla="*/ 121 w 199"/>
                    <a:gd name="T7" fmla="*/ 235 h 235"/>
                    <a:gd name="T8" fmla="*/ 121 w 199"/>
                    <a:gd name="T9" fmla="*/ 235 h 235"/>
                    <a:gd name="T10" fmla="*/ 150 w 199"/>
                    <a:gd name="T11" fmla="*/ 235 h 235"/>
                    <a:gd name="T12" fmla="*/ 150 w 199"/>
                    <a:gd name="T13" fmla="*/ 233 h 235"/>
                    <a:gd name="T14" fmla="*/ 199 w 199"/>
                    <a:gd name="T15" fmla="*/ 96 h 235"/>
                    <a:gd name="T16" fmla="*/ 46 w 199"/>
                    <a:gd name="T17" fmla="*/ 0 h 2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99" h="235">
                      <a:moveTo>
                        <a:pt x="46" y="0"/>
                      </a:moveTo>
                      <a:lnTo>
                        <a:pt x="0" y="0"/>
                      </a:lnTo>
                      <a:lnTo>
                        <a:pt x="169" y="108"/>
                      </a:lnTo>
                      <a:lnTo>
                        <a:pt x="121" y="235"/>
                      </a:lnTo>
                      <a:lnTo>
                        <a:pt x="121" y="235"/>
                      </a:lnTo>
                      <a:lnTo>
                        <a:pt x="150" y="235"/>
                      </a:lnTo>
                      <a:lnTo>
                        <a:pt x="150" y="233"/>
                      </a:lnTo>
                      <a:lnTo>
                        <a:pt x="199" y="96"/>
                      </a:lnTo>
                      <a:lnTo>
                        <a:pt x="46" y="0"/>
                      </a:lnTo>
                      <a:close/>
                    </a:path>
                  </a:pathLst>
                </a:custGeom>
                <a:solidFill>
                  <a:schemeClr val="tx1">
                    <a:lumMod val="65000"/>
                    <a:lumOff val="3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" name="Freeform 132"/>
                <p:cNvSpPr>
                  <a:spLocks/>
                </p:cNvSpPr>
                <p:nvPr/>
              </p:nvSpPr>
              <p:spPr bwMode="auto">
                <a:xfrm>
                  <a:off x="3081030" y="3216163"/>
                  <a:ext cx="315907" cy="373070"/>
                </a:xfrm>
                <a:custGeom>
                  <a:avLst/>
                  <a:gdLst>
                    <a:gd name="T0" fmla="*/ 46 w 199"/>
                    <a:gd name="T1" fmla="*/ 0 h 235"/>
                    <a:gd name="T2" fmla="*/ 0 w 199"/>
                    <a:gd name="T3" fmla="*/ 0 h 235"/>
                    <a:gd name="T4" fmla="*/ 169 w 199"/>
                    <a:gd name="T5" fmla="*/ 108 h 235"/>
                    <a:gd name="T6" fmla="*/ 121 w 199"/>
                    <a:gd name="T7" fmla="*/ 235 h 235"/>
                    <a:gd name="T8" fmla="*/ 121 w 199"/>
                    <a:gd name="T9" fmla="*/ 235 h 235"/>
                    <a:gd name="T10" fmla="*/ 150 w 199"/>
                    <a:gd name="T11" fmla="*/ 235 h 235"/>
                    <a:gd name="T12" fmla="*/ 150 w 199"/>
                    <a:gd name="T13" fmla="*/ 233 h 235"/>
                    <a:gd name="T14" fmla="*/ 199 w 199"/>
                    <a:gd name="T15" fmla="*/ 96 h 235"/>
                    <a:gd name="T16" fmla="*/ 46 w 199"/>
                    <a:gd name="T17" fmla="*/ 0 h 2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99" h="235">
                      <a:moveTo>
                        <a:pt x="46" y="0"/>
                      </a:moveTo>
                      <a:lnTo>
                        <a:pt x="0" y="0"/>
                      </a:lnTo>
                      <a:lnTo>
                        <a:pt x="169" y="108"/>
                      </a:lnTo>
                      <a:lnTo>
                        <a:pt x="121" y="235"/>
                      </a:lnTo>
                      <a:lnTo>
                        <a:pt x="121" y="235"/>
                      </a:lnTo>
                      <a:lnTo>
                        <a:pt x="150" y="235"/>
                      </a:lnTo>
                      <a:lnTo>
                        <a:pt x="150" y="233"/>
                      </a:lnTo>
                      <a:lnTo>
                        <a:pt x="199" y="96"/>
                      </a:lnTo>
                      <a:lnTo>
                        <a:pt x="46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" name="Freeform 133"/>
                <p:cNvSpPr>
                  <a:spLocks/>
                </p:cNvSpPr>
                <p:nvPr/>
              </p:nvSpPr>
              <p:spPr bwMode="auto">
                <a:xfrm>
                  <a:off x="3271527" y="3589233"/>
                  <a:ext cx="47624" cy="76202"/>
                </a:xfrm>
                <a:custGeom>
                  <a:avLst/>
                  <a:gdLst>
                    <a:gd name="T0" fmla="*/ 30 w 30"/>
                    <a:gd name="T1" fmla="*/ 0 h 48"/>
                    <a:gd name="T2" fmla="*/ 1 w 30"/>
                    <a:gd name="T3" fmla="*/ 0 h 48"/>
                    <a:gd name="T4" fmla="*/ 0 w 30"/>
                    <a:gd name="T5" fmla="*/ 0 h 48"/>
                    <a:gd name="T6" fmla="*/ 0 w 30"/>
                    <a:gd name="T7" fmla="*/ 48 h 48"/>
                    <a:gd name="T8" fmla="*/ 30 w 30"/>
                    <a:gd name="T9" fmla="*/ 48 h 48"/>
                    <a:gd name="T10" fmla="*/ 30 w 30"/>
                    <a:gd name="T11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0" h="48">
                      <a:moveTo>
                        <a:pt x="30" y="0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48"/>
                      </a:lnTo>
                      <a:lnTo>
                        <a:pt x="30" y="48"/>
                      </a:lnTo>
                      <a:lnTo>
                        <a:pt x="30" y="0"/>
                      </a:lnTo>
                      <a:close/>
                    </a:path>
                  </a:pathLst>
                </a:custGeom>
                <a:solidFill>
                  <a:srgbClr val="001B4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4" name="Freeform 134"/>
                <p:cNvSpPr>
                  <a:spLocks/>
                </p:cNvSpPr>
                <p:nvPr/>
              </p:nvSpPr>
              <p:spPr bwMode="auto">
                <a:xfrm>
                  <a:off x="3271527" y="3589233"/>
                  <a:ext cx="47624" cy="76202"/>
                </a:xfrm>
                <a:custGeom>
                  <a:avLst/>
                  <a:gdLst>
                    <a:gd name="T0" fmla="*/ 30 w 30"/>
                    <a:gd name="T1" fmla="*/ 0 h 48"/>
                    <a:gd name="T2" fmla="*/ 1 w 30"/>
                    <a:gd name="T3" fmla="*/ 0 h 48"/>
                    <a:gd name="T4" fmla="*/ 0 w 30"/>
                    <a:gd name="T5" fmla="*/ 0 h 48"/>
                    <a:gd name="T6" fmla="*/ 0 w 30"/>
                    <a:gd name="T7" fmla="*/ 48 h 48"/>
                    <a:gd name="T8" fmla="*/ 30 w 30"/>
                    <a:gd name="T9" fmla="*/ 48 h 48"/>
                    <a:gd name="T10" fmla="*/ 30 w 30"/>
                    <a:gd name="T11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0" h="48">
                      <a:moveTo>
                        <a:pt x="30" y="0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48"/>
                      </a:lnTo>
                      <a:lnTo>
                        <a:pt x="30" y="48"/>
                      </a:lnTo>
                      <a:lnTo>
                        <a:pt x="30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5" name="Rectangle 135"/>
                <p:cNvSpPr>
                  <a:spLocks noChangeArrowheads="1"/>
                </p:cNvSpPr>
                <p:nvPr/>
              </p:nvSpPr>
              <p:spPr bwMode="auto">
                <a:xfrm>
                  <a:off x="2738136" y="2382708"/>
                  <a:ext cx="471480" cy="638188"/>
                </a:xfrm>
                <a:prstGeom prst="rect">
                  <a:avLst/>
                </a:pr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6" name="Rectangle 136"/>
                <p:cNvSpPr>
                  <a:spLocks noChangeArrowheads="1"/>
                </p:cNvSpPr>
                <p:nvPr/>
              </p:nvSpPr>
              <p:spPr bwMode="auto">
                <a:xfrm>
                  <a:off x="2738136" y="2382708"/>
                  <a:ext cx="471480" cy="6381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7" name="Rectangle 137"/>
                <p:cNvSpPr>
                  <a:spLocks noChangeArrowheads="1"/>
                </p:cNvSpPr>
                <p:nvPr/>
              </p:nvSpPr>
              <p:spPr bwMode="auto">
                <a:xfrm>
                  <a:off x="2738136" y="3044709"/>
                  <a:ext cx="471480" cy="147641"/>
                </a:xfrm>
                <a:prstGeom prst="rect">
                  <a:avLst/>
                </a:pr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8" name="Rectangle 138"/>
                <p:cNvSpPr>
                  <a:spLocks noChangeArrowheads="1"/>
                </p:cNvSpPr>
                <p:nvPr/>
              </p:nvSpPr>
              <p:spPr bwMode="auto">
                <a:xfrm>
                  <a:off x="2738136" y="3044709"/>
                  <a:ext cx="471480" cy="14764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9" name="Freeform 139"/>
                <p:cNvSpPr>
                  <a:spLocks/>
                </p:cNvSpPr>
                <p:nvPr/>
              </p:nvSpPr>
              <p:spPr bwMode="auto">
                <a:xfrm>
                  <a:off x="2792110" y="2382708"/>
                  <a:ext cx="417506" cy="638188"/>
                </a:xfrm>
                <a:custGeom>
                  <a:avLst/>
                  <a:gdLst>
                    <a:gd name="T0" fmla="*/ 288 w 288"/>
                    <a:gd name="T1" fmla="*/ 0 h 442"/>
                    <a:gd name="T2" fmla="*/ 247 w 288"/>
                    <a:gd name="T3" fmla="*/ 0 h 442"/>
                    <a:gd name="T4" fmla="*/ 180 w 288"/>
                    <a:gd name="T5" fmla="*/ 28 h 442"/>
                    <a:gd name="T6" fmla="*/ 149 w 288"/>
                    <a:gd name="T7" fmla="*/ 20 h 442"/>
                    <a:gd name="T8" fmla="*/ 148 w 288"/>
                    <a:gd name="T9" fmla="*/ 21 h 442"/>
                    <a:gd name="T10" fmla="*/ 139 w 288"/>
                    <a:gd name="T11" fmla="*/ 21 h 442"/>
                    <a:gd name="T12" fmla="*/ 83 w 288"/>
                    <a:gd name="T13" fmla="*/ 0 h 442"/>
                    <a:gd name="T14" fmla="*/ 0 w 288"/>
                    <a:gd name="T15" fmla="*/ 0 h 442"/>
                    <a:gd name="T16" fmla="*/ 0 w 288"/>
                    <a:gd name="T17" fmla="*/ 442 h 442"/>
                    <a:gd name="T18" fmla="*/ 31 w 288"/>
                    <a:gd name="T19" fmla="*/ 442 h 442"/>
                    <a:gd name="T20" fmla="*/ 31 w 288"/>
                    <a:gd name="T21" fmla="*/ 60 h 442"/>
                    <a:gd name="T22" fmla="*/ 288 w 288"/>
                    <a:gd name="T23" fmla="*/ 60 h 442"/>
                    <a:gd name="T24" fmla="*/ 288 w 288"/>
                    <a:gd name="T25" fmla="*/ 0 h 4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88" h="442">
                      <a:moveTo>
                        <a:pt x="288" y="0"/>
                      </a:moveTo>
                      <a:cubicBezTo>
                        <a:pt x="247" y="0"/>
                        <a:pt x="247" y="0"/>
                        <a:pt x="247" y="0"/>
                      </a:cubicBezTo>
                      <a:cubicBezTo>
                        <a:pt x="226" y="17"/>
                        <a:pt x="203" y="28"/>
                        <a:pt x="180" y="28"/>
                      </a:cubicBezTo>
                      <a:cubicBezTo>
                        <a:pt x="170" y="28"/>
                        <a:pt x="159" y="26"/>
                        <a:pt x="149" y="20"/>
                      </a:cubicBezTo>
                      <a:cubicBezTo>
                        <a:pt x="148" y="21"/>
                        <a:pt x="148" y="21"/>
                        <a:pt x="148" y="21"/>
                      </a:cubicBezTo>
                      <a:cubicBezTo>
                        <a:pt x="148" y="21"/>
                        <a:pt x="145" y="21"/>
                        <a:pt x="139" y="21"/>
                      </a:cubicBezTo>
                      <a:cubicBezTo>
                        <a:pt x="126" y="21"/>
                        <a:pt x="100" y="19"/>
                        <a:pt x="8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442"/>
                        <a:pt x="0" y="442"/>
                        <a:pt x="0" y="442"/>
                      </a:cubicBezTo>
                      <a:cubicBezTo>
                        <a:pt x="31" y="442"/>
                        <a:pt x="31" y="442"/>
                        <a:pt x="31" y="442"/>
                      </a:cubicBezTo>
                      <a:cubicBezTo>
                        <a:pt x="31" y="60"/>
                        <a:pt x="31" y="60"/>
                        <a:pt x="31" y="60"/>
                      </a:cubicBezTo>
                      <a:cubicBezTo>
                        <a:pt x="288" y="60"/>
                        <a:pt x="288" y="60"/>
                        <a:pt x="288" y="60"/>
                      </a:cubicBezTo>
                      <a:cubicBezTo>
                        <a:pt x="288" y="0"/>
                        <a:pt x="288" y="0"/>
                        <a:pt x="288" y="0"/>
                      </a:cubicBezTo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0" name="Rectangle 140"/>
                <p:cNvSpPr>
                  <a:spLocks noChangeArrowheads="1"/>
                </p:cNvSpPr>
                <p:nvPr/>
              </p:nvSpPr>
              <p:spPr bwMode="auto">
                <a:xfrm>
                  <a:off x="2792110" y="3044709"/>
                  <a:ext cx="46037" cy="147641"/>
                </a:xfrm>
                <a:prstGeom prst="rect">
                  <a:avLst/>
                </a:pr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1" name="Rectangle 141"/>
                <p:cNvSpPr>
                  <a:spLocks noChangeArrowheads="1"/>
                </p:cNvSpPr>
                <p:nvPr/>
              </p:nvSpPr>
              <p:spPr bwMode="auto">
                <a:xfrm>
                  <a:off x="2792110" y="3044709"/>
                  <a:ext cx="46037" cy="14764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2" name="Freeform 142"/>
                <p:cNvSpPr>
                  <a:spLocks/>
                </p:cNvSpPr>
                <p:nvPr/>
              </p:nvSpPr>
              <p:spPr bwMode="auto">
                <a:xfrm>
                  <a:off x="2838147" y="2468435"/>
                  <a:ext cx="411156" cy="747728"/>
                </a:xfrm>
                <a:custGeom>
                  <a:avLst/>
                  <a:gdLst>
                    <a:gd name="T0" fmla="*/ 285 w 285"/>
                    <a:gd name="T1" fmla="*/ 230 h 517"/>
                    <a:gd name="T2" fmla="*/ 285 w 285"/>
                    <a:gd name="T3" fmla="*/ 0 h 517"/>
                    <a:gd name="T4" fmla="*/ 0 w 285"/>
                    <a:gd name="T5" fmla="*/ 0 h 517"/>
                    <a:gd name="T6" fmla="*/ 0 w 285"/>
                    <a:gd name="T7" fmla="*/ 517 h 517"/>
                    <a:gd name="T8" fmla="*/ 285 w 285"/>
                    <a:gd name="T9" fmla="*/ 517 h 517"/>
                    <a:gd name="T10" fmla="*/ 257 w 285"/>
                    <a:gd name="T11" fmla="*/ 230 h 517"/>
                    <a:gd name="T12" fmla="*/ 285 w 285"/>
                    <a:gd name="T13" fmla="*/ 230 h 5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85" h="517">
                      <a:moveTo>
                        <a:pt x="285" y="230"/>
                      </a:moveTo>
                      <a:cubicBezTo>
                        <a:pt x="285" y="0"/>
                        <a:pt x="285" y="0"/>
                        <a:pt x="285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517"/>
                        <a:pt x="0" y="517"/>
                        <a:pt x="0" y="517"/>
                      </a:cubicBezTo>
                      <a:cubicBezTo>
                        <a:pt x="285" y="517"/>
                        <a:pt x="285" y="517"/>
                        <a:pt x="285" y="517"/>
                      </a:cubicBezTo>
                      <a:cubicBezTo>
                        <a:pt x="285" y="517"/>
                        <a:pt x="278" y="276"/>
                        <a:pt x="257" y="230"/>
                      </a:cubicBezTo>
                      <a:cubicBezTo>
                        <a:pt x="285" y="230"/>
                        <a:pt x="285" y="230"/>
                        <a:pt x="285" y="230"/>
                      </a:cubicBezTo>
                    </a:path>
                  </a:pathLst>
                </a:custGeom>
                <a:solidFill>
                  <a:srgbClr val="E1623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3" name="Freeform 143"/>
                <p:cNvSpPr>
                  <a:spLocks noEditPoints="1"/>
                </p:cNvSpPr>
                <p:nvPr/>
              </p:nvSpPr>
              <p:spPr bwMode="auto">
                <a:xfrm>
                  <a:off x="3249302" y="3216163"/>
                  <a:ext cx="0" cy="0"/>
                </a:xfrm>
                <a:custGeom>
                  <a:avLst/>
                  <a:gdLst>
                    <a:gd name="T0" fmla="*/ 1 h 1"/>
                    <a:gd name="T1" fmla="*/ 1 h 1"/>
                    <a:gd name="T2" fmla="*/ 1 h 1"/>
                    <a:gd name="T3" fmla="*/ 0 h 1"/>
                    <a:gd name="T4" fmla="*/ 1 h 1"/>
                    <a:gd name="T5" fmla="*/ 0 h 1"/>
                    <a:gd name="T6" fmla="*/ 0 h 1"/>
                    <a:gd name="T7" fmla="*/ 0 h 1"/>
                    <a:gd name="T8" fmla="*/ 0 h 1"/>
                    <a:gd name="T9" fmla="*/ 0 h 1"/>
                    <a:gd name="T10" fmla="*/ 0 h 1"/>
                    <a:gd name="T11" fmla="*/ 0 h 1"/>
                    <a:gd name="T12" fmla="*/ 0 h 1"/>
                    <a:gd name="T13" fmla="*/ 0 h 1"/>
                    <a:gd name="T14" fmla="*/ 0 h 1"/>
                    <a:gd name="T15" fmla="*/ 0 h 1"/>
                    <a:gd name="T16" fmla="*/ 0 h 1"/>
                    <a:gd name="T17" fmla="*/ 0 h 1"/>
                    <a:gd name="T18" fmla="*/ 0 h 1"/>
                    <a:gd name="T19" fmla="*/ 0 h 1"/>
                    <a:gd name="T20" fmla="*/ 0 h 1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  <a:cxn ang="0">
                      <a:pos x="0" y="T5"/>
                    </a:cxn>
                    <a:cxn ang="0">
                      <a:pos x="0" y="T6"/>
                    </a:cxn>
                    <a:cxn ang="0">
                      <a:pos x="0" y="T7"/>
                    </a:cxn>
                    <a:cxn ang="0">
                      <a:pos x="0" y="T8"/>
                    </a:cxn>
                    <a:cxn ang="0">
                      <a:pos x="0" y="T9"/>
                    </a:cxn>
                    <a:cxn ang="0">
                      <a:pos x="0" y="T10"/>
                    </a:cxn>
                    <a:cxn ang="0">
                      <a:pos x="0" y="T11"/>
                    </a:cxn>
                    <a:cxn ang="0">
                      <a:pos x="0" y="T12"/>
                    </a:cxn>
                    <a:cxn ang="0">
                      <a:pos x="0" y="T13"/>
                    </a:cxn>
                    <a:cxn ang="0">
                      <a:pos x="0" y="T14"/>
                    </a:cxn>
                    <a:cxn ang="0">
                      <a:pos x="0" y="T15"/>
                    </a:cxn>
                    <a:cxn ang="0">
                      <a:pos x="0" y="T16"/>
                    </a:cxn>
                    <a:cxn ang="0">
                      <a:pos x="0" y="T17"/>
                    </a:cxn>
                    <a:cxn ang="0">
                      <a:pos x="0" y="T18"/>
                    </a:cxn>
                    <a:cxn ang="0">
                      <a:pos x="0" y="T19"/>
                    </a:cxn>
                    <a:cxn ang="0">
                      <a:pos x="0" y="T20"/>
                    </a:cxn>
                  </a:cxnLst>
                  <a:rect l="0" t="0" r="r" b="b"/>
                  <a:pathLst>
                    <a:path h="1">
                      <a:moveTo>
                        <a:pt x="0" y="1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moveTo>
                        <a:pt x="0" y="0"/>
                      </a:move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0" y="1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00A9D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4" name="Freeform 144"/>
                <p:cNvSpPr>
                  <a:spLocks/>
                </p:cNvSpPr>
                <p:nvPr/>
              </p:nvSpPr>
              <p:spPr bwMode="auto">
                <a:xfrm>
                  <a:off x="2838147" y="2668464"/>
                  <a:ext cx="411156" cy="547699"/>
                </a:xfrm>
                <a:custGeom>
                  <a:avLst/>
                  <a:gdLst>
                    <a:gd name="T0" fmla="*/ 0 w 285"/>
                    <a:gd name="T1" fmla="*/ 0 h 379"/>
                    <a:gd name="T2" fmla="*/ 0 w 285"/>
                    <a:gd name="T3" fmla="*/ 379 h 379"/>
                    <a:gd name="T4" fmla="*/ 285 w 285"/>
                    <a:gd name="T5" fmla="*/ 379 h 379"/>
                    <a:gd name="T6" fmla="*/ 285 w 285"/>
                    <a:gd name="T7" fmla="*/ 379 h 379"/>
                    <a:gd name="T8" fmla="*/ 285 w 285"/>
                    <a:gd name="T9" fmla="*/ 379 h 379"/>
                    <a:gd name="T10" fmla="*/ 285 w 285"/>
                    <a:gd name="T11" fmla="*/ 379 h 379"/>
                    <a:gd name="T12" fmla="*/ 285 w 285"/>
                    <a:gd name="T13" fmla="*/ 379 h 379"/>
                    <a:gd name="T14" fmla="*/ 285 w 285"/>
                    <a:gd name="T15" fmla="*/ 378 h 379"/>
                    <a:gd name="T16" fmla="*/ 285 w 285"/>
                    <a:gd name="T17" fmla="*/ 378 h 379"/>
                    <a:gd name="T18" fmla="*/ 285 w 285"/>
                    <a:gd name="T19" fmla="*/ 378 h 379"/>
                    <a:gd name="T20" fmla="*/ 285 w 285"/>
                    <a:gd name="T21" fmla="*/ 378 h 379"/>
                    <a:gd name="T22" fmla="*/ 285 w 285"/>
                    <a:gd name="T23" fmla="*/ 378 h 379"/>
                    <a:gd name="T24" fmla="*/ 285 w 285"/>
                    <a:gd name="T25" fmla="*/ 378 h 379"/>
                    <a:gd name="T26" fmla="*/ 285 w 285"/>
                    <a:gd name="T27" fmla="*/ 378 h 379"/>
                    <a:gd name="T28" fmla="*/ 285 w 285"/>
                    <a:gd name="T29" fmla="*/ 378 h 379"/>
                    <a:gd name="T30" fmla="*/ 285 w 285"/>
                    <a:gd name="T31" fmla="*/ 378 h 379"/>
                    <a:gd name="T32" fmla="*/ 285 w 285"/>
                    <a:gd name="T33" fmla="*/ 378 h 379"/>
                    <a:gd name="T34" fmla="*/ 285 w 285"/>
                    <a:gd name="T35" fmla="*/ 378 h 379"/>
                    <a:gd name="T36" fmla="*/ 277 w 285"/>
                    <a:gd name="T37" fmla="*/ 220 h 379"/>
                    <a:gd name="T38" fmla="*/ 0 w 285"/>
                    <a:gd name="T39" fmla="*/ 0 h 3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285" h="379">
                      <a:moveTo>
                        <a:pt x="0" y="0"/>
                      </a:moveTo>
                      <a:cubicBezTo>
                        <a:pt x="0" y="379"/>
                        <a:pt x="0" y="379"/>
                        <a:pt x="0" y="379"/>
                      </a:cubicBezTo>
                      <a:cubicBezTo>
                        <a:pt x="285" y="379"/>
                        <a:pt x="285" y="379"/>
                        <a:pt x="285" y="379"/>
                      </a:cubicBezTo>
                      <a:cubicBezTo>
                        <a:pt x="285" y="379"/>
                        <a:pt x="285" y="379"/>
                        <a:pt x="285" y="379"/>
                      </a:cubicBezTo>
                      <a:cubicBezTo>
                        <a:pt x="285" y="379"/>
                        <a:pt x="285" y="379"/>
                        <a:pt x="285" y="379"/>
                      </a:cubicBezTo>
                      <a:cubicBezTo>
                        <a:pt x="285" y="379"/>
                        <a:pt x="285" y="379"/>
                        <a:pt x="285" y="379"/>
                      </a:cubicBezTo>
                      <a:cubicBezTo>
                        <a:pt x="285" y="379"/>
                        <a:pt x="285" y="379"/>
                        <a:pt x="285" y="379"/>
                      </a:cubicBezTo>
                      <a:cubicBezTo>
                        <a:pt x="285" y="379"/>
                        <a:pt x="285" y="378"/>
                        <a:pt x="285" y="378"/>
                      </a:cubicBezTo>
                      <a:cubicBezTo>
                        <a:pt x="285" y="378"/>
                        <a:pt x="285" y="378"/>
                        <a:pt x="285" y="378"/>
                      </a:cubicBezTo>
                      <a:cubicBezTo>
                        <a:pt x="285" y="378"/>
                        <a:pt x="285" y="378"/>
                        <a:pt x="285" y="378"/>
                      </a:cubicBezTo>
                      <a:cubicBezTo>
                        <a:pt x="285" y="378"/>
                        <a:pt x="285" y="378"/>
                        <a:pt x="285" y="378"/>
                      </a:cubicBezTo>
                      <a:cubicBezTo>
                        <a:pt x="285" y="378"/>
                        <a:pt x="285" y="378"/>
                        <a:pt x="285" y="378"/>
                      </a:cubicBezTo>
                      <a:cubicBezTo>
                        <a:pt x="285" y="378"/>
                        <a:pt x="285" y="378"/>
                        <a:pt x="285" y="378"/>
                      </a:cubicBezTo>
                      <a:cubicBezTo>
                        <a:pt x="285" y="378"/>
                        <a:pt x="285" y="378"/>
                        <a:pt x="285" y="378"/>
                      </a:cubicBezTo>
                      <a:cubicBezTo>
                        <a:pt x="285" y="378"/>
                        <a:pt x="285" y="378"/>
                        <a:pt x="285" y="378"/>
                      </a:cubicBezTo>
                      <a:cubicBezTo>
                        <a:pt x="285" y="378"/>
                        <a:pt x="285" y="378"/>
                        <a:pt x="285" y="378"/>
                      </a:cubicBezTo>
                      <a:cubicBezTo>
                        <a:pt x="285" y="378"/>
                        <a:pt x="285" y="378"/>
                        <a:pt x="285" y="378"/>
                      </a:cubicBezTo>
                      <a:cubicBezTo>
                        <a:pt x="285" y="378"/>
                        <a:pt x="285" y="378"/>
                        <a:pt x="285" y="378"/>
                      </a:cubicBezTo>
                      <a:cubicBezTo>
                        <a:pt x="285" y="368"/>
                        <a:pt x="282" y="292"/>
                        <a:pt x="277" y="22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AC2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grpSp>
              <p:nvGrpSpPr>
                <p:cNvPr id="45" name="Group 44"/>
                <p:cNvGrpSpPr/>
                <p:nvPr/>
              </p:nvGrpSpPr>
              <p:grpSpPr>
                <a:xfrm>
                  <a:off x="2817509" y="1485753"/>
                  <a:ext cx="346069" cy="531823"/>
                  <a:chOff x="4951075" y="1519091"/>
                  <a:chExt cx="346069" cy="531823"/>
                </a:xfrm>
              </p:grpSpPr>
              <p:sp>
                <p:nvSpPr>
                  <p:cNvPr id="68" name="Freeform 145"/>
                  <p:cNvSpPr>
                    <a:spLocks noEditPoints="1"/>
                  </p:cNvSpPr>
                  <p:nvPr/>
                </p:nvSpPr>
                <p:spPr bwMode="auto">
                  <a:xfrm>
                    <a:off x="4951075" y="1519091"/>
                    <a:ext cx="346069" cy="457209"/>
                  </a:xfrm>
                  <a:custGeom>
                    <a:avLst/>
                    <a:gdLst>
                      <a:gd name="T0" fmla="*/ 239 w 239"/>
                      <a:gd name="T1" fmla="*/ 120 h 316"/>
                      <a:gd name="T2" fmla="*/ 119 w 239"/>
                      <a:gd name="T3" fmla="*/ 0 h 316"/>
                      <a:gd name="T4" fmla="*/ 0 w 239"/>
                      <a:gd name="T5" fmla="*/ 119 h 316"/>
                      <a:gd name="T6" fmla="*/ 53 w 239"/>
                      <a:gd name="T7" fmla="*/ 218 h 316"/>
                      <a:gd name="T8" fmla="*/ 79 w 239"/>
                      <a:gd name="T9" fmla="*/ 299 h 316"/>
                      <a:gd name="T10" fmla="*/ 119 w 239"/>
                      <a:gd name="T11" fmla="*/ 316 h 316"/>
                      <a:gd name="T12" fmla="*/ 119 w 239"/>
                      <a:gd name="T13" fmla="*/ 316 h 316"/>
                      <a:gd name="T14" fmla="*/ 119 w 239"/>
                      <a:gd name="T15" fmla="*/ 316 h 316"/>
                      <a:gd name="T16" fmla="*/ 119 w 239"/>
                      <a:gd name="T17" fmla="*/ 316 h 316"/>
                      <a:gd name="T18" fmla="*/ 119 w 239"/>
                      <a:gd name="T19" fmla="*/ 316 h 316"/>
                      <a:gd name="T20" fmla="*/ 160 w 239"/>
                      <a:gd name="T21" fmla="*/ 299 h 316"/>
                      <a:gd name="T22" fmla="*/ 160 w 239"/>
                      <a:gd name="T23" fmla="*/ 299 h 316"/>
                      <a:gd name="T24" fmla="*/ 160 w 239"/>
                      <a:gd name="T25" fmla="*/ 293 h 316"/>
                      <a:gd name="T26" fmla="*/ 186 w 239"/>
                      <a:gd name="T27" fmla="*/ 219 h 316"/>
                      <a:gd name="T28" fmla="*/ 239 w 239"/>
                      <a:gd name="T29" fmla="*/ 120 h 316"/>
                      <a:gd name="T30" fmla="*/ 119 w 239"/>
                      <a:gd name="T31" fmla="*/ 314 h 316"/>
                      <a:gd name="T32" fmla="*/ 119 w 239"/>
                      <a:gd name="T33" fmla="*/ 299 h 316"/>
                      <a:gd name="T34" fmla="*/ 120 w 239"/>
                      <a:gd name="T35" fmla="*/ 299 h 316"/>
                      <a:gd name="T36" fmla="*/ 119 w 239"/>
                      <a:gd name="T37" fmla="*/ 314 h 3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239" h="316">
                        <a:moveTo>
                          <a:pt x="239" y="120"/>
                        </a:moveTo>
                        <a:cubicBezTo>
                          <a:pt x="239" y="54"/>
                          <a:pt x="185" y="0"/>
                          <a:pt x="119" y="0"/>
                        </a:cubicBezTo>
                        <a:cubicBezTo>
                          <a:pt x="54" y="0"/>
                          <a:pt x="0" y="54"/>
                          <a:pt x="0" y="119"/>
                        </a:cubicBezTo>
                        <a:cubicBezTo>
                          <a:pt x="0" y="161"/>
                          <a:pt x="21" y="197"/>
                          <a:pt x="53" y="218"/>
                        </a:cubicBezTo>
                        <a:cubicBezTo>
                          <a:pt x="53" y="218"/>
                          <a:pt x="79" y="239"/>
                          <a:pt x="79" y="299"/>
                        </a:cubicBezTo>
                        <a:cubicBezTo>
                          <a:pt x="119" y="316"/>
                          <a:pt x="119" y="316"/>
                          <a:pt x="119" y="316"/>
                        </a:cubicBezTo>
                        <a:cubicBezTo>
                          <a:pt x="119" y="316"/>
                          <a:pt x="119" y="316"/>
                          <a:pt x="119" y="316"/>
                        </a:cubicBezTo>
                        <a:cubicBezTo>
                          <a:pt x="119" y="316"/>
                          <a:pt x="119" y="316"/>
                          <a:pt x="119" y="316"/>
                        </a:cubicBezTo>
                        <a:cubicBezTo>
                          <a:pt x="119" y="316"/>
                          <a:pt x="119" y="316"/>
                          <a:pt x="119" y="316"/>
                        </a:cubicBezTo>
                        <a:cubicBezTo>
                          <a:pt x="119" y="316"/>
                          <a:pt x="119" y="316"/>
                          <a:pt x="119" y="316"/>
                        </a:cubicBezTo>
                        <a:cubicBezTo>
                          <a:pt x="160" y="299"/>
                          <a:pt x="160" y="299"/>
                          <a:pt x="160" y="299"/>
                        </a:cubicBezTo>
                        <a:cubicBezTo>
                          <a:pt x="160" y="299"/>
                          <a:pt x="160" y="299"/>
                          <a:pt x="160" y="299"/>
                        </a:cubicBezTo>
                        <a:cubicBezTo>
                          <a:pt x="160" y="293"/>
                          <a:pt x="160" y="293"/>
                          <a:pt x="160" y="293"/>
                        </a:cubicBezTo>
                        <a:cubicBezTo>
                          <a:pt x="162" y="241"/>
                          <a:pt x="183" y="221"/>
                          <a:pt x="186" y="219"/>
                        </a:cubicBezTo>
                        <a:cubicBezTo>
                          <a:pt x="218" y="197"/>
                          <a:pt x="239" y="161"/>
                          <a:pt x="239" y="120"/>
                        </a:cubicBezTo>
                        <a:moveTo>
                          <a:pt x="119" y="314"/>
                        </a:moveTo>
                        <a:cubicBezTo>
                          <a:pt x="119" y="299"/>
                          <a:pt x="119" y="299"/>
                          <a:pt x="119" y="299"/>
                        </a:cubicBezTo>
                        <a:cubicBezTo>
                          <a:pt x="120" y="299"/>
                          <a:pt x="120" y="299"/>
                          <a:pt x="120" y="299"/>
                        </a:cubicBezTo>
                        <a:cubicBezTo>
                          <a:pt x="119" y="314"/>
                          <a:pt x="119" y="314"/>
                          <a:pt x="119" y="314"/>
                        </a:cubicBezTo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69" name="Rectangle 146"/>
                  <p:cNvSpPr>
                    <a:spLocks noChangeArrowheads="1"/>
                  </p:cNvSpPr>
                  <p:nvPr/>
                </p:nvSpPr>
                <p:spPr bwMode="auto">
                  <a:xfrm>
                    <a:off x="5066960" y="1950899"/>
                    <a:ext cx="119061" cy="79377"/>
                  </a:xfrm>
                  <a:prstGeom prst="rect">
                    <a:avLst/>
                  </a:prstGeom>
                  <a:solidFill>
                    <a:srgbClr val="4668C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70" name="Rectangle 147"/>
                  <p:cNvSpPr>
                    <a:spLocks noChangeArrowheads="1"/>
                  </p:cNvSpPr>
                  <p:nvPr/>
                </p:nvSpPr>
                <p:spPr bwMode="auto">
                  <a:xfrm>
                    <a:off x="5066960" y="1950899"/>
                    <a:ext cx="119061" cy="7937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71" name="Freeform 148"/>
                  <p:cNvSpPr>
                    <a:spLocks/>
                  </p:cNvSpPr>
                  <p:nvPr/>
                </p:nvSpPr>
                <p:spPr bwMode="auto">
                  <a:xfrm>
                    <a:off x="5066960" y="1963600"/>
                    <a:ext cx="119061" cy="23813"/>
                  </a:xfrm>
                  <a:custGeom>
                    <a:avLst/>
                    <a:gdLst>
                      <a:gd name="T0" fmla="*/ 0 w 75"/>
                      <a:gd name="T1" fmla="*/ 15 h 15"/>
                      <a:gd name="T2" fmla="*/ 0 w 75"/>
                      <a:gd name="T3" fmla="*/ 11 h 15"/>
                      <a:gd name="T4" fmla="*/ 74 w 75"/>
                      <a:gd name="T5" fmla="*/ 0 h 15"/>
                      <a:gd name="T6" fmla="*/ 75 w 75"/>
                      <a:gd name="T7" fmla="*/ 3 h 15"/>
                      <a:gd name="T8" fmla="*/ 0 w 75"/>
                      <a:gd name="T9" fmla="*/ 15 h 1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5" h="15">
                        <a:moveTo>
                          <a:pt x="0" y="15"/>
                        </a:moveTo>
                        <a:lnTo>
                          <a:pt x="0" y="11"/>
                        </a:lnTo>
                        <a:lnTo>
                          <a:pt x="74" y="0"/>
                        </a:lnTo>
                        <a:lnTo>
                          <a:pt x="75" y="3"/>
                        </a:lnTo>
                        <a:lnTo>
                          <a:pt x="0" y="15"/>
                        </a:lnTo>
                        <a:close/>
                      </a:path>
                    </a:pathLst>
                  </a:custGeom>
                  <a:solidFill>
                    <a:srgbClr val="00188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72" name="Freeform 149"/>
                  <p:cNvSpPr>
                    <a:spLocks/>
                  </p:cNvSpPr>
                  <p:nvPr/>
                </p:nvSpPr>
                <p:spPr bwMode="auto">
                  <a:xfrm>
                    <a:off x="5066960" y="1963600"/>
                    <a:ext cx="119061" cy="23813"/>
                  </a:xfrm>
                  <a:custGeom>
                    <a:avLst/>
                    <a:gdLst>
                      <a:gd name="T0" fmla="*/ 0 w 75"/>
                      <a:gd name="T1" fmla="*/ 15 h 15"/>
                      <a:gd name="T2" fmla="*/ 0 w 75"/>
                      <a:gd name="T3" fmla="*/ 11 h 15"/>
                      <a:gd name="T4" fmla="*/ 74 w 75"/>
                      <a:gd name="T5" fmla="*/ 0 h 15"/>
                      <a:gd name="T6" fmla="*/ 75 w 75"/>
                      <a:gd name="T7" fmla="*/ 3 h 15"/>
                      <a:gd name="T8" fmla="*/ 0 w 75"/>
                      <a:gd name="T9" fmla="*/ 15 h 1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5" h="15">
                        <a:moveTo>
                          <a:pt x="0" y="15"/>
                        </a:moveTo>
                        <a:lnTo>
                          <a:pt x="0" y="11"/>
                        </a:lnTo>
                        <a:lnTo>
                          <a:pt x="74" y="0"/>
                        </a:lnTo>
                        <a:lnTo>
                          <a:pt x="75" y="3"/>
                        </a:lnTo>
                        <a:lnTo>
                          <a:pt x="0" y="15"/>
                        </a:lnTo>
                      </a:path>
                    </a:pathLst>
                  </a:cu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73" name="Freeform 150"/>
                  <p:cNvSpPr>
                    <a:spLocks/>
                  </p:cNvSpPr>
                  <p:nvPr/>
                </p:nvSpPr>
                <p:spPr bwMode="auto">
                  <a:xfrm>
                    <a:off x="5066960" y="1987413"/>
                    <a:ext cx="119061" cy="25401"/>
                  </a:xfrm>
                  <a:custGeom>
                    <a:avLst/>
                    <a:gdLst>
                      <a:gd name="T0" fmla="*/ 0 w 75"/>
                      <a:gd name="T1" fmla="*/ 16 h 16"/>
                      <a:gd name="T2" fmla="*/ 0 w 75"/>
                      <a:gd name="T3" fmla="*/ 12 h 16"/>
                      <a:gd name="T4" fmla="*/ 74 w 75"/>
                      <a:gd name="T5" fmla="*/ 0 h 16"/>
                      <a:gd name="T6" fmla="*/ 75 w 75"/>
                      <a:gd name="T7" fmla="*/ 4 h 16"/>
                      <a:gd name="T8" fmla="*/ 0 w 75"/>
                      <a:gd name="T9" fmla="*/ 16 h 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5" h="16">
                        <a:moveTo>
                          <a:pt x="0" y="16"/>
                        </a:moveTo>
                        <a:lnTo>
                          <a:pt x="0" y="12"/>
                        </a:lnTo>
                        <a:lnTo>
                          <a:pt x="74" y="0"/>
                        </a:lnTo>
                        <a:lnTo>
                          <a:pt x="75" y="4"/>
                        </a:lnTo>
                        <a:lnTo>
                          <a:pt x="0" y="16"/>
                        </a:lnTo>
                        <a:close/>
                      </a:path>
                    </a:pathLst>
                  </a:custGeom>
                  <a:solidFill>
                    <a:srgbClr val="00188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74" name="Freeform 151"/>
                  <p:cNvSpPr>
                    <a:spLocks/>
                  </p:cNvSpPr>
                  <p:nvPr/>
                </p:nvSpPr>
                <p:spPr bwMode="auto">
                  <a:xfrm>
                    <a:off x="5066960" y="1987413"/>
                    <a:ext cx="119061" cy="25401"/>
                  </a:xfrm>
                  <a:custGeom>
                    <a:avLst/>
                    <a:gdLst>
                      <a:gd name="T0" fmla="*/ 0 w 75"/>
                      <a:gd name="T1" fmla="*/ 16 h 16"/>
                      <a:gd name="T2" fmla="*/ 0 w 75"/>
                      <a:gd name="T3" fmla="*/ 12 h 16"/>
                      <a:gd name="T4" fmla="*/ 74 w 75"/>
                      <a:gd name="T5" fmla="*/ 0 h 16"/>
                      <a:gd name="T6" fmla="*/ 75 w 75"/>
                      <a:gd name="T7" fmla="*/ 4 h 16"/>
                      <a:gd name="T8" fmla="*/ 0 w 75"/>
                      <a:gd name="T9" fmla="*/ 16 h 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5" h="16">
                        <a:moveTo>
                          <a:pt x="0" y="16"/>
                        </a:moveTo>
                        <a:lnTo>
                          <a:pt x="0" y="12"/>
                        </a:lnTo>
                        <a:lnTo>
                          <a:pt x="74" y="0"/>
                        </a:lnTo>
                        <a:lnTo>
                          <a:pt x="75" y="4"/>
                        </a:lnTo>
                        <a:lnTo>
                          <a:pt x="0" y="16"/>
                        </a:lnTo>
                      </a:path>
                    </a:pathLst>
                  </a:cu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75" name="Freeform 152"/>
                  <p:cNvSpPr>
                    <a:spLocks/>
                  </p:cNvSpPr>
                  <p:nvPr/>
                </p:nvSpPr>
                <p:spPr bwMode="auto">
                  <a:xfrm>
                    <a:off x="5066960" y="2009638"/>
                    <a:ext cx="119061" cy="22225"/>
                  </a:xfrm>
                  <a:custGeom>
                    <a:avLst/>
                    <a:gdLst>
                      <a:gd name="T0" fmla="*/ 0 w 75"/>
                      <a:gd name="T1" fmla="*/ 14 h 14"/>
                      <a:gd name="T2" fmla="*/ 0 w 75"/>
                      <a:gd name="T3" fmla="*/ 11 h 14"/>
                      <a:gd name="T4" fmla="*/ 74 w 75"/>
                      <a:gd name="T5" fmla="*/ 0 h 14"/>
                      <a:gd name="T6" fmla="*/ 75 w 75"/>
                      <a:gd name="T7" fmla="*/ 3 h 14"/>
                      <a:gd name="T8" fmla="*/ 0 w 75"/>
                      <a:gd name="T9" fmla="*/ 14 h 1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5" h="14">
                        <a:moveTo>
                          <a:pt x="0" y="14"/>
                        </a:moveTo>
                        <a:lnTo>
                          <a:pt x="0" y="11"/>
                        </a:lnTo>
                        <a:lnTo>
                          <a:pt x="74" y="0"/>
                        </a:lnTo>
                        <a:lnTo>
                          <a:pt x="75" y="3"/>
                        </a:lnTo>
                        <a:lnTo>
                          <a:pt x="0" y="14"/>
                        </a:lnTo>
                        <a:close/>
                      </a:path>
                    </a:pathLst>
                  </a:custGeom>
                  <a:solidFill>
                    <a:srgbClr val="3333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76" name="Freeform 153"/>
                  <p:cNvSpPr>
                    <a:spLocks/>
                  </p:cNvSpPr>
                  <p:nvPr/>
                </p:nvSpPr>
                <p:spPr bwMode="auto">
                  <a:xfrm>
                    <a:off x="5066960" y="2009638"/>
                    <a:ext cx="119061" cy="22225"/>
                  </a:xfrm>
                  <a:custGeom>
                    <a:avLst/>
                    <a:gdLst>
                      <a:gd name="T0" fmla="*/ 0 w 75"/>
                      <a:gd name="T1" fmla="*/ 14 h 14"/>
                      <a:gd name="T2" fmla="*/ 0 w 75"/>
                      <a:gd name="T3" fmla="*/ 11 h 14"/>
                      <a:gd name="T4" fmla="*/ 74 w 75"/>
                      <a:gd name="T5" fmla="*/ 0 h 14"/>
                      <a:gd name="T6" fmla="*/ 75 w 75"/>
                      <a:gd name="T7" fmla="*/ 3 h 14"/>
                      <a:gd name="T8" fmla="*/ 0 w 75"/>
                      <a:gd name="T9" fmla="*/ 14 h 1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5" h="14">
                        <a:moveTo>
                          <a:pt x="0" y="14"/>
                        </a:moveTo>
                        <a:lnTo>
                          <a:pt x="0" y="11"/>
                        </a:lnTo>
                        <a:lnTo>
                          <a:pt x="74" y="0"/>
                        </a:lnTo>
                        <a:lnTo>
                          <a:pt x="75" y="3"/>
                        </a:lnTo>
                        <a:lnTo>
                          <a:pt x="0" y="14"/>
                        </a:lnTo>
                      </a:path>
                    </a:pathLst>
                  </a:cu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77" name="Freeform 154"/>
                  <p:cNvSpPr>
                    <a:spLocks/>
                  </p:cNvSpPr>
                  <p:nvPr/>
                </p:nvSpPr>
                <p:spPr bwMode="auto">
                  <a:xfrm>
                    <a:off x="5095535" y="2030276"/>
                    <a:ext cx="61911" cy="20638"/>
                  </a:xfrm>
                  <a:custGeom>
                    <a:avLst/>
                    <a:gdLst>
                      <a:gd name="T0" fmla="*/ 0 w 39"/>
                      <a:gd name="T1" fmla="*/ 0 h 13"/>
                      <a:gd name="T2" fmla="*/ 6 w 39"/>
                      <a:gd name="T3" fmla="*/ 13 h 13"/>
                      <a:gd name="T4" fmla="*/ 32 w 39"/>
                      <a:gd name="T5" fmla="*/ 13 h 13"/>
                      <a:gd name="T6" fmla="*/ 39 w 39"/>
                      <a:gd name="T7" fmla="*/ 0 h 13"/>
                      <a:gd name="T8" fmla="*/ 0 w 39"/>
                      <a:gd name="T9" fmla="*/ 0 h 1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9" h="13">
                        <a:moveTo>
                          <a:pt x="0" y="0"/>
                        </a:moveTo>
                        <a:lnTo>
                          <a:pt x="6" y="13"/>
                        </a:lnTo>
                        <a:lnTo>
                          <a:pt x="32" y="13"/>
                        </a:lnTo>
                        <a:lnTo>
                          <a:pt x="39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00188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78" name="Freeform 155"/>
                  <p:cNvSpPr>
                    <a:spLocks/>
                  </p:cNvSpPr>
                  <p:nvPr/>
                </p:nvSpPr>
                <p:spPr bwMode="auto">
                  <a:xfrm>
                    <a:off x="5095535" y="2030276"/>
                    <a:ext cx="61911" cy="20638"/>
                  </a:xfrm>
                  <a:custGeom>
                    <a:avLst/>
                    <a:gdLst>
                      <a:gd name="T0" fmla="*/ 0 w 39"/>
                      <a:gd name="T1" fmla="*/ 0 h 13"/>
                      <a:gd name="T2" fmla="*/ 6 w 39"/>
                      <a:gd name="T3" fmla="*/ 13 h 13"/>
                      <a:gd name="T4" fmla="*/ 32 w 39"/>
                      <a:gd name="T5" fmla="*/ 13 h 13"/>
                      <a:gd name="T6" fmla="*/ 39 w 39"/>
                      <a:gd name="T7" fmla="*/ 0 h 13"/>
                      <a:gd name="T8" fmla="*/ 0 w 39"/>
                      <a:gd name="T9" fmla="*/ 0 h 1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9" h="13">
                        <a:moveTo>
                          <a:pt x="0" y="0"/>
                        </a:moveTo>
                        <a:lnTo>
                          <a:pt x="6" y="13"/>
                        </a:lnTo>
                        <a:lnTo>
                          <a:pt x="32" y="13"/>
                        </a:lnTo>
                        <a:lnTo>
                          <a:pt x="39" y="0"/>
                        </a:lnTo>
                        <a:lnTo>
                          <a:pt x="0" y="0"/>
                        </a:lnTo>
                      </a:path>
                    </a:pathLst>
                  </a:cu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79" name="Freeform 156"/>
                  <p:cNvSpPr>
                    <a:spLocks noEditPoints="1"/>
                  </p:cNvSpPr>
                  <p:nvPr/>
                </p:nvSpPr>
                <p:spPr bwMode="auto">
                  <a:xfrm>
                    <a:off x="5059023" y="1690544"/>
                    <a:ext cx="238121" cy="274643"/>
                  </a:xfrm>
                  <a:custGeom>
                    <a:avLst/>
                    <a:gdLst>
                      <a:gd name="T0" fmla="*/ 5 w 165"/>
                      <a:gd name="T1" fmla="*/ 180 h 190"/>
                      <a:gd name="T2" fmla="*/ 6 w 165"/>
                      <a:gd name="T3" fmla="*/ 181 h 190"/>
                      <a:gd name="T4" fmla="*/ 6 w 165"/>
                      <a:gd name="T5" fmla="*/ 181 h 190"/>
                      <a:gd name="T6" fmla="*/ 5 w 165"/>
                      <a:gd name="T7" fmla="*/ 180 h 190"/>
                      <a:gd name="T8" fmla="*/ 5 w 165"/>
                      <a:gd name="T9" fmla="*/ 179 h 190"/>
                      <a:gd name="T10" fmla="*/ 5 w 165"/>
                      <a:gd name="T11" fmla="*/ 180 h 190"/>
                      <a:gd name="T12" fmla="*/ 5 w 165"/>
                      <a:gd name="T13" fmla="*/ 179 h 190"/>
                      <a:gd name="T14" fmla="*/ 5 w 165"/>
                      <a:gd name="T15" fmla="*/ 179 h 190"/>
                      <a:gd name="T16" fmla="*/ 5 w 165"/>
                      <a:gd name="T17" fmla="*/ 179 h 190"/>
                      <a:gd name="T18" fmla="*/ 5 w 165"/>
                      <a:gd name="T19" fmla="*/ 179 h 190"/>
                      <a:gd name="T20" fmla="*/ 86 w 165"/>
                      <a:gd name="T21" fmla="*/ 174 h 190"/>
                      <a:gd name="T22" fmla="*/ 86 w 165"/>
                      <a:gd name="T23" fmla="*/ 174 h 190"/>
                      <a:gd name="T24" fmla="*/ 86 w 165"/>
                      <a:gd name="T25" fmla="*/ 180 h 190"/>
                      <a:gd name="T26" fmla="*/ 86 w 165"/>
                      <a:gd name="T27" fmla="*/ 180 h 190"/>
                      <a:gd name="T28" fmla="*/ 88 w 165"/>
                      <a:gd name="T29" fmla="*/ 180 h 190"/>
                      <a:gd name="T30" fmla="*/ 88 w 165"/>
                      <a:gd name="T31" fmla="*/ 190 h 190"/>
                      <a:gd name="T32" fmla="*/ 88 w 165"/>
                      <a:gd name="T33" fmla="*/ 180 h 190"/>
                      <a:gd name="T34" fmla="*/ 86 w 165"/>
                      <a:gd name="T35" fmla="*/ 180 h 190"/>
                      <a:gd name="T36" fmla="*/ 86 w 165"/>
                      <a:gd name="T37" fmla="*/ 174 h 190"/>
                      <a:gd name="T38" fmla="*/ 3 w 165"/>
                      <a:gd name="T39" fmla="*/ 152 h 190"/>
                      <a:gd name="T40" fmla="*/ 3 w 165"/>
                      <a:gd name="T41" fmla="*/ 152 h 190"/>
                      <a:gd name="T42" fmla="*/ 3 w 165"/>
                      <a:gd name="T43" fmla="*/ 152 h 190"/>
                      <a:gd name="T44" fmla="*/ 2 w 165"/>
                      <a:gd name="T45" fmla="*/ 151 h 190"/>
                      <a:gd name="T46" fmla="*/ 2 w 165"/>
                      <a:gd name="T47" fmla="*/ 151 h 190"/>
                      <a:gd name="T48" fmla="*/ 2 w 165"/>
                      <a:gd name="T49" fmla="*/ 151 h 190"/>
                      <a:gd name="T50" fmla="*/ 0 w 165"/>
                      <a:gd name="T51" fmla="*/ 138 h 190"/>
                      <a:gd name="T52" fmla="*/ 0 w 165"/>
                      <a:gd name="T53" fmla="*/ 138 h 190"/>
                      <a:gd name="T54" fmla="*/ 2 w 165"/>
                      <a:gd name="T55" fmla="*/ 151 h 190"/>
                      <a:gd name="T56" fmla="*/ 0 w 165"/>
                      <a:gd name="T57" fmla="*/ 138 h 190"/>
                      <a:gd name="T58" fmla="*/ 165 w 165"/>
                      <a:gd name="T59" fmla="*/ 0 h 190"/>
                      <a:gd name="T60" fmla="*/ 165 w 165"/>
                      <a:gd name="T61" fmla="*/ 1 h 190"/>
                      <a:gd name="T62" fmla="*/ 165 w 165"/>
                      <a:gd name="T63" fmla="*/ 1 h 190"/>
                      <a:gd name="T64" fmla="*/ 165 w 165"/>
                      <a:gd name="T65" fmla="*/ 0 h 19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</a:cxnLst>
                    <a:rect l="0" t="0" r="r" b="b"/>
                    <a:pathLst>
                      <a:path w="165" h="190">
                        <a:moveTo>
                          <a:pt x="5" y="180"/>
                        </a:moveTo>
                        <a:cubicBezTo>
                          <a:pt x="6" y="181"/>
                          <a:pt x="6" y="181"/>
                          <a:pt x="6" y="181"/>
                        </a:cubicBezTo>
                        <a:cubicBezTo>
                          <a:pt x="6" y="181"/>
                          <a:pt x="6" y="181"/>
                          <a:pt x="6" y="181"/>
                        </a:cubicBezTo>
                        <a:cubicBezTo>
                          <a:pt x="5" y="180"/>
                          <a:pt x="5" y="180"/>
                          <a:pt x="5" y="180"/>
                        </a:cubicBezTo>
                        <a:moveTo>
                          <a:pt x="5" y="179"/>
                        </a:moveTo>
                        <a:cubicBezTo>
                          <a:pt x="5" y="180"/>
                          <a:pt x="5" y="180"/>
                          <a:pt x="5" y="180"/>
                        </a:cubicBezTo>
                        <a:cubicBezTo>
                          <a:pt x="5" y="180"/>
                          <a:pt x="5" y="180"/>
                          <a:pt x="5" y="179"/>
                        </a:cubicBezTo>
                        <a:moveTo>
                          <a:pt x="5" y="179"/>
                        </a:moveTo>
                        <a:cubicBezTo>
                          <a:pt x="5" y="179"/>
                          <a:pt x="5" y="179"/>
                          <a:pt x="5" y="179"/>
                        </a:cubicBezTo>
                        <a:cubicBezTo>
                          <a:pt x="5" y="179"/>
                          <a:pt x="5" y="179"/>
                          <a:pt x="5" y="179"/>
                        </a:cubicBezTo>
                        <a:moveTo>
                          <a:pt x="86" y="174"/>
                        </a:moveTo>
                        <a:cubicBezTo>
                          <a:pt x="86" y="174"/>
                          <a:pt x="86" y="174"/>
                          <a:pt x="86" y="174"/>
                        </a:cubicBezTo>
                        <a:cubicBezTo>
                          <a:pt x="86" y="180"/>
                          <a:pt x="86" y="180"/>
                          <a:pt x="86" y="180"/>
                        </a:cubicBezTo>
                        <a:cubicBezTo>
                          <a:pt x="86" y="180"/>
                          <a:pt x="86" y="180"/>
                          <a:pt x="86" y="180"/>
                        </a:cubicBezTo>
                        <a:cubicBezTo>
                          <a:pt x="88" y="180"/>
                          <a:pt x="88" y="180"/>
                          <a:pt x="88" y="180"/>
                        </a:cubicBezTo>
                        <a:cubicBezTo>
                          <a:pt x="88" y="190"/>
                          <a:pt x="88" y="190"/>
                          <a:pt x="88" y="190"/>
                        </a:cubicBezTo>
                        <a:cubicBezTo>
                          <a:pt x="88" y="180"/>
                          <a:pt x="88" y="180"/>
                          <a:pt x="88" y="180"/>
                        </a:cubicBezTo>
                        <a:cubicBezTo>
                          <a:pt x="86" y="180"/>
                          <a:pt x="86" y="180"/>
                          <a:pt x="86" y="180"/>
                        </a:cubicBezTo>
                        <a:cubicBezTo>
                          <a:pt x="86" y="174"/>
                          <a:pt x="86" y="174"/>
                          <a:pt x="86" y="174"/>
                        </a:cubicBezTo>
                        <a:moveTo>
                          <a:pt x="3" y="152"/>
                        </a:moveTo>
                        <a:cubicBezTo>
                          <a:pt x="3" y="152"/>
                          <a:pt x="3" y="152"/>
                          <a:pt x="3" y="152"/>
                        </a:cubicBezTo>
                        <a:cubicBezTo>
                          <a:pt x="3" y="152"/>
                          <a:pt x="3" y="152"/>
                          <a:pt x="3" y="152"/>
                        </a:cubicBezTo>
                        <a:moveTo>
                          <a:pt x="2" y="151"/>
                        </a:moveTo>
                        <a:cubicBezTo>
                          <a:pt x="2" y="151"/>
                          <a:pt x="2" y="151"/>
                          <a:pt x="2" y="151"/>
                        </a:cubicBezTo>
                        <a:cubicBezTo>
                          <a:pt x="2" y="151"/>
                          <a:pt x="2" y="151"/>
                          <a:pt x="2" y="151"/>
                        </a:cubicBezTo>
                        <a:moveTo>
                          <a:pt x="0" y="138"/>
                        </a:moveTo>
                        <a:cubicBezTo>
                          <a:pt x="0" y="138"/>
                          <a:pt x="0" y="138"/>
                          <a:pt x="0" y="138"/>
                        </a:cubicBezTo>
                        <a:cubicBezTo>
                          <a:pt x="1" y="142"/>
                          <a:pt x="2" y="146"/>
                          <a:pt x="2" y="151"/>
                        </a:cubicBezTo>
                        <a:cubicBezTo>
                          <a:pt x="2" y="146"/>
                          <a:pt x="1" y="142"/>
                          <a:pt x="0" y="138"/>
                        </a:cubicBezTo>
                        <a:moveTo>
                          <a:pt x="165" y="0"/>
                        </a:moveTo>
                        <a:cubicBezTo>
                          <a:pt x="165" y="0"/>
                          <a:pt x="165" y="0"/>
                          <a:pt x="165" y="1"/>
                        </a:cubicBezTo>
                        <a:cubicBezTo>
                          <a:pt x="165" y="1"/>
                          <a:pt x="165" y="1"/>
                          <a:pt x="165" y="1"/>
                        </a:cubicBezTo>
                        <a:cubicBezTo>
                          <a:pt x="165" y="0"/>
                          <a:pt x="165" y="0"/>
                          <a:pt x="165" y="0"/>
                        </a:cubicBezTo>
                      </a:path>
                    </a:pathLst>
                  </a:custGeom>
                  <a:solidFill>
                    <a:srgbClr val="E5D8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80" name="Freeform 157"/>
                  <p:cNvSpPr>
                    <a:spLocks/>
                  </p:cNvSpPr>
                  <p:nvPr/>
                </p:nvSpPr>
                <p:spPr bwMode="auto">
                  <a:xfrm>
                    <a:off x="5059023" y="1657206"/>
                    <a:ext cx="238121" cy="295281"/>
                  </a:xfrm>
                  <a:custGeom>
                    <a:avLst/>
                    <a:gdLst>
                      <a:gd name="T0" fmla="*/ 162 w 165"/>
                      <a:gd name="T1" fmla="*/ 0 h 204"/>
                      <a:gd name="T2" fmla="*/ 160 w 165"/>
                      <a:gd name="T3" fmla="*/ 0 h 204"/>
                      <a:gd name="T4" fmla="*/ 0 w 165"/>
                      <a:gd name="T5" fmla="*/ 161 h 204"/>
                      <a:gd name="T6" fmla="*/ 2 w 165"/>
                      <a:gd name="T7" fmla="*/ 174 h 204"/>
                      <a:gd name="T8" fmla="*/ 2 w 165"/>
                      <a:gd name="T9" fmla="*/ 174 h 204"/>
                      <a:gd name="T10" fmla="*/ 2 w 165"/>
                      <a:gd name="T11" fmla="*/ 174 h 204"/>
                      <a:gd name="T12" fmla="*/ 3 w 165"/>
                      <a:gd name="T13" fmla="*/ 175 h 204"/>
                      <a:gd name="T14" fmla="*/ 3 w 165"/>
                      <a:gd name="T15" fmla="*/ 175 h 204"/>
                      <a:gd name="T16" fmla="*/ 5 w 165"/>
                      <a:gd name="T17" fmla="*/ 202 h 204"/>
                      <a:gd name="T18" fmla="*/ 5 w 165"/>
                      <a:gd name="T19" fmla="*/ 202 h 204"/>
                      <a:gd name="T20" fmla="*/ 5 w 165"/>
                      <a:gd name="T21" fmla="*/ 202 h 204"/>
                      <a:gd name="T22" fmla="*/ 5 w 165"/>
                      <a:gd name="T23" fmla="*/ 203 h 204"/>
                      <a:gd name="T24" fmla="*/ 5 w 165"/>
                      <a:gd name="T25" fmla="*/ 203 h 204"/>
                      <a:gd name="T26" fmla="*/ 6 w 165"/>
                      <a:gd name="T27" fmla="*/ 204 h 204"/>
                      <a:gd name="T28" fmla="*/ 6 w 165"/>
                      <a:gd name="T29" fmla="*/ 203 h 204"/>
                      <a:gd name="T30" fmla="*/ 86 w 165"/>
                      <a:gd name="T31" fmla="*/ 203 h 204"/>
                      <a:gd name="T32" fmla="*/ 86 w 165"/>
                      <a:gd name="T33" fmla="*/ 203 h 204"/>
                      <a:gd name="T34" fmla="*/ 86 w 165"/>
                      <a:gd name="T35" fmla="*/ 203 h 204"/>
                      <a:gd name="T36" fmla="*/ 86 w 165"/>
                      <a:gd name="T37" fmla="*/ 197 h 204"/>
                      <a:gd name="T38" fmla="*/ 86 w 165"/>
                      <a:gd name="T39" fmla="*/ 197 h 204"/>
                      <a:gd name="T40" fmla="*/ 112 w 165"/>
                      <a:gd name="T41" fmla="*/ 123 h 204"/>
                      <a:gd name="T42" fmla="*/ 165 w 165"/>
                      <a:gd name="T43" fmla="*/ 24 h 204"/>
                      <a:gd name="T44" fmla="*/ 165 w 165"/>
                      <a:gd name="T45" fmla="*/ 23 h 204"/>
                      <a:gd name="T46" fmla="*/ 162 w 165"/>
                      <a:gd name="T47" fmla="*/ 0 h 20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165" h="204">
                        <a:moveTo>
                          <a:pt x="162" y="0"/>
                        </a:moveTo>
                        <a:cubicBezTo>
                          <a:pt x="160" y="0"/>
                          <a:pt x="160" y="0"/>
                          <a:pt x="160" y="0"/>
                        </a:cubicBezTo>
                        <a:cubicBezTo>
                          <a:pt x="0" y="161"/>
                          <a:pt x="0" y="161"/>
                          <a:pt x="0" y="161"/>
                        </a:cubicBezTo>
                        <a:cubicBezTo>
                          <a:pt x="1" y="165"/>
                          <a:pt x="2" y="169"/>
                          <a:pt x="2" y="174"/>
                        </a:cubicBezTo>
                        <a:cubicBezTo>
                          <a:pt x="2" y="174"/>
                          <a:pt x="2" y="174"/>
                          <a:pt x="2" y="174"/>
                        </a:cubicBezTo>
                        <a:cubicBezTo>
                          <a:pt x="2" y="174"/>
                          <a:pt x="2" y="174"/>
                          <a:pt x="2" y="174"/>
                        </a:cubicBezTo>
                        <a:cubicBezTo>
                          <a:pt x="2" y="175"/>
                          <a:pt x="2" y="175"/>
                          <a:pt x="3" y="175"/>
                        </a:cubicBezTo>
                        <a:cubicBezTo>
                          <a:pt x="3" y="175"/>
                          <a:pt x="3" y="175"/>
                          <a:pt x="3" y="175"/>
                        </a:cubicBezTo>
                        <a:cubicBezTo>
                          <a:pt x="4" y="183"/>
                          <a:pt x="5" y="192"/>
                          <a:pt x="5" y="202"/>
                        </a:cubicBezTo>
                        <a:cubicBezTo>
                          <a:pt x="5" y="202"/>
                          <a:pt x="5" y="202"/>
                          <a:pt x="5" y="202"/>
                        </a:cubicBezTo>
                        <a:cubicBezTo>
                          <a:pt x="5" y="202"/>
                          <a:pt x="5" y="202"/>
                          <a:pt x="5" y="202"/>
                        </a:cubicBezTo>
                        <a:cubicBezTo>
                          <a:pt x="5" y="203"/>
                          <a:pt x="5" y="203"/>
                          <a:pt x="5" y="203"/>
                        </a:cubicBezTo>
                        <a:cubicBezTo>
                          <a:pt x="5" y="203"/>
                          <a:pt x="5" y="203"/>
                          <a:pt x="5" y="203"/>
                        </a:cubicBezTo>
                        <a:cubicBezTo>
                          <a:pt x="6" y="204"/>
                          <a:pt x="6" y="204"/>
                          <a:pt x="6" y="204"/>
                        </a:cubicBezTo>
                        <a:cubicBezTo>
                          <a:pt x="6" y="203"/>
                          <a:pt x="6" y="203"/>
                          <a:pt x="6" y="203"/>
                        </a:cubicBezTo>
                        <a:cubicBezTo>
                          <a:pt x="86" y="203"/>
                          <a:pt x="86" y="203"/>
                          <a:pt x="86" y="203"/>
                        </a:cubicBezTo>
                        <a:cubicBezTo>
                          <a:pt x="86" y="203"/>
                          <a:pt x="86" y="203"/>
                          <a:pt x="86" y="203"/>
                        </a:cubicBezTo>
                        <a:cubicBezTo>
                          <a:pt x="86" y="203"/>
                          <a:pt x="86" y="203"/>
                          <a:pt x="86" y="203"/>
                        </a:cubicBezTo>
                        <a:cubicBezTo>
                          <a:pt x="86" y="197"/>
                          <a:pt x="86" y="197"/>
                          <a:pt x="86" y="197"/>
                        </a:cubicBezTo>
                        <a:cubicBezTo>
                          <a:pt x="86" y="197"/>
                          <a:pt x="86" y="197"/>
                          <a:pt x="86" y="197"/>
                        </a:cubicBezTo>
                        <a:cubicBezTo>
                          <a:pt x="88" y="145"/>
                          <a:pt x="109" y="125"/>
                          <a:pt x="112" y="123"/>
                        </a:cubicBezTo>
                        <a:cubicBezTo>
                          <a:pt x="144" y="101"/>
                          <a:pt x="165" y="65"/>
                          <a:pt x="165" y="24"/>
                        </a:cubicBezTo>
                        <a:cubicBezTo>
                          <a:pt x="165" y="23"/>
                          <a:pt x="165" y="23"/>
                          <a:pt x="165" y="23"/>
                        </a:cubicBezTo>
                        <a:cubicBezTo>
                          <a:pt x="165" y="15"/>
                          <a:pt x="164" y="7"/>
                          <a:pt x="162" y="0"/>
                        </a:cubicBezTo>
                      </a:path>
                    </a:pathLst>
                  </a:custGeom>
                  <a:solidFill>
                    <a:schemeClr val="bg1">
                      <a:lumMod val="8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81" name="Freeform 158"/>
                  <p:cNvSpPr>
                    <a:spLocks noEditPoints="1"/>
                  </p:cNvSpPr>
                  <p:nvPr/>
                </p:nvSpPr>
                <p:spPr bwMode="auto">
                  <a:xfrm>
                    <a:off x="5066960" y="1950899"/>
                    <a:ext cx="119061" cy="55564"/>
                  </a:xfrm>
                  <a:custGeom>
                    <a:avLst/>
                    <a:gdLst>
                      <a:gd name="T0" fmla="*/ 75 w 75"/>
                      <a:gd name="T1" fmla="*/ 11 h 35"/>
                      <a:gd name="T2" fmla="*/ 0 w 75"/>
                      <a:gd name="T3" fmla="*/ 23 h 35"/>
                      <a:gd name="T4" fmla="*/ 0 w 75"/>
                      <a:gd name="T5" fmla="*/ 21 h 35"/>
                      <a:gd name="T6" fmla="*/ 0 w 75"/>
                      <a:gd name="T7" fmla="*/ 35 h 35"/>
                      <a:gd name="T8" fmla="*/ 74 w 75"/>
                      <a:gd name="T9" fmla="*/ 23 h 35"/>
                      <a:gd name="T10" fmla="*/ 75 w 75"/>
                      <a:gd name="T11" fmla="*/ 25 h 35"/>
                      <a:gd name="T12" fmla="*/ 75 w 75"/>
                      <a:gd name="T13" fmla="*/ 11 h 35"/>
                      <a:gd name="T14" fmla="*/ 75 w 75"/>
                      <a:gd name="T15" fmla="*/ 0 h 35"/>
                      <a:gd name="T16" fmla="*/ 73 w 75"/>
                      <a:gd name="T17" fmla="*/ 0 h 35"/>
                      <a:gd name="T18" fmla="*/ 0 w 75"/>
                      <a:gd name="T19" fmla="*/ 0 h 35"/>
                      <a:gd name="T20" fmla="*/ 0 w 75"/>
                      <a:gd name="T21" fmla="*/ 1 h 35"/>
                      <a:gd name="T22" fmla="*/ 0 w 75"/>
                      <a:gd name="T23" fmla="*/ 1 h 35"/>
                      <a:gd name="T24" fmla="*/ 0 w 75"/>
                      <a:gd name="T25" fmla="*/ 19 h 35"/>
                      <a:gd name="T26" fmla="*/ 74 w 75"/>
                      <a:gd name="T27" fmla="*/ 8 h 35"/>
                      <a:gd name="T28" fmla="*/ 75 w 75"/>
                      <a:gd name="T29" fmla="*/ 9 h 35"/>
                      <a:gd name="T30" fmla="*/ 75 w 75"/>
                      <a:gd name="T31" fmla="*/ 0 h 3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</a:cxnLst>
                    <a:rect l="0" t="0" r="r" b="b"/>
                    <a:pathLst>
                      <a:path w="75" h="35">
                        <a:moveTo>
                          <a:pt x="75" y="11"/>
                        </a:moveTo>
                        <a:lnTo>
                          <a:pt x="0" y="23"/>
                        </a:lnTo>
                        <a:lnTo>
                          <a:pt x="0" y="21"/>
                        </a:lnTo>
                        <a:lnTo>
                          <a:pt x="0" y="35"/>
                        </a:lnTo>
                        <a:lnTo>
                          <a:pt x="74" y="23"/>
                        </a:lnTo>
                        <a:lnTo>
                          <a:pt x="75" y="25"/>
                        </a:lnTo>
                        <a:lnTo>
                          <a:pt x="75" y="11"/>
                        </a:lnTo>
                        <a:close/>
                        <a:moveTo>
                          <a:pt x="75" y="0"/>
                        </a:moveTo>
                        <a:lnTo>
                          <a:pt x="73" y="0"/>
                        </a:lnTo>
                        <a:lnTo>
                          <a:pt x="0" y="0"/>
                        </a:lnTo>
                        <a:lnTo>
                          <a:pt x="0" y="1"/>
                        </a:lnTo>
                        <a:lnTo>
                          <a:pt x="0" y="1"/>
                        </a:lnTo>
                        <a:lnTo>
                          <a:pt x="0" y="19"/>
                        </a:lnTo>
                        <a:lnTo>
                          <a:pt x="74" y="8"/>
                        </a:lnTo>
                        <a:lnTo>
                          <a:pt x="75" y="9"/>
                        </a:lnTo>
                        <a:lnTo>
                          <a:pt x="75" y="0"/>
                        </a:lnTo>
                        <a:close/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82" name="Freeform 159"/>
                  <p:cNvSpPr>
                    <a:spLocks noEditPoints="1"/>
                  </p:cNvSpPr>
                  <p:nvPr/>
                </p:nvSpPr>
                <p:spPr bwMode="auto">
                  <a:xfrm>
                    <a:off x="5066960" y="1950899"/>
                    <a:ext cx="119061" cy="55564"/>
                  </a:xfrm>
                  <a:custGeom>
                    <a:avLst/>
                    <a:gdLst>
                      <a:gd name="T0" fmla="*/ 75 w 75"/>
                      <a:gd name="T1" fmla="*/ 11 h 35"/>
                      <a:gd name="T2" fmla="*/ 0 w 75"/>
                      <a:gd name="T3" fmla="*/ 23 h 35"/>
                      <a:gd name="T4" fmla="*/ 0 w 75"/>
                      <a:gd name="T5" fmla="*/ 21 h 35"/>
                      <a:gd name="T6" fmla="*/ 0 w 75"/>
                      <a:gd name="T7" fmla="*/ 35 h 35"/>
                      <a:gd name="T8" fmla="*/ 74 w 75"/>
                      <a:gd name="T9" fmla="*/ 23 h 35"/>
                      <a:gd name="T10" fmla="*/ 75 w 75"/>
                      <a:gd name="T11" fmla="*/ 25 h 35"/>
                      <a:gd name="T12" fmla="*/ 75 w 75"/>
                      <a:gd name="T13" fmla="*/ 11 h 35"/>
                      <a:gd name="T14" fmla="*/ 75 w 75"/>
                      <a:gd name="T15" fmla="*/ 0 h 35"/>
                      <a:gd name="T16" fmla="*/ 73 w 75"/>
                      <a:gd name="T17" fmla="*/ 0 h 35"/>
                      <a:gd name="T18" fmla="*/ 0 w 75"/>
                      <a:gd name="T19" fmla="*/ 0 h 35"/>
                      <a:gd name="T20" fmla="*/ 0 w 75"/>
                      <a:gd name="T21" fmla="*/ 1 h 35"/>
                      <a:gd name="T22" fmla="*/ 0 w 75"/>
                      <a:gd name="T23" fmla="*/ 1 h 35"/>
                      <a:gd name="T24" fmla="*/ 0 w 75"/>
                      <a:gd name="T25" fmla="*/ 19 h 35"/>
                      <a:gd name="T26" fmla="*/ 74 w 75"/>
                      <a:gd name="T27" fmla="*/ 8 h 35"/>
                      <a:gd name="T28" fmla="*/ 75 w 75"/>
                      <a:gd name="T29" fmla="*/ 9 h 35"/>
                      <a:gd name="T30" fmla="*/ 75 w 75"/>
                      <a:gd name="T31" fmla="*/ 0 h 3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</a:cxnLst>
                    <a:rect l="0" t="0" r="r" b="b"/>
                    <a:pathLst>
                      <a:path w="75" h="35">
                        <a:moveTo>
                          <a:pt x="75" y="11"/>
                        </a:moveTo>
                        <a:lnTo>
                          <a:pt x="0" y="23"/>
                        </a:lnTo>
                        <a:lnTo>
                          <a:pt x="0" y="21"/>
                        </a:lnTo>
                        <a:lnTo>
                          <a:pt x="0" y="35"/>
                        </a:lnTo>
                        <a:lnTo>
                          <a:pt x="74" y="23"/>
                        </a:lnTo>
                        <a:lnTo>
                          <a:pt x="75" y="25"/>
                        </a:lnTo>
                        <a:lnTo>
                          <a:pt x="75" y="11"/>
                        </a:lnTo>
                        <a:moveTo>
                          <a:pt x="75" y="0"/>
                        </a:moveTo>
                        <a:lnTo>
                          <a:pt x="73" y="0"/>
                        </a:lnTo>
                        <a:lnTo>
                          <a:pt x="0" y="0"/>
                        </a:lnTo>
                        <a:lnTo>
                          <a:pt x="0" y="1"/>
                        </a:lnTo>
                        <a:lnTo>
                          <a:pt x="0" y="1"/>
                        </a:lnTo>
                        <a:lnTo>
                          <a:pt x="0" y="19"/>
                        </a:lnTo>
                        <a:lnTo>
                          <a:pt x="74" y="8"/>
                        </a:lnTo>
                        <a:lnTo>
                          <a:pt x="75" y="9"/>
                        </a:lnTo>
                        <a:lnTo>
                          <a:pt x="75" y="0"/>
                        </a:lnTo>
                      </a:path>
                    </a:pathLst>
                  </a:cu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83" name="Freeform 160"/>
                  <p:cNvSpPr>
                    <a:spLocks/>
                  </p:cNvSpPr>
                  <p:nvPr/>
                </p:nvSpPr>
                <p:spPr bwMode="auto">
                  <a:xfrm>
                    <a:off x="5066960" y="1963600"/>
                    <a:ext cx="119061" cy="23813"/>
                  </a:xfrm>
                  <a:custGeom>
                    <a:avLst/>
                    <a:gdLst>
                      <a:gd name="T0" fmla="*/ 74 w 75"/>
                      <a:gd name="T1" fmla="*/ 0 h 15"/>
                      <a:gd name="T2" fmla="*/ 0 w 75"/>
                      <a:gd name="T3" fmla="*/ 11 h 15"/>
                      <a:gd name="T4" fmla="*/ 0 w 75"/>
                      <a:gd name="T5" fmla="*/ 13 h 15"/>
                      <a:gd name="T6" fmla="*/ 0 w 75"/>
                      <a:gd name="T7" fmla="*/ 15 h 15"/>
                      <a:gd name="T8" fmla="*/ 75 w 75"/>
                      <a:gd name="T9" fmla="*/ 3 h 15"/>
                      <a:gd name="T10" fmla="*/ 75 w 75"/>
                      <a:gd name="T11" fmla="*/ 1 h 15"/>
                      <a:gd name="T12" fmla="*/ 74 w 75"/>
                      <a:gd name="T13" fmla="*/ 0 h 1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75" h="15">
                        <a:moveTo>
                          <a:pt x="74" y="0"/>
                        </a:moveTo>
                        <a:lnTo>
                          <a:pt x="0" y="11"/>
                        </a:lnTo>
                        <a:lnTo>
                          <a:pt x="0" y="13"/>
                        </a:lnTo>
                        <a:lnTo>
                          <a:pt x="0" y="15"/>
                        </a:lnTo>
                        <a:lnTo>
                          <a:pt x="75" y="3"/>
                        </a:lnTo>
                        <a:lnTo>
                          <a:pt x="75" y="1"/>
                        </a:lnTo>
                        <a:lnTo>
                          <a:pt x="74" y="0"/>
                        </a:lnTo>
                        <a:close/>
                      </a:path>
                    </a:pathLst>
                  </a:custGeom>
                  <a:solidFill>
                    <a:srgbClr val="3333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84" name="Freeform 161"/>
                  <p:cNvSpPr>
                    <a:spLocks/>
                  </p:cNvSpPr>
                  <p:nvPr/>
                </p:nvSpPr>
                <p:spPr bwMode="auto">
                  <a:xfrm>
                    <a:off x="5066960" y="1963600"/>
                    <a:ext cx="119061" cy="23813"/>
                  </a:xfrm>
                  <a:custGeom>
                    <a:avLst/>
                    <a:gdLst>
                      <a:gd name="T0" fmla="*/ 74 w 75"/>
                      <a:gd name="T1" fmla="*/ 0 h 15"/>
                      <a:gd name="T2" fmla="*/ 0 w 75"/>
                      <a:gd name="T3" fmla="*/ 11 h 15"/>
                      <a:gd name="T4" fmla="*/ 0 w 75"/>
                      <a:gd name="T5" fmla="*/ 13 h 15"/>
                      <a:gd name="T6" fmla="*/ 0 w 75"/>
                      <a:gd name="T7" fmla="*/ 15 h 15"/>
                      <a:gd name="T8" fmla="*/ 75 w 75"/>
                      <a:gd name="T9" fmla="*/ 3 h 15"/>
                      <a:gd name="T10" fmla="*/ 75 w 75"/>
                      <a:gd name="T11" fmla="*/ 1 h 15"/>
                      <a:gd name="T12" fmla="*/ 74 w 75"/>
                      <a:gd name="T13" fmla="*/ 0 h 1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75" h="15">
                        <a:moveTo>
                          <a:pt x="74" y="0"/>
                        </a:moveTo>
                        <a:lnTo>
                          <a:pt x="0" y="11"/>
                        </a:lnTo>
                        <a:lnTo>
                          <a:pt x="0" y="13"/>
                        </a:lnTo>
                        <a:lnTo>
                          <a:pt x="0" y="15"/>
                        </a:lnTo>
                        <a:lnTo>
                          <a:pt x="75" y="3"/>
                        </a:lnTo>
                        <a:lnTo>
                          <a:pt x="75" y="1"/>
                        </a:lnTo>
                        <a:lnTo>
                          <a:pt x="74" y="0"/>
                        </a:lnTo>
                      </a:path>
                    </a:pathLst>
                  </a:cu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85" name="Freeform 162"/>
                  <p:cNvSpPr>
                    <a:spLocks/>
                  </p:cNvSpPr>
                  <p:nvPr/>
                </p:nvSpPr>
                <p:spPr bwMode="auto">
                  <a:xfrm>
                    <a:off x="5066960" y="1993763"/>
                    <a:ext cx="119061" cy="33338"/>
                  </a:xfrm>
                  <a:custGeom>
                    <a:avLst/>
                    <a:gdLst>
                      <a:gd name="T0" fmla="*/ 75 w 75"/>
                      <a:gd name="T1" fmla="*/ 0 h 21"/>
                      <a:gd name="T2" fmla="*/ 0 w 75"/>
                      <a:gd name="T3" fmla="*/ 12 h 21"/>
                      <a:gd name="T4" fmla="*/ 0 w 75"/>
                      <a:gd name="T5" fmla="*/ 10 h 21"/>
                      <a:gd name="T6" fmla="*/ 0 w 75"/>
                      <a:gd name="T7" fmla="*/ 21 h 21"/>
                      <a:gd name="T8" fmla="*/ 74 w 75"/>
                      <a:gd name="T9" fmla="*/ 10 h 21"/>
                      <a:gd name="T10" fmla="*/ 75 w 75"/>
                      <a:gd name="T11" fmla="*/ 12 h 21"/>
                      <a:gd name="T12" fmla="*/ 75 w 75"/>
                      <a:gd name="T13" fmla="*/ 0 h 2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75" h="21">
                        <a:moveTo>
                          <a:pt x="75" y="0"/>
                        </a:moveTo>
                        <a:lnTo>
                          <a:pt x="0" y="12"/>
                        </a:lnTo>
                        <a:lnTo>
                          <a:pt x="0" y="10"/>
                        </a:lnTo>
                        <a:lnTo>
                          <a:pt x="0" y="21"/>
                        </a:lnTo>
                        <a:lnTo>
                          <a:pt x="74" y="10"/>
                        </a:lnTo>
                        <a:lnTo>
                          <a:pt x="75" y="12"/>
                        </a:lnTo>
                        <a:lnTo>
                          <a:pt x="75" y="0"/>
                        </a:lnTo>
                        <a:close/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86" name="Freeform 163"/>
                  <p:cNvSpPr>
                    <a:spLocks/>
                  </p:cNvSpPr>
                  <p:nvPr/>
                </p:nvSpPr>
                <p:spPr bwMode="auto">
                  <a:xfrm>
                    <a:off x="5066960" y="1993763"/>
                    <a:ext cx="119061" cy="33338"/>
                  </a:xfrm>
                  <a:custGeom>
                    <a:avLst/>
                    <a:gdLst>
                      <a:gd name="T0" fmla="*/ 75 w 75"/>
                      <a:gd name="T1" fmla="*/ 0 h 21"/>
                      <a:gd name="T2" fmla="*/ 0 w 75"/>
                      <a:gd name="T3" fmla="*/ 12 h 21"/>
                      <a:gd name="T4" fmla="*/ 0 w 75"/>
                      <a:gd name="T5" fmla="*/ 10 h 21"/>
                      <a:gd name="T6" fmla="*/ 0 w 75"/>
                      <a:gd name="T7" fmla="*/ 21 h 21"/>
                      <a:gd name="T8" fmla="*/ 74 w 75"/>
                      <a:gd name="T9" fmla="*/ 10 h 21"/>
                      <a:gd name="T10" fmla="*/ 75 w 75"/>
                      <a:gd name="T11" fmla="*/ 12 h 21"/>
                      <a:gd name="T12" fmla="*/ 75 w 75"/>
                      <a:gd name="T13" fmla="*/ 0 h 2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75" h="21">
                        <a:moveTo>
                          <a:pt x="75" y="0"/>
                        </a:moveTo>
                        <a:lnTo>
                          <a:pt x="0" y="12"/>
                        </a:lnTo>
                        <a:lnTo>
                          <a:pt x="0" y="10"/>
                        </a:lnTo>
                        <a:lnTo>
                          <a:pt x="0" y="21"/>
                        </a:lnTo>
                        <a:lnTo>
                          <a:pt x="74" y="10"/>
                        </a:lnTo>
                        <a:lnTo>
                          <a:pt x="75" y="12"/>
                        </a:lnTo>
                        <a:lnTo>
                          <a:pt x="75" y="0"/>
                        </a:lnTo>
                      </a:path>
                    </a:pathLst>
                  </a:cu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87" name="Freeform 164"/>
                  <p:cNvSpPr>
                    <a:spLocks/>
                  </p:cNvSpPr>
                  <p:nvPr/>
                </p:nvSpPr>
                <p:spPr bwMode="auto">
                  <a:xfrm>
                    <a:off x="5086010" y="2014401"/>
                    <a:ext cx="100011" cy="15875"/>
                  </a:xfrm>
                  <a:custGeom>
                    <a:avLst/>
                    <a:gdLst>
                      <a:gd name="T0" fmla="*/ 63 w 63"/>
                      <a:gd name="T1" fmla="*/ 0 h 10"/>
                      <a:gd name="T2" fmla="*/ 0 w 63"/>
                      <a:gd name="T3" fmla="*/ 10 h 10"/>
                      <a:gd name="T4" fmla="*/ 45 w 63"/>
                      <a:gd name="T5" fmla="*/ 10 h 10"/>
                      <a:gd name="T6" fmla="*/ 63 w 63"/>
                      <a:gd name="T7" fmla="*/ 10 h 10"/>
                      <a:gd name="T8" fmla="*/ 63 w 63"/>
                      <a:gd name="T9" fmla="*/ 0 h 1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63" h="10">
                        <a:moveTo>
                          <a:pt x="63" y="0"/>
                        </a:moveTo>
                        <a:lnTo>
                          <a:pt x="0" y="10"/>
                        </a:lnTo>
                        <a:lnTo>
                          <a:pt x="45" y="10"/>
                        </a:lnTo>
                        <a:lnTo>
                          <a:pt x="63" y="10"/>
                        </a:lnTo>
                        <a:lnTo>
                          <a:pt x="63" y="0"/>
                        </a:lnTo>
                        <a:close/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88" name="Freeform 165"/>
                  <p:cNvSpPr>
                    <a:spLocks/>
                  </p:cNvSpPr>
                  <p:nvPr/>
                </p:nvSpPr>
                <p:spPr bwMode="auto">
                  <a:xfrm>
                    <a:off x="5086010" y="2014401"/>
                    <a:ext cx="100011" cy="15875"/>
                  </a:xfrm>
                  <a:custGeom>
                    <a:avLst/>
                    <a:gdLst>
                      <a:gd name="T0" fmla="*/ 63 w 63"/>
                      <a:gd name="T1" fmla="*/ 0 h 10"/>
                      <a:gd name="T2" fmla="*/ 0 w 63"/>
                      <a:gd name="T3" fmla="*/ 10 h 10"/>
                      <a:gd name="T4" fmla="*/ 45 w 63"/>
                      <a:gd name="T5" fmla="*/ 10 h 10"/>
                      <a:gd name="T6" fmla="*/ 63 w 63"/>
                      <a:gd name="T7" fmla="*/ 10 h 10"/>
                      <a:gd name="T8" fmla="*/ 63 w 63"/>
                      <a:gd name="T9" fmla="*/ 0 h 1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63" h="10">
                        <a:moveTo>
                          <a:pt x="63" y="0"/>
                        </a:moveTo>
                        <a:lnTo>
                          <a:pt x="0" y="10"/>
                        </a:lnTo>
                        <a:lnTo>
                          <a:pt x="45" y="10"/>
                        </a:lnTo>
                        <a:lnTo>
                          <a:pt x="63" y="10"/>
                        </a:lnTo>
                        <a:lnTo>
                          <a:pt x="63" y="0"/>
                        </a:lnTo>
                      </a:path>
                    </a:pathLst>
                  </a:cu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89" name="Freeform 166"/>
                  <p:cNvSpPr>
                    <a:spLocks/>
                  </p:cNvSpPr>
                  <p:nvPr/>
                </p:nvSpPr>
                <p:spPr bwMode="auto">
                  <a:xfrm>
                    <a:off x="5066960" y="1987413"/>
                    <a:ext cx="119061" cy="25401"/>
                  </a:xfrm>
                  <a:custGeom>
                    <a:avLst/>
                    <a:gdLst>
                      <a:gd name="T0" fmla="*/ 74 w 75"/>
                      <a:gd name="T1" fmla="*/ 0 h 16"/>
                      <a:gd name="T2" fmla="*/ 0 w 75"/>
                      <a:gd name="T3" fmla="*/ 12 h 16"/>
                      <a:gd name="T4" fmla="*/ 0 w 75"/>
                      <a:gd name="T5" fmla="*/ 14 h 16"/>
                      <a:gd name="T6" fmla="*/ 0 w 75"/>
                      <a:gd name="T7" fmla="*/ 16 h 16"/>
                      <a:gd name="T8" fmla="*/ 75 w 75"/>
                      <a:gd name="T9" fmla="*/ 4 h 16"/>
                      <a:gd name="T10" fmla="*/ 75 w 75"/>
                      <a:gd name="T11" fmla="*/ 2 h 16"/>
                      <a:gd name="T12" fmla="*/ 74 w 75"/>
                      <a:gd name="T13" fmla="*/ 0 h 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75" h="16">
                        <a:moveTo>
                          <a:pt x="74" y="0"/>
                        </a:moveTo>
                        <a:lnTo>
                          <a:pt x="0" y="12"/>
                        </a:lnTo>
                        <a:lnTo>
                          <a:pt x="0" y="14"/>
                        </a:lnTo>
                        <a:lnTo>
                          <a:pt x="0" y="16"/>
                        </a:lnTo>
                        <a:lnTo>
                          <a:pt x="75" y="4"/>
                        </a:lnTo>
                        <a:lnTo>
                          <a:pt x="75" y="2"/>
                        </a:lnTo>
                        <a:lnTo>
                          <a:pt x="74" y="0"/>
                        </a:lnTo>
                        <a:close/>
                      </a:path>
                    </a:pathLst>
                  </a:custGeom>
                  <a:solidFill>
                    <a:srgbClr val="3333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90" name="Freeform 167"/>
                  <p:cNvSpPr>
                    <a:spLocks/>
                  </p:cNvSpPr>
                  <p:nvPr/>
                </p:nvSpPr>
                <p:spPr bwMode="auto">
                  <a:xfrm>
                    <a:off x="5066960" y="1987413"/>
                    <a:ext cx="119061" cy="25401"/>
                  </a:xfrm>
                  <a:custGeom>
                    <a:avLst/>
                    <a:gdLst>
                      <a:gd name="T0" fmla="*/ 74 w 75"/>
                      <a:gd name="T1" fmla="*/ 0 h 16"/>
                      <a:gd name="T2" fmla="*/ 0 w 75"/>
                      <a:gd name="T3" fmla="*/ 12 h 16"/>
                      <a:gd name="T4" fmla="*/ 0 w 75"/>
                      <a:gd name="T5" fmla="*/ 14 h 16"/>
                      <a:gd name="T6" fmla="*/ 0 w 75"/>
                      <a:gd name="T7" fmla="*/ 16 h 16"/>
                      <a:gd name="T8" fmla="*/ 75 w 75"/>
                      <a:gd name="T9" fmla="*/ 4 h 16"/>
                      <a:gd name="T10" fmla="*/ 75 w 75"/>
                      <a:gd name="T11" fmla="*/ 2 h 16"/>
                      <a:gd name="T12" fmla="*/ 74 w 75"/>
                      <a:gd name="T13" fmla="*/ 0 h 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75" h="16">
                        <a:moveTo>
                          <a:pt x="74" y="0"/>
                        </a:moveTo>
                        <a:lnTo>
                          <a:pt x="0" y="12"/>
                        </a:lnTo>
                        <a:lnTo>
                          <a:pt x="0" y="14"/>
                        </a:lnTo>
                        <a:lnTo>
                          <a:pt x="0" y="16"/>
                        </a:lnTo>
                        <a:lnTo>
                          <a:pt x="75" y="4"/>
                        </a:lnTo>
                        <a:lnTo>
                          <a:pt x="75" y="2"/>
                        </a:lnTo>
                        <a:lnTo>
                          <a:pt x="74" y="0"/>
                        </a:lnTo>
                      </a:path>
                    </a:pathLst>
                  </a:cu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91" name="Freeform 168"/>
                  <p:cNvSpPr>
                    <a:spLocks/>
                  </p:cNvSpPr>
                  <p:nvPr/>
                </p:nvSpPr>
                <p:spPr bwMode="auto">
                  <a:xfrm>
                    <a:off x="5066960" y="2009638"/>
                    <a:ext cx="119061" cy="20638"/>
                  </a:xfrm>
                  <a:custGeom>
                    <a:avLst/>
                    <a:gdLst>
                      <a:gd name="T0" fmla="*/ 74 w 75"/>
                      <a:gd name="T1" fmla="*/ 0 h 13"/>
                      <a:gd name="T2" fmla="*/ 0 w 75"/>
                      <a:gd name="T3" fmla="*/ 11 h 13"/>
                      <a:gd name="T4" fmla="*/ 0 w 75"/>
                      <a:gd name="T5" fmla="*/ 13 h 13"/>
                      <a:gd name="T6" fmla="*/ 12 w 75"/>
                      <a:gd name="T7" fmla="*/ 13 h 13"/>
                      <a:gd name="T8" fmla="*/ 75 w 75"/>
                      <a:gd name="T9" fmla="*/ 3 h 13"/>
                      <a:gd name="T10" fmla="*/ 75 w 75"/>
                      <a:gd name="T11" fmla="*/ 2 h 13"/>
                      <a:gd name="T12" fmla="*/ 74 w 75"/>
                      <a:gd name="T13" fmla="*/ 0 h 1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75" h="13">
                        <a:moveTo>
                          <a:pt x="74" y="0"/>
                        </a:moveTo>
                        <a:lnTo>
                          <a:pt x="0" y="11"/>
                        </a:lnTo>
                        <a:lnTo>
                          <a:pt x="0" y="13"/>
                        </a:lnTo>
                        <a:lnTo>
                          <a:pt x="12" y="13"/>
                        </a:lnTo>
                        <a:lnTo>
                          <a:pt x="75" y="3"/>
                        </a:lnTo>
                        <a:lnTo>
                          <a:pt x="75" y="2"/>
                        </a:lnTo>
                        <a:lnTo>
                          <a:pt x="74" y="0"/>
                        </a:lnTo>
                        <a:close/>
                      </a:path>
                    </a:pathLst>
                  </a:custGeom>
                  <a:solidFill>
                    <a:srgbClr val="3333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92" name="Freeform 169"/>
                  <p:cNvSpPr>
                    <a:spLocks/>
                  </p:cNvSpPr>
                  <p:nvPr/>
                </p:nvSpPr>
                <p:spPr bwMode="auto">
                  <a:xfrm>
                    <a:off x="5066960" y="2009638"/>
                    <a:ext cx="119061" cy="20638"/>
                  </a:xfrm>
                  <a:custGeom>
                    <a:avLst/>
                    <a:gdLst>
                      <a:gd name="T0" fmla="*/ 74 w 75"/>
                      <a:gd name="T1" fmla="*/ 0 h 13"/>
                      <a:gd name="T2" fmla="*/ 0 w 75"/>
                      <a:gd name="T3" fmla="*/ 11 h 13"/>
                      <a:gd name="T4" fmla="*/ 0 w 75"/>
                      <a:gd name="T5" fmla="*/ 13 h 13"/>
                      <a:gd name="T6" fmla="*/ 12 w 75"/>
                      <a:gd name="T7" fmla="*/ 13 h 13"/>
                      <a:gd name="T8" fmla="*/ 75 w 75"/>
                      <a:gd name="T9" fmla="*/ 3 h 13"/>
                      <a:gd name="T10" fmla="*/ 75 w 75"/>
                      <a:gd name="T11" fmla="*/ 2 h 13"/>
                      <a:gd name="T12" fmla="*/ 74 w 75"/>
                      <a:gd name="T13" fmla="*/ 0 h 1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75" h="13">
                        <a:moveTo>
                          <a:pt x="74" y="0"/>
                        </a:moveTo>
                        <a:lnTo>
                          <a:pt x="0" y="11"/>
                        </a:lnTo>
                        <a:lnTo>
                          <a:pt x="0" y="13"/>
                        </a:lnTo>
                        <a:lnTo>
                          <a:pt x="12" y="13"/>
                        </a:lnTo>
                        <a:lnTo>
                          <a:pt x="75" y="3"/>
                        </a:lnTo>
                        <a:lnTo>
                          <a:pt x="75" y="2"/>
                        </a:lnTo>
                        <a:lnTo>
                          <a:pt x="74" y="0"/>
                        </a:lnTo>
                      </a:path>
                    </a:pathLst>
                  </a:cu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93" name="Freeform 170"/>
                  <p:cNvSpPr>
                    <a:spLocks/>
                  </p:cNvSpPr>
                  <p:nvPr/>
                </p:nvSpPr>
                <p:spPr bwMode="auto">
                  <a:xfrm>
                    <a:off x="5095535" y="2030276"/>
                    <a:ext cx="61911" cy="20638"/>
                  </a:xfrm>
                  <a:custGeom>
                    <a:avLst/>
                    <a:gdLst>
                      <a:gd name="T0" fmla="*/ 39 w 39"/>
                      <a:gd name="T1" fmla="*/ 0 h 13"/>
                      <a:gd name="T2" fmla="*/ 0 w 39"/>
                      <a:gd name="T3" fmla="*/ 0 h 13"/>
                      <a:gd name="T4" fmla="*/ 6 w 39"/>
                      <a:gd name="T5" fmla="*/ 13 h 13"/>
                      <a:gd name="T6" fmla="*/ 32 w 39"/>
                      <a:gd name="T7" fmla="*/ 13 h 13"/>
                      <a:gd name="T8" fmla="*/ 39 w 39"/>
                      <a:gd name="T9" fmla="*/ 0 h 1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9" h="13">
                        <a:moveTo>
                          <a:pt x="39" y="0"/>
                        </a:moveTo>
                        <a:lnTo>
                          <a:pt x="0" y="0"/>
                        </a:lnTo>
                        <a:lnTo>
                          <a:pt x="6" y="13"/>
                        </a:lnTo>
                        <a:lnTo>
                          <a:pt x="32" y="13"/>
                        </a:lnTo>
                        <a:lnTo>
                          <a:pt x="39" y="0"/>
                        </a:lnTo>
                        <a:close/>
                      </a:path>
                    </a:pathLst>
                  </a:custGeom>
                  <a:solidFill>
                    <a:srgbClr val="33333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94" name="Freeform 171"/>
                  <p:cNvSpPr>
                    <a:spLocks/>
                  </p:cNvSpPr>
                  <p:nvPr/>
                </p:nvSpPr>
                <p:spPr bwMode="auto">
                  <a:xfrm>
                    <a:off x="5095535" y="2030276"/>
                    <a:ext cx="61911" cy="20638"/>
                  </a:xfrm>
                  <a:custGeom>
                    <a:avLst/>
                    <a:gdLst>
                      <a:gd name="T0" fmla="*/ 39 w 39"/>
                      <a:gd name="T1" fmla="*/ 0 h 13"/>
                      <a:gd name="T2" fmla="*/ 0 w 39"/>
                      <a:gd name="T3" fmla="*/ 0 h 13"/>
                      <a:gd name="T4" fmla="*/ 6 w 39"/>
                      <a:gd name="T5" fmla="*/ 13 h 13"/>
                      <a:gd name="T6" fmla="*/ 32 w 39"/>
                      <a:gd name="T7" fmla="*/ 13 h 13"/>
                      <a:gd name="T8" fmla="*/ 39 w 39"/>
                      <a:gd name="T9" fmla="*/ 0 h 1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9" h="13">
                        <a:moveTo>
                          <a:pt x="39" y="0"/>
                        </a:moveTo>
                        <a:lnTo>
                          <a:pt x="0" y="0"/>
                        </a:lnTo>
                        <a:lnTo>
                          <a:pt x="6" y="13"/>
                        </a:lnTo>
                        <a:lnTo>
                          <a:pt x="32" y="13"/>
                        </a:lnTo>
                        <a:lnTo>
                          <a:pt x="39" y="0"/>
                        </a:lnTo>
                      </a:path>
                    </a:pathLst>
                  </a:cu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</p:grpSp>
            <p:sp>
              <p:nvSpPr>
                <p:cNvPr id="46" name="Freeform 172"/>
                <p:cNvSpPr>
                  <a:spLocks/>
                </p:cNvSpPr>
                <p:nvPr/>
              </p:nvSpPr>
              <p:spPr bwMode="auto">
                <a:xfrm>
                  <a:off x="2577801" y="2468435"/>
                  <a:ext cx="311145" cy="246068"/>
                </a:xfrm>
                <a:custGeom>
                  <a:avLst/>
                  <a:gdLst>
                    <a:gd name="T0" fmla="*/ 15 w 216"/>
                    <a:gd name="T1" fmla="*/ 115 h 170"/>
                    <a:gd name="T2" fmla="*/ 15 w 216"/>
                    <a:gd name="T3" fmla="*/ 115 h 170"/>
                    <a:gd name="T4" fmla="*/ 4 w 216"/>
                    <a:gd name="T5" fmla="*/ 149 h 170"/>
                    <a:gd name="T6" fmla="*/ 32 w 216"/>
                    <a:gd name="T7" fmla="*/ 170 h 170"/>
                    <a:gd name="T8" fmla="*/ 166 w 216"/>
                    <a:gd name="T9" fmla="*/ 170 h 170"/>
                    <a:gd name="T10" fmla="*/ 166 w 216"/>
                    <a:gd name="T11" fmla="*/ 110 h 170"/>
                    <a:gd name="T12" fmla="*/ 127 w 216"/>
                    <a:gd name="T13" fmla="*/ 110 h 170"/>
                    <a:gd name="T14" fmla="*/ 216 w 216"/>
                    <a:gd name="T15" fmla="*/ 48 h 170"/>
                    <a:gd name="T16" fmla="*/ 180 w 216"/>
                    <a:gd name="T17" fmla="*/ 0 h 170"/>
                    <a:gd name="T18" fmla="*/ 15 w 216"/>
                    <a:gd name="T19" fmla="*/ 115 h 1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16" h="170">
                      <a:moveTo>
                        <a:pt x="15" y="115"/>
                      </a:moveTo>
                      <a:cubicBezTo>
                        <a:pt x="15" y="115"/>
                        <a:pt x="15" y="115"/>
                        <a:pt x="15" y="115"/>
                      </a:cubicBezTo>
                      <a:cubicBezTo>
                        <a:pt x="5" y="123"/>
                        <a:pt x="0" y="136"/>
                        <a:pt x="4" y="149"/>
                      </a:cubicBezTo>
                      <a:cubicBezTo>
                        <a:pt x="8" y="161"/>
                        <a:pt x="19" y="170"/>
                        <a:pt x="32" y="170"/>
                      </a:cubicBezTo>
                      <a:cubicBezTo>
                        <a:pt x="166" y="170"/>
                        <a:pt x="166" y="170"/>
                        <a:pt x="166" y="170"/>
                      </a:cubicBezTo>
                      <a:cubicBezTo>
                        <a:pt x="166" y="110"/>
                        <a:pt x="166" y="110"/>
                        <a:pt x="166" y="110"/>
                      </a:cubicBezTo>
                      <a:cubicBezTo>
                        <a:pt x="127" y="110"/>
                        <a:pt x="127" y="110"/>
                        <a:pt x="127" y="110"/>
                      </a:cubicBezTo>
                      <a:cubicBezTo>
                        <a:pt x="216" y="48"/>
                        <a:pt x="216" y="48"/>
                        <a:pt x="216" y="48"/>
                      </a:cubicBezTo>
                      <a:cubicBezTo>
                        <a:pt x="180" y="0"/>
                        <a:pt x="180" y="0"/>
                        <a:pt x="180" y="0"/>
                      </a:cubicBezTo>
                      <a:lnTo>
                        <a:pt x="15" y="115"/>
                      </a:lnTo>
                      <a:close/>
                    </a:path>
                  </a:pathLst>
                </a:custGeom>
                <a:solidFill>
                  <a:srgbClr val="E1623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7" name="Freeform 173"/>
                <p:cNvSpPr>
                  <a:spLocks/>
                </p:cNvSpPr>
                <p:nvPr/>
              </p:nvSpPr>
              <p:spPr bwMode="auto">
                <a:xfrm>
                  <a:off x="2976257" y="2468435"/>
                  <a:ext cx="125410" cy="49214"/>
                </a:xfrm>
                <a:custGeom>
                  <a:avLst/>
                  <a:gdLst>
                    <a:gd name="T0" fmla="*/ 0 w 87"/>
                    <a:gd name="T1" fmla="*/ 0 h 33"/>
                    <a:gd name="T2" fmla="*/ 44 w 87"/>
                    <a:gd name="T3" fmla="*/ 33 h 33"/>
                    <a:gd name="T4" fmla="*/ 87 w 87"/>
                    <a:gd name="T5" fmla="*/ 0 h 33"/>
                    <a:gd name="T6" fmla="*/ 0 w 87"/>
                    <a:gd name="T7" fmla="*/ 0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7" h="33">
                      <a:moveTo>
                        <a:pt x="0" y="0"/>
                      </a:moveTo>
                      <a:cubicBezTo>
                        <a:pt x="5" y="19"/>
                        <a:pt x="23" y="33"/>
                        <a:pt x="44" y="33"/>
                      </a:cubicBezTo>
                      <a:cubicBezTo>
                        <a:pt x="64" y="33"/>
                        <a:pt x="82" y="19"/>
                        <a:pt x="87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CB96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8" name="Freeform 174"/>
                <p:cNvSpPr>
                  <a:spLocks/>
                </p:cNvSpPr>
                <p:nvPr/>
              </p:nvSpPr>
              <p:spPr bwMode="auto">
                <a:xfrm>
                  <a:off x="3006419" y="2355720"/>
                  <a:ext cx="96836" cy="117477"/>
                </a:xfrm>
                <a:custGeom>
                  <a:avLst/>
                  <a:gdLst>
                    <a:gd name="T0" fmla="*/ 67 w 67"/>
                    <a:gd name="T1" fmla="*/ 7 h 81"/>
                    <a:gd name="T2" fmla="*/ 46 w 67"/>
                    <a:gd name="T3" fmla="*/ 0 h 81"/>
                    <a:gd name="T4" fmla="*/ 39 w 67"/>
                    <a:gd name="T5" fmla="*/ 18 h 81"/>
                    <a:gd name="T6" fmla="*/ 0 w 67"/>
                    <a:gd name="T7" fmla="*/ 18 h 81"/>
                    <a:gd name="T8" fmla="*/ 0 w 67"/>
                    <a:gd name="T9" fmla="*/ 81 h 81"/>
                    <a:gd name="T10" fmla="*/ 46 w 67"/>
                    <a:gd name="T11" fmla="*/ 81 h 81"/>
                    <a:gd name="T12" fmla="*/ 46 w 67"/>
                    <a:gd name="T13" fmla="*/ 45 h 81"/>
                    <a:gd name="T14" fmla="*/ 67 w 67"/>
                    <a:gd name="T15" fmla="*/ 7 h 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7" h="81">
                      <a:moveTo>
                        <a:pt x="67" y="7"/>
                      </a:move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39" y="18"/>
                        <a:pt x="39" y="18"/>
                        <a:pt x="39" y="18"/>
                      </a:cubicBezTo>
                      <a:cubicBezTo>
                        <a:pt x="0" y="18"/>
                        <a:pt x="0" y="18"/>
                        <a:pt x="0" y="18"/>
                      </a:cubicBezTo>
                      <a:cubicBezTo>
                        <a:pt x="0" y="81"/>
                        <a:pt x="0" y="81"/>
                        <a:pt x="0" y="81"/>
                      </a:cubicBezTo>
                      <a:cubicBezTo>
                        <a:pt x="46" y="81"/>
                        <a:pt x="46" y="81"/>
                        <a:pt x="46" y="81"/>
                      </a:cubicBezTo>
                      <a:cubicBezTo>
                        <a:pt x="46" y="45"/>
                        <a:pt x="46" y="45"/>
                        <a:pt x="46" y="45"/>
                      </a:cubicBezTo>
                      <a:cubicBezTo>
                        <a:pt x="47" y="33"/>
                        <a:pt x="51" y="13"/>
                        <a:pt x="67" y="7"/>
                      </a:cubicBezTo>
                      <a:close/>
                    </a:path>
                  </a:pathLst>
                </a:custGeom>
                <a:solidFill>
                  <a:srgbClr val="FCB96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9" name="Freeform 175"/>
                <p:cNvSpPr>
                  <a:spLocks/>
                </p:cNvSpPr>
                <p:nvPr/>
              </p:nvSpPr>
              <p:spPr bwMode="auto">
                <a:xfrm>
                  <a:off x="3060393" y="2227130"/>
                  <a:ext cx="88899" cy="87314"/>
                </a:xfrm>
                <a:custGeom>
                  <a:avLst/>
                  <a:gdLst>
                    <a:gd name="T0" fmla="*/ 0 w 56"/>
                    <a:gd name="T1" fmla="*/ 0 h 55"/>
                    <a:gd name="T2" fmla="*/ 56 w 56"/>
                    <a:gd name="T3" fmla="*/ 31 h 55"/>
                    <a:gd name="T4" fmla="*/ 32 w 56"/>
                    <a:gd name="T5" fmla="*/ 55 h 55"/>
                    <a:gd name="T6" fmla="*/ 0 w 56"/>
                    <a:gd name="T7" fmla="*/ 0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6" h="55">
                      <a:moveTo>
                        <a:pt x="0" y="0"/>
                      </a:moveTo>
                      <a:lnTo>
                        <a:pt x="56" y="31"/>
                      </a:lnTo>
                      <a:lnTo>
                        <a:pt x="32" y="5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9A8D7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0" name="Freeform 176"/>
                <p:cNvSpPr>
                  <a:spLocks/>
                </p:cNvSpPr>
                <p:nvPr/>
              </p:nvSpPr>
              <p:spPr bwMode="auto">
                <a:xfrm>
                  <a:off x="3036581" y="2271581"/>
                  <a:ext cx="15875" cy="14288"/>
                </a:xfrm>
                <a:custGeom>
                  <a:avLst/>
                  <a:gdLst>
                    <a:gd name="T0" fmla="*/ 9 w 11"/>
                    <a:gd name="T1" fmla="*/ 1 h 10"/>
                    <a:gd name="T2" fmla="*/ 9 w 11"/>
                    <a:gd name="T3" fmla="*/ 8 h 10"/>
                    <a:gd name="T4" fmla="*/ 2 w 11"/>
                    <a:gd name="T5" fmla="*/ 8 h 10"/>
                    <a:gd name="T6" fmla="*/ 2 w 11"/>
                    <a:gd name="T7" fmla="*/ 1 h 10"/>
                    <a:gd name="T8" fmla="*/ 9 w 11"/>
                    <a:gd name="T9" fmla="*/ 1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" h="10">
                      <a:moveTo>
                        <a:pt x="9" y="1"/>
                      </a:moveTo>
                      <a:cubicBezTo>
                        <a:pt x="11" y="3"/>
                        <a:pt x="11" y="6"/>
                        <a:pt x="9" y="8"/>
                      </a:cubicBezTo>
                      <a:cubicBezTo>
                        <a:pt x="7" y="10"/>
                        <a:pt x="4" y="10"/>
                        <a:pt x="2" y="8"/>
                      </a:cubicBezTo>
                      <a:cubicBezTo>
                        <a:pt x="0" y="6"/>
                        <a:pt x="0" y="3"/>
                        <a:pt x="2" y="1"/>
                      </a:cubicBezTo>
                      <a:cubicBezTo>
                        <a:pt x="4" y="0"/>
                        <a:pt x="7" y="0"/>
                        <a:pt x="9" y="1"/>
                      </a:cubicBezTo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1" name="Freeform 177"/>
                <p:cNvSpPr>
                  <a:spLocks/>
                </p:cNvSpPr>
                <p:nvPr/>
              </p:nvSpPr>
              <p:spPr bwMode="auto">
                <a:xfrm>
                  <a:off x="3060393" y="2227130"/>
                  <a:ext cx="88899" cy="87314"/>
                </a:xfrm>
                <a:custGeom>
                  <a:avLst/>
                  <a:gdLst>
                    <a:gd name="T0" fmla="*/ 0 w 56"/>
                    <a:gd name="T1" fmla="*/ 0 h 55"/>
                    <a:gd name="T2" fmla="*/ 56 w 56"/>
                    <a:gd name="T3" fmla="*/ 31 h 55"/>
                    <a:gd name="T4" fmla="*/ 32 w 56"/>
                    <a:gd name="T5" fmla="*/ 55 h 55"/>
                    <a:gd name="T6" fmla="*/ 0 w 56"/>
                    <a:gd name="T7" fmla="*/ 0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6" h="55">
                      <a:moveTo>
                        <a:pt x="0" y="0"/>
                      </a:moveTo>
                      <a:lnTo>
                        <a:pt x="56" y="31"/>
                      </a:lnTo>
                      <a:lnTo>
                        <a:pt x="32" y="5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CB96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2" name="Freeform 178"/>
                <p:cNvSpPr>
                  <a:spLocks/>
                </p:cNvSpPr>
                <p:nvPr/>
              </p:nvSpPr>
              <p:spPr bwMode="auto">
                <a:xfrm>
                  <a:off x="2887358" y="2179504"/>
                  <a:ext cx="296858" cy="273056"/>
                </a:xfrm>
                <a:custGeom>
                  <a:avLst/>
                  <a:gdLst>
                    <a:gd name="T0" fmla="*/ 0 w 205"/>
                    <a:gd name="T1" fmla="*/ 85 h 188"/>
                    <a:gd name="T2" fmla="*/ 61 w 205"/>
                    <a:gd name="T3" fmla="*/ 146 h 188"/>
                    <a:gd name="T4" fmla="*/ 61 w 205"/>
                    <a:gd name="T5" fmla="*/ 146 h 188"/>
                    <a:gd name="T6" fmla="*/ 205 w 205"/>
                    <a:gd name="T7" fmla="*/ 119 h 188"/>
                    <a:gd name="T8" fmla="*/ 201 w 205"/>
                    <a:gd name="T9" fmla="*/ 115 h 188"/>
                    <a:gd name="T10" fmla="*/ 167 w 205"/>
                    <a:gd name="T11" fmla="*/ 80 h 188"/>
                    <a:gd name="T12" fmla="*/ 124 w 205"/>
                    <a:gd name="T13" fmla="*/ 37 h 188"/>
                    <a:gd name="T14" fmla="*/ 86 w 205"/>
                    <a:gd name="T15" fmla="*/ 0 h 188"/>
                    <a:gd name="T16" fmla="*/ 0 w 205"/>
                    <a:gd name="T17" fmla="*/ 85 h 1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05" h="188">
                      <a:moveTo>
                        <a:pt x="0" y="85"/>
                      </a:moveTo>
                      <a:cubicBezTo>
                        <a:pt x="61" y="146"/>
                        <a:pt x="61" y="146"/>
                        <a:pt x="61" y="146"/>
                      </a:cubicBezTo>
                      <a:cubicBezTo>
                        <a:pt x="61" y="146"/>
                        <a:pt x="61" y="146"/>
                        <a:pt x="61" y="146"/>
                      </a:cubicBezTo>
                      <a:cubicBezTo>
                        <a:pt x="109" y="188"/>
                        <a:pt x="160" y="164"/>
                        <a:pt x="205" y="119"/>
                      </a:cubicBezTo>
                      <a:cubicBezTo>
                        <a:pt x="201" y="115"/>
                        <a:pt x="201" y="115"/>
                        <a:pt x="201" y="115"/>
                      </a:cubicBezTo>
                      <a:cubicBezTo>
                        <a:pt x="167" y="80"/>
                        <a:pt x="167" y="80"/>
                        <a:pt x="167" y="80"/>
                      </a:cubicBezTo>
                      <a:cubicBezTo>
                        <a:pt x="124" y="37"/>
                        <a:pt x="124" y="37"/>
                        <a:pt x="124" y="37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0" y="85"/>
                        <a:pt x="0" y="85"/>
                        <a:pt x="0" y="85"/>
                      </a:cubicBezTo>
                    </a:path>
                  </a:pathLst>
                </a:custGeom>
                <a:solidFill>
                  <a:srgbClr val="FCB96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3" name="Freeform 179"/>
                <p:cNvSpPr>
                  <a:spLocks/>
                </p:cNvSpPr>
                <p:nvPr/>
              </p:nvSpPr>
              <p:spPr bwMode="auto">
                <a:xfrm>
                  <a:off x="3036579" y="2271580"/>
                  <a:ext cx="25284" cy="25284"/>
                </a:xfrm>
                <a:custGeom>
                  <a:avLst/>
                  <a:gdLst>
                    <a:gd name="T0" fmla="*/ 9 w 11"/>
                    <a:gd name="T1" fmla="*/ 1 h 10"/>
                    <a:gd name="T2" fmla="*/ 9 w 11"/>
                    <a:gd name="T3" fmla="*/ 8 h 10"/>
                    <a:gd name="T4" fmla="*/ 2 w 11"/>
                    <a:gd name="T5" fmla="*/ 8 h 10"/>
                    <a:gd name="T6" fmla="*/ 2 w 11"/>
                    <a:gd name="T7" fmla="*/ 1 h 10"/>
                    <a:gd name="T8" fmla="*/ 9 w 11"/>
                    <a:gd name="T9" fmla="*/ 1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" h="10">
                      <a:moveTo>
                        <a:pt x="9" y="1"/>
                      </a:moveTo>
                      <a:cubicBezTo>
                        <a:pt x="11" y="3"/>
                        <a:pt x="11" y="6"/>
                        <a:pt x="9" y="8"/>
                      </a:cubicBezTo>
                      <a:cubicBezTo>
                        <a:pt x="7" y="10"/>
                        <a:pt x="4" y="10"/>
                        <a:pt x="2" y="8"/>
                      </a:cubicBezTo>
                      <a:cubicBezTo>
                        <a:pt x="0" y="6"/>
                        <a:pt x="0" y="3"/>
                        <a:pt x="2" y="1"/>
                      </a:cubicBezTo>
                      <a:cubicBezTo>
                        <a:pt x="4" y="0"/>
                        <a:pt x="7" y="0"/>
                        <a:pt x="9" y="1"/>
                      </a:cubicBezTo>
                    </a:path>
                  </a:pathLst>
                </a:custGeom>
                <a:solidFill>
                  <a:srgbClr val="002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4" name="Freeform 180"/>
                <p:cNvSpPr>
                  <a:spLocks/>
                </p:cNvSpPr>
                <p:nvPr/>
              </p:nvSpPr>
              <p:spPr bwMode="auto">
                <a:xfrm>
                  <a:off x="3198503" y="2468435"/>
                  <a:ext cx="309557" cy="246068"/>
                </a:xfrm>
                <a:custGeom>
                  <a:avLst/>
                  <a:gdLst>
                    <a:gd name="T0" fmla="*/ 200 w 215"/>
                    <a:gd name="T1" fmla="*/ 115 h 170"/>
                    <a:gd name="T2" fmla="*/ 200 w 215"/>
                    <a:gd name="T3" fmla="*/ 115 h 170"/>
                    <a:gd name="T4" fmla="*/ 212 w 215"/>
                    <a:gd name="T5" fmla="*/ 149 h 170"/>
                    <a:gd name="T6" fmla="*/ 183 w 215"/>
                    <a:gd name="T7" fmla="*/ 170 h 170"/>
                    <a:gd name="T8" fmla="*/ 50 w 215"/>
                    <a:gd name="T9" fmla="*/ 170 h 170"/>
                    <a:gd name="T10" fmla="*/ 49 w 215"/>
                    <a:gd name="T11" fmla="*/ 110 h 170"/>
                    <a:gd name="T12" fmla="*/ 89 w 215"/>
                    <a:gd name="T13" fmla="*/ 110 h 170"/>
                    <a:gd name="T14" fmla="*/ 0 w 215"/>
                    <a:gd name="T15" fmla="*/ 48 h 170"/>
                    <a:gd name="T16" fmla="*/ 36 w 215"/>
                    <a:gd name="T17" fmla="*/ 0 h 170"/>
                    <a:gd name="T18" fmla="*/ 200 w 215"/>
                    <a:gd name="T19" fmla="*/ 115 h 1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15" h="170">
                      <a:moveTo>
                        <a:pt x="200" y="115"/>
                      </a:moveTo>
                      <a:cubicBezTo>
                        <a:pt x="200" y="115"/>
                        <a:pt x="200" y="115"/>
                        <a:pt x="200" y="115"/>
                      </a:cubicBezTo>
                      <a:cubicBezTo>
                        <a:pt x="211" y="123"/>
                        <a:pt x="215" y="136"/>
                        <a:pt x="212" y="149"/>
                      </a:cubicBezTo>
                      <a:cubicBezTo>
                        <a:pt x="208" y="161"/>
                        <a:pt x="196" y="170"/>
                        <a:pt x="183" y="170"/>
                      </a:cubicBezTo>
                      <a:cubicBezTo>
                        <a:pt x="50" y="170"/>
                        <a:pt x="50" y="170"/>
                        <a:pt x="50" y="170"/>
                      </a:cubicBezTo>
                      <a:cubicBezTo>
                        <a:pt x="49" y="110"/>
                        <a:pt x="49" y="110"/>
                        <a:pt x="49" y="110"/>
                      </a:cubicBezTo>
                      <a:cubicBezTo>
                        <a:pt x="89" y="110"/>
                        <a:pt x="89" y="110"/>
                        <a:pt x="89" y="110"/>
                      </a:cubicBezTo>
                      <a:cubicBezTo>
                        <a:pt x="0" y="48"/>
                        <a:pt x="0" y="48"/>
                        <a:pt x="0" y="48"/>
                      </a:cubicBezTo>
                      <a:cubicBezTo>
                        <a:pt x="36" y="0"/>
                        <a:pt x="36" y="0"/>
                        <a:pt x="36" y="0"/>
                      </a:cubicBezTo>
                      <a:lnTo>
                        <a:pt x="200" y="115"/>
                      </a:lnTo>
                      <a:close/>
                    </a:path>
                  </a:pathLst>
                </a:custGeom>
                <a:solidFill>
                  <a:srgbClr val="E1623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5" name="Freeform 182"/>
                <p:cNvSpPr>
                  <a:spLocks noEditPoints="1"/>
                </p:cNvSpPr>
                <p:nvPr/>
              </p:nvSpPr>
              <p:spPr bwMode="auto">
                <a:xfrm>
                  <a:off x="4320848" y="2049326"/>
                  <a:ext cx="0" cy="9525"/>
                </a:xfrm>
                <a:custGeom>
                  <a:avLst/>
                  <a:gdLst>
                    <a:gd name="T0" fmla="*/ 6 h 6"/>
                    <a:gd name="T1" fmla="*/ 6 h 6"/>
                    <a:gd name="T2" fmla="*/ 6 h 6"/>
                    <a:gd name="T3" fmla="*/ 5 h 6"/>
                    <a:gd name="T4" fmla="*/ 5 h 6"/>
                    <a:gd name="T5" fmla="*/ 5 h 6"/>
                    <a:gd name="T6" fmla="*/ 4 h 6"/>
                    <a:gd name="T7" fmla="*/ 5 h 6"/>
                    <a:gd name="T8" fmla="*/ 4 h 6"/>
                    <a:gd name="T9" fmla="*/ 4 h 6"/>
                    <a:gd name="T10" fmla="*/ 4 h 6"/>
                    <a:gd name="T11" fmla="*/ 4 h 6"/>
                    <a:gd name="T12" fmla="*/ 3 h 6"/>
                    <a:gd name="T13" fmla="*/ 3 h 6"/>
                    <a:gd name="T14" fmla="*/ 3 h 6"/>
                    <a:gd name="T15" fmla="*/ 2 h 6"/>
                    <a:gd name="T16" fmla="*/ 2 h 6"/>
                    <a:gd name="T17" fmla="*/ 2 h 6"/>
                    <a:gd name="T18" fmla="*/ 1 h 6"/>
                    <a:gd name="T19" fmla="*/ 1 h 6"/>
                    <a:gd name="T20" fmla="*/ 1 h 6"/>
                    <a:gd name="T21" fmla="*/ 0 h 6"/>
                    <a:gd name="T22" fmla="*/ 0 h 6"/>
                    <a:gd name="T23" fmla="*/ 0 h 6"/>
                    <a:gd name="T24" fmla="*/ 0 h 6"/>
                    <a:gd name="T25" fmla="*/ 0 h 6"/>
                    <a:gd name="T26" fmla="*/ 0 h 6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  <a:cxn ang="0">
                      <a:pos x="0" y="T5"/>
                    </a:cxn>
                    <a:cxn ang="0">
                      <a:pos x="0" y="T6"/>
                    </a:cxn>
                    <a:cxn ang="0">
                      <a:pos x="0" y="T7"/>
                    </a:cxn>
                    <a:cxn ang="0">
                      <a:pos x="0" y="T8"/>
                    </a:cxn>
                    <a:cxn ang="0">
                      <a:pos x="0" y="T9"/>
                    </a:cxn>
                    <a:cxn ang="0">
                      <a:pos x="0" y="T10"/>
                    </a:cxn>
                    <a:cxn ang="0">
                      <a:pos x="0" y="T11"/>
                    </a:cxn>
                    <a:cxn ang="0">
                      <a:pos x="0" y="T12"/>
                    </a:cxn>
                    <a:cxn ang="0">
                      <a:pos x="0" y="T13"/>
                    </a:cxn>
                    <a:cxn ang="0">
                      <a:pos x="0" y="T14"/>
                    </a:cxn>
                    <a:cxn ang="0">
                      <a:pos x="0" y="T15"/>
                    </a:cxn>
                    <a:cxn ang="0">
                      <a:pos x="0" y="T16"/>
                    </a:cxn>
                    <a:cxn ang="0">
                      <a:pos x="0" y="T17"/>
                    </a:cxn>
                    <a:cxn ang="0">
                      <a:pos x="0" y="T18"/>
                    </a:cxn>
                    <a:cxn ang="0">
                      <a:pos x="0" y="T19"/>
                    </a:cxn>
                    <a:cxn ang="0">
                      <a:pos x="0" y="T20"/>
                    </a:cxn>
                    <a:cxn ang="0">
                      <a:pos x="0" y="T21"/>
                    </a:cxn>
                    <a:cxn ang="0">
                      <a:pos x="0" y="T22"/>
                    </a:cxn>
                    <a:cxn ang="0">
                      <a:pos x="0" y="T23"/>
                    </a:cxn>
                    <a:cxn ang="0">
                      <a:pos x="0" y="T24"/>
                    </a:cxn>
                    <a:cxn ang="0">
                      <a:pos x="0" y="T25"/>
                    </a:cxn>
                    <a:cxn ang="0">
                      <a:pos x="0" y="T26"/>
                    </a:cxn>
                  </a:cxnLst>
                  <a:rect l="0" t="0" r="r" b="b"/>
                  <a:pathLst>
                    <a:path h="6">
                      <a:moveTo>
                        <a:pt x="0" y="6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6"/>
                        <a:pt x="0" y="6"/>
                        <a:pt x="0" y="6"/>
                      </a:cubicBezTo>
                      <a:moveTo>
                        <a:pt x="0" y="5"/>
                      </a:move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moveTo>
                        <a:pt x="0" y="4"/>
                      </a:move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4"/>
                      </a:cubicBezTo>
                      <a:moveTo>
                        <a:pt x="0" y="4"/>
                      </a:move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0" y="4"/>
                        <a:pt x="0" y="4"/>
                        <a:pt x="0" y="4"/>
                      </a:cubicBezTo>
                      <a:moveTo>
                        <a:pt x="0" y="3"/>
                      </a:move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0" y="3"/>
                        <a:pt x="0" y="3"/>
                        <a:pt x="0" y="3"/>
                      </a:cubicBezTo>
                      <a:moveTo>
                        <a:pt x="0" y="2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0" y="2"/>
                        <a:pt x="0" y="2"/>
                      </a:cubicBezTo>
                      <a:moveTo>
                        <a:pt x="0" y="1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E5D8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6" name="Freeform 192"/>
                <p:cNvSpPr>
                  <a:spLocks/>
                </p:cNvSpPr>
                <p:nvPr/>
              </p:nvSpPr>
              <p:spPr bwMode="auto">
                <a:xfrm>
                  <a:off x="2830209" y="2125528"/>
                  <a:ext cx="195259" cy="300044"/>
                </a:xfrm>
                <a:custGeom>
                  <a:avLst/>
                  <a:gdLst>
                    <a:gd name="T0" fmla="*/ 94 w 135"/>
                    <a:gd name="T1" fmla="*/ 127 h 208"/>
                    <a:gd name="T2" fmla="*/ 95 w 135"/>
                    <a:gd name="T3" fmla="*/ 123 h 208"/>
                    <a:gd name="T4" fmla="*/ 112 w 135"/>
                    <a:gd name="T5" fmla="*/ 95 h 208"/>
                    <a:gd name="T6" fmla="*/ 126 w 135"/>
                    <a:gd name="T7" fmla="*/ 38 h 208"/>
                    <a:gd name="T8" fmla="*/ 126 w 135"/>
                    <a:gd name="T9" fmla="*/ 36 h 208"/>
                    <a:gd name="T10" fmla="*/ 105 w 135"/>
                    <a:gd name="T11" fmla="*/ 22 h 208"/>
                    <a:gd name="T12" fmla="*/ 53 w 135"/>
                    <a:gd name="T13" fmla="*/ 38 h 208"/>
                    <a:gd name="T14" fmla="*/ 32 w 135"/>
                    <a:gd name="T15" fmla="*/ 71 h 208"/>
                    <a:gd name="T16" fmla="*/ 32 w 135"/>
                    <a:gd name="T17" fmla="*/ 71 h 208"/>
                    <a:gd name="T18" fmla="*/ 40 w 135"/>
                    <a:gd name="T19" fmla="*/ 142 h 208"/>
                    <a:gd name="T20" fmla="*/ 122 w 135"/>
                    <a:gd name="T21" fmla="*/ 199 h 208"/>
                    <a:gd name="T22" fmla="*/ 94 w 135"/>
                    <a:gd name="T23" fmla="*/ 127 h 2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35" h="208">
                      <a:moveTo>
                        <a:pt x="94" y="127"/>
                      </a:moveTo>
                      <a:cubicBezTo>
                        <a:pt x="95" y="126"/>
                        <a:pt x="95" y="124"/>
                        <a:pt x="95" y="123"/>
                      </a:cubicBezTo>
                      <a:cubicBezTo>
                        <a:pt x="95" y="109"/>
                        <a:pt x="102" y="105"/>
                        <a:pt x="112" y="95"/>
                      </a:cubicBezTo>
                      <a:cubicBezTo>
                        <a:pt x="123" y="82"/>
                        <a:pt x="135" y="54"/>
                        <a:pt x="126" y="38"/>
                      </a:cubicBezTo>
                      <a:cubicBezTo>
                        <a:pt x="126" y="37"/>
                        <a:pt x="126" y="37"/>
                        <a:pt x="126" y="36"/>
                      </a:cubicBezTo>
                      <a:cubicBezTo>
                        <a:pt x="125" y="7"/>
                        <a:pt x="105" y="22"/>
                        <a:pt x="105" y="22"/>
                      </a:cubicBezTo>
                      <a:cubicBezTo>
                        <a:pt x="78" y="0"/>
                        <a:pt x="53" y="38"/>
                        <a:pt x="53" y="38"/>
                      </a:cubicBezTo>
                      <a:cubicBezTo>
                        <a:pt x="37" y="37"/>
                        <a:pt x="32" y="53"/>
                        <a:pt x="32" y="71"/>
                      </a:cubicBezTo>
                      <a:cubicBezTo>
                        <a:pt x="32" y="71"/>
                        <a:pt x="32" y="71"/>
                        <a:pt x="32" y="71"/>
                      </a:cubicBezTo>
                      <a:cubicBezTo>
                        <a:pt x="0" y="102"/>
                        <a:pt x="26" y="131"/>
                        <a:pt x="40" y="142"/>
                      </a:cubicBezTo>
                      <a:cubicBezTo>
                        <a:pt x="52" y="208"/>
                        <a:pt x="122" y="199"/>
                        <a:pt x="122" y="199"/>
                      </a:cubicBezTo>
                      <a:cubicBezTo>
                        <a:pt x="131" y="162"/>
                        <a:pt x="95" y="127"/>
                        <a:pt x="94" y="127"/>
                      </a:cubicBezTo>
                    </a:path>
                  </a:pathLst>
                </a:custGeom>
                <a:solidFill>
                  <a:srgbClr val="33333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7" name="Rectangle 195"/>
                <p:cNvSpPr>
                  <a:spLocks noChangeArrowheads="1"/>
                </p:cNvSpPr>
                <p:nvPr/>
              </p:nvSpPr>
              <p:spPr bwMode="auto">
                <a:xfrm>
                  <a:off x="2825447" y="2454147"/>
                  <a:ext cx="60324" cy="347670"/>
                </a:xfrm>
                <a:prstGeom prst="rect">
                  <a:avLst/>
                </a:pr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8" name="Rectangle 196"/>
                <p:cNvSpPr>
                  <a:spLocks noChangeArrowheads="1"/>
                </p:cNvSpPr>
                <p:nvPr/>
              </p:nvSpPr>
              <p:spPr bwMode="auto">
                <a:xfrm>
                  <a:off x="3209616" y="2454147"/>
                  <a:ext cx="60324" cy="347670"/>
                </a:xfrm>
                <a:prstGeom prst="rect">
                  <a:avLst/>
                </a:pr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9" name="Freeform 197"/>
                <p:cNvSpPr>
                  <a:spLocks/>
                </p:cNvSpPr>
                <p:nvPr/>
              </p:nvSpPr>
              <p:spPr bwMode="auto">
                <a:xfrm>
                  <a:off x="2817509" y="2628776"/>
                  <a:ext cx="88899" cy="87314"/>
                </a:xfrm>
                <a:custGeom>
                  <a:avLst/>
                  <a:gdLst>
                    <a:gd name="T0" fmla="*/ 31 w 62"/>
                    <a:gd name="T1" fmla="*/ 60 h 61"/>
                    <a:gd name="T2" fmla="*/ 32 w 62"/>
                    <a:gd name="T3" fmla="*/ 61 h 61"/>
                    <a:gd name="T4" fmla="*/ 62 w 62"/>
                    <a:gd name="T5" fmla="*/ 31 h 61"/>
                    <a:gd name="T6" fmla="*/ 32 w 62"/>
                    <a:gd name="T7" fmla="*/ 0 h 61"/>
                    <a:gd name="T8" fmla="*/ 31 w 62"/>
                    <a:gd name="T9" fmla="*/ 1 h 61"/>
                    <a:gd name="T10" fmla="*/ 31 w 62"/>
                    <a:gd name="T11" fmla="*/ 0 h 61"/>
                    <a:gd name="T12" fmla="*/ 0 w 62"/>
                    <a:gd name="T13" fmla="*/ 0 h 61"/>
                    <a:gd name="T14" fmla="*/ 0 w 62"/>
                    <a:gd name="T15" fmla="*/ 61 h 61"/>
                    <a:gd name="T16" fmla="*/ 31 w 62"/>
                    <a:gd name="T17" fmla="*/ 61 h 61"/>
                    <a:gd name="T18" fmla="*/ 31 w 62"/>
                    <a:gd name="T19" fmla="*/ 60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2" h="61">
                      <a:moveTo>
                        <a:pt x="31" y="60"/>
                      </a:moveTo>
                      <a:cubicBezTo>
                        <a:pt x="31" y="60"/>
                        <a:pt x="32" y="61"/>
                        <a:pt x="32" y="61"/>
                      </a:cubicBezTo>
                      <a:cubicBezTo>
                        <a:pt x="49" y="61"/>
                        <a:pt x="62" y="47"/>
                        <a:pt x="62" y="31"/>
                      </a:cubicBezTo>
                      <a:cubicBezTo>
                        <a:pt x="62" y="14"/>
                        <a:pt x="49" y="0"/>
                        <a:pt x="32" y="0"/>
                      </a:cubicBezTo>
                      <a:cubicBezTo>
                        <a:pt x="32" y="0"/>
                        <a:pt x="31" y="1"/>
                        <a:pt x="31" y="1"/>
                      </a:cubicBezTo>
                      <a:cubicBezTo>
                        <a:pt x="31" y="0"/>
                        <a:pt x="31" y="0"/>
                        <a:pt x="31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61"/>
                        <a:pt x="0" y="61"/>
                        <a:pt x="0" y="61"/>
                      </a:cubicBezTo>
                      <a:cubicBezTo>
                        <a:pt x="31" y="61"/>
                        <a:pt x="31" y="61"/>
                        <a:pt x="31" y="61"/>
                      </a:cubicBezTo>
                      <a:lnTo>
                        <a:pt x="31" y="60"/>
                      </a:lnTo>
                      <a:close/>
                    </a:path>
                  </a:pathLst>
                </a:custGeom>
                <a:solidFill>
                  <a:srgbClr val="FCB96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0" name="Freeform 198"/>
                <p:cNvSpPr>
                  <a:spLocks/>
                </p:cNvSpPr>
                <p:nvPr/>
              </p:nvSpPr>
              <p:spPr bwMode="auto">
                <a:xfrm>
                  <a:off x="3181041" y="2628776"/>
                  <a:ext cx="88899" cy="87314"/>
                </a:xfrm>
                <a:custGeom>
                  <a:avLst/>
                  <a:gdLst>
                    <a:gd name="T0" fmla="*/ 31 w 62"/>
                    <a:gd name="T1" fmla="*/ 60 h 61"/>
                    <a:gd name="T2" fmla="*/ 30 w 62"/>
                    <a:gd name="T3" fmla="*/ 61 h 61"/>
                    <a:gd name="T4" fmla="*/ 0 w 62"/>
                    <a:gd name="T5" fmla="*/ 31 h 61"/>
                    <a:gd name="T6" fmla="*/ 30 w 62"/>
                    <a:gd name="T7" fmla="*/ 0 h 61"/>
                    <a:gd name="T8" fmla="*/ 31 w 62"/>
                    <a:gd name="T9" fmla="*/ 1 h 61"/>
                    <a:gd name="T10" fmla="*/ 31 w 62"/>
                    <a:gd name="T11" fmla="*/ 0 h 61"/>
                    <a:gd name="T12" fmla="*/ 62 w 62"/>
                    <a:gd name="T13" fmla="*/ 0 h 61"/>
                    <a:gd name="T14" fmla="*/ 62 w 62"/>
                    <a:gd name="T15" fmla="*/ 61 h 61"/>
                    <a:gd name="T16" fmla="*/ 31 w 62"/>
                    <a:gd name="T17" fmla="*/ 61 h 61"/>
                    <a:gd name="T18" fmla="*/ 31 w 62"/>
                    <a:gd name="T19" fmla="*/ 60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2" h="61">
                      <a:moveTo>
                        <a:pt x="31" y="60"/>
                      </a:moveTo>
                      <a:cubicBezTo>
                        <a:pt x="30" y="60"/>
                        <a:pt x="30" y="61"/>
                        <a:pt x="30" y="61"/>
                      </a:cubicBezTo>
                      <a:cubicBezTo>
                        <a:pt x="13" y="61"/>
                        <a:pt x="0" y="47"/>
                        <a:pt x="0" y="31"/>
                      </a:cubicBezTo>
                      <a:cubicBezTo>
                        <a:pt x="0" y="14"/>
                        <a:pt x="13" y="0"/>
                        <a:pt x="30" y="0"/>
                      </a:cubicBezTo>
                      <a:cubicBezTo>
                        <a:pt x="30" y="0"/>
                        <a:pt x="30" y="1"/>
                        <a:pt x="31" y="1"/>
                      </a:cubicBezTo>
                      <a:cubicBezTo>
                        <a:pt x="31" y="0"/>
                        <a:pt x="31" y="0"/>
                        <a:pt x="31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61"/>
                        <a:pt x="62" y="61"/>
                        <a:pt x="62" y="61"/>
                      </a:cubicBezTo>
                      <a:cubicBezTo>
                        <a:pt x="31" y="61"/>
                        <a:pt x="31" y="61"/>
                        <a:pt x="31" y="61"/>
                      </a:cubicBezTo>
                      <a:lnTo>
                        <a:pt x="31" y="60"/>
                      </a:lnTo>
                      <a:close/>
                    </a:path>
                  </a:pathLst>
                </a:custGeom>
                <a:solidFill>
                  <a:srgbClr val="FCB96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1" name="Freeform 199"/>
                <p:cNvSpPr>
                  <a:spLocks/>
                </p:cNvSpPr>
                <p:nvPr/>
              </p:nvSpPr>
              <p:spPr bwMode="auto">
                <a:xfrm>
                  <a:off x="2952445" y="2308094"/>
                  <a:ext cx="69849" cy="71439"/>
                </a:xfrm>
                <a:custGeom>
                  <a:avLst/>
                  <a:gdLst>
                    <a:gd name="T0" fmla="*/ 11 w 49"/>
                    <a:gd name="T1" fmla="*/ 0 h 49"/>
                    <a:gd name="T2" fmla="*/ 11 w 49"/>
                    <a:gd name="T3" fmla="*/ 38 h 49"/>
                    <a:gd name="T4" fmla="*/ 49 w 49"/>
                    <a:gd name="T5" fmla="*/ 38 h 49"/>
                    <a:gd name="T6" fmla="*/ 11 w 49"/>
                    <a:gd name="T7" fmla="*/ 0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9" h="49">
                      <a:moveTo>
                        <a:pt x="11" y="0"/>
                      </a:moveTo>
                      <a:cubicBezTo>
                        <a:pt x="0" y="10"/>
                        <a:pt x="0" y="27"/>
                        <a:pt x="11" y="38"/>
                      </a:cubicBezTo>
                      <a:cubicBezTo>
                        <a:pt x="21" y="49"/>
                        <a:pt x="39" y="49"/>
                        <a:pt x="49" y="38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CB96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2" name="Freeform 200"/>
                <p:cNvSpPr>
                  <a:spLocks/>
                </p:cNvSpPr>
                <p:nvPr/>
              </p:nvSpPr>
              <p:spPr bwMode="auto">
                <a:xfrm>
                  <a:off x="2981019" y="2322382"/>
                  <a:ext cx="28575" cy="26988"/>
                </a:xfrm>
                <a:custGeom>
                  <a:avLst/>
                  <a:gdLst>
                    <a:gd name="T0" fmla="*/ 0 w 20"/>
                    <a:gd name="T1" fmla="*/ 0 h 19"/>
                    <a:gd name="T2" fmla="*/ 0 w 20"/>
                    <a:gd name="T3" fmla="*/ 0 h 19"/>
                    <a:gd name="T4" fmla="*/ 20 w 20"/>
                    <a:gd name="T5" fmla="*/ 19 h 19"/>
                    <a:gd name="T6" fmla="*/ 20 w 20"/>
                    <a:gd name="T7" fmla="*/ 19 h 19"/>
                    <a:gd name="T8" fmla="*/ 0 w 20"/>
                    <a:gd name="T9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0" h="19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0" y="19"/>
                        <a:pt x="20" y="19"/>
                        <a:pt x="20" y="19"/>
                      </a:cubicBezTo>
                      <a:cubicBezTo>
                        <a:pt x="20" y="19"/>
                        <a:pt x="20" y="19"/>
                        <a:pt x="20" y="19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99D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3" name="Freeform 201"/>
                <p:cNvSpPr>
                  <a:spLocks/>
                </p:cNvSpPr>
                <p:nvPr/>
              </p:nvSpPr>
              <p:spPr bwMode="auto">
                <a:xfrm>
                  <a:off x="2973082" y="2322382"/>
                  <a:ext cx="36512" cy="33338"/>
                </a:xfrm>
                <a:custGeom>
                  <a:avLst/>
                  <a:gdLst>
                    <a:gd name="T0" fmla="*/ 5 w 25"/>
                    <a:gd name="T1" fmla="*/ 0 h 23"/>
                    <a:gd name="T2" fmla="*/ 5 w 25"/>
                    <a:gd name="T3" fmla="*/ 19 h 23"/>
                    <a:gd name="T4" fmla="*/ 15 w 25"/>
                    <a:gd name="T5" fmla="*/ 23 h 23"/>
                    <a:gd name="T6" fmla="*/ 25 w 25"/>
                    <a:gd name="T7" fmla="*/ 19 h 23"/>
                    <a:gd name="T8" fmla="*/ 5 w 25"/>
                    <a:gd name="T9" fmla="*/ 0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5" h="23">
                      <a:moveTo>
                        <a:pt x="5" y="0"/>
                      </a:moveTo>
                      <a:cubicBezTo>
                        <a:pt x="0" y="5"/>
                        <a:pt x="0" y="14"/>
                        <a:pt x="5" y="19"/>
                      </a:cubicBezTo>
                      <a:cubicBezTo>
                        <a:pt x="8" y="22"/>
                        <a:pt x="12" y="23"/>
                        <a:pt x="15" y="23"/>
                      </a:cubicBezTo>
                      <a:cubicBezTo>
                        <a:pt x="18" y="23"/>
                        <a:pt x="22" y="22"/>
                        <a:pt x="25" y="19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D99D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4" name="Freeform 279"/>
                <p:cNvSpPr>
                  <a:spLocks/>
                </p:cNvSpPr>
                <p:nvPr/>
              </p:nvSpPr>
              <p:spPr bwMode="auto">
                <a:xfrm>
                  <a:off x="4794674" y="1234015"/>
                  <a:ext cx="300038" cy="180976"/>
                </a:xfrm>
                <a:custGeom>
                  <a:avLst/>
                  <a:gdLst>
                    <a:gd name="T0" fmla="*/ 39 w 401"/>
                    <a:gd name="T1" fmla="*/ 120 h 241"/>
                    <a:gd name="T2" fmla="*/ 105 w 401"/>
                    <a:gd name="T3" fmla="*/ 68 h 241"/>
                    <a:gd name="T4" fmla="*/ 106 w 401"/>
                    <a:gd name="T5" fmla="*/ 68 h 241"/>
                    <a:gd name="T6" fmla="*/ 106 w 401"/>
                    <a:gd name="T7" fmla="*/ 68 h 241"/>
                    <a:gd name="T8" fmla="*/ 174 w 401"/>
                    <a:gd name="T9" fmla="*/ 0 h 241"/>
                    <a:gd name="T10" fmla="*/ 234 w 401"/>
                    <a:gd name="T11" fmla="*/ 36 h 241"/>
                    <a:gd name="T12" fmla="*/ 256 w 401"/>
                    <a:gd name="T13" fmla="*/ 32 h 241"/>
                    <a:gd name="T14" fmla="*/ 319 w 401"/>
                    <a:gd name="T15" fmla="*/ 96 h 241"/>
                    <a:gd name="T16" fmla="*/ 319 w 401"/>
                    <a:gd name="T17" fmla="*/ 96 h 241"/>
                    <a:gd name="T18" fmla="*/ 328 w 401"/>
                    <a:gd name="T19" fmla="*/ 96 h 241"/>
                    <a:gd name="T20" fmla="*/ 401 w 401"/>
                    <a:gd name="T21" fmla="*/ 168 h 241"/>
                    <a:gd name="T22" fmla="*/ 328 w 401"/>
                    <a:gd name="T23" fmla="*/ 241 h 241"/>
                    <a:gd name="T24" fmla="*/ 62 w 401"/>
                    <a:gd name="T25" fmla="*/ 241 h 241"/>
                    <a:gd name="T26" fmla="*/ 0 w 401"/>
                    <a:gd name="T27" fmla="*/ 178 h 241"/>
                    <a:gd name="T28" fmla="*/ 39 w 401"/>
                    <a:gd name="T29" fmla="*/ 120 h 2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401" h="241">
                      <a:moveTo>
                        <a:pt x="39" y="120"/>
                      </a:moveTo>
                      <a:cubicBezTo>
                        <a:pt x="47" y="90"/>
                        <a:pt x="73" y="68"/>
                        <a:pt x="105" y="68"/>
                      </a:cubicBezTo>
                      <a:cubicBezTo>
                        <a:pt x="106" y="68"/>
                        <a:pt x="106" y="68"/>
                        <a:pt x="106" y="68"/>
                      </a:cubicBezTo>
                      <a:cubicBezTo>
                        <a:pt x="106" y="68"/>
                        <a:pt x="106" y="68"/>
                        <a:pt x="106" y="68"/>
                      </a:cubicBezTo>
                      <a:cubicBezTo>
                        <a:pt x="106" y="30"/>
                        <a:pt x="136" y="0"/>
                        <a:pt x="174" y="0"/>
                      </a:cubicBezTo>
                      <a:cubicBezTo>
                        <a:pt x="200" y="0"/>
                        <a:pt x="223" y="14"/>
                        <a:pt x="234" y="36"/>
                      </a:cubicBezTo>
                      <a:cubicBezTo>
                        <a:pt x="241" y="33"/>
                        <a:pt x="248" y="32"/>
                        <a:pt x="256" y="32"/>
                      </a:cubicBezTo>
                      <a:cubicBezTo>
                        <a:pt x="291" y="32"/>
                        <a:pt x="319" y="61"/>
                        <a:pt x="319" y="96"/>
                      </a:cubicBezTo>
                      <a:cubicBezTo>
                        <a:pt x="319" y="96"/>
                        <a:pt x="319" y="96"/>
                        <a:pt x="319" y="96"/>
                      </a:cubicBezTo>
                      <a:cubicBezTo>
                        <a:pt x="322" y="96"/>
                        <a:pt x="325" y="96"/>
                        <a:pt x="328" y="96"/>
                      </a:cubicBezTo>
                      <a:cubicBezTo>
                        <a:pt x="368" y="96"/>
                        <a:pt x="401" y="128"/>
                        <a:pt x="401" y="168"/>
                      </a:cubicBezTo>
                      <a:cubicBezTo>
                        <a:pt x="401" y="208"/>
                        <a:pt x="368" y="241"/>
                        <a:pt x="328" y="241"/>
                      </a:cubicBezTo>
                      <a:cubicBezTo>
                        <a:pt x="62" y="241"/>
                        <a:pt x="62" y="241"/>
                        <a:pt x="62" y="241"/>
                      </a:cubicBezTo>
                      <a:cubicBezTo>
                        <a:pt x="28" y="241"/>
                        <a:pt x="0" y="213"/>
                        <a:pt x="0" y="178"/>
                      </a:cubicBezTo>
                      <a:cubicBezTo>
                        <a:pt x="0" y="152"/>
                        <a:pt x="16" y="129"/>
                        <a:pt x="39" y="120"/>
                      </a:cubicBez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grpSp>
              <p:nvGrpSpPr>
                <p:cNvPr id="65" name="Group 64"/>
                <p:cNvGrpSpPr/>
                <p:nvPr/>
              </p:nvGrpSpPr>
              <p:grpSpPr>
                <a:xfrm>
                  <a:off x="6589928" y="1374281"/>
                  <a:ext cx="433392" cy="260361"/>
                  <a:chOff x="8261267" y="967867"/>
                  <a:chExt cx="433392" cy="260361"/>
                </a:xfrm>
              </p:grpSpPr>
              <p:sp>
                <p:nvSpPr>
                  <p:cNvPr id="66" name="Freeform 269"/>
                  <p:cNvSpPr>
                    <a:spLocks/>
                  </p:cNvSpPr>
                  <p:nvPr/>
                </p:nvSpPr>
                <p:spPr bwMode="auto">
                  <a:xfrm>
                    <a:off x="8261267" y="967867"/>
                    <a:ext cx="433392" cy="260361"/>
                  </a:xfrm>
                  <a:custGeom>
                    <a:avLst/>
                    <a:gdLst>
                      <a:gd name="T0" fmla="*/ 523 w 580"/>
                      <a:gd name="T1" fmla="*/ 173 h 349"/>
                      <a:gd name="T2" fmla="*/ 427 w 580"/>
                      <a:gd name="T3" fmla="*/ 98 h 349"/>
                      <a:gd name="T4" fmla="*/ 426 w 580"/>
                      <a:gd name="T5" fmla="*/ 98 h 349"/>
                      <a:gd name="T6" fmla="*/ 426 w 580"/>
                      <a:gd name="T7" fmla="*/ 98 h 349"/>
                      <a:gd name="T8" fmla="*/ 328 w 580"/>
                      <a:gd name="T9" fmla="*/ 0 h 349"/>
                      <a:gd name="T10" fmla="*/ 241 w 580"/>
                      <a:gd name="T11" fmla="*/ 52 h 349"/>
                      <a:gd name="T12" fmla="*/ 210 w 580"/>
                      <a:gd name="T13" fmla="*/ 46 h 349"/>
                      <a:gd name="T14" fmla="*/ 117 w 580"/>
                      <a:gd name="T15" fmla="*/ 139 h 349"/>
                      <a:gd name="T16" fmla="*/ 117 w 580"/>
                      <a:gd name="T17" fmla="*/ 140 h 349"/>
                      <a:gd name="T18" fmla="*/ 105 w 580"/>
                      <a:gd name="T19" fmla="*/ 139 h 349"/>
                      <a:gd name="T20" fmla="*/ 0 w 580"/>
                      <a:gd name="T21" fmla="*/ 244 h 349"/>
                      <a:gd name="T22" fmla="*/ 105 w 580"/>
                      <a:gd name="T23" fmla="*/ 349 h 349"/>
                      <a:gd name="T24" fmla="*/ 489 w 580"/>
                      <a:gd name="T25" fmla="*/ 349 h 349"/>
                      <a:gd name="T26" fmla="*/ 580 w 580"/>
                      <a:gd name="T27" fmla="*/ 258 h 349"/>
                      <a:gd name="T28" fmla="*/ 523 w 580"/>
                      <a:gd name="T29" fmla="*/ 173 h 34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580" h="349">
                        <a:moveTo>
                          <a:pt x="523" y="173"/>
                        </a:moveTo>
                        <a:cubicBezTo>
                          <a:pt x="512" y="130"/>
                          <a:pt x="473" y="98"/>
                          <a:pt x="427" y="98"/>
                        </a:cubicBezTo>
                        <a:cubicBezTo>
                          <a:pt x="426" y="98"/>
                          <a:pt x="426" y="98"/>
                          <a:pt x="426" y="98"/>
                        </a:cubicBezTo>
                        <a:cubicBezTo>
                          <a:pt x="426" y="98"/>
                          <a:pt x="426" y="98"/>
                          <a:pt x="426" y="98"/>
                        </a:cubicBezTo>
                        <a:cubicBezTo>
                          <a:pt x="426" y="44"/>
                          <a:pt x="382" y="0"/>
                          <a:pt x="328" y="0"/>
                        </a:cubicBezTo>
                        <a:cubicBezTo>
                          <a:pt x="290" y="0"/>
                          <a:pt x="258" y="21"/>
                          <a:pt x="241" y="52"/>
                        </a:cubicBezTo>
                        <a:cubicBezTo>
                          <a:pt x="231" y="48"/>
                          <a:pt x="221" y="46"/>
                          <a:pt x="210" y="46"/>
                        </a:cubicBezTo>
                        <a:cubicBezTo>
                          <a:pt x="159" y="46"/>
                          <a:pt x="117" y="88"/>
                          <a:pt x="117" y="139"/>
                        </a:cubicBezTo>
                        <a:cubicBezTo>
                          <a:pt x="117" y="140"/>
                          <a:pt x="117" y="140"/>
                          <a:pt x="117" y="140"/>
                        </a:cubicBezTo>
                        <a:cubicBezTo>
                          <a:pt x="113" y="139"/>
                          <a:pt x="109" y="139"/>
                          <a:pt x="105" y="139"/>
                        </a:cubicBezTo>
                        <a:cubicBezTo>
                          <a:pt x="47" y="139"/>
                          <a:pt x="0" y="186"/>
                          <a:pt x="0" y="244"/>
                        </a:cubicBezTo>
                        <a:cubicBezTo>
                          <a:pt x="0" y="302"/>
                          <a:pt x="47" y="349"/>
                          <a:pt x="105" y="349"/>
                        </a:cubicBezTo>
                        <a:cubicBezTo>
                          <a:pt x="489" y="349"/>
                          <a:pt x="489" y="349"/>
                          <a:pt x="489" y="349"/>
                        </a:cubicBezTo>
                        <a:cubicBezTo>
                          <a:pt x="540" y="349"/>
                          <a:pt x="580" y="308"/>
                          <a:pt x="580" y="258"/>
                        </a:cubicBezTo>
                        <a:cubicBezTo>
                          <a:pt x="580" y="219"/>
                          <a:pt x="557" y="187"/>
                          <a:pt x="523" y="173"/>
                        </a:cubicBezTo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67" name="Freeform 271"/>
                  <p:cNvSpPr>
                    <a:spLocks/>
                  </p:cNvSpPr>
                  <p:nvPr/>
                </p:nvSpPr>
                <p:spPr bwMode="auto">
                  <a:xfrm>
                    <a:off x="8261267" y="1015494"/>
                    <a:ext cx="334966" cy="212734"/>
                  </a:xfrm>
                  <a:custGeom>
                    <a:avLst/>
                    <a:gdLst>
                      <a:gd name="T0" fmla="*/ 154 w 447"/>
                      <a:gd name="T1" fmla="*/ 0 h 284"/>
                      <a:gd name="T2" fmla="*/ 117 w 447"/>
                      <a:gd name="T3" fmla="*/ 67 h 284"/>
                      <a:gd name="T4" fmla="*/ 117 w 447"/>
                      <a:gd name="T5" fmla="*/ 67 h 284"/>
                      <a:gd name="T6" fmla="*/ 117 w 447"/>
                      <a:gd name="T7" fmla="*/ 67 h 284"/>
                      <a:gd name="T8" fmla="*/ 117 w 447"/>
                      <a:gd name="T9" fmla="*/ 67 h 284"/>
                      <a:gd name="T10" fmla="*/ 117 w 447"/>
                      <a:gd name="T11" fmla="*/ 68 h 284"/>
                      <a:gd name="T12" fmla="*/ 117 w 447"/>
                      <a:gd name="T13" fmla="*/ 68 h 284"/>
                      <a:gd name="T14" fmla="*/ 117 w 447"/>
                      <a:gd name="T15" fmla="*/ 69 h 284"/>
                      <a:gd name="T16" fmla="*/ 117 w 447"/>
                      <a:gd name="T17" fmla="*/ 69 h 284"/>
                      <a:gd name="T18" fmla="*/ 117 w 447"/>
                      <a:gd name="T19" fmla="*/ 70 h 284"/>
                      <a:gd name="T20" fmla="*/ 117 w 447"/>
                      <a:gd name="T21" fmla="*/ 70 h 284"/>
                      <a:gd name="T22" fmla="*/ 117 w 447"/>
                      <a:gd name="T23" fmla="*/ 71 h 284"/>
                      <a:gd name="T24" fmla="*/ 117 w 447"/>
                      <a:gd name="T25" fmla="*/ 71 h 284"/>
                      <a:gd name="T26" fmla="*/ 117 w 447"/>
                      <a:gd name="T27" fmla="*/ 71 h 284"/>
                      <a:gd name="T28" fmla="*/ 117 w 447"/>
                      <a:gd name="T29" fmla="*/ 72 h 284"/>
                      <a:gd name="T30" fmla="*/ 117 w 447"/>
                      <a:gd name="T31" fmla="*/ 72 h 284"/>
                      <a:gd name="T32" fmla="*/ 117 w 447"/>
                      <a:gd name="T33" fmla="*/ 72 h 284"/>
                      <a:gd name="T34" fmla="*/ 117 w 447"/>
                      <a:gd name="T35" fmla="*/ 73 h 284"/>
                      <a:gd name="T36" fmla="*/ 117 w 447"/>
                      <a:gd name="T37" fmla="*/ 73 h 284"/>
                      <a:gd name="T38" fmla="*/ 117 w 447"/>
                      <a:gd name="T39" fmla="*/ 74 h 284"/>
                      <a:gd name="T40" fmla="*/ 117 w 447"/>
                      <a:gd name="T41" fmla="*/ 74 h 284"/>
                      <a:gd name="T42" fmla="*/ 117 w 447"/>
                      <a:gd name="T43" fmla="*/ 75 h 284"/>
                      <a:gd name="T44" fmla="*/ 117 w 447"/>
                      <a:gd name="T45" fmla="*/ 75 h 284"/>
                      <a:gd name="T46" fmla="*/ 105 w 447"/>
                      <a:gd name="T47" fmla="*/ 74 h 284"/>
                      <a:gd name="T48" fmla="*/ 0 w 447"/>
                      <a:gd name="T49" fmla="*/ 179 h 284"/>
                      <a:gd name="T50" fmla="*/ 105 w 447"/>
                      <a:gd name="T51" fmla="*/ 284 h 284"/>
                      <a:gd name="T52" fmla="*/ 447 w 447"/>
                      <a:gd name="T53" fmla="*/ 284 h 284"/>
                      <a:gd name="T54" fmla="*/ 154 w 447"/>
                      <a:gd name="T55" fmla="*/ 0 h 2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</a:cxnLst>
                    <a:rect l="0" t="0" r="r" b="b"/>
                    <a:pathLst>
                      <a:path w="447" h="284">
                        <a:moveTo>
                          <a:pt x="154" y="0"/>
                        </a:moveTo>
                        <a:cubicBezTo>
                          <a:pt x="133" y="16"/>
                          <a:pt x="120" y="40"/>
                          <a:pt x="117" y="67"/>
                        </a:cubicBezTo>
                        <a:cubicBezTo>
                          <a:pt x="117" y="67"/>
                          <a:pt x="117" y="67"/>
                          <a:pt x="117" y="67"/>
                        </a:cubicBezTo>
                        <a:cubicBezTo>
                          <a:pt x="117" y="67"/>
                          <a:pt x="117" y="67"/>
                          <a:pt x="117" y="67"/>
                        </a:cubicBezTo>
                        <a:cubicBezTo>
                          <a:pt x="117" y="67"/>
                          <a:pt x="117" y="67"/>
                          <a:pt x="117" y="67"/>
                        </a:cubicBezTo>
                        <a:cubicBezTo>
                          <a:pt x="117" y="68"/>
                          <a:pt x="117" y="68"/>
                          <a:pt x="117" y="68"/>
                        </a:cubicBezTo>
                        <a:cubicBezTo>
                          <a:pt x="117" y="68"/>
                          <a:pt x="117" y="68"/>
                          <a:pt x="117" y="68"/>
                        </a:cubicBezTo>
                        <a:cubicBezTo>
                          <a:pt x="117" y="68"/>
                          <a:pt x="117" y="69"/>
                          <a:pt x="117" y="69"/>
                        </a:cubicBezTo>
                        <a:cubicBezTo>
                          <a:pt x="117" y="69"/>
                          <a:pt x="117" y="69"/>
                          <a:pt x="117" y="69"/>
                        </a:cubicBezTo>
                        <a:cubicBezTo>
                          <a:pt x="117" y="69"/>
                          <a:pt x="117" y="70"/>
                          <a:pt x="117" y="70"/>
                        </a:cubicBezTo>
                        <a:cubicBezTo>
                          <a:pt x="117" y="70"/>
                          <a:pt x="117" y="70"/>
                          <a:pt x="117" y="70"/>
                        </a:cubicBezTo>
                        <a:cubicBezTo>
                          <a:pt x="117" y="70"/>
                          <a:pt x="117" y="71"/>
                          <a:pt x="117" y="71"/>
                        </a:cubicBezTo>
                        <a:cubicBezTo>
                          <a:pt x="117" y="71"/>
                          <a:pt x="117" y="71"/>
                          <a:pt x="117" y="71"/>
                        </a:cubicBezTo>
                        <a:cubicBezTo>
                          <a:pt x="117" y="71"/>
                          <a:pt x="117" y="71"/>
                          <a:pt x="117" y="71"/>
                        </a:cubicBezTo>
                        <a:cubicBezTo>
                          <a:pt x="117" y="72"/>
                          <a:pt x="117" y="72"/>
                          <a:pt x="117" y="72"/>
                        </a:cubicBezTo>
                        <a:cubicBezTo>
                          <a:pt x="117" y="72"/>
                          <a:pt x="117" y="72"/>
                          <a:pt x="117" y="72"/>
                        </a:cubicBezTo>
                        <a:cubicBezTo>
                          <a:pt x="117" y="72"/>
                          <a:pt x="117" y="72"/>
                          <a:pt x="117" y="72"/>
                        </a:cubicBezTo>
                        <a:cubicBezTo>
                          <a:pt x="117" y="73"/>
                          <a:pt x="117" y="73"/>
                          <a:pt x="117" y="73"/>
                        </a:cubicBezTo>
                        <a:cubicBezTo>
                          <a:pt x="117" y="73"/>
                          <a:pt x="117" y="73"/>
                          <a:pt x="117" y="73"/>
                        </a:cubicBezTo>
                        <a:cubicBezTo>
                          <a:pt x="117" y="73"/>
                          <a:pt x="117" y="73"/>
                          <a:pt x="117" y="74"/>
                        </a:cubicBezTo>
                        <a:cubicBezTo>
                          <a:pt x="117" y="74"/>
                          <a:pt x="117" y="74"/>
                          <a:pt x="117" y="74"/>
                        </a:cubicBezTo>
                        <a:cubicBezTo>
                          <a:pt x="117" y="75"/>
                          <a:pt x="117" y="75"/>
                          <a:pt x="117" y="75"/>
                        </a:cubicBezTo>
                        <a:cubicBezTo>
                          <a:pt x="117" y="75"/>
                          <a:pt x="117" y="75"/>
                          <a:pt x="117" y="75"/>
                        </a:cubicBezTo>
                        <a:cubicBezTo>
                          <a:pt x="113" y="74"/>
                          <a:pt x="109" y="74"/>
                          <a:pt x="105" y="74"/>
                        </a:cubicBezTo>
                        <a:cubicBezTo>
                          <a:pt x="47" y="74"/>
                          <a:pt x="0" y="121"/>
                          <a:pt x="0" y="179"/>
                        </a:cubicBezTo>
                        <a:cubicBezTo>
                          <a:pt x="0" y="237"/>
                          <a:pt x="47" y="284"/>
                          <a:pt x="105" y="284"/>
                        </a:cubicBezTo>
                        <a:cubicBezTo>
                          <a:pt x="447" y="284"/>
                          <a:pt x="447" y="284"/>
                          <a:pt x="447" y="284"/>
                        </a:cubicBezTo>
                        <a:cubicBezTo>
                          <a:pt x="154" y="0"/>
                          <a:pt x="154" y="0"/>
                          <a:pt x="154" y="0"/>
                        </a:cubicBezTo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</p:grpSp>
          </p:grpSp>
          <p:sp>
            <p:nvSpPr>
              <p:cNvPr id="17" name="Freeform 327"/>
              <p:cNvSpPr>
                <a:spLocks/>
              </p:cNvSpPr>
              <p:nvPr/>
            </p:nvSpPr>
            <p:spPr bwMode="auto">
              <a:xfrm>
                <a:off x="4189519" y="2351025"/>
                <a:ext cx="97571" cy="176758"/>
              </a:xfrm>
              <a:custGeom>
                <a:avLst/>
                <a:gdLst>
                  <a:gd name="T0" fmla="*/ 49 w 49"/>
                  <a:gd name="T1" fmla="*/ 58 h 89"/>
                  <a:gd name="T2" fmla="*/ 49 w 49"/>
                  <a:gd name="T3" fmla="*/ 63 h 89"/>
                  <a:gd name="T4" fmla="*/ 46 w 49"/>
                  <a:gd name="T5" fmla="*/ 69 h 89"/>
                  <a:gd name="T6" fmla="*/ 40 w 49"/>
                  <a:gd name="T7" fmla="*/ 74 h 89"/>
                  <a:gd name="T8" fmla="*/ 32 w 49"/>
                  <a:gd name="T9" fmla="*/ 78 h 89"/>
                  <a:gd name="T10" fmla="*/ 32 w 49"/>
                  <a:gd name="T11" fmla="*/ 89 h 89"/>
                  <a:gd name="T12" fmla="*/ 20 w 49"/>
                  <a:gd name="T13" fmla="*/ 89 h 89"/>
                  <a:gd name="T14" fmla="*/ 20 w 49"/>
                  <a:gd name="T15" fmla="*/ 79 h 89"/>
                  <a:gd name="T16" fmla="*/ 14 w 49"/>
                  <a:gd name="T17" fmla="*/ 79 h 89"/>
                  <a:gd name="T18" fmla="*/ 9 w 49"/>
                  <a:gd name="T19" fmla="*/ 78 h 89"/>
                  <a:gd name="T20" fmla="*/ 4 w 49"/>
                  <a:gd name="T21" fmla="*/ 77 h 89"/>
                  <a:gd name="T22" fmla="*/ 1 w 49"/>
                  <a:gd name="T23" fmla="*/ 75 h 89"/>
                  <a:gd name="T24" fmla="*/ 1 w 49"/>
                  <a:gd name="T25" fmla="*/ 56 h 89"/>
                  <a:gd name="T26" fmla="*/ 11 w 49"/>
                  <a:gd name="T27" fmla="*/ 62 h 89"/>
                  <a:gd name="T28" fmla="*/ 21 w 49"/>
                  <a:gd name="T29" fmla="*/ 64 h 89"/>
                  <a:gd name="T30" fmla="*/ 24 w 49"/>
                  <a:gd name="T31" fmla="*/ 64 h 89"/>
                  <a:gd name="T32" fmla="*/ 26 w 49"/>
                  <a:gd name="T33" fmla="*/ 62 h 89"/>
                  <a:gd name="T34" fmla="*/ 27 w 49"/>
                  <a:gd name="T35" fmla="*/ 61 h 89"/>
                  <a:gd name="T36" fmla="*/ 27 w 49"/>
                  <a:gd name="T37" fmla="*/ 59 h 89"/>
                  <a:gd name="T38" fmla="*/ 27 w 49"/>
                  <a:gd name="T39" fmla="*/ 57 h 89"/>
                  <a:gd name="T40" fmla="*/ 25 w 49"/>
                  <a:gd name="T41" fmla="*/ 55 h 89"/>
                  <a:gd name="T42" fmla="*/ 22 w 49"/>
                  <a:gd name="T43" fmla="*/ 53 h 89"/>
                  <a:gd name="T44" fmla="*/ 16 w 49"/>
                  <a:gd name="T45" fmla="*/ 51 h 89"/>
                  <a:gd name="T46" fmla="*/ 9 w 49"/>
                  <a:gd name="T47" fmla="*/ 47 h 89"/>
                  <a:gd name="T48" fmla="*/ 4 w 49"/>
                  <a:gd name="T49" fmla="*/ 42 h 89"/>
                  <a:gd name="T50" fmla="*/ 1 w 49"/>
                  <a:gd name="T51" fmla="*/ 37 h 89"/>
                  <a:gd name="T52" fmla="*/ 0 w 49"/>
                  <a:gd name="T53" fmla="*/ 30 h 89"/>
                  <a:gd name="T54" fmla="*/ 2 w 49"/>
                  <a:gd name="T55" fmla="*/ 23 h 89"/>
                  <a:gd name="T56" fmla="*/ 6 w 49"/>
                  <a:gd name="T57" fmla="*/ 17 h 89"/>
                  <a:gd name="T58" fmla="*/ 12 w 49"/>
                  <a:gd name="T59" fmla="*/ 12 h 89"/>
                  <a:gd name="T60" fmla="*/ 20 w 49"/>
                  <a:gd name="T61" fmla="*/ 9 h 89"/>
                  <a:gd name="T62" fmla="*/ 20 w 49"/>
                  <a:gd name="T63" fmla="*/ 0 h 89"/>
                  <a:gd name="T64" fmla="*/ 32 w 49"/>
                  <a:gd name="T65" fmla="*/ 0 h 89"/>
                  <a:gd name="T66" fmla="*/ 32 w 49"/>
                  <a:gd name="T67" fmla="*/ 9 h 89"/>
                  <a:gd name="T68" fmla="*/ 40 w 49"/>
                  <a:gd name="T69" fmla="*/ 10 h 89"/>
                  <a:gd name="T70" fmla="*/ 46 w 49"/>
                  <a:gd name="T71" fmla="*/ 11 h 89"/>
                  <a:gd name="T72" fmla="*/ 46 w 49"/>
                  <a:gd name="T73" fmla="*/ 29 h 89"/>
                  <a:gd name="T74" fmla="*/ 42 w 49"/>
                  <a:gd name="T75" fmla="*/ 27 h 89"/>
                  <a:gd name="T76" fmla="*/ 38 w 49"/>
                  <a:gd name="T77" fmla="*/ 26 h 89"/>
                  <a:gd name="T78" fmla="*/ 33 w 49"/>
                  <a:gd name="T79" fmla="*/ 24 h 89"/>
                  <a:gd name="T80" fmla="*/ 28 w 49"/>
                  <a:gd name="T81" fmla="*/ 24 h 89"/>
                  <a:gd name="T82" fmla="*/ 25 w 49"/>
                  <a:gd name="T83" fmla="*/ 24 h 89"/>
                  <a:gd name="T84" fmla="*/ 23 w 49"/>
                  <a:gd name="T85" fmla="*/ 25 h 89"/>
                  <a:gd name="T86" fmla="*/ 22 w 49"/>
                  <a:gd name="T87" fmla="*/ 27 h 89"/>
                  <a:gd name="T88" fmla="*/ 22 w 49"/>
                  <a:gd name="T89" fmla="*/ 28 h 89"/>
                  <a:gd name="T90" fmla="*/ 22 w 49"/>
                  <a:gd name="T91" fmla="*/ 30 h 89"/>
                  <a:gd name="T92" fmla="*/ 23 w 49"/>
                  <a:gd name="T93" fmla="*/ 32 h 89"/>
                  <a:gd name="T94" fmla="*/ 26 w 49"/>
                  <a:gd name="T95" fmla="*/ 34 h 89"/>
                  <a:gd name="T96" fmla="*/ 30 w 49"/>
                  <a:gd name="T97" fmla="*/ 36 h 89"/>
                  <a:gd name="T98" fmla="*/ 39 w 49"/>
                  <a:gd name="T99" fmla="*/ 41 h 89"/>
                  <a:gd name="T100" fmla="*/ 45 w 49"/>
                  <a:gd name="T101" fmla="*/ 46 h 89"/>
                  <a:gd name="T102" fmla="*/ 48 w 49"/>
                  <a:gd name="T103" fmla="*/ 51 h 89"/>
                  <a:gd name="T104" fmla="*/ 49 w 49"/>
                  <a:gd name="T105" fmla="*/ 58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9" h="89">
                    <a:moveTo>
                      <a:pt x="49" y="58"/>
                    </a:moveTo>
                    <a:cubicBezTo>
                      <a:pt x="49" y="59"/>
                      <a:pt x="49" y="61"/>
                      <a:pt x="49" y="63"/>
                    </a:cubicBezTo>
                    <a:cubicBezTo>
                      <a:pt x="48" y="65"/>
                      <a:pt x="47" y="67"/>
                      <a:pt x="46" y="69"/>
                    </a:cubicBezTo>
                    <a:cubicBezTo>
                      <a:pt x="44" y="71"/>
                      <a:pt x="43" y="72"/>
                      <a:pt x="40" y="74"/>
                    </a:cubicBezTo>
                    <a:cubicBezTo>
                      <a:pt x="38" y="76"/>
                      <a:pt x="35" y="77"/>
                      <a:pt x="32" y="78"/>
                    </a:cubicBezTo>
                    <a:cubicBezTo>
                      <a:pt x="32" y="89"/>
                      <a:pt x="32" y="89"/>
                      <a:pt x="32" y="89"/>
                    </a:cubicBezTo>
                    <a:cubicBezTo>
                      <a:pt x="20" y="89"/>
                      <a:pt x="20" y="89"/>
                      <a:pt x="20" y="89"/>
                    </a:cubicBezTo>
                    <a:cubicBezTo>
                      <a:pt x="20" y="79"/>
                      <a:pt x="20" y="79"/>
                      <a:pt x="20" y="79"/>
                    </a:cubicBezTo>
                    <a:cubicBezTo>
                      <a:pt x="18" y="79"/>
                      <a:pt x="16" y="79"/>
                      <a:pt x="14" y="79"/>
                    </a:cubicBezTo>
                    <a:cubicBezTo>
                      <a:pt x="12" y="79"/>
                      <a:pt x="11" y="78"/>
                      <a:pt x="9" y="78"/>
                    </a:cubicBezTo>
                    <a:cubicBezTo>
                      <a:pt x="7" y="77"/>
                      <a:pt x="6" y="77"/>
                      <a:pt x="4" y="77"/>
                    </a:cubicBezTo>
                    <a:cubicBezTo>
                      <a:pt x="3" y="76"/>
                      <a:pt x="2" y="76"/>
                      <a:pt x="1" y="75"/>
                    </a:cubicBezTo>
                    <a:cubicBezTo>
                      <a:pt x="1" y="56"/>
                      <a:pt x="1" y="56"/>
                      <a:pt x="1" y="56"/>
                    </a:cubicBezTo>
                    <a:cubicBezTo>
                      <a:pt x="4" y="59"/>
                      <a:pt x="8" y="61"/>
                      <a:pt x="11" y="62"/>
                    </a:cubicBezTo>
                    <a:cubicBezTo>
                      <a:pt x="14" y="63"/>
                      <a:pt x="18" y="64"/>
                      <a:pt x="21" y="64"/>
                    </a:cubicBezTo>
                    <a:cubicBezTo>
                      <a:pt x="22" y="64"/>
                      <a:pt x="23" y="64"/>
                      <a:pt x="24" y="64"/>
                    </a:cubicBezTo>
                    <a:cubicBezTo>
                      <a:pt x="25" y="63"/>
                      <a:pt x="25" y="63"/>
                      <a:pt x="26" y="62"/>
                    </a:cubicBezTo>
                    <a:cubicBezTo>
                      <a:pt x="26" y="62"/>
                      <a:pt x="26" y="61"/>
                      <a:pt x="27" y="61"/>
                    </a:cubicBezTo>
                    <a:cubicBezTo>
                      <a:pt x="27" y="60"/>
                      <a:pt x="27" y="60"/>
                      <a:pt x="27" y="59"/>
                    </a:cubicBezTo>
                    <a:cubicBezTo>
                      <a:pt x="27" y="58"/>
                      <a:pt x="27" y="58"/>
                      <a:pt x="27" y="57"/>
                    </a:cubicBezTo>
                    <a:cubicBezTo>
                      <a:pt x="26" y="57"/>
                      <a:pt x="26" y="56"/>
                      <a:pt x="25" y="55"/>
                    </a:cubicBezTo>
                    <a:cubicBezTo>
                      <a:pt x="25" y="55"/>
                      <a:pt x="23" y="54"/>
                      <a:pt x="22" y="53"/>
                    </a:cubicBezTo>
                    <a:cubicBezTo>
                      <a:pt x="21" y="53"/>
                      <a:pt x="19" y="52"/>
                      <a:pt x="16" y="51"/>
                    </a:cubicBezTo>
                    <a:cubicBezTo>
                      <a:pt x="13" y="50"/>
                      <a:pt x="11" y="48"/>
                      <a:pt x="9" y="47"/>
                    </a:cubicBezTo>
                    <a:cubicBezTo>
                      <a:pt x="7" y="45"/>
                      <a:pt x="5" y="44"/>
                      <a:pt x="4" y="42"/>
                    </a:cubicBezTo>
                    <a:cubicBezTo>
                      <a:pt x="3" y="40"/>
                      <a:pt x="2" y="39"/>
                      <a:pt x="1" y="37"/>
                    </a:cubicBezTo>
                    <a:cubicBezTo>
                      <a:pt x="1" y="35"/>
                      <a:pt x="0" y="33"/>
                      <a:pt x="0" y="30"/>
                    </a:cubicBezTo>
                    <a:cubicBezTo>
                      <a:pt x="0" y="28"/>
                      <a:pt x="1" y="25"/>
                      <a:pt x="2" y="23"/>
                    </a:cubicBezTo>
                    <a:cubicBezTo>
                      <a:pt x="3" y="20"/>
                      <a:pt x="4" y="18"/>
                      <a:pt x="6" y="17"/>
                    </a:cubicBezTo>
                    <a:cubicBezTo>
                      <a:pt x="7" y="15"/>
                      <a:pt x="9" y="13"/>
                      <a:pt x="12" y="12"/>
                    </a:cubicBezTo>
                    <a:cubicBezTo>
                      <a:pt x="14" y="11"/>
                      <a:pt x="17" y="10"/>
                      <a:pt x="20" y="9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2" y="9"/>
                      <a:pt x="32" y="9"/>
                      <a:pt x="32" y="9"/>
                    </a:cubicBezTo>
                    <a:cubicBezTo>
                      <a:pt x="35" y="9"/>
                      <a:pt x="37" y="9"/>
                      <a:pt x="40" y="10"/>
                    </a:cubicBezTo>
                    <a:cubicBezTo>
                      <a:pt x="42" y="10"/>
                      <a:pt x="44" y="11"/>
                      <a:pt x="46" y="11"/>
                    </a:cubicBezTo>
                    <a:cubicBezTo>
                      <a:pt x="46" y="29"/>
                      <a:pt x="46" y="29"/>
                      <a:pt x="46" y="29"/>
                    </a:cubicBezTo>
                    <a:cubicBezTo>
                      <a:pt x="45" y="29"/>
                      <a:pt x="44" y="28"/>
                      <a:pt x="42" y="27"/>
                    </a:cubicBezTo>
                    <a:cubicBezTo>
                      <a:pt x="41" y="27"/>
                      <a:pt x="40" y="26"/>
                      <a:pt x="38" y="26"/>
                    </a:cubicBezTo>
                    <a:cubicBezTo>
                      <a:pt x="36" y="25"/>
                      <a:pt x="35" y="25"/>
                      <a:pt x="33" y="24"/>
                    </a:cubicBezTo>
                    <a:cubicBezTo>
                      <a:pt x="31" y="24"/>
                      <a:pt x="30" y="24"/>
                      <a:pt x="28" y="24"/>
                    </a:cubicBezTo>
                    <a:cubicBezTo>
                      <a:pt x="27" y="24"/>
                      <a:pt x="26" y="24"/>
                      <a:pt x="25" y="24"/>
                    </a:cubicBezTo>
                    <a:cubicBezTo>
                      <a:pt x="25" y="25"/>
                      <a:pt x="24" y="25"/>
                      <a:pt x="23" y="25"/>
                    </a:cubicBezTo>
                    <a:cubicBezTo>
                      <a:pt x="23" y="26"/>
                      <a:pt x="22" y="26"/>
                      <a:pt x="22" y="27"/>
                    </a:cubicBezTo>
                    <a:cubicBezTo>
                      <a:pt x="22" y="27"/>
                      <a:pt x="22" y="28"/>
                      <a:pt x="22" y="28"/>
                    </a:cubicBezTo>
                    <a:cubicBezTo>
                      <a:pt x="22" y="29"/>
                      <a:pt x="22" y="30"/>
                      <a:pt x="22" y="30"/>
                    </a:cubicBezTo>
                    <a:cubicBezTo>
                      <a:pt x="22" y="31"/>
                      <a:pt x="23" y="31"/>
                      <a:pt x="23" y="32"/>
                    </a:cubicBezTo>
                    <a:cubicBezTo>
                      <a:pt x="24" y="32"/>
                      <a:pt x="24" y="33"/>
                      <a:pt x="26" y="34"/>
                    </a:cubicBezTo>
                    <a:cubicBezTo>
                      <a:pt x="27" y="34"/>
                      <a:pt x="28" y="35"/>
                      <a:pt x="30" y="36"/>
                    </a:cubicBezTo>
                    <a:cubicBezTo>
                      <a:pt x="34" y="38"/>
                      <a:pt x="37" y="39"/>
                      <a:pt x="39" y="41"/>
                    </a:cubicBezTo>
                    <a:cubicBezTo>
                      <a:pt x="42" y="42"/>
                      <a:pt x="44" y="44"/>
                      <a:pt x="45" y="46"/>
                    </a:cubicBezTo>
                    <a:cubicBezTo>
                      <a:pt x="47" y="48"/>
                      <a:pt x="48" y="49"/>
                      <a:pt x="48" y="51"/>
                    </a:cubicBezTo>
                    <a:cubicBezTo>
                      <a:pt x="49" y="53"/>
                      <a:pt x="49" y="55"/>
                      <a:pt x="49" y="58"/>
                    </a:cubicBezTo>
                    <a:close/>
                  </a:path>
                </a:pathLst>
              </a:custGeom>
              <a:solidFill>
                <a:srgbClr val="33333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3" name="Freeform 9"/>
            <p:cNvSpPr>
              <a:spLocks noEditPoints="1"/>
            </p:cNvSpPr>
            <p:nvPr/>
          </p:nvSpPr>
          <p:spPr bwMode="black">
            <a:xfrm>
              <a:off x="9777443" y="2759629"/>
              <a:ext cx="640080" cy="640080"/>
            </a:xfrm>
            <a:custGeom>
              <a:avLst/>
              <a:gdLst>
                <a:gd name="T0" fmla="*/ 88 w 149"/>
                <a:gd name="T1" fmla="*/ 67 h 149"/>
                <a:gd name="T2" fmla="*/ 65 w 149"/>
                <a:gd name="T3" fmla="*/ 46 h 149"/>
                <a:gd name="T4" fmla="*/ 84 w 149"/>
                <a:gd name="T5" fmla="*/ 46 h 149"/>
                <a:gd name="T6" fmla="*/ 115 w 149"/>
                <a:gd name="T7" fmla="*/ 75 h 149"/>
                <a:gd name="T8" fmla="*/ 84 w 149"/>
                <a:gd name="T9" fmla="*/ 104 h 149"/>
                <a:gd name="T10" fmla="*/ 65 w 149"/>
                <a:gd name="T11" fmla="*/ 104 h 149"/>
                <a:gd name="T12" fmla="*/ 88 w 149"/>
                <a:gd name="T13" fmla="*/ 82 h 149"/>
                <a:gd name="T14" fmla="*/ 36 w 149"/>
                <a:gd name="T15" fmla="*/ 82 h 149"/>
                <a:gd name="T16" fmla="*/ 36 w 149"/>
                <a:gd name="T17" fmla="*/ 67 h 149"/>
                <a:gd name="T18" fmla="*/ 88 w 149"/>
                <a:gd name="T19" fmla="*/ 67 h 149"/>
                <a:gd name="T20" fmla="*/ 74 w 149"/>
                <a:gd name="T21" fmla="*/ 9 h 149"/>
                <a:gd name="T22" fmla="*/ 140 w 149"/>
                <a:gd name="T23" fmla="*/ 75 h 149"/>
                <a:gd name="T24" fmla="*/ 74 w 149"/>
                <a:gd name="T25" fmla="*/ 140 h 149"/>
                <a:gd name="T26" fmla="*/ 9 w 149"/>
                <a:gd name="T27" fmla="*/ 75 h 149"/>
                <a:gd name="T28" fmla="*/ 74 w 149"/>
                <a:gd name="T29" fmla="*/ 9 h 149"/>
                <a:gd name="T30" fmla="*/ 74 w 149"/>
                <a:gd name="T31" fmla="*/ 0 h 149"/>
                <a:gd name="T32" fmla="*/ 0 w 149"/>
                <a:gd name="T33" fmla="*/ 75 h 149"/>
                <a:gd name="T34" fmla="*/ 74 w 149"/>
                <a:gd name="T35" fmla="*/ 149 h 149"/>
                <a:gd name="T36" fmla="*/ 149 w 149"/>
                <a:gd name="T37" fmla="*/ 75 h 149"/>
                <a:gd name="T38" fmla="*/ 74 w 149"/>
                <a:gd name="T3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9" h="149">
                  <a:moveTo>
                    <a:pt x="88" y="67"/>
                  </a:moveTo>
                  <a:cubicBezTo>
                    <a:pt x="65" y="46"/>
                    <a:pt x="65" y="46"/>
                    <a:pt x="65" y="46"/>
                  </a:cubicBezTo>
                  <a:cubicBezTo>
                    <a:pt x="84" y="46"/>
                    <a:pt x="84" y="46"/>
                    <a:pt x="84" y="46"/>
                  </a:cubicBezTo>
                  <a:cubicBezTo>
                    <a:pt x="115" y="75"/>
                    <a:pt x="115" y="75"/>
                    <a:pt x="115" y="75"/>
                  </a:cubicBezTo>
                  <a:cubicBezTo>
                    <a:pt x="84" y="104"/>
                    <a:pt x="84" y="104"/>
                    <a:pt x="84" y="104"/>
                  </a:cubicBezTo>
                  <a:cubicBezTo>
                    <a:pt x="65" y="104"/>
                    <a:pt x="65" y="104"/>
                    <a:pt x="65" y="104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6" y="67"/>
                    <a:pt x="36" y="67"/>
                    <a:pt x="36" y="67"/>
                  </a:cubicBezTo>
                  <a:lnTo>
                    <a:pt x="88" y="67"/>
                  </a:lnTo>
                  <a:close/>
                  <a:moveTo>
                    <a:pt x="74" y="9"/>
                  </a:moveTo>
                  <a:cubicBezTo>
                    <a:pt x="110" y="9"/>
                    <a:pt x="140" y="39"/>
                    <a:pt x="140" y="75"/>
                  </a:cubicBezTo>
                  <a:cubicBezTo>
                    <a:pt x="140" y="111"/>
                    <a:pt x="110" y="140"/>
                    <a:pt x="74" y="140"/>
                  </a:cubicBezTo>
                  <a:cubicBezTo>
                    <a:pt x="38" y="140"/>
                    <a:pt x="9" y="111"/>
                    <a:pt x="9" y="75"/>
                  </a:cubicBezTo>
                  <a:cubicBezTo>
                    <a:pt x="9" y="39"/>
                    <a:pt x="38" y="9"/>
                    <a:pt x="74" y="9"/>
                  </a:cubicBezTo>
                  <a:moveTo>
                    <a:pt x="74" y="0"/>
                  </a:moveTo>
                  <a:cubicBezTo>
                    <a:pt x="33" y="0"/>
                    <a:pt x="0" y="33"/>
                    <a:pt x="0" y="75"/>
                  </a:cubicBezTo>
                  <a:cubicBezTo>
                    <a:pt x="0" y="116"/>
                    <a:pt x="33" y="149"/>
                    <a:pt x="74" y="149"/>
                  </a:cubicBezTo>
                  <a:cubicBezTo>
                    <a:pt x="116" y="149"/>
                    <a:pt x="149" y="116"/>
                    <a:pt x="149" y="75"/>
                  </a:cubicBezTo>
                  <a:cubicBezTo>
                    <a:pt x="149" y="33"/>
                    <a:pt x="116" y="0"/>
                    <a:pt x="74" y="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8" tIns="34293" rIns="68588" bIns="34293" numCol="1" anchor="t" anchorCtr="0" compatLnSpc="1">
              <a:prstTxWarp prst="textNoShape">
                <a:avLst/>
              </a:prstTxWarp>
            </a:bodyPr>
            <a:lstStyle/>
            <a:p>
              <a:endParaRPr lang="en-US" sz="1324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23804496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1" name="Group 110"/>
          <p:cNvGrpSpPr/>
          <p:nvPr/>
        </p:nvGrpSpPr>
        <p:grpSpPr>
          <a:xfrm>
            <a:off x="91477" y="202587"/>
            <a:ext cx="3227071" cy="3745352"/>
            <a:chOff x="4424579" y="1471214"/>
            <a:chExt cx="3227071" cy="3745352"/>
          </a:xfrm>
        </p:grpSpPr>
        <p:sp>
          <p:nvSpPr>
            <p:cNvPr id="3" name="AutoShape 73"/>
            <p:cNvSpPr>
              <a:spLocks noChangeAspect="1" noChangeArrowheads="1" noTextEdit="1"/>
            </p:cNvSpPr>
            <p:nvPr/>
          </p:nvSpPr>
          <p:spPr bwMode="auto">
            <a:xfrm>
              <a:off x="4637890" y="2002352"/>
              <a:ext cx="2625257" cy="2625258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" name="Freeform 75"/>
            <p:cNvSpPr>
              <a:spLocks noEditPoints="1"/>
            </p:cNvSpPr>
            <p:nvPr/>
          </p:nvSpPr>
          <p:spPr bwMode="auto">
            <a:xfrm>
              <a:off x="5339429" y="2714923"/>
              <a:ext cx="1211149" cy="1211149"/>
            </a:xfrm>
            <a:custGeom>
              <a:avLst/>
              <a:gdLst>
                <a:gd name="T0" fmla="*/ 116 w 231"/>
                <a:gd name="T1" fmla="*/ 231 h 231"/>
                <a:gd name="T2" fmla="*/ 0 w 231"/>
                <a:gd name="T3" fmla="*/ 116 h 231"/>
                <a:gd name="T4" fmla="*/ 116 w 231"/>
                <a:gd name="T5" fmla="*/ 0 h 231"/>
                <a:gd name="T6" fmla="*/ 231 w 231"/>
                <a:gd name="T7" fmla="*/ 116 h 231"/>
                <a:gd name="T8" fmla="*/ 116 w 231"/>
                <a:gd name="T9" fmla="*/ 231 h 231"/>
                <a:gd name="T10" fmla="*/ 116 w 231"/>
                <a:gd name="T11" fmla="*/ 17 h 231"/>
                <a:gd name="T12" fmla="*/ 18 w 231"/>
                <a:gd name="T13" fmla="*/ 116 h 231"/>
                <a:gd name="T14" fmla="*/ 116 w 231"/>
                <a:gd name="T15" fmla="*/ 214 h 231"/>
                <a:gd name="T16" fmla="*/ 214 w 231"/>
                <a:gd name="T17" fmla="*/ 116 h 231"/>
                <a:gd name="T18" fmla="*/ 116 w 231"/>
                <a:gd name="T19" fmla="*/ 17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1" h="231">
                  <a:moveTo>
                    <a:pt x="116" y="231"/>
                  </a:moveTo>
                  <a:cubicBezTo>
                    <a:pt x="52" y="231"/>
                    <a:pt x="0" y="179"/>
                    <a:pt x="0" y="116"/>
                  </a:cubicBezTo>
                  <a:cubicBezTo>
                    <a:pt x="0" y="52"/>
                    <a:pt x="52" y="0"/>
                    <a:pt x="116" y="0"/>
                  </a:cubicBezTo>
                  <a:cubicBezTo>
                    <a:pt x="179" y="0"/>
                    <a:pt x="231" y="52"/>
                    <a:pt x="231" y="116"/>
                  </a:cubicBezTo>
                  <a:cubicBezTo>
                    <a:pt x="231" y="179"/>
                    <a:pt x="179" y="231"/>
                    <a:pt x="116" y="231"/>
                  </a:cubicBezTo>
                  <a:close/>
                  <a:moveTo>
                    <a:pt x="116" y="17"/>
                  </a:moveTo>
                  <a:cubicBezTo>
                    <a:pt x="62" y="17"/>
                    <a:pt x="18" y="61"/>
                    <a:pt x="18" y="116"/>
                  </a:cubicBezTo>
                  <a:cubicBezTo>
                    <a:pt x="18" y="170"/>
                    <a:pt x="62" y="214"/>
                    <a:pt x="116" y="214"/>
                  </a:cubicBezTo>
                  <a:cubicBezTo>
                    <a:pt x="170" y="214"/>
                    <a:pt x="214" y="170"/>
                    <a:pt x="214" y="116"/>
                  </a:cubicBezTo>
                  <a:cubicBezTo>
                    <a:pt x="214" y="61"/>
                    <a:pt x="170" y="17"/>
                    <a:pt x="116" y="17"/>
                  </a:cubicBezTo>
                  <a:close/>
                </a:path>
              </a:pathLst>
            </a:custGeom>
            <a:solidFill>
              <a:srgbClr val="D2D2D2">
                <a:alpha val="76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" name="Freeform 76"/>
            <p:cNvSpPr>
              <a:spLocks noEditPoints="1"/>
            </p:cNvSpPr>
            <p:nvPr/>
          </p:nvSpPr>
          <p:spPr bwMode="auto">
            <a:xfrm>
              <a:off x="5061459" y="2432542"/>
              <a:ext cx="1771498" cy="1775911"/>
            </a:xfrm>
            <a:custGeom>
              <a:avLst/>
              <a:gdLst>
                <a:gd name="T0" fmla="*/ 169 w 338"/>
                <a:gd name="T1" fmla="*/ 339 h 339"/>
                <a:gd name="T2" fmla="*/ 0 w 338"/>
                <a:gd name="T3" fmla="*/ 170 h 339"/>
                <a:gd name="T4" fmla="*/ 169 w 338"/>
                <a:gd name="T5" fmla="*/ 0 h 339"/>
                <a:gd name="T6" fmla="*/ 338 w 338"/>
                <a:gd name="T7" fmla="*/ 170 h 339"/>
                <a:gd name="T8" fmla="*/ 169 w 338"/>
                <a:gd name="T9" fmla="*/ 339 h 339"/>
                <a:gd name="T10" fmla="*/ 169 w 338"/>
                <a:gd name="T11" fmla="*/ 11 h 339"/>
                <a:gd name="T12" fmla="*/ 10 w 338"/>
                <a:gd name="T13" fmla="*/ 170 h 339"/>
                <a:gd name="T14" fmla="*/ 169 w 338"/>
                <a:gd name="T15" fmla="*/ 328 h 339"/>
                <a:gd name="T16" fmla="*/ 328 w 338"/>
                <a:gd name="T17" fmla="*/ 170 h 339"/>
                <a:gd name="T18" fmla="*/ 169 w 338"/>
                <a:gd name="T19" fmla="*/ 11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8" h="339">
                  <a:moveTo>
                    <a:pt x="169" y="339"/>
                  </a:moveTo>
                  <a:cubicBezTo>
                    <a:pt x="75" y="339"/>
                    <a:pt x="0" y="263"/>
                    <a:pt x="0" y="170"/>
                  </a:cubicBezTo>
                  <a:cubicBezTo>
                    <a:pt x="0" y="76"/>
                    <a:pt x="75" y="0"/>
                    <a:pt x="169" y="0"/>
                  </a:cubicBezTo>
                  <a:cubicBezTo>
                    <a:pt x="262" y="0"/>
                    <a:pt x="338" y="76"/>
                    <a:pt x="338" y="170"/>
                  </a:cubicBezTo>
                  <a:cubicBezTo>
                    <a:pt x="338" y="263"/>
                    <a:pt x="262" y="339"/>
                    <a:pt x="169" y="339"/>
                  </a:cubicBezTo>
                  <a:close/>
                  <a:moveTo>
                    <a:pt x="169" y="11"/>
                  </a:moveTo>
                  <a:cubicBezTo>
                    <a:pt x="81" y="11"/>
                    <a:pt x="10" y="82"/>
                    <a:pt x="10" y="170"/>
                  </a:cubicBezTo>
                  <a:cubicBezTo>
                    <a:pt x="10" y="257"/>
                    <a:pt x="81" y="328"/>
                    <a:pt x="169" y="328"/>
                  </a:cubicBezTo>
                  <a:cubicBezTo>
                    <a:pt x="256" y="328"/>
                    <a:pt x="328" y="257"/>
                    <a:pt x="328" y="170"/>
                  </a:cubicBezTo>
                  <a:cubicBezTo>
                    <a:pt x="328" y="82"/>
                    <a:pt x="256" y="11"/>
                    <a:pt x="169" y="11"/>
                  </a:cubicBezTo>
                  <a:close/>
                </a:path>
              </a:pathLst>
            </a:custGeom>
            <a:solidFill>
              <a:srgbClr val="D2D2D2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" name="Freeform 77"/>
            <p:cNvSpPr>
              <a:spLocks noEditPoints="1"/>
            </p:cNvSpPr>
            <p:nvPr/>
          </p:nvSpPr>
          <p:spPr bwMode="auto">
            <a:xfrm>
              <a:off x="4633476" y="2006765"/>
              <a:ext cx="2625257" cy="2625258"/>
            </a:xfrm>
            <a:custGeom>
              <a:avLst/>
              <a:gdLst>
                <a:gd name="T0" fmla="*/ 251 w 501"/>
                <a:gd name="T1" fmla="*/ 501 h 501"/>
                <a:gd name="T2" fmla="*/ 0 w 501"/>
                <a:gd name="T3" fmla="*/ 251 h 501"/>
                <a:gd name="T4" fmla="*/ 251 w 501"/>
                <a:gd name="T5" fmla="*/ 0 h 501"/>
                <a:gd name="T6" fmla="*/ 501 w 501"/>
                <a:gd name="T7" fmla="*/ 251 h 501"/>
                <a:gd name="T8" fmla="*/ 251 w 501"/>
                <a:gd name="T9" fmla="*/ 501 h 501"/>
                <a:gd name="T10" fmla="*/ 251 w 501"/>
                <a:gd name="T11" fmla="*/ 4 h 501"/>
                <a:gd name="T12" fmla="*/ 4 w 501"/>
                <a:gd name="T13" fmla="*/ 251 h 501"/>
                <a:gd name="T14" fmla="*/ 251 w 501"/>
                <a:gd name="T15" fmla="*/ 498 h 501"/>
                <a:gd name="T16" fmla="*/ 498 w 501"/>
                <a:gd name="T17" fmla="*/ 251 h 501"/>
                <a:gd name="T18" fmla="*/ 251 w 501"/>
                <a:gd name="T19" fmla="*/ 4 h 5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1" h="501">
                  <a:moveTo>
                    <a:pt x="251" y="501"/>
                  </a:moveTo>
                  <a:cubicBezTo>
                    <a:pt x="113" y="501"/>
                    <a:pt x="0" y="389"/>
                    <a:pt x="0" y="251"/>
                  </a:cubicBezTo>
                  <a:cubicBezTo>
                    <a:pt x="0" y="112"/>
                    <a:pt x="113" y="0"/>
                    <a:pt x="251" y="0"/>
                  </a:cubicBezTo>
                  <a:cubicBezTo>
                    <a:pt x="389" y="0"/>
                    <a:pt x="501" y="112"/>
                    <a:pt x="501" y="251"/>
                  </a:cubicBezTo>
                  <a:cubicBezTo>
                    <a:pt x="501" y="389"/>
                    <a:pt x="389" y="501"/>
                    <a:pt x="251" y="501"/>
                  </a:cubicBezTo>
                  <a:close/>
                  <a:moveTo>
                    <a:pt x="251" y="4"/>
                  </a:moveTo>
                  <a:cubicBezTo>
                    <a:pt x="115" y="4"/>
                    <a:pt x="4" y="114"/>
                    <a:pt x="4" y="251"/>
                  </a:cubicBezTo>
                  <a:cubicBezTo>
                    <a:pt x="4" y="387"/>
                    <a:pt x="115" y="498"/>
                    <a:pt x="251" y="498"/>
                  </a:cubicBezTo>
                  <a:cubicBezTo>
                    <a:pt x="387" y="498"/>
                    <a:pt x="498" y="387"/>
                    <a:pt x="498" y="251"/>
                  </a:cubicBezTo>
                  <a:cubicBezTo>
                    <a:pt x="498" y="114"/>
                    <a:pt x="387" y="4"/>
                    <a:pt x="251" y="4"/>
                  </a:cubicBezTo>
                  <a:close/>
                </a:path>
              </a:pathLst>
            </a:custGeom>
            <a:solidFill>
              <a:srgbClr val="D2D2D2">
                <a:alpha val="24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grpSp>
          <p:nvGrpSpPr>
            <p:cNvPr id="7" name="Group 6"/>
            <p:cNvGrpSpPr/>
            <p:nvPr/>
          </p:nvGrpSpPr>
          <p:grpSpPr>
            <a:xfrm>
              <a:off x="5603278" y="2681657"/>
              <a:ext cx="722909" cy="1261465"/>
              <a:chOff x="7521147" y="-930686"/>
              <a:chExt cx="1990227" cy="3472917"/>
            </a:xfrm>
          </p:grpSpPr>
          <p:sp>
            <p:nvSpPr>
              <p:cNvPr id="104" name="Freeform 22"/>
              <p:cNvSpPr>
                <a:spLocks/>
              </p:cNvSpPr>
              <p:nvPr/>
            </p:nvSpPr>
            <p:spPr bwMode="auto">
              <a:xfrm>
                <a:off x="7903226" y="-930686"/>
                <a:ext cx="1226072" cy="1391447"/>
              </a:xfrm>
              <a:custGeom>
                <a:avLst/>
                <a:gdLst>
                  <a:gd name="T0" fmla="*/ 91 w 91"/>
                  <a:gd name="T1" fmla="*/ 103 h 103"/>
                  <a:gd name="T2" fmla="*/ 71 w 91"/>
                  <a:gd name="T3" fmla="*/ 103 h 103"/>
                  <a:gd name="T4" fmla="*/ 71 w 91"/>
                  <a:gd name="T5" fmla="*/ 45 h 103"/>
                  <a:gd name="T6" fmla="*/ 45 w 91"/>
                  <a:gd name="T7" fmla="*/ 19 h 103"/>
                  <a:gd name="T8" fmla="*/ 20 w 91"/>
                  <a:gd name="T9" fmla="*/ 45 h 103"/>
                  <a:gd name="T10" fmla="*/ 20 w 91"/>
                  <a:gd name="T11" fmla="*/ 103 h 103"/>
                  <a:gd name="T12" fmla="*/ 0 w 91"/>
                  <a:gd name="T13" fmla="*/ 103 h 103"/>
                  <a:gd name="T14" fmla="*/ 0 w 91"/>
                  <a:gd name="T15" fmla="*/ 45 h 103"/>
                  <a:gd name="T16" fmla="*/ 45 w 91"/>
                  <a:gd name="T17" fmla="*/ 0 h 103"/>
                  <a:gd name="T18" fmla="*/ 91 w 91"/>
                  <a:gd name="T19" fmla="*/ 45 h 103"/>
                  <a:gd name="T20" fmla="*/ 91 w 91"/>
                  <a:gd name="T21" fmla="*/ 103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1" h="103">
                    <a:moveTo>
                      <a:pt x="91" y="103"/>
                    </a:moveTo>
                    <a:cubicBezTo>
                      <a:pt x="71" y="103"/>
                      <a:pt x="71" y="103"/>
                      <a:pt x="71" y="103"/>
                    </a:cubicBezTo>
                    <a:cubicBezTo>
                      <a:pt x="71" y="45"/>
                      <a:pt x="71" y="45"/>
                      <a:pt x="71" y="45"/>
                    </a:cubicBezTo>
                    <a:cubicBezTo>
                      <a:pt x="71" y="31"/>
                      <a:pt x="59" y="19"/>
                      <a:pt x="45" y="19"/>
                    </a:cubicBezTo>
                    <a:cubicBezTo>
                      <a:pt x="31" y="19"/>
                      <a:pt x="20" y="31"/>
                      <a:pt x="20" y="45"/>
                    </a:cubicBezTo>
                    <a:cubicBezTo>
                      <a:pt x="20" y="103"/>
                      <a:pt x="20" y="103"/>
                      <a:pt x="20" y="103"/>
                    </a:cubicBezTo>
                    <a:cubicBezTo>
                      <a:pt x="0" y="103"/>
                      <a:pt x="0" y="103"/>
                      <a:pt x="0" y="103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0" y="20"/>
                      <a:pt x="20" y="0"/>
                      <a:pt x="45" y="0"/>
                    </a:cubicBezTo>
                    <a:cubicBezTo>
                      <a:pt x="70" y="0"/>
                      <a:pt x="91" y="20"/>
                      <a:pt x="91" y="45"/>
                    </a:cubicBezTo>
                    <a:lnTo>
                      <a:pt x="91" y="103"/>
                    </a:lnTo>
                    <a:close/>
                  </a:path>
                </a:pathLst>
              </a:custGeom>
              <a:solidFill>
                <a:srgbClr val="EB3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5" name="Rectangle 23"/>
              <p:cNvSpPr>
                <a:spLocks noChangeArrowheads="1"/>
              </p:cNvSpPr>
              <p:nvPr/>
            </p:nvSpPr>
            <p:spPr bwMode="auto">
              <a:xfrm>
                <a:off x="7521147" y="420845"/>
                <a:ext cx="1990227" cy="1864769"/>
              </a:xfrm>
              <a:prstGeom prst="rect">
                <a:avLst/>
              </a:prstGeom>
              <a:solidFill>
                <a:srgbClr val="FFB9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6" name="Rectangle 24"/>
              <p:cNvSpPr>
                <a:spLocks noChangeArrowheads="1"/>
              </p:cNvSpPr>
              <p:nvPr/>
            </p:nvSpPr>
            <p:spPr bwMode="auto">
              <a:xfrm>
                <a:off x="7521147" y="420845"/>
                <a:ext cx="513239" cy="1864769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7" name="Freeform 25"/>
              <p:cNvSpPr>
                <a:spLocks/>
              </p:cNvSpPr>
              <p:nvPr/>
            </p:nvSpPr>
            <p:spPr bwMode="auto">
              <a:xfrm>
                <a:off x="8308113" y="1025326"/>
                <a:ext cx="404890" cy="707129"/>
              </a:xfrm>
              <a:custGeom>
                <a:avLst/>
                <a:gdLst>
                  <a:gd name="T0" fmla="*/ 30 w 30"/>
                  <a:gd name="T1" fmla="*/ 15 h 52"/>
                  <a:gd name="T2" fmla="*/ 15 w 30"/>
                  <a:gd name="T3" fmla="*/ 0 h 52"/>
                  <a:gd name="T4" fmla="*/ 0 w 30"/>
                  <a:gd name="T5" fmla="*/ 15 h 52"/>
                  <a:gd name="T6" fmla="*/ 10 w 30"/>
                  <a:gd name="T7" fmla="*/ 29 h 52"/>
                  <a:gd name="T8" fmla="*/ 10 w 30"/>
                  <a:gd name="T9" fmla="*/ 52 h 52"/>
                  <a:gd name="T10" fmla="*/ 20 w 30"/>
                  <a:gd name="T11" fmla="*/ 52 h 52"/>
                  <a:gd name="T12" fmla="*/ 20 w 30"/>
                  <a:gd name="T13" fmla="*/ 29 h 52"/>
                  <a:gd name="T14" fmla="*/ 30 w 30"/>
                  <a:gd name="T15" fmla="*/ 15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52">
                    <a:moveTo>
                      <a:pt x="30" y="15"/>
                    </a:moveTo>
                    <a:cubicBezTo>
                      <a:pt x="30" y="6"/>
                      <a:pt x="24" y="0"/>
                      <a:pt x="15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0" y="21"/>
                      <a:pt x="4" y="27"/>
                      <a:pt x="10" y="29"/>
                    </a:cubicBezTo>
                    <a:cubicBezTo>
                      <a:pt x="10" y="52"/>
                      <a:pt x="10" y="52"/>
                      <a:pt x="10" y="52"/>
                    </a:cubicBezTo>
                    <a:cubicBezTo>
                      <a:pt x="20" y="52"/>
                      <a:pt x="20" y="52"/>
                      <a:pt x="20" y="52"/>
                    </a:cubicBezTo>
                    <a:cubicBezTo>
                      <a:pt x="20" y="29"/>
                      <a:pt x="20" y="29"/>
                      <a:pt x="20" y="29"/>
                    </a:cubicBezTo>
                    <a:cubicBezTo>
                      <a:pt x="26" y="27"/>
                      <a:pt x="30" y="21"/>
                      <a:pt x="30" y="1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8" name="Rectangle 26"/>
              <p:cNvSpPr>
                <a:spLocks noChangeArrowheads="1"/>
              </p:cNvSpPr>
              <p:nvPr/>
            </p:nvSpPr>
            <p:spPr bwMode="auto">
              <a:xfrm>
                <a:off x="7521147" y="2285610"/>
                <a:ext cx="1973118" cy="256621"/>
              </a:xfrm>
              <a:prstGeom prst="rect">
                <a:avLst/>
              </a:prstGeom>
              <a:solidFill>
                <a:srgbClr val="4423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41" name="Group 40"/>
            <p:cNvGrpSpPr/>
            <p:nvPr/>
          </p:nvGrpSpPr>
          <p:grpSpPr>
            <a:xfrm>
              <a:off x="6927151" y="2643746"/>
              <a:ext cx="724499" cy="817050"/>
              <a:chOff x="10558056" y="354597"/>
              <a:chExt cx="1053570" cy="1188158"/>
            </a:xfrm>
          </p:grpSpPr>
          <p:grpSp>
            <p:nvGrpSpPr>
              <p:cNvPr id="83" name="Group 82"/>
              <p:cNvGrpSpPr/>
              <p:nvPr/>
            </p:nvGrpSpPr>
            <p:grpSpPr>
              <a:xfrm>
                <a:off x="10558056" y="354597"/>
                <a:ext cx="756642" cy="1188158"/>
                <a:chOff x="7140575" y="303916"/>
                <a:chExt cx="825500" cy="1296284"/>
              </a:xfrm>
            </p:grpSpPr>
            <p:sp>
              <p:nvSpPr>
                <p:cNvPr id="96" name="Freeform 95"/>
                <p:cNvSpPr/>
                <p:nvPr/>
              </p:nvSpPr>
              <p:spPr bwMode="auto">
                <a:xfrm>
                  <a:off x="7366613" y="638175"/>
                  <a:ext cx="142262" cy="131258"/>
                </a:xfrm>
                <a:custGeom>
                  <a:avLst/>
                  <a:gdLst>
                    <a:gd name="connsiteX0" fmla="*/ 41275 w 123825"/>
                    <a:gd name="connsiteY0" fmla="*/ 0 h 127000"/>
                    <a:gd name="connsiteX1" fmla="*/ 0 w 123825"/>
                    <a:gd name="connsiteY1" fmla="*/ 34925 h 127000"/>
                    <a:gd name="connsiteX2" fmla="*/ 104775 w 123825"/>
                    <a:gd name="connsiteY2" fmla="*/ 127000 h 127000"/>
                    <a:gd name="connsiteX3" fmla="*/ 123825 w 123825"/>
                    <a:gd name="connsiteY3" fmla="*/ 15875 h 127000"/>
                    <a:gd name="connsiteX4" fmla="*/ 41275 w 123825"/>
                    <a:gd name="connsiteY4" fmla="*/ 0 h 127000"/>
                    <a:gd name="connsiteX0" fmla="*/ 57150 w 139700"/>
                    <a:gd name="connsiteY0" fmla="*/ 0 h 127000"/>
                    <a:gd name="connsiteX1" fmla="*/ 0 w 139700"/>
                    <a:gd name="connsiteY1" fmla="*/ 34925 h 127000"/>
                    <a:gd name="connsiteX2" fmla="*/ 120650 w 139700"/>
                    <a:gd name="connsiteY2" fmla="*/ 127000 h 127000"/>
                    <a:gd name="connsiteX3" fmla="*/ 139700 w 139700"/>
                    <a:gd name="connsiteY3" fmla="*/ 15875 h 127000"/>
                    <a:gd name="connsiteX4" fmla="*/ 57150 w 139700"/>
                    <a:gd name="connsiteY4" fmla="*/ 0 h 127000"/>
                    <a:gd name="connsiteX0" fmla="*/ 57150 w 139700"/>
                    <a:gd name="connsiteY0" fmla="*/ 0 h 127000"/>
                    <a:gd name="connsiteX1" fmla="*/ 0 w 139700"/>
                    <a:gd name="connsiteY1" fmla="*/ 34925 h 127000"/>
                    <a:gd name="connsiteX2" fmla="*/ 120650 w 139700"/>
                    <a:gd name="connsiteY2" fmla="*/ 127000 h 127000"/>
                    <a:gd name="connsiteX3" fmla="*/ 139700 w 139700"/>
                    <a:gd name="connsiteY3" fmla="*/ 15875 h 127000"/>
                    <a:gd name="connsiteX4" fmla="*/ 57150 w 139700"/>
                    <a:gd name="connsiteY4" fmla="*/ 0 h 127000"/>
                    <a:gd name="connsiteX0" fmla="*/ 59779 w 142329"/>
                    <a:gd name="connsiteY0" fmla="*/ 0 h 127000"/>
                    <a:gd name="connsiteX1" fmla="*/ 2629 w 142329"/>
                    <a:gd name="connsiteY1" fmla="*/ 34925 h 127000"/>
                    <a:gd name="connsiteX2" fmla="*/ 123279 w 142329"/>
                    <a:gd name="connsiteY2" fmla="*/ 127000 h 127000"/>
                    <a:gd name="connsiteX3" fmla="*/ 142329 w 142329"/>
                    <a:gd name="connsiteY3" fmla="*/ 15875 h 127000"/>
                    <a:gd name="connsiteX4" fmla="*/ 59779 w 142329"/>
                    <a:gd name="connsiteY4" fmla="*/ 0 h 127000"/>
                    <a:gd name="connsiteX0" fmla="*/ 59712 w 142262"/>
                    <a:gd name="connsiteY0" fmla="*/ 0 h 131258"/>
                    <a:gd name="connsiteX1" fmla="*/ 2562 w 142262"/>
                    <a:gd name="connsiteY1" fmla="*/ 34925 h 131258"/>
                    <a:gd name="connsiteX2" fmla="*/ 123212 w 142262"/>
                    <a:gd name="connsiteY2" fmla="*/ 127000 h 131258"/>
                    <a:gd name="connsiteX3" fmla="*/ 142262 w 142262"/>
                    <a:gd name="connsiteY3" fmla="*/ 15875 h 131258"/>
                    <a:gd name="connsiteX4" fmla="*/ 59712 w 142262"/>
                    <a:gd name="connsiteY4" fmla="*/ 0 h 1312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2262" h="131258">
                      <a:moveTo>
                        <a:pt x="59712" y="0"/>
                      </a:moveTo>
                      <a:cubicBezTo>
                        <a:pt x="78762" y="94192"/>
                        <a:pt x="21612" y="23283"/>
                        <a:pt x="2562" y="34925"/>
                      </a:cubicBezTo>
                      <a:cubicBezTo>
                        <a:pt x="-17546" y="144992"/>
                        <a:pt x="86170" y="134408"/>
                        <a:pt x="123212" y="127000"/>
                      </a:cubicBezTo>
                      <a:lnTo>
                        <a:pt x="142262" y="15875"/>
                      </a:lnTo>
                      <a:lnTo>
                        <a:pt x="59712" y="0"/>
                      </a:lnTo>
                      <a:close/>
                    </a:path>
                  </a:pathLst>
                </a:custGeom>
                <a:solidFill>
                  <a:sysClr val="windowText" lastClr="000000">
                    <a:lumMod val="95000"/>
                    <a:lumOff val="5000"/>
                  </a:sysClr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472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Calibr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97" name="Freeform 96"/>
                <p:cNvSpPr/>
                <p:nvPr/>
              </p:nvSpPr>
              <p:spPr bwMode="auto">
                <a:xfrm flipH="1">
                  <a:off x="7623788" y="638175"/>
                  <a:ext cx="142262" cy="131258"/>
                </a:xfrm>
                <a:custGeom>
                  <a:avLst/>
                  <a:gdLst>
                    <a:gd name="connsiteX0" fmla="*/ 41275 w 123825"/>
                    <a:gd name="connsiteY0" fmla="*/ 0 h 127000"/>
                    <a:gd name="connsiteX1" fmla="*/ 0 w 123825"/>
                    <a:gd name="connsiteY1" fmla="*/ 34925 h 127000"/>
                    <a:gd name="connsiteX2" fmla="*/ 104775 w 123825"/>
                    <a:gd name="connsiteY2" fmla="*/ 127000 h 127000"/>
                    <a:gd name="connsiteX3" fmla="*/ 123825 w 123825"/>
                    <a:gd name="connsiteY3" fmla="*/ 15875 h 127000"/>
                    <a:gd name="connsiteX4" fmla="*/ 41275 w 123825"/>
                    <a:gd name="connsiteY4" fmla="*/ 0 h 127000"/>
                    <a:gd name="connsiteX0" fmla="*/ 57150 w 139700"/>
                    <a:gd name="connsiteY0" fmla="*/ 0 h 127000"/>
                    <a:gd name="connsiteX1" fmla="*/ 0 w 139700"/>
                    <a:gd name="connsiteY1" fmla="*/ 34925 h 127000"/>
                    <a:gd name="connsiteX2" fmla="*/ 120650 w 139700"/>
                    <a:gd name="connsiteY2" fmla="*/ 127000 h 127000"/>
                    <a:gd name="connsiteX3" fmla="*/ 139700 w 139700"/>
                    <a:gd name="connsiteY3" fmla="*/ 15875 h 127000"/>
                    <a:gd name="connsiteX4" fmla="*/ 57150 w 139700"/>
                    <a:gd name="connsiteY4" fmla="*/ 0 h 127000"/>
                    <a:gd name="connsiteX0" fmla="*/ 57150 w 139700"/>
                    <a:gd name="connsiteY0" fmla="*/ 0 h 127000"/>
                    <a:gd name="connsiteX1" fmla="*/ 0 w 139700"/>
                    <a:gd name="connsiteY1" fmla="*/ 34925 h 127000"/>
                    <a:gd name="connsiteX2" fmla="*/ 120650 w 139700"/>
                    <a:gd name="connsiteY2" fmla="*/ 127000 h 127000"/>
                    <a:gd name="connsiteX3" fmla="*/ 139700 w 139700"/>
                    <a:gd name="connsiteY3" fmla="*/ 15875 h 127000"/>
                    <a:gd name="connsiteX4" fmla="*/ 57150 w 139700"/>
                    <a:gd name="connsiteY4" fmla="*/ 0 h 127000"/>
                    <a:gd name="connsiteX0" fmla="*/ 59779 w 142329"/>
                    <a:gd name="connsiteY0" fmla="*/ 0 h 127000"/>
                    <a:gd name="connsiteX1" fmla="*/ 2629 w 142329"/>
                    <a:gd name="connsiteY1" fmla="*/ 34925 h 127000"/>
                    <a:gd name="connsiteX2" fmla="*/ 123279 w 142329"/>
                    <a:gd name="connsiteY2" fmla="*/ 127000 h 127000"/>
                    <a:gd name="connsiteX3" fmla="*/ 142329 w 142329"/>
                    <a:gd name="connsiteY3" fmla="*/ 15875 h 127000"/>
                    <a:gd name="connsiteX4" fmla="*/ 59779 w 142329"/>
                    <a:gd name="connsiteY4" fmla="*/ 0 h 127000"/>
                    <a:gd name="connsiteX0" fmla="*/ 59712 w 142262"/>
                    <a:gd name="connsiteY0" fmla="*/ 0 h 131258"/>
                    <a:gd name="connsiteX1" fmla="*/ 2562 w 142262"/>
                    <a:gd name="connsiteY1" fmla="*/ 34925 h 131258"/>
                    <a:gd name="connsiteX2" fmla="*/ 123212 w 142262"/>
                    <a:gd name="connsiteY2" fmla="*/ 127000 h 131258"/>
                    <a:gd name="connsiteX3" fmla="*/ 142262 w 142262"/>
                    <a:gd name="connsiteY3" fmla="*/ 15875 h 131258"/>
                    <a:gd name="connsiteX4" fmla="*/ 59712 w 142262"/>
                    <a:gd name="connsiteY4" fmla="*/ 0 h 1312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2262" h="131258">
                      <a:moveTo>
                        <a:pt x="59712" y="0"/>
                      </a:moveTo>
                      <a:cubicBezTo>
                        <a:pt x="78762" y="94192"/>
                        <a:pt x="21612" y="23283"/>
                        <a:pt x="2562" y="34925"/>
                      </a:cubicBezTo>
                      <a:cubicBezTo>
                        <a:pt x="-17546" y="144992"/>
                        <a:pt x="86170" y="134408"/>
                        <a:pt x="123212" y="127000"/>
                      </a:cubicBezTo>
                      <a:lnTo>
                        <a:pt x="142262" y="15875"/>
                      </a:lnTo>
                      <a:lnTo>
                        <a:pt x="59712" y="0"/>
                      </a:lnTo>
                      <a:close/>
                    </a:path>
                  </a:pathLst>
                </a:custGeom>
                <a:solidFill>
                  <a:sysClr val="windowText" lastClr="000000">
                    <a:lumMod val="95000"/>
                    <a:lumOff val="5000"/>
                  </a:sysClr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472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Calibr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98" name="Rectangle 97"/>
                <p:cNvSpPr/>
                <p:nvPr/>
              </p:nvSpPr>
              <p:spPr bwMode="auto">
                <a:xfrm>
                  <a:off x="7477125" y="784225"/>
                  <a:ext cx="164306" cy="407987"/>
                </a:xfrm>
                <a:prstGeom prst="rect">
                  <a:avLst/>
                </a:prstGeom>
                <a:solidFill>
                  <a:sysClr val="window" lastClr="FFFFFF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472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Calibr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99" name="Rounded Rectangle 98"/>
                <p:cNvSpPr/>
                <p:nvPr/>
              </p:nvSpPr>
              <p:spPr bwMode="auto">
                <a:xfrm>
                  <a:off x="7877175" y="1395413"/>
                  <a:ext cx="76200" cy="123825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FFC000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472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Calibr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00" name="Rounded Rectangle 99"/>
                <p:cNvSpPr/>
                <p:nvPr/>
              </p:nvSpPr>
              <p:spPr bwMode="auto">
                <a:xfrm>
                  <a:off x="7159572" y="1395413"/>
                  <a:ext cx="76200" cy="123825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FFC000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472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Calibr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01" name="Freeform 100"/>
                <p:cNvSpPr/>
                <p:nvPr/>
              </p:nvSpPr>
              <p:spPr bwMode="auto">
                <a:xfrm>
                  <a:off x="7140575" y="784225"/>
                  <a:ext cx="825500" cy="815975"/>
                </a:xfrm>
                <a:custGeom>
                  <a:avLst/>
                  <a:gdLst>
                    <a:gd name="connsiteX0" fmla="*/ 336550 w 825500"/>
                    <a:gd name="connsiteY0" fmla="*/ 0 h 815975"/>
                    <a:gd name="connsiteX1" fmla="*/ 415925 w 825500"/>
                    <a:gd name="connsiteY1" fmla="*/ 574675 h 815975"/>
                    <a:gd name="connsiteX2" fmla="*/ 492125 w 825500"/>
                    <a:gd name="connsiteY2" fmla="*/ 3175 h 815975"/>
                    <a:gd name="connsiteX3" fmla="*/ 676275 w 825500"/>
                    <a:gd name="connsiteY3" fmla="*/ 19050 h 815975"/>
                    <a:gd name="connsiteX4" fmla="*/ 825500 w 825500"/>
                    <a:gd name="connsiteY4" fmla="*/ 654050 h 815975"/>
                    <a:gd name="connsiteX5" fmla="*/ 717550 w 825500"/>
                    <a:gd name="connsiteY5" fmla="*/ 657225 h 815975"/>
                    <a:gd name="connsiteX6" fmla="*/ 676275 w 825500"/>
                    <a:gd name="connsiteY6" fmla="*/ 285750 h 815975"/>
                    <a:gd name="connsiteX7" fmla="*/ 638175 w 825500"/>
                    <a:gd name="connsiteY7" fmla="*/ 815975 h 815975"/>
                    <a:gd name="connsiteX8" fmla="*/ 187325 w 825500"/>
                    <a:gd name="connsiteY8" fmla="*/ 815975 h 815975"/>
                    <a:gd name="connsiteX9" fmla="*/ 171450 w 825500"/>
                    <a:gd name="connsiteY9" fmla="*/ 285750 h 815975"/>
                    <a:gd name="connsiteX10" fmla="*/ 98425 w 825500"/>
                    <a:gd name="connsiteY10" fmla="*/ 657225 h 815975"/>
                    <a:gd name="connsiteX11" fmla="*/ 0 w 825500"/>
                    <a:gd name="connsiteY11" fmla="*/ 657225 h 815975"/>
                    <a:gd name="connsiteX12" fmla="*/ 149225 w 825500"/>
                    <a:gd name="connsiteY12" fmla="*/ 28575 h 815975"/>
                    <a:gd name="connsiteX13" fmla="*/ 336550 w 825500"/>
                    <a:gd name="connsiteY13" fmla="*/ 0 h 815975"/>
                    <a:gd name="connsiteX0" fmla="*/ 336550 w 825500"/>
                    <a:gd name="connsiteY0" fmla="*/ 0 h 815975"/>
                    <a:gd name="connsiteX1" fmla="*/ 415925 w 825500"/>
                    <a:gd name="connsiteY1" fmla="*/ 574675 h 815975"/>
                    <a:gd name="connsiteX2" fmla="*/ 492125 w 825500"/>
                    <a:gd name="connsiteY2" fmla="*/ 3175 h 815975"/>
                    <a:gd name="connsiteX3" fmla="*/ 676275 w 825500"/>
                    <a:gd name="connsiteY3" fmla="*/ 19050 h 815975"/>
                    <a:gd name="connsiteX4" fmla="*/ 825500 w 825500"/>
                    <a:gd name="connsiteY4" fmla="*/ 654050 h 815975"/>
                    <a:gd name="connsiteX5" fmla="*/ 717550 w 825500"/>
                    <a:gd name="connsiteY5" fmla="*/ 657225 h 815975"/>
                    <a:gd name="connsiteX6" fmla="*/ 676275 w 825500"/>
                    <a:gd name="connsiteY6" fmla="*/ 285750 h 815975"/>
                    <a:gd name="connsiteX7" fmla="*/ 638175 w 825500"/>
                    <a:gd name="connsiteY7" fmla="*/ 815975 h 815975"/>
                    <a:gd name="connsiteX8" fmla="*/ 187325 w 825500"/>
                    <a:gd name="connsiteY8" fmla="*/ 815975 h 815975"/>
                    <a:gd name="connsiteX9" fmla="*/ 171450 w 825500"/>
                    <a:gd name="connsiteY9" fmla="*/ 285750 h 815975"/>
                    <a:gd name="connsiteX10" fmla="*/ 98425 w 825500"/>
                    <a:gd name="connsiteY10" fmla="*/ 657225 h 815975"/>
                    <a:gd name="connsiteX11" fmla="*/ 0 w 825500"/>
                    <a:gd name="connsiteY11" fmla="*/ 657225 h 815975"/>
                    <a:gd name="connsiteX12" fmla="*/ 149225 w 825500"/>
                    <a:gd name="connsiteY12" fmla="*/ 28575 h 815975"/>
                    <a:gd name="connsiteX13" fmla="*/ 336550 w 825500"/>
                    <a:gd name="connsiteY13" fmla="*/ 0 h 815975"/>
                    <a:gd name="connsiteX0" fmla="*/ 336550 w 825500"/>
                    <a:gd name="connsiteY0" fmla="*/ 0 h 815975"/>
                    <a:gd name="connsiteX1" fmla="*/ 415925 w 825500"/>
                    <a:gd name="connsiteY1" fmla="*/ 574675 h 815975"/>
                    <a:gd name="connsiteX2" fmla="*/ 492125 w 825500"/>
                    <a:gd name="connsiteY2" fmla="*/ 3175 h 815975"/>
                    <a:gd name="connsiteX3" fmla="*/ 676275 w 825500"/>
                    <a:gd name="connsiteY3" fmla="*/ 19050 h 815975"/>
                    <a:gd name="connsiteX4" fmla="*/ 825500 w 825500"/>
                    <a:gd name="connsiteY4" fmla="*/ 654050 h 815975"/>
                    <a:gd name="connsiteX5" fmla="*/ 717550 w 825500"/>
                    <a:gd name="connsiteY5" fmla="*/ 657225 h 815975"/>
                    <a:gd name="connsiteX6" fmla="*/ 676275 w 825500"/>
                    <a:gd name="connsiteY6" fmla="*/ 285750 h 815975"/>
                    <a:gd name="connsiteX7" fmla="*/ 638175 w 825500"/>
                    <a:gd name="connsiteY7" fmla="*/ 815975 h 815975"/>
                    <a:gd name="connsiteX8" fmla="*/ 187325 w 825500"/>
                    <a:gd name="connsiteY8" fmla="*/ 815975 h 815975"/>
                    <a:gd name="connsiteX9" fmla="*/ 171450 w 825500"/>
                    <a:gd name="connsiteY9" fmla="*/ 285750 h 815975"/>
                    <a:gd name="connsiteX10" fmla="*/ 98425 w 825500"/>
                    <a:gd name="connsiteY10" fmla="*/ 657225 h 815975"/>
                    <a:gd name="connsiteX11" fmla="*/ 0 w 825500"/>
                    <a:gd name="connsiteY11" fmla="*/ 657225 h 815975"/>
                    <a:gd name="connsiteX12" fmla="*/ 149225 w 825500"/>
                    <a:gd name="connsiteY12" fmla="*/ 28575 h 815975"/>
                    <a:gd name="connsiteX13" fmla="*/ 336550 w 825500"/>
                    <a:gd name="connsiteY13" fmla="*/ 0 h 815975"/>
                    <a:gd name="connsiteX0" fmla="*/ 336550 w 825500"/>
                    <a:gd name="connsiteY0" fmla="*/ 0 h 815975"/>
                    <a:gd name="connsiteX1" fmla="*/ 415925 w 825500"/>
                    <a:gd name="connsiteY1" fmla="*/ 574675 h 815975"/>
                    <a:gd name="connsiteX2" fmla="*/ 492125 w 825500"/>
                    <a:gd name="connsiteY2" fmla="*/ 3175 h 815975"/>
                    <a:gd name="connsiteX3" fmla="*/ 676275 w 825500"/>
                    <a:gd name="connsiteY3" fmla="*/ 19050 h 815975"/>
                    <a:gd name="connsiteX4" fmla="*/ 825500 w 825500"/>
                    <a:gd name="connsiteY4" fmla="*/ 654050 h 815975"/>
                    <a:gd name="connsiteX5" fmla="*/ 717550 w 825500"/>
                    <a:gd name="connsiteY5" fmla="*/ 657225 h 815975"/>
                    <a:gd name="connsiteX6" fmla="*/ 676275 w 825500"/>
                    <a:gd name="connsiteY6" fmla="*/ 285750 h 815975"/>
                    <a:gd name="connsiteX7" fmla="*/ 638175 w 825500"/>
                    <a:gd name="connsiteY7" fmla="*/ 815975 h 815975"/>
                    <a:gd name="connsiteX8" fmla="*/ 187325 w 825500"/>
                    <a:gd name="connsiteY8" fmla="*/ 815975 h 815975"/>
                    <a:gd name="connsiteX9" fmla="*/ 171450 w 825500"/>
                    <a:gd name="connsiteY9" fmla="*/ 285750 h 815975"/>
                    <a:gd name="connsiteX10" fmla="*/ 98425 w 825500"/>
                    <a:gd name="connsiteY10" fmla="*/ 657225 h 815975"/>
                    <a:gd name="connsiteX11" fmla="*/ 0 w 825500"/>
                    <a:gd name="connsiteY11" fmla="*/ 657225 h 815975"/>
                    <a:gd name="connsiteX12" fmla="*/ 149225 w 825500"/>
                    <a:gd name="connsiteY12" fmla="*/ 28575 h 815975"/>
                    <a:gd name="connsiteX13" fmla="*/ 336550 w 825500"/>
                    <a:gd name="connsiteY13" fmla="*/ 0 h 815975"/>
                    <a:gd name="connsiteX0" fmla="*/ 336550 w 825500"/>
                    <a:gd name="connsiteY0" fmla="*/ 0 h 815975"/>
                    <a:gd name="connsiteX1" fmla="*/ 415925 w 825500"/>
                    <a:gd name="connsiteY1" fmla="*/ 574675 h 815975"/>
                    <a:gd name="connsiteX2" fmla="*/ 492125 w 825500"/>
                    <a:gd name="connsiteY2" fmla="*/ 3175 h 815975"/>
                    <a:gd name="connsiteX3" fmla="*/ 676275 w 825500"/>
                    <a:gd name="connsiteY3" fmla="*/ 19050 h 815975"/>
                    <a:gd name="connsiteX4" fmla="*/ 825500 w 825500"/>
                    <a:gd name="connsiteY4" fmla="*/ 654050 h 815975"/>
                    <a:gd name="connsiteX5" fmla="*/ 717550 w 825500"/>
                    <a:gd name="connsiteY5" fmla="*/ 657225 h 815975"/>
                    <a:gd name="connsiteX6" fmla="*/ 676275 w 825500"/>
                    <a:gd name="connsiteY6" fmla="*/ 285750 h 815975"/>
                    <a:gd name="connsiteX7" fmla="*/ 638175 w 825500"/>
                    <a:gd name="connsiteY7" fmla="*/ 815975 h 815975"/>
                    <a:gd name="connsiteX8" fmla="*/ 187325 w 825500"/>
                    <a:gd name="connsiteY8" fmla="*/ 815975 h 815975"/>
                    <a:gd name="connsiteX9" fmla="*/ 171450 w 825500"/>
                    <a:gd name="connsiteY9" fmla="*/ 285750 h 815975"/>
                    <a:gd name="connsiteX10" fmla="*/ 98425 w 825500"/>
                    <a:gd name="connsiteY10" fmla="*/ 657225 h 815975"/>
                    <a:gd name="connsiteX11" fmla="*/ 0 w 825500"/>
                    <a:gd name="connsiteY11" fmla="*/ 657225 h 815975"/>
                    <a:gd name="connsiteX12" fmla="*/ 149225 w 825500"/>
                    <a:gd name="connsiteY12" fmla="*/ 28575 h 815975"/>
                    <a:gd name="connsiteX13" fmla="*/ 336550 w 825500"/>
                    <a:gd name="connsiteY13" fmla="*/ 0 h 815975"/>
                    <a:gd name="connsiteX0" fmla="*/ 336550 w 825500"/>
                    <a:gd name="connsiteY0" fmla="*/ 0 h 815975"/>
                    <a:gd name="connsiteX1" fmla="*/ 415925 w 825500"/>
                    <a:gd name="connsiteY1" fmla="*/ 574675 h 815975"/>
                    <a:gd name="connsiteX2" fmla="*/ 492125 w 825500"/>
                    <a:gd name="connsiteY2" fmla="*/ 3175 h 815975"/>
                    <a:gd name="connsiteX3" fmla="*/ 676275 w 825500"/>
                    <a:gd name="connsiteY3" fmla="*/ 19050 h 815975"/>
                    <a:gd name="connsiteX4" fmla="*/ 825500 w 825500"/>
                    <a:gd name="connsiteY4" fmla="*/ 654050 h 815975"/>
                    <a:gd name="connsiteX5" fmla="*/ 717550 w 825500"/>
                    <a:gd name="connsiteY5" fmla="*/ 657225 h 815975"/>
                    <a:gd name="connsiteX6" fmla="*/ 666750 w 825500"/>
                    <a:gd name="connsiteY6" fmla="*/ 285750 h 815975"/>
                    <a:gd name="connsiteX7" fmla="*/ 638175 w 825500"/>
                    <a:gd name="connsiteY7" fmla="*/ 815975 h 815975"/>
                    <a:gd name="connsiteX8" fmla="*/ 187325 w 825500"/>
                    <a:gd name="connsiteY8" fmla="*/ 815975 h 815975"/>
                    <a:gd name="connsiteX9" fmla="*/ 171450 w 825500"/>
                    <a:gd name="connsiteY9" fmla="*/ 285750 h 815975"/>
                    <a:gd name="connsiteX10" fmla="*/ 98425 w 825500"/>
                    <a:gd name="connsiteY10" fmla="*/ 657225 h 815975"/>
                    <a:gd name="connsiteX11" fmla="*/ 0 w 825500"/>
                    <a:gd name="connsiteY11" fmla="*/ 657225 h 815975"/>
                    <a:gd name="connsiteX12" fmla="*/ 149225 w 825500"/>
                    <a:gd name="connsiteY12" fmla="*/ 28575 h 815975"/>
                    <a:gd name="connsiteX13" fmla="*/ 336550 w 825500"/>
                    <a:gd name="connsiteY13" fmla="*/ 0 h 815975"/>
                    <a:gd name="connsiteX0" fmla="*/ 336550 w 825500"/>
                    <a:gd name="connsiteY0" fmla="*/ 0 h 815975"/>
                    <a:gd name="connsiteX1" fmla="*/ 415925 w 825500"/>
                    <a:gd name="connsiteY1" fmla="*/ 574675 h 815975"/>
                    <a:gd name="connsiteX2" fmla="*/ 492125 w 825500"/>
                    <a:gd name="connsiteY2" fmla="*/ 3175 h 815975"/>
                    <a:gd name="connsiteX3" fmla="*/ 676275 w 825500"/>
                    <a:gd name="connsiteY3" fmla="*/ 19050 h 815975"/>
                    <a:gd name="connsiteX4" fmla="*/ 825500 w 825500"/>
                    <a:gd name="connsiteY4" fmla="*/ 654050 h 815975"/>
                    <a:gd name="connsiteX5" fmla="*/ 717550 w 825500"/>
                    <a:gd name="connsiteY5" fmla="*/ 657225 h 815975"/>
                    <a:gd name="connsiteX6" fmla="*/ 666750 w 825500"/>
                    <a:gd name="connsiteY6" fmla="*/ 285750 h 815975"/>
                    <a:gd name="connsiteX7" fmla="*/ 638175 w 825500"/>
                    <a:gd name="connsiteY7" fmla="*/ 815975 h 815975"/>
                    <a:gd name="connsiteX8" fmla="*/ 187325 w 825500"/>
                    <a:gd name="connsiteY8" fmla="*/ 815975 h 815975"/>
                    <a:gd name="connsiteX9" fmla="*/ 171450 w 825500"/>
                    <a:gd name="connsiteY9" fmla="*/ 285750 h 815975"/>
                    <a:gd name="connsiteX10" fmla="*/ 98425 w 825500"/>
                    <a:gd name="connsiteY10" fmla="*/ 657225 h 815975"/>
                    <a:gd name="connsiteX11" fmla="*/ 0 w 825500"/>
                    <a:gd name="connsiteY11" fmla="*/ 657225 h 815975"/>
                    <a:gd name="connsiteX12" fmla="*/ 149225 w 825500"/>
                    <a:gd name="connsiteY12" fmla="*/ 28575 h 815975"/>
                    <a:gd name="connsiteX13" fmla="*/ 336550 w 825500"/>
                    <a:gd name="connsiteY13" fmla="*/ 0 h 815975"/>
                    <a:gd name="connsiteX0" fmla="*/ 336550 w 825500"/>
                    <a:gd name="connsiteY0" fmla="*/ 0 h 815975"/>
                    <a:gd name="connsiteX1" fmla="*/ 415925 w 825500"/>
                    <a:gd name="connsiteY1" fmla="*/ 574675 h 815975"/>
                    <a:gd name="connsiteX2" fmla="*/ 492125 w 825500"/>
                    <a:gd name="connsiteY2" fmla="*/ 3175 h 815975"/>
                    <a:gd name="connsiteX3" fmla="*/ 676275 w 825500"/>
                    <a:gd name="connsiteY3" fmla="*/ 19050 h 815975"/>
                    <a:gd name="connsiteX4" fmla="*/ 825500 w 825500"/>
                    <a:gd name="connsiteY4" fmla="*/ 654050 h 815975"/>
                    <a:gd name="connsiteX5" fmla="*/ 717550 w 825500"/>
                    <a:gd name="connsiteY5" fmla="*/ 657225 h 815975"/>
                    <a:gd name="connsiteX6" fmla="*/ 666750 w 825500"/>
                    <a:gd name="connsiteY6" fmla="*/ 285750 h 815975"/>
                    <a:gd name="connsiteX7" fmla="*/ 638175 w 825500"/>
                    <a:gd name="connsiteY7" fmla="*/ 815975 h 815975"/>
                    <a:gd name="connsiteX8" fmla="*/ 187325 w 825500"/>
                    <a:gd name="connsiteY8" fmla="*/ 815975 h 815975"/>
                    <a:gd name="connsiteX9" fmla="*/ 171450 w 825500"/>
                    <a:gd name="connsiteY9" fmla="*/ 285750 h 815975"/>
                    <a:gd name="connsiteX10" fmla="*/ 98425 w 825500"/>
                    <a:gd name="connsiteY10" fmla="*/ 657225 h 815975"/>
                    <a:gd name="connsiteX11" fmla="*/ 0 w 825500"/>
                    <a:gd name="connsiteY11" fmla="*/ 657225 h 815975"/>
                    <a:gd name="connsiteX12" fmla="*/ 149225 w 825500"/>
                    <a:gd name="connsiteY12" fmla="*/ 28575 h 815975"/>
                    <a:gd name="connsiteX13" fmla="*/ 336550 w 825500"/>
                    <a:gd name="connsiteY13" fmla="*/ 0 h 815975"/>
                    <a:gd name="connsiteX0" fmla="*/ 336550 w 825500"/>
                    <a:gd name="connsiteY0" fmla="*/ 0 h 815975"/>
                    <a:gd name="connsiteX1" fmla="*/ 415925 w 825500"/>
                    <a:gd name="connsiteY1" fmla="*/ 574675 h 815975"/>
                    <a:gd name="connsiteX2" fmla="*/ 492125 w 825500"/>
                    <a:gd name="connsiteY2" fmla="*/ 3175 h 815975"/>
                    <a:gd name="connsiteX3" fmla="*/ 676275 w 825500"/>
                    <a:gd name="connsiteY3" fmla="*/ 19050 h 815975"/>
                    <a:gd name="connsiteX4" fmla="*/ 825500 w 825500"/>
                    <a:gd name="connsiteY4" fmla="*/ 654050 h 815975"/>
                    <a:gd name="connsiteX5" fmla="*/ 717550 w 825500"/>
                    <a:gd name="connsiteY5" fmla="*/ 657225 h 815975"/>
                    <a:gd name="connsiteX6" fmla="*/ 666750 w 825500"/>
                    <a:gd name="connsiteY6" fmla="*/ 285750 h 815975"/>
                    <a:gd name="connsiteX7" fmla="*/ 638175 w 825500"/>
                    <a:gd name="connsiteY7" fmla="*/ 815975 h 815975"/>
                    <a:gd name="connsiteX8" fmla="*/ 187325 w 825500"/>
                    <a:gd name="connsiteY8" fmla="*/ 815975 h 815975"/>
                    <a:gd name="connsiteX9" fmla="*/ 171450 w 825500"/>
                    <a:gd name="connsiteY9" fmla="*/ 285750 h 815975"/>
                    <a:gd name="connsiteX10" fmla="*/ 98425 w 825500"/>
                    <a:gd name="connsiteY10" fmla="*/ 657225 h 815975"/>
                    <a:gd name="connsiteX11" fmla="*/ 0 w 825500"/>
                    <a:gd name="connsiteY11" fmla="*/ 657225 h 815975"/>
                    <a:gd name="connsiteX12" fmla="*/ 149225 w 825500"/>
                    <a:gd name="connsiteY12" fmla="*/ 28575 h 815975"/>
                    <a:gd name="connsiteX13" fmla="*/ 336550 w 825500"/>
                    <a:gd name="connsiteY13" fmla="*/ 0 h 815975"/>
                    <a:gd name="connsiteX0" fmla="*/ 336550 w 825500"/>
                    <a:gd name="connsiteY0" fmla="*/ 0 h 815975"/>
                    <a:gd name="connsiteX1" fmla="*/ 415925 w 825500"/>
                    <a:gd name="connsiteY1" fmla="*/ 574675 h 815975"/>
                    <a:gd name="connsiteX2" fmla="*/ 492125 w 825500"/>
                    <a:gd name="connsiteY2" fmla="*/ 3175 h 815975"/>
                    <a:gd name="connsiteX3" fmla="*/ 676275 w 825500"/>
                    <a:gd name="connsiteY3" fmla="*/ 19050 h 815975"/>
                    <a:gd name="connsiteX4" fmla="*/ 825500 w 825500"/>
                    <a:gd name="connsiteY4" fmla="*/ 654050 h 815975"/>
                    <a:gd name="connsiteX5" fmla="*/ 717550 w 825500"/>
                    <a:gd name="connsiteY5" fmla="*/ 657225 h 815975"/>
                    <a:gd name="connsiteX6" fmla="*/ 666750 w 825500"/>
                    <a:gd name="connsiteY6" fmla="*/ 285750 h 815975"/>
                    <a:gd name="connsiteX7" fmla="*/ 638175 w 825500"/>
                    <a:gd name="connsiteY7" fmla="*/ 815975 h 815975"/>
                    <a:gd name="connsiteX8" fmla="*/ 187325 w 825500"/>
                    <a:gd name="connsiteY8" fmla="*/ 815975 h 815975"/>
                    <a:gd name="connsiteX9" fmla="*/ 171450 w 825500"/>
                    <a:gd name="connsiteY9" fmla="*/ 285750 h 815975"/>
                    <a:gd name="connsiteX10" fmla="*/ 98425 w 825500"/>
                    <a:gd name="connsiteY10" fmla="*/ 657225 h 815975"/>
                    <a:gd name="connsiteX11" fmla="*/ 0 w 825500"/>
                    <a:gd name="connsiteY11" fmla="*/ 657225 h 815975"/>
                    <a:gd name="connsiteX12" fmla="*/ 149225 w 825500"/>
                    <a:gd name="connsiteY12" fmla="*/ 28575 h 815975"/>
                    <a:gd name="connsiteX13" fmla="*/ 336550 w 825500"/>
                    <a:gd name="connsiteY13" fmla="*/ 0 h 815975"/>
                    <a:gd name="connsiteX0" fmla="*/ 336550 w 825500"/>
                    <a:gd name="connsiteY0" fmla="*/ 0 h 815975"/>
                    <a:gd name="connsiteX1" fmla="*/ 415925 w 825500"/>
                    <a:gd name="connsiteY1" fmla="*/ 574675 h 815975"/>
                    <a:gd name="connsiteX2" fmla="*/ 492125 w 825500"/>
                    <a:gd name="connsiteY2" fmla="*/ 3175 h 815975"/>
                    <a:gd name="connsiteX3" fmla="*/ 676275 w 825500"/>
                    <a:gd name="connsiteY3" fmla="*/ 19050 h 815975"/>
                    <a:gd name="connsiteX4" fmla="*/ 825500 w 825500"/>
                    <a:gd name="connsiteY4" fmla="*/ 654050 h 815975"/>
                    <a:gd name="connsiteX5" fmla="*/ 717550 w 825500"/>
                    <a:gd name="connsiteY5" fmla="*/ 657225 h 815975"/>
                    <a:gd name="connsiteX6" fmla="*/ 666750 w 825500"/>
                    <a:gd name="connsiteY6" fmla="*/ 285750 h 815975"/>
                    <a:gd name="connsiteX7" fmla="*/ 638175 w 825500"/>
                    <a:gd name="connsiteY7" fmla="*/ 815975 h 815975"/>
                    <a:gd name="connsiteX8" fmla="*/ 187325 w 825500"/>
                    <a:gd name="connsiteY8" fmla="*/ 815975 h 815975"/>
                    <a:gd name="connsiteX9" fmla="*/ 171450 w 825500"/>
                    <a:gd name="connsiteY9" fmla="*/ 285750 h 815975"/>
                    <a:gd name="connsiteX10" fmla="*/ 98425 w 825500"/>
                    <a:gd name="connsiteY10" fmla="*/ 657225 h 815975"/>
                    <a:gd name="connsiteX11" fmla="*/ 0 w 825500"/>
                    <a:gd name="connsiteY11" fmla="*/ 657225 h 815975"/>
                    <a:gd name="connsiteX12" fmla="*/ 149225 w 825500"/>
                    <a:gd name="connsiteY12" fmla="*/ 28575 h 815975"/>
                    <a:gd name="connsiteX13" fmla="*/ 336550 w 825500"/>
                    <a:gd name="connsiteY13" fmla="*/ 0 h 815975"/>
                    <a:gd name="connsiteX0" fmla="*/ 336550 w 825500"/>
                    <a:gd name="connsiteY0" fmla="*/ 0 h 815975"/>
                    <a:gd name="connsiteX1" fmla="*/ 415925 w 825500"/>
                    <a:gd name="connsiteY1" fmla="*/ 574675 h 815975"/>
                    <a:gd name="connsiteX2" fmla="*/ 492125 w 825500"/>
                    <a:gd name="connsiteY2" fmla="*/ 3175 h 815975"/>
                    <a:gd name="connsiteX3" fmla="*/ 676275 w 825500"/>
                    <a:gd name="connsiteY3" fmla="*/ 19050 h 815975"/>
                    <a:gd name="connsiteX4" fmla="*/ 825500 w 825500"/>
                    <a:gd name="connsiteY4" fmla="*/ 654050 h 815975"/>
                    <a:gd name="connsiteX5" fmla="*/ 717550 w 825500"/>
                    <a:gd name="connsiteY5" fmla="*/ 657225 h 815975"/>
                    <a:gd name="connsiteX6" fmla="*/ 666750 w 825500"/>
                    <a:gd name="connsiteY6" fmla="*/ 285750 h 815975"/>
                    <a:gd name="connsiteX7" fmla="*/ 638175 w 825500"/>
                    <a:gd name="connsiteY7" fmla="*/ 815975 h 815975"/>
                    <a:gd name="connsiteX8" fmla="*/ 187325 w 825500"/>
                    <a:gd name="connsiteY8" fmla="*/ 815975 h 815975"/>
                    <a:gd name="connsiteX9" fmla="*/ 171450 w 825500"/>
                    <a:gd name="connsiteY9" fmla="*/ 285750 h 815975"/>
                    <a:gd name="connsiteX10" fmla="*/ 104775 w 825500"/>
                    <a:gd name="connsiteY10" fmla="*/ 660400 h 815975"/>
                    <a:gd name="connsiteX11" fmla="*/ 0 w 825500"/>
                    <a:gd name="connsiteY11" fmla="*/ 657225 h 815975"/>
                    <a:gd name="connsiteX12" fmla="*/ 149225 w 825500"/>
                    <a:gd name="connsiteY12" fmla="*/ 28575 h 815975"/>
                    <a:gd name="connsiteX13" fmla="*/ 336550 w 825500"/>
                    <a:gd name="connsiteY13" fmla="*/ 0 h 815975"/>
                    <a:gd name="connsiteX0" fmla="*/ 336550 w 825500"/>
                    <a:gd name="connsiteY0" fmla="*/ 0 h 815975"/>
                    <a:gd name="connsiteX1" fmla="*/ 415925 w 825500"/>
                    <a:gd name="connsiteY1" fmla="*/ 574675 h 815975"/>
                    <a:gd name="connsiteX2" fmla="*/ 492125 w 825500"/>
                    <a:gd name="connsiteY2" fmla="*/ 3175 h 815975"/>
                    <a:gd name="connsiteX3" fmla="*/ 676275 w 825500"/>
                    <a:gd name="connsiteY3" fmla="*/ 19050 h 815975"/>
                    <a:gd name="connsiteX4" fmla="*/ 825500 w 825500"/>
                    <a:gd name="connsiteY4" fmla="*/ 654050 h 815975"/>
                    <a:gd name="connsiteX5" fmla="*/ 717550 w 825500"/>
                    <a:gd name="connsiteY5" fmla="*/ 657225 h 815975"/>
                    <a:gd name="connsiteX6" fmla="*/ 666750 w 825500"/>
                    <a:gd name="connsiteY6" fmla="*/ 285750 h 815975"/>
                    <a:gd name="connsiteX7" fmla="*/ 638175 w 825500"/>
                    <a:gd name="connsiteY7" fmla="*/ 815975 h 815975"/>
                    <a:gd name="connsiteX8" fmla="*/ 187325 w 825500"/>
                    <a:gd name="connsiteY8" fmla="*/ 815975 h 815975"/>
                    <a:gd name="connsiteX9" fmla="*/ 171450 w 825500"/>
                    <a:gd name="connsiteY9" fmla="*/ 285750 h 815975"/>
                    <a:gd name="connsiteX10" fmla="*/ 104775 w 825500"/>
                    <a:gd name="connsiteY10" fmla="*/ 660400 h 815975"/>
                    <a:gd name="connsiteX11" fmla="*/ 0 w 825500"/>
                    <a:gd name="connsiteY11" fmla="*/ 657225 h 815975"/>
                    <a:gd name="connsiteX12" fmla="*/ 149225 w 825500"/>
                    <a:gd name="connsiteY12" fmla="*/ 28575 h 815975"/>
                    <a:gd name="connsiteX13" fmla="*/ 336550 w 825500"/>
                    <a:gd name="connsiteY13" fmla="*/ 0 h 8159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825500" h="815975">
                      <a:moveTo>
                        <a:pt x="336550" y="0"/>
                      </a:moveTo>
                      <a:lnTo>
                        <a:pt x="415925" y="574675"/>
                      </a:lnTo>
                      <a:lnTo>
                        <a:pt x="492125" y="3175"/>
                      </a:lnTo>
                      <a:lnTo>
                        <a:pt x="676275" y="19050"/>
                      </a:lnTo>
                      <a:cubicBezTo>
                        <a:pt x="799042" y="262467"/>
                        <a:pt x="817033" y="531283"/>
                        <a:pt x="825500" y="654050"/>
                      </a:cubicBezTo>
                      <a:lnTo>
                        <a:pt x="717550" y="657225"/>
                      </a:lnTo>
                      <a:cubicBezTo>
                        <a:pt x="729192" y="536575"/>
                        <a:pt x="693208" y="393700"/>
                        <a:pt x="666750" y="285750"/>
                      </a:cubicBezTo>
                      <a:lnTo>
                        <a:pt x="638175" y="815975"/>
                      </a:lnTo>
                      <a:lnTo>
                        <a:pt x="187325" y="815975"/>
                      </a:lnTo>
                      <a:lnTo>
                        <a:pt x="171450" y="285750"/>
                      </a:lnTo>
                      <a:cubicBezTo>
                        <a:pt x="134408" y="384175"/>
                        <a:pt x="110067" y="530225"/>
                        <a:pt x="104775" y="660400"/>
                      </a:cubicBezTo>
                      <a:lnTo>
                        <a:pt x="0" y="657225"/>
                      </a:lnTo>
                      <a:cubicBezTo>
                        <a:pt x="21167" y="508000"/>
                        <a:pt x="35983" y="276225"/>
                        <a:pt x="149225" y="28575"/>
                      </a:cubicBezTo>
                      <a:lnTo>
                        <a:pt x="336550" y="0"/>
                      </a:lnTo>
                      <a:close/>
                    </a:path>
                  </a:pathLst>
                </a:custGeom>
                <a:solidFill>
                  <a:srgbClr val="9BBB59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472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Calibr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02" name="Freeform 101"/>
                <p:cNvSpPr/>
                <p:nvPr/>
              </p:nvSpPr>
              <p:spPr bwMode="auto">
                <a:xfrm rot="5400000">
                  <a:off x="7369932" y="462960"/>
                  <a:ext cx="392904" cy="309562"/>
                </a:xfrm>
                <a:custGeom>
                  <a:avLst/>
                  <a:gdLst>
                    <a:gd name="connsiteX0" fmla="*/ 0 w 392904"/>
                    <a:gd name="connsiteY0" fmla="*/ 184191 h 309562"/>
                    <a:gd name="connsiteX1" fmla="*/ 0 w 392904"/>
                    <a:gd name="connsiteY1" fmla="*/ 125371 h 309562"/>
                    <a:gd name="connsiteX2" fmla="*/ 95323 w 392904"/>
                    <a:gd name="connsiteY2" fmla="*/ 30048 h 309562"/>
                    <a:gd name="connsiteX3" fmla="*/ 107911 w 392904"/>
                    <a:gd name="connsiteY3" fmla="*/ 30048 h 309562"/>
                    <a:gd name="connsiteX4" fmla="*/ 116458 w 392904"/>
                    <a:gd name="connsiteY4" fmla="*/ 9416 h 309562"/>
                    <a:gd name="connsiteX5" fmla="*/ 139189 w 392904"/>
                    <a:gd name="connsiteY5" fmla="*/ 0 h 309562"/>
                    <a:gd name="connsiteX6" fmla="*/ 182279 w 392904"/>
                    <a:gd name="connsiteY6" fmla="*/ 0 h 309562"/>
                    <a:gd name="connsiteX7" fmla="*/ 205010 w 392904"/>
                    <a:gd name="connsiteY7" fmla="*/ 9416 h 309562"/>
                    <a:gd name="connsiteX8" fmla="*/ 213557 w 392904"/>
                    <a:gd name="connsiteY8" fmla="*/ 30048 h 309562"/>
                    <a:gd name="connsiteX9" fmla="*/ 252339 w 392904"/>
                    <a:gd name="connsiteY9" fmla="*/ 30048 h 309562"/>
                    <a:gd name="connsiteX10" fmla="*/ 319742 w 392904"/>
                    <a:gd name="connsiteY10" fmla="*/ 57968 h 309562"/>
                    <a:gd name="connsiteX11" fmla="*/ 336441 w 392904"/>
                    <a:gd name="connsiteY11" fmla="*/ 82735 h 309562"/>
                    <a:gd name="connsiteX12" fmla="*/ 357186 w 392904"/>
                    <a:gd name="connsiteY12" fmla="*/ 80848 h 309562"/>
                    <a:gd name="connsiteX13" fmla="*/ 392904 w 392904"/>
                    <a:gd name="connsiteY13" fmla="*/ 152286 h 309562"/>
                    <a:gd name="connsiteX14" fmla="*/ 357186 w 392904"/>
                    <a:gd name="connsiteY14" fmla="*/ 235629 h 309562"/>
                    <a:gd name="connsiteX15" fmla="*/ 330992 w 392904"/>
                    <a:gd name="connsiteY15" fmla="*/ 235629 h 309562"/>
                    <a:gd name="connsiteX16" fmla="*/ 330992 w 392904"/>
                    <a:gd name="connsiteY16" fmla="*/ 234909 h 309562"/>
                    <a:gd name="connsiteX17" fmla="*/ 319742 w 392904"/>
                    <a:gd name="connsiteY17" fmla="*/ 251594 h 309562"/>
                    <a:gd name="connsiteX18" fmla="*/ 252339 w 392904"/>
                    <a:gd name="connsiteY18" fmla="*/ 279514 h 309562"/>
                    <a:gd name="connsiteX19" fmla="*/ 213557 w 392904"/>
                    <a:gd name="connsiteY19" fmla="*/ 279514 h 309562"/>
                    <a:gd name="connsiteX20" fmla="*/ 205010 w 392904"/>
                    <a:gd name="connsiteY20" fmla="*/ 300146 h 309562"/>
                    <a:gd name="connsiteX21" fmla="*/ 182279 w 392904"/>
                    <a:gd name="connsiteY21" fmla="*/ 309562 h 309562"/>
                    <a:gd name="connsiteX22" fmla="*/ 139189 w 392904"/>
                    <a:gd name="connsiteY22" fmla="*/ 309562 h 309562"/>
                    <a:gd name="connsiteX23" fmla="*/ 116458 w 392904"/>
                    <a:gd name="connsiteY23" fmla="*/ 300146 h 309562"/>
                    <a:gd name="connsiteX24" fmla="*/ 107911 w 392904"/>
                    <a:gd name="connsiteY24" fmla="*/ 279514 h 309562"/>
                    <a:gd name="connsiteX25" fmla="*/ 95323 w 392904"/>
                    <a:gd name="connsiteY25" fmla="*/ 279514 h 309562"/>
                    <a:gd name="connsiteX26" fmla="*/ 0 w 392904"/>
                    <a:gd name="connsiteY26" fmla="*/ 184191 h 3095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392904" h="309562">
                      <a:moveTo>
                        <a:pt x="0" y="184191"/>
                      </a:moveTo>
                      <a:lnTo>
                        <a:pt x="0" y="125371"/>
                      </a:lnTo>
                      <a:cubicBezTo>
                        <a:pt x="0" y="72726"/>
                        <a:pt x="42678" y="30048"/>
                        <a:pt x="95323" y="30048"/>
                      </a:cubicBezTo>
                      <a:lnTo>
                        <a:pt x="107911" y="30048"/>
                      </a:lnTo>
                      <a:lnTo>
                        <a:pt x="116458" y="9416"/>
                      </a:lnTo>
                      <a:cubicBezTo>
                        <a:pt x="122275" y="3598"/>
                        <a:pt x="130312" y="0"/>
                        <a:pt x="139189" y="0"/>
                      </a:cubicBezTo>
                      <a:lnTo>
                        <a:pt x="182279" y="0"/>
                      </a:lnTo>
                      <a:cubicBezTo>
                        <a:pt x="191156" y="0"/>
                        <a:pt x="199193" y="3598"/>
                        <a:pt x="205010" y="9416"/>
                      </a:cubicBezTo>
                      <a:lnTo>
                        <a:pt x="213557" y="30048"/>
                      </a:lnTo>
                      <a:lnTo>
                        <a:pt x="252339" y="30048"/>
                      </a:lnTo>
                      <a:cubicBezTo>
                        <a:pt x="278662" y="30048"/>
                        <a:pt x="302492" y="40718"/>
                        <a:pt x="319742" y="57968"/>
                      </a:cubicBezTo>
                      <a:lnTo>
                        <a:pt x="336441" y="82735"/>
                      </a:lnTo>
                      <a:lnTo>
                        <a:pt x="357186" y="80848"/>
                      </a:lnTo>
                      <a:lnTo>
                        <a:pt x="392904" y="152286"/>
                      </a:lnTo>
                      <a:lnTo>
                        <a:pt x="357186" y="235629"/>
                      </a:lnTo>
                      <a:lnTo>
                        <a:pt x="330992" y="235629"/>
                      </a:lnTo>
                      <a:lnTo>
                        <a:pt x="330992" y="234909"/>
                      </a:lnTo>
                      <a:lnTo>
                        <a:pt x="319742" y="251594"/>
                      </a:lnTo>
                      <a:cubicBezTo>
                        <a:pt x="302492" y="268845"/>
                        <a:pt x="278662" y="279514"/>
                        <a:pt x="252339" y="279514"/>
                      </a:cubicBezTo>
                      <a:lnTo>
                        <a:pt x="213557" y="279514"/>
                      </a:lnTo>
                      <a:lnTo>
                        <a:pt x="205010" y="300146"/>
                      </a:lnTo>
                      <a:cubicBezTo>
                        <a:pt x="199193" y="305964"/>
                        <a:pt x="191156" y="309562"/>
                        <a:pt x="182279" y="309562"/>
                      </a:cubicBezTo>
                      <a:lnTo>
                        <a:pt x="139189" y="309562"/>
                      </a:lnTo>
                      <a:cubicBezTo>
                        <a:pt x="130312" y="309562"/>
                        <a:pt x="122275" y="305964"/>
                        <a:pt x="116458" y="300146"/>
                      </a:cubicBezTo>
                      <a:lnTo>
                        <a:pt x="107911" y="279514"/>
                      </a:lnTo>
                      <a:lnTo>
                        <a:pt x="95323" y="279514"/>
                      </a:lnTo>
                      <a:cubicBezTo>
                        <a:pt x="42678" y="279514"/>
                        <a:pt x="0" y="236836"/>
                        <a:pt x="0" y="184191"/>
                      </a:cubicBezTo>
                      <a:close/>
                    </a:path>
                  </a:pathLst>
                </a:custGeom>
                <a:solidFill>
                  <a:srgbClr val="FFC000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472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Calibr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03" name="Freeform 102"/>
                <p:cNvSpPr/>
                <p:nvPr/>
              </p:nvSpPr>
              <p:spPr bwMode="auto">
                <a:xfrm>
                  <a:off x="7375560" y="303916"/>
                  <a:ext cx="364778" cy="283264"/>
                </a:xfrm>
                <a:custGeom>
                  <a:avLst/>
                  <a:gdLst>
                    <a:gd name="connsiteX0" fmla="*/ 300038 w 300038"/>
                    <a:gd name="connsiteY0" fmla="*/ 190500 h 190500"/>
                    <a:gd name="connsiteX1" fmla="*/ 271463 w 300038"/>
                    <a:gd name="connsiteY1" fmla="*/ 116681 h 190500"/>
                    <a:gd name="connsiteX2" fmla="*/ 195263 w 300038"/>
                    <a:gd name="connsiteY2" fmla="*/ 107156 h 190500"/>
                    <a:gd name="connsiteX3" fmla="*/ 52388 w 300038"/>
                    <a:gd name="connsiteY3" fmla="*/ 100012 h 190500"/>
                    <a:gd name="connsiteX4" fmla="*/ 21431 w 300038"/>
                    <a:gd name="connsiteY4" fmla="*/ 119062 h 190500"/>
                    <a:gd name="connsiteX5" fmla="*/ 23813 w 300038"/>
                    <a:gd name="connsiteY5" fmla="*/ 164306 h 190500"/>
                    <a:gd name="connsiteX6" fmla="*/ 0 w 300038"/>
                    <a:gd name="connsiteY6" fmla="*/ 171450 h 190500"/>
                    <a:gd name="connsiteX7" fmla="*/ 97631 w 300038"/>
                    <a:gd name="connsiteY7" fmla="*/ 0 h 190500"/>
                    <a:gd name="connsiteX8" fmla="*/ 214313 w 300038"/>
                    <a:gd name="connsiteY8" fmla="*/ 40481 h 190500"/>
                    <a:gd name="connsiteX9" fmla="*/ 300038 w 300038"/>
                    <a:gd name="connsiteY9" fmla="*/ 190500 h 190500"/>
                    <a:gd name="connsiteX0" fmla="*/ 300038 w 300038"/>
                    <a:gd name="connsiteY0" fmla="*/ 190500 h 190500"/>
                    <a:gd name="connsiteX1" fmla="*/ 271463 w 300038"/>
                    <a:gd name="connsiteY1" fmla="*/ 116681 h 190500"/>
                    <a:gd name="connsiteX2" fmla="*/ 195263 w 300038"/>
                    <a:gd name="connsiteY2" fmla="*/ 107156 h 190500"/>
                    <a:gd name="connsiteX3" fmla="*/ 52388 w 300038"/>
                    <a:gd name="connsiteY3" fmla="*/ 100012 h 190500"/>
                    <a:gd name="connsiteX4" fmla="*/ 21431 w 300038"/>
                    <a:gd name="connsiteY4" fmla="*/ 119062 h 190500"/>
                    <a:gd name="connsiteX5" fmla="*/ 23813 w 300038"/>
                    <a:gd name="connsiteY5" fmla="*/ 164306 h 190500"/>
                    <a:gd name="connsiteX6" fmla="*/ 0 w 300038"/>
                    <a:gd name="connsiteY6" fmla="*/ 171450 h 190500"/>
                    <a:gd name="connsiteX7" fmla="*/ 97631 w 300038"/>
                    <a:gd name="connsiteY7" fmla="*/ 0 h 190500"/>
                    <a:gd name="connsiteX8" fmla="*/ 214313 w 300038"/>
                    <a:gd name="connsiteY8" fmla="*/ 40481 h 190500"/>
                    <a:gd name="connsiteX9" fmla="*/ 300038 w 300038"/>
                    <a:gd name="connsiteY9" fmla="*/ 190500 h 190500"/>
                    <a:gd name="connsiteX0" fmla="*/ 300038 w 300038"/>
                    <a:gd name="connsiteY0" fmla="*/ 190500 h 190500"/>
                    <a:gd name="connsiteX1" fmla="*/ 271463 w 300038"/>
                    <a:gd name="connsiteY1" fmla="*/ 116681 h 190500"/>
                    <a:gd name="connsiteX2" fmla="*/ 195263 w 300038"/>
                    <a:gd name="connsiteY2" fmla="*/ 107156 h 190500"/>
                    <a:gd name="connsiteX3" fmla="*/ 52388 w 300038"/>
                    <a:gd name="connsiteY3" fmla="*/ 100012 h 190500"/>
                    <a:gd name="connsiteX4" fmla="*/ 21431 w 300038"/>
                    <a:gd name="connsiteY4" fmla="*/ 119062 h 190500"/>
                    <a:gd name="connsiteX5" fmla="*/ 23813 w 300038"/>
                    <a:gd name="connsiteY5" fmla="*/ 164306 h 190500"/>
                    <a:gd name="connsiteX6" fmla="*/ 0 w 300038"/>
                    <a:gd name="connsiteY6" fmla="*/ 171450 h 190500"/>
                    <a:gd name="connsiteX7" fmla="*/ 97631 w 300038"/>
                    <a:gd name="connsiteY7" fmla="*/ 0 h 190500"/>
                    <a:gd name="connsiteX8" fmla="*/ 214313 w 300038"/>
                    <a:gd name="connsiteY8" fmla="*/ 40481 h 190500"/>
                    <a:gd name="connsiteX9" fmla="*/ 300038 w 300038"/>
                    <a:gd name="connsiteY9" fmla="*/ 190500 h 190500"/>
                    <a:gd name="connsiteX0" fmla="*/ 300038 w 301649"/>
                    <a:gd name="connsiteY0" fmla="*/ 190500 h 190500"/>
                    <a:gd name="connsiteX1" fmla="*/ 271463 w 301649"/>
                    <a:gd name="connsiteY1" fmla="*/ 116681 h 190500"/>
                    <a:gd name="connsiteX2" fmla="*/ 195263 w 301649"/>
                    <a:gd name="connsiteY2" fmla="*/ 107156 h 190500"/>
                    <a:gd name="connsiteX3" fmla="*/ 52388 w 301649"/>
                    <a:gd name="connsiteY3" fmla="*/ 100012 h 190500"/>
                    <a:gd name="connsiteX4" fmla="*/ 21431 w 301649"/>
                    <a:gd name="connsiteY4" fmla="*/ 119062 h 190500"/>
                    <a:gd name="connsiteX5" fmla="*/ 23813 w 301649"/>
                    <a:gd name="connsiteY5" fmla="*/ 164306 h 190500"/>
                    <a:gd name="connsiteX6" fmla="*/ 0 w 301649"/>
                    <a:gd name="connsiteY6" fmla="*/ 171450 h 190500"/>
                    <a:gd name="connsiteX7" fmla="*/ 97631 w 301649"/>
                    <a:gd name="connsiteY7" fmla="*/ 0 h 190500"/>
                    <a:gd name="connsiteX8" fmla="*/ 214313 w 301649"/>
                    <a:gd name="connsiteY8" fmla="*/ 40481 h 190500"/>
                    <a:gd name="connsiteX9" fmla="*/ 300038 w 301649"/>
                    <a:gd name="connsiteY9" fmla="*/ 190500 h 190500"/>
                    <a:gd name="connsiteX0" fmla="*/ 300038 w 301649"/>
                    <a:gd name="connsiteY0" fmla="*/ 194507 h 194507"/>
                    <a:gd name="connsiteX1" fmla="*/ 271463 w 301649"/>
                    <a:gd name="connsiteY1" fmla="*/ 120688 h 194507"/>
                    <a:gd name="connsiteX2" fmla="*/ 195263 w 301649"/>
                    <a:gd name="connsiteY2" fmla="*/ 111163 h 194507"/>
                    <a:gd name="connsiteX3" fmla="*/ 52388 w 301649"/>
                    <a:gd name="connsiteY3" fmla="*/ 104019 h 194507"/>
                    <a:gd name="connsiteX4" fmla="*/ 21431 w 301649"/>
                    <a:gd name="connsiteY4" fmla="*/ 123069 h 194507"/>
                    <a:gd name="connsiteX5" fmla="*/ 23813 w 301649"/>
                    <a:gd name="connsiteY5" fmla="*/ 168313 h 194507"/>
                    <a:gd name="connsiteX6" fmla="*/ 0 w 301649"/>
                    <a:gd name="connsiteY6" fmla="*/ 175457 h 194507"/>
                    <a:gd name="connsiteX7" fmla="*/ 97631 w 301649"/>
                    <a:gd name="connsiteY7" fmla="*/ 4007 h 194507"/>
                    <a:gd name="connsiteX8" fmla="*/ 214313 w 301649"/>
                    <a:gd name="connsiteY8" fmla="*/ 44488 h 194507"/>
                    <a:gd name="connsiteX9" fmla="*/ 300038 w 301649"/>
                    <a:gd name="connsiteY9" fmla="*/ 194507 h 194507"/>
                    <a:gd name="connsiteX0" fmla="*/ 300038 w 301649"/>
                    <a:gd name="connsiteY0" fmla="*/ 195665 h 195665"/>
                    <a:gd name="connsiteX1" fmla="*/ 271463 w 301649"/>
                    <a:gd name="connsiteY1" fmla="*/ 121846 h 195665"/>
                    <a:gd name="connsiteX2" fmla="*/ 195263 w 301649"/>
                    <a:gd name="connsiteY2" fmla="*/ 112321 h 195665"/>
                    <a:gd name="connsiteX3" fmla="*/ 52388 w 301649"/>
                    <a:gd name="connsiteY3" fmla="*/ 105177 h 195665"/>
                    <a:gd name="connsiteX4" fmla="*/ 21431 w 301649"/>
                    <a:gd name="connsiteY4" fmla="*/ 124227 h 195665"/>
                    <a:gd name="connsiteX5" fmla="*/ 23813 w 301649"/>
                    <a:gd name="connsiteY5" fmla="*/ 169471 h 195665"/>
                    <a:gd name="connsiteX6" fmla="*/ 0 w 301649"/>
                    <a:gd name="connsiteY6" fmla="*/ 176615 h 195665"/>
                    <a:gd name="connsiteX7" fmla="*/ 97631 w 301649"/>
                    <a:gd name="connsiteY7" fmla="*/ 5165 h 195665"/>
                    <a:gd name="connsiteX8" fmla="*/ 214313 w 301649"/>
                    <a:gd name="connsiteY8" fmla="*/ 45646 h 195665"/>
                    <a:gd name="connsiteX9" fmla="*/ 300038 w 301649"/>
                    <a:gd name="connsiteY9" fmla="*/ 195665 h 195665"/>
                    <a:gd name="connsiteX0" fmla="*/ 300038 w 301649"/>
                    <a:gd name="connsiteY0" fmla="*/ 195665 h 195665"/>
                    <a:gd name="connsiteX1" fmla="*/ 271463 w 301649"/>
                    <a:gd name="connsiteY1" fmla="*/ 121846 h 195665"/>
                    <a:gd name="connsiteX2" fmla="*/ 195263 w 301649"/>
                    <a:gd name="connsiteY2" fmla="*/ 112321 h 195665"/>
                    <a:gd name="connsiteX3" fmla="*/ 52388 w 301649"/>
                    <a:gd name="connsiteY3" fmla="*/ 105177 h 195665"/>
                    <a:gd name="connsiteX4" fmla="*/ 45243 w 301649"/>
                    <a:gd name="connsiteY4" fmla="*/ 150420 h 195665"/>
                    <a:gd name="connsiteX5" fmla="*/ 23813 w 301649"/>
                    <a:gd name="connsiteY5" fmla="*/ 169471 h 195665"/>
                    <a:gd name="connsiteX6" fmla="*/ 0 w 301649"/>
                    <a:gd name="connsiteY6" fmla="*/ 176615 h 195665"/>
                    <a:gd name="connsiteX7" fmla="*/ 97631 w 301649"/>
                    <a:gd name="connsiteY7" fmla="*/ 5165 h 195665"/>
                    <a:gd name="connsiteX8" fmla="*/ 214313 w 301649"/>
                    <a:gd name="connsiteY8" fmla="*/ 45646 h 195665"/>
                    <a:gd name="connsiteX9" fmla="*/ 300038 w 301649"/>
                    <a:gd name="connsiteY9" fmla="*/ 195665 h 195665"/>
                    <a:gd name="connsiteX0" fmla="*/ 300483 w 302094"/>
                    <a:gd name="connsiteY0" fmla="*/ 195665 h 195665"/>
                    <a:gd name="connsiteX1" fmla="*/ 271908 w 302094"/>
                    <a:gd name="connsiteY1" fmla="*/ 121846 h 195665"/>
                    <a:gd name="connsiteX2" fmla="*/ 195708 w 302094"/>
                    <a:gd name="connsiteY2" fmla="*/ 112321 h 195665"/>
                    <a:gd name="connsiteX3" fmla="*/ 52833 w 302094"/>
                    <a:gd name="connsiteY3" fmla="*/ 105177 h 195665"/>
                    <a:gd name="connsiteX4" fmla="*/ 45688 w 302094"/>
                    <a:gd name="connsiteY4" fmla="*/ 150420 h 195665"/>
                    <a:gd name="connsiteX5" fmla="*/ 24258 w 302094"/>
                    <a:gd name="connsiteY5" fmla="*/ 169471 h 195665"/>
                    <a:gd name="connsiteX6" fmla="*/ 445 w 302094"/>
                    <a:gd name="connsiteY6" fmla="*/ 176615 h 195665"/>
                    <a:gd name="connsiteX7" fmla="*/ 98076 w 302094"/>
                    <a:gd name="connsiteY7" fmla="*/ 5165 h 195665"/>
                    <a:gd name="connsiteX8" fmla="*/ 214758 w 302094"/>
                    <a:gd name="connsiteY8" fmla="*/ 45646 h 195665"/>
                    <a:gd name="connsiteX9" fmla="*/ 300483 w 302094"/>
                    <a:gd name="connsiteY9" fmla="*/ 195665 h 195665"/>
                    <a:gd name="connsiteX0" fmla="*/ 300483 w 302094"/>
                    <a:gd name="connsiteY0" fmla="*/ 195665 h 195665"/>
                    <a:gd name="connsiteX1" fmla="*/ 271908 w 302094"/>
                    <a:gd name="connsiteY1" fmla="*/ 121846 h 195665"/>
                    <a:gd name="connsiteX2" fmla="*/ 195708 w 302094"/>
                    <a:gd name="connsiteY2" fmla="*/ 112321 h 195665"/>
                    <a:gd name="connsiteX3" fmla="*/ 52833 w 302094"/>
                    <a:gd name="connsiteY3" fmla="*/ 105177 h 195665"/>
                    <a:gd name="connsiteX4" fmla="*/ 45688 w 302094"/>
                    <a:gd name="connsiteY4" fmla="*/ 150420 h 195665"/>
                    <a:gd name="connsiteX5" fmla="*/ 21877 w 302094"/>
                    <a:gd name="connsiteY5" fmla="*/ 131371 h 195665"/>
                    <a:gd name="connsiteX6" fmla="*/ 445 w 302094"/>
                    <a:gd name="connsiteY6" fmla="*/ 176615 h 195665"/>
                    <a:gd name="connsiteX7" fmla="*/ 98076 w 302094"/>
                    <a:gd name="connsiteY7" fmla="*/ 5165 h 195665"/>
                    <a:gd name="connsiteX8" fmla="*/ 214758 w 302094"/>
                    <a:gd name="connsiteY8" fmla="*/ 45646 h 195665"/>
                    <a:gd name="connsiteX9" fmla="*/ 300483 w 302094"/>
                    <a:gd name="connsiteY9" fmla="*/ 195665 h 195665"/>
                    <a:gd name="connsiteX0" fmla="*/ 300483 w 302094"/>
                    <a:gd name="connsiteY0" fmla="*/ 195665 h 195665"/>
                    <a:gd name="connsiteX1" fmla="*/ 271908 w 302094"/>
                    <a:gd name="connsiteY1" fmla="*/ 121846 h 195665"/>
                    <a:gd name="connsiteX2" fmla="*/ 195708 w 302094"/>
                    <a:gd name="connsiteY2" fmla="*/ 112321 h 195665"/>
                    <a:gd name="connsiteX3" fmla="*/ 52833 w 302094"/>
                    <a:gd name="connsiteY3" fmla="*/ 105177 h 195665"/>
                    <a:gd name="connsiteX4" fmla="*/ 43307 w 302094"/>
                    <a:gd name="connsiteY4" fmla="*/ 126608 h 195665"/>
                    <a:gd name="connsiteX5" fmla="*/ 21877 w 302094"/>
                    <a:gd name="connsiteY5" fmla="*/ 131371 h 195665"/>
                    <a:gd name="connsiteX6" fmla="*/ 445 w 302094"/>
                    <a:gd name="connsiteY6" fmla="*/ 176615 h 195665"/>
                    <a:gd name="connsiteX7" fmla="*/ 98076 w 302094"/>
                    <a:gd name="connsiteY7" fmla="*/ 5165 h 195665"/>
                    <a:gd name="connsiteX8" fmla="*/ 214758 w 302094"/>
                    <a:gd name="connsiteY8" fmla="*/ 45646 h 195665"/>
                    <a:gd name="connsiteX9" fmla="*/ 300483 w 302094"/>
                    <a:gd name="connsiteY9" fmla="*/ 195665 h 195665"/>
                    <a:gd name="connsiteX0" fmla="*/ 300483 w 302094"/>
                    <a:gd name="connsiteY0" fmla="*/ 195665 h 195665"/>
                    <a:gd name="connsiteX1" fmla="*/ 271908 w 302094"/>
                    <a:gd name="connsiteY1" fmla="*/ 121846 h 195665"/>
                    <a:gd name="connsiteX2" fmla="*/ 195708 w 302094"/>
                    <a:gd name="connsiteY2" fmla="*/ 112321 h 195665"/>
                    <a:gd name="connsiteX3" fmla="*/ 52833 w 302094"/>
                    <a:gd name="connsiteY3" fmla="*/ 105177 h 195665"/>
                    <a:gd name="connsiteX4" fmla="*/ 43307 w 302094"/>
                    <a:gd name="connsiteY4" fmla="*/ 126608 h 195665"/>
                    <a:gd name="connsiteX5" fmla="*/ 12352 w 302094"/>
                    <a:gd name="connsiteY5" fmla="*/ 171852 h 195665"/>
                    <a:gd name="connsiteX6" fmla="*/ 445 w 302094"/>
                    <a:gd name="connsiteY6" fmla="*/ 176615 h 195665"/>
                    <a:gd name="connsiteX7" fmla="*/ 98076 w 302094"/>
                    <a:gd name="connsiteY7" fmla="*/ 5165 h 195665"/>
                    <a:gd name="connsiteX8" fmla="*/ 214758 w 302094"/>
                    <a:gd name="connsiteY8" fmla="*/ 45646 h 195665"/>
                    <a:gd name="connsiteX9" fmla="*/ 300483 w 302094"/>
                    <a:gd name="connsiteY9" fmla="*/ 195665 h 195665"/>
                    <a:gd name="connsiteX0" fmla="*/ 300483 w 302094"/>
                    <a:gd name="connsiteY0" fmla="*/ 195665 h 195665"/>
                    <a:gd name="connsiteX1" fmla="*/ 271908 w 302094"/>
                    <a:gd name="connsiteY1" fmla="*/ 121846 h 195665"/>
                    <a:gd name="connsiteX2" fmla="*/ 195708 w 302094"/>
                    <a:gd name="connsiteY2" fmla="*/ 112321 h 195665"/>
                    <a:gd name="connsiteX3" fmla="*/ 52833 w 302094"/>
                    <a:gd name="connsiteY3" fmla="*/ 105177 h 195665"/>
                    <a:gd name="connsiteX4" fmla="*/ 43307 w 302094"/>
                    <a:gd name="connsiteY4" fmla="*/ 126608 h 195665"/>
                    <a:gd name="connsiteX5" fmla="*/ 12352 w 302094"/>
                    <a:gd name="connsiteY5" fmla="*/ 171852 h 195665"/>
                    <a:gd name="connsiteX6" fmla="*/ 445 w 302094"/>
                    <a:gd name="connsiteY6" fmla="*/ 176615 h 195665"/>
                    <a:gd name="connsiteX7" fmla="*/ 98076 w 302094"/>
                    <a:gd name="connsiteY7" fmla="*/ 5165 h 195665"/>
                    <a:gd name="connsiteX8" fmla="*/ 214758 w 302094"/>
                    <a:gd name="connsiteY8" fmla="*/ 45646 h 195665"/>
                    <a:gd name="connsiteX9" fmla="*/ 300483 w 302094"/>
                    <a:gd name="connsiteY9" fmla="*/ 195665 h 195665"/>
                    <a:gd name="connsiteX0" fmla="*/ 300483 w 302094"/>
                    <a:gd name="connsiteY0" fmla="*/ 195665 h 195665"/>
                    <a:gd name="connsiteX1" fmla="*/ 271908 w 302094"/>
                    <a:gd name="connsiteY1" fmla="*/ 121846 h 195665"/>
                    <a:gd name="connsiteX2" fmla="*/ 195708 w 302094"/>
                    <a:gd name="connsiteY2" fmla="*/ 112321 h 195665"/>
                    <a:gd name="connsiteX3" fmla="*/ 52833 w 302094"/>
                    <a:gd name="connsiteY3" fmla="*/ 105177 h 195665"/>
                    <a:gd name="connsiteX4" fmla="*/ 43307 w 302094"/>
                    <a:gd name="connsiteY4" fmla="*/ 126608 h 195665"/>
                    <a:gd name="connsiteX5" fmla="*/ 12352 w 302094"/>
                    <a:gd name="connsiteY5" fmla="*/ 171852 h 195665"/>
                    <a:gd name="connsiteX6" fmla="*/ 445 w 302094"/>
                    <a:gd name="connsiteY6" fmla="*/ 176615 h 195665"/>
                    <a:gd name="connsiteX7" fmla="*/ 98076 w 302094"/>
                    <a:gd name="connsiteY7" fmla="*/ 5165 h 195665"/>
                    <a:gd name="connsiteX8" fmla="*/ 214758 w 302094"/>
                    <a:gd name="connsiteY8" fmla="*/ 45646 h 195665"/>
                    <a:gd name="connsiteX9" fmla="*/ 300483 w 302094"/>
                    <a:gd name="connsiteY9" fmla="*/ 195665 h 195665"/>
                    <a:gd name="connsiteX0" fmla="*/ 300483 w 302094"/>
                    <a:gd name="connsiteY0" fmla="*/ 195665 h 195665"/>
                    <a:gd name="connsiteX1" fmla="*/ 271908 w 302094"/>
                    <a:gd name="connsiteY1" fmla="*/ 121846 h 195665"/>
                    <a:gd name="connsiteX2" fmla="*/ 195708 w 302094"/>
                    <a:gd name="connsiteY2" fmla="*/ 112321 h 195665"/>
                    <a:gd name="connsiteX3" fmla="*/ 52833 w 302094"/>
                    <a:gd name="connsiteY3" fmla="*/ 105177 h 195665"/>
                    <a:gd name="connsiteX4" fmla="*/ 43307 w 302094"/>
                    <a:gd name="connsiteY4" fmla="*/ 126608 h 195665"/>
                    <a:gd name="connsiteX5" fmla="*/ 12352 w 302094"/>
                    <a:gd name="connsiteY5" fmla="*/ 171852 h 195665"/>
                    <a:gd name="connsiteX6" fmla="*/ 445 w 302094"/>
                    <a:gd name="connsiteY6" fmla="*/ 176615 h 195665"/>
                    <a:gd name="connsiteX7" fmla="*/ 98076 w 302094"/>
                    <a:gd name="connsiteY7" fmla="*/ 5165 h 195665"/>
                    <a:gd name="connsiteX8" fmla="*/ 214758 w 302094"/>
                    <a:gd name="connsiteY8" fmla="*/ 45646 h 195665"/>
                    <a:gd name="connsiteX9" fmla="*/ 300483 w 302094"/>
                    <a:gd name="connsiteY9" fmla="*/ 195665 h 195665"/>
                    <a:gd name="connsiteX0" fmla="*/ 300483 w 302094"/>
                    <a:gd name="connsiteY0" fmla="*/ 195665 h 195665"/>
                    <a:gd name="connsiteX1" fmla="*/ 271908 w 302094"/>
                    <a:gd name="connsiteY1" fmla="*/ 121846 h 195665"/>
                    <a:gd name="connsiteX2" fmla="*/ 195708 w 302094"/>
                    <a:gd name="connsiteY2" fmla="*/ 112321 h 195665"/>
                    <a:gd name="connsiteX3" fmla="*/ 52833 w 302094"/>
                    <a:gd name="connsiteY3" fmla="*/ 105177 h 195665"/>
                    <a:gd name="connsiteX4" fmla="*/ 43307 w 302094"/>
                    <a:gd name="connsiteY4" fmla="*/ 126608 h 195665"/>
                    <a:gd name="connsiteX5" fmla="*/ 12352 w 302094"/>
                    <a:gd name="connsiteY5" fmla="*/ 171852 h 195665"/>
                    <a:gd name="connsiteX6" fmla="*/ 445 w 302094"/>
                    <a:gd name="connsiteY6" fmla="*/ 176615 h 195665"/>
                    <a:gd name="connsiteX7" fmla="*/ 98076 w 302094"/>
                    <a:gd name="connsiteY7" fmla="*/ 5165 h 195665"/>
                    <a:gd name="connsiteX8" fmla="*/ 214758 w 302094"/>
                    <a:gd name="connsiteY8" fmla="*/ 45646 h 195665"/>
                    <a:gd name="connsiteX9" fmla="*/ 300483 w 302094"/>
                    <a:gd name="connsiteY9" fmla="*/ 195665 h 195665"/>
                    <a:gd name="connsiteX0" fmla="*/ 300483 w 301906"/>
                    <a:gd name="connsiteY0" fmla="*/ 195665 h 195665"/>
                    <a:gd name="connsiteX1" fmla="*/ 271908 w 301906"/>
                    <a:gd name="connsiteY1" fmla="*/ 121846 h 195665"/>
                    <a:gd name="connsiteX2" fmla="*/ 195708 w 301906"/>
                    <a:gd name="connsiteY2" fmla="*/ 112321 h 195665"/>
                    <a:gd name="connsiteX3" fmla="*/ 52833 w 301906"/>
                    <a:gd name="connsiteY3" fmla="*/ 105177 h 195665"/>
                    <a:gd name="connsiteX4" fmla="*/ 43307 w 301906"/>
                    <a:gd name="connsiteY4" fmla="*/ 126608 h 195665"/>
                    <a:gd name="connsiteX5" fmla="*/ 12352 w 301906"/>
                    <a:gd name="connsiteY5" fmla="*/ 171852 h 195665"/>
                    <a:gd name="connsiteX6" fmla="*/ 445 w 301906"/>
                    <a:gd name="connsiteY6" fmla="*/ 176615 h 195665"/>
                    <a:gd name="connsiteX7" fmla="*/ 98076 w 301906"/>
                    <a:gd name="connsiteY7" fmla="*/ 5165 h 195665"/>
                    <a:gd name="connsiteX8" fmla="*/ 214758 w 301906"/>
                    <a:gd name="connsiteY8" fmla="*/ 45646 h 195665"/>
                    <a:gd name="connsiteX9" fmla="*/ 300483 w 301906"/>
                    <a:gd name="connsiteY9" fmla="*/ 195665 h 195665"/>
                    <a:gd name="connsiteX0" fmla="*/ 300483 w 301906"/>
                    <a:gd name="connsiteY0" fmla="*/ 195665 h 195665"/>
                    <a:gd name="connsiteX1" fmla="*/ 271908 w 301906"/>
                    <a:gd name="connsiteY1" fmla="*/ 121846 h 195665"/>
                    <a:gd name="connsiteX2" fmla="*/ 195708 w 301906"/>
                    <a:gd name="connsiteY2" fmla="*/ 112321 h 195665"/>
                    <a:gd name="connsiteX3" fmla="*/ 52833 w 301906"/>
                    <a:gd name="connsiteY3" fmla="*/ 105177 h 195665"/>
                    <a:gd name="connsiteX4" fmla="*/ 43307 w 301906"/>
                    <a:gd name="connsiteY4" fmla="*/ 126608 h 195665"/>
                    <a:gd name="connsiteX5" fmla="*/ 12352 w 301906"/>
                    <a:gd name="connsiteY5" fmla="*/ 171852 h 195665"/>
                    <a:gd name="connsiteX6" fmla="*/ 445 w 301906"/>
                    <a:gd name="connsiteY6" fmla="*/ 176615 h 195665"/>
                    <a:gd name="connsiteX7" fmla="*/ 98076 w 301906"/>
                    <a:gd name="connsiteY7" fmla="*/ 5165 h 195665"/>
                    <a:gd name="connsiteX8" fmla="*/ 214758 w 301906"/>
                    <a:gd name="connsiteY8" fmla="*/ 45646 h 195665"/>
                    <a:gd name="connsiteX9" fmla="*/ 300483 w 301906"/>
                    <a:gd name="connsiteY9" fmla="*/ 195665 h 195665"/>
                    <a:gd name="connsiteX0" fmla="*/ 300157 w 305426"/>
                    <a:gd name="connsiteY0" fmla="*/ 207197 h 207197"/>
                    <a:gd name="connsiteX1" fmla="*/ 271582 w 305426"/>
                    <a:gd name="connsiteY1" fmla="*/ 133378 h 207197"/>
                    <a:gd name="connsiteX2" fmla="*/ 195382 w 305426"/>
                    <a:gd name="connsiteY2" fmla="*/ 123853 h 207197"/>
                    <a:gd name="connsiteX3" fmla="*/ 52507 w 305426"/>
                    <a:gd name="connsiteY3" fmla="*/ 116709 h 207197"/>
                    <a:gd name="connsiteX4" fmla="*/ 42981 w 305426"/>
                    <a:gd name="connsiteY4" fmla="*/ 138140 h 207197"/>
                    <a:gd name="connsiteX5" fmla="*/ 12026 w 305426"/>
                    <a:gd name="connsiteY5" fmla="*/ 183384 h 207197"/>
                    <a:gd name="connsiteX6" fmla="*/ 119 w 305426"/>
                    <a:gd name="connsiteY6" fmla="*/ 188147 h 207197"/>
                    <a:gd name="connsiteX7" fmla="*/ 97750 w 305426"/>
                    <a:gd name="connsiteY7" fmla="*/ 16697 h 207197"/>
                    <a:gd name="connsiteX8" fmla="*/ 236657 w 305426"/>
                    <a:gd name="connsiteY8" fmla="*/ 25428 h 207197"/>
                    <a:gd name="connsiteX9" fmla="*/ 300157 w 305426"/>
                    <a:gd name="connsiteY9" fmla="*/ 207197 h 207197"/>
                    <a:gd name="connsiteX0" fmla="*/ 301589 w 306858"/>
                    <a:gd name="connsiteY0" fmla="*/ 228594 h 228594"/>
                    <a:gd name="connsiteX1" fmla="*/ 273014 w 306858"/>
                    <a:gd name="connsiteY1" fmla="*/ 154775 h 228594"/>
                    <a:gd name="connsiteX2" fmla="*/ 196814 w 306858"/>
                    <a:gd name="connsiteY2" fmla="*/ 145250 h 228594"/>
                    <a:gd name="connsiteX3" fmla="*/ 53939 w 306858"/>
                    <a:gd name="connsiteY3" fmla="*/ 138106 h 228594"/>
                    <a:gd name="connsiteX4" fmla="*/ 44413 w 306858"/>
                    <a:gd name="connsiteY4" fmla="*/ 159537 h 228594"/>
                    <a:gd name="connsiteX5" fmla="*/ 13458 w 306858"/>
                    <a:gd name="connsiteY5" fmla="*/ 204781 h 228594"/>
                    <a:gd name="connsiteX6" fmla="*/ 1551 w 306858"/>
                    <a:gd name="connsiteY6" fmla="*/ 209544 h 228594"/>
                    <a:gd name="connsiteX7" fmla="*/ 35682 w 306858"/>
                    <a:gd name="connsiteY7" fmla="*/ 9519 h 228594"/>
                    <a:gd name="connsiteX8" fmla="*/ 238089 w 306858"/>
                    <a:gd name="connsiteY8" fmla="*/ 46825 h 228594"/>
                    <a:gd name="connsiteX9" fmla="*/ 301589 w 306858"/>
                    <a:gd name="connsiteY9" fmla="*/ 228594 h 228594"/>
                    <a:gd name="connsiteX0" fmla="*/ 309678 w 314947"/>
                    <a:gd name="connsiteY0" fmla="*/ 254831 h 254831"/>
                    <a:gd name="connsiteX1" fmla="*/ 281103 w 314947"/>
                    <a:gd name="connsiteY1" fmla="*/ 181012 h 254831"/>
                    <a:gd name="connsiteX2" fmla="*/ 204903 w 314947"/>
                    <a:gd name="connsiteY2" fmla="*/ 171487 h 254831"/>
                    <a:gd name="connsiteX3" fmla="*/ 62028 w 314947"/>
                    <a:gd name="connsiteY3" fmla="*/ 164343 h 254831"/>
                    <a:gd name="connsiteX4" fmla="*/ 52502 w 314947"/>
                    <a:gd name="connsiteY4" fmla="*/ 185774 h 254831"/>
                    <a:gd name="connsiteX5" fmla="*/ 21547 w 314947"/>
                    <a:gd name="connsiteY5" fmla="*/ 231018 h 254831"/>
                    <a:gd name="connsiteX6" fmla="*/ 9640 w 314947"/>
                    <a:gd name="connsiteY6" fmla="*/ 235781 h 254831"/>
                    <a:gd name="connsiteX7" fmla="*/ 43771 w 314947"/>
                    <a:gd name="connsiteY7" fmla="*/ 35756 h 254831"/>
                    <a:gd name="connsiteX8" fmla="*/ 246178 w 314947"/>
                    <a:gd name="connsiteY8" fmla="*/ 73062 h 254831"/>
                    <a:gd name="connsiteX9" fmla="*/ 309678 w 314947"/>
                    <a:gd name="connsiteY9" fmla="*/ 254831 h 254831"/>
                    <a:gd name="connsiteX0" fmla="*/ 322378 w 324871"/>
                    <a:gd name="connsiteY0" fmla="*/ 280231 h 280231"/>
                    <a:gd name="connsiteX1" fmla="*/ 281103 w 324871"/>
                    <a:gd name="connsiteY1" fmla="*/ 181012 h 280231"/>
                    <a:gd name="connsiteX2" fmla="*/ 204903 w 324871"/>
                    <a:gd name="connsiteY2" fmla="*/ 171487 h 280231"/>
                    <a:gd name="connsiteX3" fmla="*/ 62028 w 324871"/>
                    <a:gd name="connsiteY3" fmla="*/ 164343 h 280231"/>
                    <a:gd name="connsiteX4" fmla="*/ 52502 w 324871"/>
                    <a:gd name="connsiteY4" fmla="*/ 185774 h 280231"/>
                    <a:gd name="connsiteX5" fmla="*/ 21547 w 324871"/>
                    <a:gd name="connsiteY5" fmla="*/ 231018 h 280231"/>
                    <a:gd name="connsiteX6" fmla="*/ 9640 w 324871"/>
                    <a:gd name="connsiteY6" fmla="*/ 235781 h 280231"/>
                    <a:gd name="connsiteX7" fmla="*/ 43771 w 324871"/>
                    <a:gd name="connsiteY7" fmla="*/ 35756 h 280231"/>
                    <a:gd name="connsiteX8" fmla="*/ 246178 w 324871"/>
                    <a:gd name="connsiteY8" fmla="*/ 73062 h 280231"/>
                    <a:gd name="connsiteX9" fmla="*/ 322378 w 324871"/>
                    <a:gd name="connsiteY9" fmla="*/ 280231 h 280231"/>
                    <a:gd name="connsiteX0" fmla="*/ 322378 w 335881"/>
                    <a:gd name="connsiteY0" fmla="*/ 280231 h 280231"/>
                    <a:gd name="connsiteX1" fmla="*/ 281103 w 335881"/>
                    <a:gd name="connsiteY1" fmla="*/ 181012 h 280231"/>
                    <a:gd name="connsiteX2" fmla="*/ 204903 w 335881"/>
                    <a:gd name="connsiteY2" fmla="*/ 171487 h 280231"/>
                    <a:gd name="connsiteX3" fmla="*/ 62028 w 335881"/>
                    <a:gd name="connsiteY3" fmla="*/ 164343 h 280231"/>
                    <a:gd name="connsiteX4" fmla="*/ 52502 w 335881"/>
                    <a:gd name="connsiteY4" fmla="*/ 185774 h 280231"/>
                    <a:gd name="connsiteX5" fmla="*/ 21547 w 335881"/>
                    <a:gd name="connsiteY5" fmla="*/ 231018 h 280231"/>
                    <a:gd name="connsiteX6" fmla="*/ 9640 w 335881"/>
                    <a:gd name="connsiteY6" fmla="*/ 235781 h 280231"/>
                    <a:gd name="connsiteX7" fmla="*/ 43771 w 335881"/>
                    <a:gd name="connsiteY7" fmla="*/ 35756 h 280231"/>
                    <a:gd name="connsiteX8" fmla="*/ 246178 w 335881"/>
                    <a:gd name="connsiteY8" fmla="*/ 73062 h 280231"/>
                    <a:gd name="connsiteX9" fmla="*/ 322378 w 335881"/>
                    <a:gd name="connsiteY9" fmla="*/ 280231 h 280231"/>
                    <a:gd name="connsiteX0" fmla="*/ 320006 w 333509"/>
                    <a:gd name="connsiteY0" fmla="*/ 256912 h 256912"/>
                    <a:gd name="connsiteX1" fmla="*/ 278731 w 333509"/>
                    <a:gd name="connsiteY1" fmla="*/ 157693 h 256912"/>
                    <a:gd name="connsiteX2" fmla="*/ 202531 w 333509"/>
                    <a:gd name="connsiteY2" fmla="*/ 148168 h 256912"/>
                    <a:gd name="connsiteX3" fmla="*/ 59656 w 333509"/>
                    <a:gd name="connsiteY3" fmla="*/ 141024 h 256912"/>
                    <a:gd name="connsiteX4" fmla="*/ 50130 w 333509"/>
                    <a:gd name="connsiteY4" fmla="*/ 162455 h 256912"/>
                    <a:gd name="connsiteX5" fmla="*/ 19175 w 333509"/>
                    <a:gd name="connsiteY5" fmla="*/ 207699 h 256912"/>
                    <a:gd name="connsiteX6" fmla="*/ 918 w 333509"/>
                    <a:gd name="connsiteY6" fmla="*/ 253737 h 256912"/>
                    <a:gd name="connsiteX7" fmla="*/ 41399 w 333509"/>
                    <a:gd name="connsiteY7" fmla="*/ 12437 h 256912"/>
                    <a:gd name="connsiteX8" fmla="*/ 243806 w 333509"/>
                    <a:gd name="connsiteY8" fmla="*/ 49743 h 256912"/>
                    <a:gd name="connsiteX9" fmla="*/ 320006 w 333509"/>
                    <a:gd name="connsiteY9" fmla="*/ 256912 h 256912"/>
                    <a:gd name="connsiteX0" fmla="*/ 340397 w 353900"/>
                    <a:gd name="connsiteY0" fmla="*/ 256912 h 256912"/>
                    <a:gd name="connsiteX1" fmla="*/ 299122 w 353900"/>
                    <a:gd name="connsiteY1" fmla="*/ 157693 h 256912"/>
                    <a:gd name="connsiteX2" fmla="*/ 222922 w 353900"/>
                    <a:gd name="connsiteY2" fmla="*/ 148168 h 256912"/>
                    <a:gd name="connsiteX3" fmla="*/ 80047 w 353900"/>
                    <a:gd name="connsiteY3" fmla="*/ 141024 h 256912"/>
                    <a:gd name="connsiteX4" fmla="*/ 70521 w 353900"/>
                    <a:gd name="connsiteY4" fmla="*/ 162455 h 256912"/>
                    <a:gd name="connsiteX5" fmla="*/ 39566 w 353900"/>
                    <a:gd name="connsiteY5" fmla="*/ 207699 h 256912"/>
                    <a:gd name="connsiteX6" fmla="*/ 21309 w 353900"/>
                    <a:gd name="connsiteY6" fmla="*/ 253737 h 256912"/>
                    <a:gd name="connsiteX7" fmla="*/ 61790 w 353900"/>
                    <a:gd name="connsiteY7" fmla="*/ 12437 h 256912"/>
                    <a:gd name="connsiteX8" fmla="*/ 264197 w 353900"/>
                    <a:gd name="connsiteY8" fmla="*/ 49743 h 256912"/>
                    <a:gd name="connsiteX9" fmla="*/ 340397 w 353900"/>
                    <a:gd name="connsiteY9" fmla="*/ 256912 h 256912"/>
                    <a:gd name="connsiteX0" fmla="*/ 351275 w 364778"/>
                    <a:gd name="connsiteY0" fmla="*/ 283264 h 283264"/>
                    <a:gd name="connsiteX1" fmla="*/ 310000 w 364778"/>
                    <a:gd name="connsiteY1" fmla="*/ 184045 h 283264"/>
                    <a:gd name="connsiteX2" fmla="*/ 233800 w 364778"/>
                    <a:gd name="connsiteY2" fmla="*/ 174520 h 283264"/>
                    <a:gd name="connsiteX3" fmla="*/ 90925 w 364778"/>
                    <a:gd name="connsiteY3" fmla="*/ 167376 h 283264"/>
                    <a:gd name="connsiteX4" fmla="*/ 81399 w 364778"/>
                    <a:gd name="connsiteY4" fmla="*/ 188807 h 283264"/>
                    <a:gd name="connsiteX5" fmla="*/ 50444 w 364778"/>
                    <a:gd name="connsiteY5" fmla="*/ 234051 h 283264"/>
                    <a:gd name="connsiteX6" fmla="*/ 32187 w 364778"/>
                    <a:gd name="connsiteY6" fmla="*/ 280089 h 283264"/>
                    <a:gd name="connsiteX7" fmla="*/ 72668 w 364778"/>
                    <a:gd name="connsiteY7" fmla="*/ 38789 h 283264"/>
                    <a:gd name="connsiteX8" fmla="*/ 275075 w 364778"/>
                    <a:gd name="connsiteY8" fmla="*/ 76095 h 283264"/>
                    <a:gd name="connsiteX9" fmla="*/ 351275 w 364778"/>
                    <a:gd name="connsiteY9" fmla="*/ 283264 h 2832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4778" h="283264">
                      <a:moveTo>
                        <a:pt x="351275" y="283264"/>
                      </a:moveTo>
                      <a:cubicBezTo>
                        <a:pt x="282218" y="246752"/>
                        <a:pt x="319525" y="208651"/>
                        <a:pt x="310000" y="184045"/>
                      </a:cubicBezTo>
                      <a:cubicBezTo>
                        <a:pt x="284600" y="192777"/>
                        <a:pt x="259200" y="177695"/>
                        <a:pt x="233800" y="174520"/>
                      </a:cubicBezTo>
                      <a:cubicBezTo>
                        <a:pt x="155219" y="200714"/>
                        <a:pt x="124262" y="186426"/>
                        <a:pt x="90925" y="167376"/>
                      </a:cubicBezTo>
                      <a:lnTo>
                        <a:pt x="81399" y="188807"/>
                      </a:lnTo>
                      <a:cubicBezTo>
                        <a:pt x="71081" y="203888"/>
                        <a:pt x="70287" y="240402"/>
                        <a:pt x="50444" y="234051"/>
                      </a:cubicBezTo>
                      <a:lnTo>
                        <a:pt x="32187" y="280089"/>
                      </a:lnTo>
                      <a:cubicBezTo>
                        <a:pt x="-18613" y="186426"/>
                        <a:pt x="-12263" y="133113"/>
                        <a:pt x="72668" y="38789"/>
                      </a:cubicBezTo>
                      <a:cubicBezTo>
                        <a:pt x="157599" y="-55535"/>
                        <a:pt x="264756" y="48313"/>
                        <a:pt x="275075" y="76095"/>
                      </a:cubicBezTo>
                      <a:cubicBezTo>
                        <a:pt x="363181" y="61807"/>
                        <a:pt x="381438" y="253102"/>
                        <a:pt x="351275" y="283264"/>
                      </a:cubicBezTo>
                      <a:close/>
                    </a:path>
                  </a:pathLst>
                </a:custGeom>
                <a:solidFill>
                  <a:sysClr val="windowText" lastClr="000000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472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Calibri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grpSp>
            <p:nvGrpSpPr>
              <p:cNvPr id="84" name="Group 83"/>
              <p:cNvGrpSpPr/>
              <p:nvPr/>
            </p:nvGrpSpPr>
            <p:grpSpPr>
              <a:xfrm>
                <a:off x="11174005" y="597264"/>
                <a:ext cx="437621" cy="872401"/>
                <a:chOff x="9357905" y="3491726"/>
                <a:chExt cx="437621" cy="872401"/>
              </a:xfrm>
            </p:grpSpPr>
            <p:sp>
              <p:nvSpPr>
                <p:cNvPr id="85" name="Rounded Rectangle 84"/>
                <p:cNvSpPr/>
                <p:nvPr/>
              </p:nvSpPr>
              <p:spPr bwMode="auto">
                <a:xfrm>
                  <a:off x="9382183" y="3524481"/>
                  <a:ext cx="375766" cy="818330"/>
                </a:xfrm>
                <a:prstGeom prst="roundRect">
                  <a:avLst/>
                </a:prstGeom>
                <a:solidFill>
                  <a:sysClr val="window" lastClr="FFFFFF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472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Calibr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86" name="Rounded Rectangle 68"/>
                <p:cNvSpPr/>
                <p:nvPr/>
              </p:nvSpPr>
              <p:spPr>
                <a:xfrm>
                  <a:off x="9357905" y="3491726"/>
                  <a:ext cx="437621" cy="8724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36663" h="1468542">
                      <a:moveTo>
                        <a:pt x="127441" y="1331784"/>
                      </a:moveTo>
                      <a:lnTo>
                        <a:pt x="127441" y="1333372"/>
                      </a:lnTo>
                      <a:lnTo>
                        <a:pt x="126399" y="1332578"/>
                      </a:lnTo>
                      <a:close/>
                      <a:moveTo>
                        <a:pt x="369735" y="1314798"/>
                      </a:moveTo>
                      <a:lnTo>
                        <a:pt x="357710" y="1354631"/>
                      </a:lnTo>
                      <a:cubicBezTo>
                        <a:pt x="363388" y="1358973"/>
                        <a:pt x="380090" y="1370330"/>
                        <a:pt x="405310" y="1358639"/>
                      </a:cubicBezTo>
                      <a:lnTo>
                        <a:pt x="417335" y="1317052"/>
                      </a:lnTo>
                      <a:cubicBezTo>
                        <a:pt x="391197" y="1326823"/>
                        <a:pt x="381844" y="1320309"/>
                        <a:pt x="369735" y="1314798"/>
                      </a:cubicBezTo>
                      <a:close/>
                      <a:moveTo>
                        <a:pt x="140687" y="1309718"/>
                      </a:moveTo>
                      <a:lnTo>
                        <a:pt x="110683" y="1332578"/>
                      </a:lnTo>
                      <a:lnTo>
                        <a:pt x="140687" y="1355438"/>
                      </a:lnTo>
                      <a:lnTo>
                        <a:pt x="156403" y="1355438"/>
                      </a:lnTo>
                      <a:lnTo>
                        <a:pt x="133275" y="1337817"/>
                      </a:lnTo>
                      <a:lnTo>
                        <a:pt x="218881" y="1337817"/>
                      </a:lnTo>
                      <a:lnTo>
                        <a:pt x="218881" y="1328673"/>
                      </a:lnTo>
                      <a:lnTo>
                        <a:pt x="131524" y="1328673"/>
                      </a:lnTo>
                      <a:lnTo>
                        <a:pt x="156403" y="1309718"/>
                      </a:lnTo>
                      <a:close/>
                      <a:moveTo>
                        <a:pt x="341326" y="1303311"/>
                      </a:moveTo>
                      <a:cubicBezTo>
                        <a:pt x="330365" y="1302817"/>
                        <a:pt x="321446" y="1307351"/>
                        <a:pt x="317323" y="1308656"/>
                      </a:cubicBezTo>
                      <a:lnTo>
                        <a:pt x="305799" y="1349742"/>
                      </a:lnTo>
                      <a:cubicBezTo>
                        <a:pt x="332438" y="1338385"/>
                        <a:pt x="344297" y="1348072"/>
                        <a:pt x="350393" y="1351996"/>
                      </a:cubicBezTo>
                      <a:lnTo>
                        <a:pt x="362668" y="1311412"/>
                      </a:lnTo>
                      <a:cubicBezTo>
                        <a:pt x="355215" y="1305713"/>
                        <a:pt x="347903" y="1303607"/>
                        <a:pt x="341326" y="1303311"/>
                      </a:cubicBezTo>
                      <a:close/>
                      <a:moveTo>
                        <a:pt x="609845" y="1293468"/>
                      </a:moveTo>
                      <a:cubicBezTo>
                        <a:pt x="615874" y="1293468"/>
                        <a:pt x="620761" y="1298355"/>
                        <a:pt x="620761" y="1304384"/>
                      </a:cubicBezTo>
                      <a:cubicBezTo>
                        <a:pt x="620761" y="1310412"/>
                        <a:pt x="615874" y="1315299"/>
                        <a:pt x="609845" y="1315299"/>
                      </a:cubicBezTo>
                      <a:cubicBezTo>
                        <a:pt x="603816" y="1315299"/>
                        <a:pt x="598929" y="1310412"/>
                        <a:pt x="598929" y="1304384"/>
                      </a:cubicBezTo>
                      <a:cubicBezTo>
                        <a:pt x="598929" y="1298355"/>
                        <a:pt x="603816" y="1293468"/>
                        <a:pt x="609845" y="1293468"/>
                      </a:cubicBezTo>
                      <a:close/>
                      <a:moveTo>
                        <a:pt x="609845" y="1272471"/>
                      </a:moveTo>
                      <a:cubicBezTo>
                        <a:pt x="592965" y="1272471"/>
                        <a:pt x="579282" y="1286759"/>
                        <a:pt x="579282" y="1304384"/>
                      </a:cubicBezTo>
                      <a:cubicBezTo>
                        <a:pt x="579282" y="1307127"/>
                        <a:pt x="579613" y="1309790"/>
                        <a:pt x="580345" y="1312304"/>
                      </a:cubicBezTo>
                      <a:lnTo>
                        <a:pt x="545743" y="1335166"/>
                      </a:lnTo>
                      <a:cubicBezTo>
                        <a:pt x="543087" y="1336921"/>
                        <a:pt x="542356" y="1340498"/>
                        <a:pt x="544112" y="1343154"/>
                      </a:cubicBezTo>
                      <a:lnTo>
                        <a:pt x="547808" y="1348749"/>
                      </a:lnTo>
                      <a:cubicBezTo>
                        <a:pt x="549564" y="1351406"/>
                        <a:pt x="553140" y="1352136"/>
                        <a:pt x="555796" y="1350381"/>
                      </a:cubicBezTo>
                      <a:lnTo>
                        <a:pt x="589546" y="1328081"/>
                      </a:lnTo>
                      <a:cubicBezTo>
                        <a:pt x="594873" y="1333223"/>
                        <a:pt x="602015" y="1336297"/>
                        <a:pt x="609845" y="1336297"/>
                      </a:cubicBezTo>
                      <a:cubicBezTo>
                        <a:pt x="626724" y="1336297"/>
                        <a:pt x="640408" y="1322009"/>
                        <a:pt x="640408" y="1304384"/>
                      </a:cubicBezTo>
                      <a:cubicBezTo>
                        <a:pt x="640408" y="1286759"/>
                        <a:pt x="626724" y="1272471"/>
                        <a:pt x="609845" y="1272471"/>
                      </a:cubicBezTo>
                      <a:close/>
                      <a:moveTo>
                        <a:pt x="383263" y="1263939"/>
                      </a:moveTo>
                      <a:lnTo>
                        <a:pt x="371238" y="1303772"/>
                      </a:lnTo>
                      <a:cubicBezTo>
                        <a:pt x="376917" y="1308115"/>
                        <a:pt x="393618" y="1319472"/>
                        <a:pt x="418838" y="1307781"/>
                      </a:cubicBezTo>
                      <a:lnTo>
                        <a:pt x="430863" y="1266194"/>
                      </a:lnTo>
                      <a:cubicBezTo>
                        <a:pt x="404725" y="1275964"/>
                        <a:pt x="395372" y="1269451"/>
                        <a:pt x="383263" y="1263939"/>
                      </a:cubicBezTo>
                      <a:close/>
                      <a:moveTo>
                        <a:pt x="354354" y="1252330"/>
                      </a:moveTo>
                      <a:cubicBezTo>
                        <a:pt x="343392" y="1251837"/>
                        <a:pt x="334474" y="1256371"/>
                        <a:pt x="330351" y="1257676"/>
                      </a:cubicBezTo>
                      <a:lnTo>
                        <a:pt x="318826" y="1298762"/>
                      </a:lnTo>
                      <a:cubicBezTo>
                        <a:pt x="345466" y="1287405"/>
                        <a:pt x="357324" y="1297092"/>
                        <a:pt x="363420" y="1301016"/>
                      </a:cubicBezTo>
                      <a:lnTo>
                        <a:pt x="375696" y="1260432"/>
                      </a:lnTo>
                      <a:cubicBezTo>
                        <a:pt x="368242" y="1254732"/>
                        <a:pt x="360930" y="1252626"/>
                        <a:pt x="354354" y="1252330"/>
                      </a:cubicBezTo>
                      <a:close/>
                      <a:moveTo>
                        <a:pt x="91262" y="129693"/>
                      </a:moveTo>
                      <a:lnTo>
                        <a:pt x="91262" y="1125642"/>
                      </a:lnTo>
                      <a:lnTo>
                        <a:pt x="645400" y="1125642"/>
                      </a:lnTo>
                      <a:lnTo>
                        <a:pt x="645400" y="129693"/>
                      </a:lnTo>
                      <a:close/>
                      <a:moveTo>
                        <a:pt x="46579" y="0"/>
                      </a:moveTo>
                      <a:lnTo>
                        <a:pt x="690084" y="0"/>
                      </a:lnTo>
                      <a:cubicBezTo>
                        <a:pt x="715809" y="0"/>
                        <a:pt x="736663" y="20854"/>
                        <a:pt x="736663" y="46579"/>
                      </a:cubicBezTo>
                      <a:lnTo>
                        <a:pt x="736663" y="1421963"/>
                      </a:lnTo>
                      <a:cubicBezTo>
                        <a:pt x="736663" y="1447688"/>
                        <a:pt x="715809" y="1468542"/>
                        <a:pt x="690084" y="1468542"/>
                      </a:cubicBezTo>
                      <a:lnTo>
                        <a:pt x="46579" y="1468542"/>
                      </a:lnTo>
                      <a:cubicBezTo>
                        <a:pt x="20854" y="1468542"/>
                        <a:pt x="0" y="1447688"/>
                        <a:pt x="0" y="1421963"/>
                      </a:cubicBezTo>
                      <a:lnTo>
                        <a:pt x="0" y="46579"/>
                      </a:lnTo>
                      <a:cubicBezTo>
                        <a:pt x="0" y="20854"/>
                        <a:pt x="20854" y="0"/>
                        <a:pt x="46579" y="0"/>
                      </a:cubicBezTo>
                      <a:close/>
                    </a:path>
                  </a:pathLst>
                </a:custGeom>
                <a:solidFill>
                  <a:srgbClr val="4F81BD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3231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grpSp>
              <p:nvGrpSpPr>
                <p:cNvPr id="87" name="Group 86"/>
                <p:cNvGrpSpPr/>
                <p:nvPr/>
              </p:nvGrpSpPr>
              <p:grpSpPr>
                <a:xfrm>
                  <a:off x="9439100" y="3591961"/>
                  <a:ext cx="238070" cy="352378"/>
                  <a:chOff x="10682344" y="3596230"/>
                  <a:chExt cx="217772" cy="322335"/>
                </a:xfrm>
              </p:grpSpPr>
              <p:grpSp>
                <p:nvGrpSpPr>
                  <p:cNvPr id="88" name="Group 87"/>
                  <p:cNvGrpSpPr/>
                  <p:nvPr/>
                </p:nvGrpSpPr>
                <p:grpSpPr>
                  <a:xfrm>
                    <a:off x="10682344" y="3596230"/>
                    <a:ext cx="102521" cy="210485"/>
                    <a:chOff x="10341626" y="2189201"/>
                    <a:chExt cx="193482" cy="397237"/>
                  </a:xfrm>
                </p:grpSpPr>
                <p:sp>
                  <p:nvSpPr>
                    <p:cNvPr id="94" name="Rectangle 93"/>
                    <p:cNvSpPr/>
                    <p:nvPr/>
                  </p:nvSpPr>
                  <p:spPr bwMode="auto">
                    <a:xfrm>
                      <a:off x="10341626" y="2189201"/>
                      <a:ext cx="193482" cy="188074"/>
                    </a:xfrm>
                    <a:prstGeom prst="rect">
                      <a:avLst/>
                    </a:prstGeom>
                    <a:solidFill>
                      <a:srgbClr val="4F81BD"/>
                    </a:solidFill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algn="ctr" defTabSz="932472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 dirty="0" smtClean="0">
                        <a:ln>
                          <a:noFill/>
                        </a:ln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ffectLst/>
                        <a:uLnTx/>
                        <a:uFillTx/>
                        <a:latin typeface="Calibr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95" name="Rectangle 94"/>
                    <p:cNvSpPr/>
                    <p:nvPr/>
                  </p:nvSpPr>
                  <p:spPr bwMode="auto">
                    <a:xfrm>
                      <a:off x="10341626" y="2398364"/>
                      <a:ext cx="193482" cy="188074"/>
                    </a:xfrm>
                    <a:prstGeom prst="rect">
                      <a:avLst/>
                    </a:prstGeom>
                    <a:solidFill>
                      <a:srgbClr val="8064A2"/>
                    </a:solidFill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algn="ctr" defTabSz="932472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 dirty="0" smtClean="0">
                        <a:ln>
                          <a:noFill/>
                        </a:ln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ffectLst/>
                        <a:uLnTx/>
                        <a:uFillTx/>
                        <a:latin typeface="Calibr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</p:grpSp>
              <p:grpSp>
                <p:nvGrpSpPr>
                  <p:cNvPr id="89" name="Group 88"/>
                  <p:cNvGrpSpPr/>
                  <p:nvPr/>
                </p:nvGrpSpPr>
                <p:grpSpPr>
                  <a:xfrm>
                    <a:off x="10797595" y="3596230"/>
                    <a:ext cx="102521" cy="210485"/>
                    <a:chOff x="10341626" y="2189201"/>
                    <a:chExt cx="193482" cy="397237"/>
                  </a:xfrm>
                </p:grpSpPr>
                <p:sp>
                  <p:nvSpPr>
                    <p:cNvPr id="92" name="Rectangle 91"/>
                    <p:cNvSpPr/>
                    <p:nvPr/>
                  </p:nvSpPr>
                  <p:spPr bwMode="auto">
                    <a:xfrm>
                      <a:off x="10341626" y="2189201"/>
                      <a:ext cx="193482" cy="188074"/>
                    </a:xfrm>
                    <a:prstGeom prst="rect">
                      <a:avLst/>
                    </a:prstGeom>
                    <a:solidFill>
                      <a:srgbClr val="4F81BD"/>
                    </a:solidFill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algn="ctr" defTabSz="932472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 dirty="0" smtClean="0">
                        <a:ln>
                          <a:noFill/>
                        </a:ln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ffectLst/>
                        <a:uLnTx/>
                        <a:uFillTx/>
                        <a:latin typeface="Calibr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93" name="Rectangle 92"/>
                    <p:cNvSpPr/>
                    <p:nvPr/>
                  </p:nvSpPr>
                  <p:spPr bwMode="auto">
                    <a:xfrm>
                      <a:off x="10341626" y="2398364"/>
                      <a:ext cx="193482" cy="188074"/>
                    </a:xfrm>
                    <a:prstGeom prst="rect">
                      <a:avLst/>
                    </a:prstGeom>
                    <a:solidFill>
                      <a:srgbClr val="8064A2"/>
                    </a:solidFill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algn="ctr" defTabSz="932472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 dirty="0" smtClean="0">
                        <a:ln>
                          <a:noFill/>
                        </a:ln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ffectLst/>
                        <a:uLnTx/>
                        <a:uFillTx/>
                        <a:latin typeface="Calibr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</p:grpSp>
              <p:sp>
                <p:nvSpPr>
                  <p:cNvPr id="90" name="Rectangle 89"/>
                  <p:cNvSpPr/>
                  <p:nvPr/>
                </p:nvSpPr>
                <p:spPr bwMode="auto">
                  <a:xfrm>
                    <a:off x="10682344" y="3818910"/>
                    <a:ext cx="102521" cy="99655"/>
                  </a:xfrm>
                  <a:prstGeom prst="rect">
                    <a:avLst/>
                  </a:prstGeom>
                  <a:solidFill>
                    <a:srgbClr val="4F81BD"/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32472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0" cap="none" spc="0" normalizeH="0" baseline="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Calibr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91" name="Rectangle 90"/>
                  <p:cNvSpPr/>
                  <p:nvPr/>
                </p:nvSpPr>
                <p:spPr bwMode="auto">
                  <a:xfrm>
                    <a:off x="10797595" y="3818910"/>
                    <a:ext cx="102521" cy="99655"/>
                  </a:xfrm>
                  <a:prstGeom prst="rect">
                    <a:avLst/>
                  </a:prstGeom>
                  <a:solidFill>
                    <a:srgbClr val="4F81BD"/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32472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0" cap="none" spc="0" normalizeH="0" baseline="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Calibr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</p:grpSp>
          </p:grpSp>
        </p:grpSp>
        <p:grpSp>
          <p:nvGrpSpPr>
            <p:cNvPr id="42" name="Group 41"/>
            <p:cNvGrpSpPr/>
            <p:nvPr/>
          </p:nvGrpSpPr>
          <p:grpSpPr>
            <a:xfrm>
              <a:off x="5541160" y="1471214"/>
              <a:ext cx="845834" cy="1091339"/>
              <a:chOff x="8073545" y="675080"/>
              <a:chExt cx="1090143" cy="1406559"/>
            </a:xfrm>
          </p:grpSpPr>
          <p:grpSp>
            <p:nvGrpSpPr>
              <p:cNvPr id="63" name="Group 62"/>
              <p:cNvGrpSpPr/>
              <p:nvPr/>
            </p:nvGrpSpPr>
            <p:grpSpPr>
              <a:xfrm>
                <a:off x="8235946" y="675080"/>
                <a:ext cx="754425" cy="1209066"/>
                <a:chOff x="11163443" y="1019300"/>
                <a:chExt cx="928687" cy="1488344"/>
              </a:xfrm>
            </p:grpSpPr>
            <p:grpSp>
              <p:nvGrpSpPr>
                <p:cNvPr id="73" name="Group 72"/>
                <p:cNvGrpSpPr/>
                <p:nvPr/>
              </p:nvGrpSpPr>
              <p:grpSpPr>
                <a:xfrm flipH="1">
                  <a:off x="11163443" y="1505138"/>
                  <a:ext cx="238124" cy="1002506"/>
                  <a:chOff x="6437822" y="1926236"/>
                  <a:chExt cx="238124" cy="1002506"/>
                </a:xfrm>
              </p:grpSpPr>
              <p:sp>
                <p:nvSpPr>
                  <p:cNvPr id="81" name="Rounded Rectangle 80"/>
                  <p:cNvSpPr/>
                  <p:nvPr/>
                </p:nvSpPr>
                <p:spPr bwMode="auto">
                  <a:xfrm>
                    <a:off x="6552349" y="2757292"/>
                    <a:ext cx="106928" cy="171450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FFC000"/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32472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0" cap="none" spc="0" normalizeH="0" baseline="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Calibr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82" name="Freeform 81"/>
                  <p:cNvSpPr/>
                  <p:nvPr/>
                </p:nvSpPr>
                <p:spPr bwMode="auto">
                  <a:xfrm>
                    <a:off x="6437822" y="1926236"/>
                    <a:ext cx="238124" cy="895350"/>
                  </a:xfrm>
                  <a:custGeom>
                    <a:avLst/>
                    <a:gdLst>
                      <a:gd name="connsiteX0" fmla="*/ 7144 w 238125"/>
                      <a:gd name="connsiteY0" fmla="*/ 0 h 833437"/>
                      <a:gd name="connsiteX1" fmla="*/ 238125 w 238125"/>
                      <a:gd name="connsiteY1" fmla="*/ 833437 h 833437"/>
                      <a:gd name="connsiteX2" fmla="*/ 109537 w 238125"/>
                      <a:gd name="connsiteY2" fmla="*/ 833437 h 833437"/>
                      <a:gd name="connsiteX3" fmla="*/ 0 w 238125"/>
                      <a:gd name="connsiteY3" fmla="*/ 361950 h 833437"/>
                      <a:gd name="connsiteX4" fmla="*/ 7144 w 238125"/>
                      <a:gd name="connsiteY4" fmla="*/ 0 h 833437"/>
                      <a:gd name="connsiteX0" fmla="*/ 7144 w 238125"/>
                      <a:gd name="connsiteY0" fmla="*/ 0 h 833437"/>
                      <a:gd name="connsiteX1" fmla="*/ 238125 w 238125"/>
                      <a:gd name="connsiteY1" fmla="*/ 833437 h 833437"/>
                      <a:gd name="connsiteX2" fmla="*/ 109537 w 238125"/>
                      <a:gd name="connsiteY2" fmla="*/ 833437 h 833437"/>
                      <a:gd name="connsiteX3" fmla="*/ 0 w 238125"/>
                      <a:gd name="connsiteY3" fmla="*/ 361950 h 833437"/>
                      <a:gd name="connsiteX4" fmla="*/ 7144 w 238125"/>
                      <a:gd name="connsiteY4" fmla="*/ 0 h 833437"/>
                      <a:gd name="connsiteX0" fmla="*/ 7144 w 238125"/>
                      <a:gd name="connsiteY0" fmla="*/ 0 h 833437"/>
                      <a:gd name="connsiteX1" fmla="*/ 238125 w 238125"/>
                      <a:gd name="connsiteY1" fmla="*/ 833437 h 833437"/>
                      <a:gd name="connsiteX2" fmla="*/ 109537 w 238125"/>
                      <a:gd name="connsiteY2" fmla="*/ 833437 h 833437"/>
                      <a:gd name="connsiteX3" fmla="*/ 0 w 238125"/>
                      <a:gd name="connsiteY3" fmla="*/ 361950 h 833437"/>
                      <a:gd name="connsiteX4" fmla="*/ 7144 w 238125"/>
                      <a:gd name="connsiteY4" fmla="*/ 0 h 833437"/>
                      <a:gd name="connsiteX0" fmla="*/ 7144 w 238125"/>
                      <a:gd name="connsiteY0" fmla="*/ 0 h 833437"/>
                      <a:gd name="connsiteX1" fmla="*/ 238125 w 238125"/>
                      <a:gd name="connsiteY1" fmla="*/ 833437 h 833437"/>
                      <a:gd name="connsiteX2" fmla="*/ 109537 w 238125"/>
                      <a:gd name="connsiteY2" fmla="*/ 833437 h 833437"/>
                      <a:gd name="connsiteX3" fmla="*/ 0 w 238125"/>
                      <a:gd name="connsiteY3" fmla="*/ 361950 h 833437"/>
                      <a:gd name="connsiteX4" fmla="*/ 7144 w 238125"/>
                      <a:gd name="connsiteY4" fmla="*/ 0 h 833437"/>
                      <a:gd name="connsiteX0" fmla="*/ 7144 w 238125"/>
                      <a:gd name="connsiteY0" fmla="*/ 0 h 833437"/>
                      <a:gd name="connsiteX1" fmla="*/ 238125 w 238125"/>
                      <a:gd name="connsiteY1" fmla="*/ 833437 h 833437"/>
                      <a:gd name="connsiteX2" fmla="*/ 109537 w 238125"/>
                      <a:gd name="connsiteY2" fmla="*/ 833437 h 833437"/>
                      <a:gd name="connsiteX3" fmla="*/ 0 w 238125"/>
                      <a:gd name="connsiteY3" fmla="*/ 361950 h 833437"/>
                      <a:gd name="connsiteX4" fmla="*/ 7144 w 238125"/>
                      <a:gd name="connsiteY4" fmla="*/ 0 h 833437"/>
                      <a:gd name="connsiteX0" fmla="*/ 7144 w 238125"/>
                      <a:gd name="connsiteY0" fmla="*/ 0 h 833437"/>
                      <a:gd name="connsiteX1" fmla="*/ 238125 w 238125"/>
                      <a:gd name="connsiteY1" fmla="*/ 833437 h 833437"/>
                      <a:gd name="connsiteX2" fmla="*/ 109537 w 238125"/>
                      <a:gd name="connsiteY2" fmla="*/ 833437 h 833437"/>
                      <a:gd name="connsiteX3" fmla="*/ 0 w 238125"/>
                      <a:gd name="connsiteY3" fmla="*/ 361950 h 833437"/>
                      <a:gd name="connsiteX4" fmla="*/ 7144 w 238125"/>
                      <a:gd name="connsiteY4" fmla="*/ 0 h 833437"/>
                      <a:gd name="connsiteX0" fmla="*/ 33338 w 238125"/>
                      <a:gd name="connsiteY0" fmla="*/ 0 h 895350"/>
                      <a:gd name="connsiteX1" fmla="*/ 238125 w 238125"/>
                      <a:gd name="connsiteY1" fmla="*/ 895350 h 895350"/>
                      <a:gd name="connsiteX2" fmla="*/ 109537 w 238125"/>
                      <a:gd name="connsiteY2" fmla="*/ 895350 h 895350"/>
                      <a:gd name="connsiteX3" fmla="*/ 0 w 238125"/>
                      <a:gd name="connsiteY3" fmla="*/ 423863 h 895350"/>
                      <a:gd name="connsiteX4" fmla="*/ 33338 w 238125"/>
                      <a:gd name="connsiteY4" fmla="*/ 0 h 895350"/>
                      <a:gd name="connsiteX0" fmla="*/ 9525 w 214312"/>
                      <a:gd name="connsiteY0" fmla="*/ 0 h 895350"/>
                      <a:gd name="connsiteX1" fmla="*/ 214312 w 214312"/>
                      <a:gd name="connsiteY1" fmla="*/ 895350 h 895350"/>
                      <a:gd name="connsiteX2" fmla="*/ 85724 w 214312"/>
                      <a:gd name="connsiteY2" fmla="*/ 895350 h 895350"/>
                      <a:gd name="connsiteX3" fmla="*/ 0 w 214312"/>
                      <a:gd name="connsiteY3" fmla="*/ 350045 h 895350"/>
                      <a:gd name="connsiteX4" fmla="*/ 9525 w 214312"/>
                      <a:gd name="connsiteY4" fmla="*/ 0 h 895350"/>
                      <a:gd name="connsiteX0" fmla="*/ 33337 w 238124"/>
                      <a:gd name="connsiteY0" fmla="*/ 0 h 895350"/>
                      <a:gd name="connsiteX1" fmla="*/ 238124 w 238124"/>
                      <a:gd name="connsiteY1" fmla="*/ 895350 h 895350"/>
                      <a:gd name="connsiteX2" fmla="*/ 109536 w 238124"/>
                      <a:gd name="connsiteY2" fmla="*/ 895350 h 895350"/>
                      <a:gd name="connsiteX3" fmla="*/ 0 w 238124"/>
                      <a:gd name="connsiteY3" fmla="*/ 350045 h 895350"/>
                      <a:gd name="connsiteX4" fmla="*/ 33337 w 238124"/>
                      <a:gd name="connsiteY4" fmla="*/ 0 h 8953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38124" h="895350">
                        <a:moveTo>
                          <a:pt x="33337" y="0"/>
                        </a:moveTo>
                        <a:cubicBezTo>
                          <a:pt x="129381" y="253999"/>
                          <a:pt x="215899" y="558007"/>
                          <a:pt x="238124" y="895350"/>
                        </a:cubicBezTo>
                        <a:lnTo>
                          <a:pt x="109536" y="895350"/>
                        </a:lnTo>
                        <a:cubicBezTo>
                          <a:pt x="94456" y="776289"/>
                          <a:pt x="74612" y="504826"/>
                          <a:pt x="0" y="350045"/>
                        </a:cubicBezTo>
                        <a:lnTo>
                          <a:pt x="33337" y="0"/>
                        </a:lnTo>
                        <a:close/>
                      </a:path>
                    </a:pathLst>
                  </a:custGeom>
                  <a:solidFill>
                    <a:sysClr val="window" lastClr="FFFFFF">
                      <a:lumMod val="65000"/>
                    </a:sys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32472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0" cap="none" spc="0" normalizeH="0" baseline="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Calibr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</p:grpSp>
            <p:grpSp>
              <p:nvGrpSpPr>
                <p:cNvPr id="74" name="Group 73"/>
                <p:cNvGrpSpPr/>
                <p:nvPr/>
              </p:nvGrpSpPr>
              <p:grpSpPr>
                <a:xfrm>
                  <a:off x="11854006" y="1505138"/>
                  <a:ext cx="238124" cy="1002506"/>
                  <a:chOff x="6437822" y="1926236"/>
                  <a:chExt cx="238124" cy="1002506"/>
                </a:xfrm>
              </p:grpSpPr>
              <p:sp>
                <p:nvSpPr>
                  <p:cNvPr id="79" name="Rounded Rectangle 78"/>
                  <p:cNvSpPr/>
                  <p:nvPr/>
                </p:nvSpPr>
                <p:spPr bwMode="auto">
                  <a:xfrm>
                    <a:off x="6552349" y="2757292"/>
                    <a:ext cx="106928" cy="171450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FFC000"/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32472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0" cap="none" spc="0" normalizeH="0" baseline="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Calibr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80" name="Freeform 79"/>
                  <p:cNvSpPr/>
                  <p:nvPr/>
                </p:nvSpPr>
                <p:spPr bwMode="auto">
                  <a:xfrm>
                    <a:off x="6437822" y="1926236"/>
                    <a:ext cx="238124" cy="895350"/>
                  </a:xfrm>
                  <a:custGeom>
                    <a:avLst/>
                    <a:gdLst>
                      <a:gd name="connsiteX0" fmla="*/ 7144 w 238125"/>
                      <a:gd name="connsiteY0" fmla="*/ 0 h 833437"/>
                      <a:gd name="connsiteX1" fmla="*/ 238125 w 238125"/>
                      <a:gd name="connsiteY1" fmla="*/ 833437 h 833437"/>
                      <a:gd name="connsiteX2" fmla="*/ 109537 w 238125"/>
                      <a:gd name="connsiteY2" fmla="*/ 833437 h 833437"/>
                      <a:gd name="connsiteX3" fmla="*/ 0 w 238125"/>
                      <a:gd name="connsiteY3" fmla="*/ 361950 h 833437"/>
                      <a:gd name="connsiteX4" fmla="*/ 7144 w 238125"/>
                      <a:gd name="connsiteY4" fmla="*/ 0 h 833437"/>
                      <a:gd name="connsiteX0" fmla="*/ 7144 w 238125"/>
                      <a:gd name="connsiteY0" fmla="*/ 0 h 833437"/>
                      <a:gd name="connsiteX1" fmla="*/ 238125 w 238125"/>
                      <a:gd name="connsiteY1" fmla="*/ 833437 h 833437"/>
                      <a:gd name="connsiteX2" fmla="*/ 109537 w 238125"/>
                      <a:gd name="connsiteY2" fmla="*/ 833437 h 833437"/>
                      <a:gd name="connsiteX3" fmla="*/ 0 w 238125"/>
                      <a:gd name="connsiteY3" fmla="*/ 361950 h 833437"/>
                      <a:gd name="connsiteX4" fmla="*/ 7144 w 238125"/>
                      <a:gd name="connsiteY4" fmla="*/ 0 h 833437"/>
                      <a:gd name="connsiteX0" fmla="*/ 7144 w 238125"/>
                      <a:gd name="connsiteY0" fmla="*/ 0 h 833437"/>
                      <a:gd name="connsiteX1" fmla="*/ 238125 w 238125"/>
                      <a:gd name="connsiteY1" fmla="*/ 833437 h 833437"/>
                      <a:gd name="connsiteX2" fmla="*/ 109537 w 238125"/>
                      <a:gd name="connsiteY2" fmla="*/ 833437 h 833437"/>
                      <a:gd name="connsiteX3" fmla="*/ 0 w 238125"/>
                      <a:gd name="connsiteY3" fmla="*/ 361950 h 833437"/>
                      <a:gd name="connsiteX4" fmla="*/ 7144 w 238125"/>
                      <a:gd name="connsiteY4" fmla="*/ 0 h 833437"/>
                      <a:gd name="connsiteX0" fmla="*/ 7144 w 238125"/>
                      <a:gd name="connsiteY0" fmla="*/ 0 h 833437"/>
                      <a:gd name="connsiteX1" fmla="*/ 238125 w 238125"/>
                      <a:gd name="connsiteY1" fmla="*/ 833437 h 833437"/>
                      <a:gd name="connsiteX2" fmla="*/ 109537 w 238125"/>
                      <a:gd name="connsiteY2" fmla="*/ 833437 h 833437"/>
                      <a:gd name="connsiteX3" fmla="*/ 0 w 238125"/>
                      <a:gd name="connsiteY3" fmla="*/ 361950 h 833437"/>
                      <a:gd name="connsiteX4" fmla="*/ 7144 w 238125"/>
                      <a:gd name="connsiteY4" fmla="*/ 0 h 833437"/>
                      <a:gd name="connsiteX0" fmla="*/ 7144 w 238125"/>
                      <a:gd name="connsiteY0" fmla="*/ 0 h 833437"/>
                      <a:gd name="connsiteX1" fmla="*/ 238125 w 238125"/>
                      <a:gd name="connsiteY1" fmla="*/ 833437 h 833437"/>
                      <a:gd name="connsiteX2" fmla="*/ 109537 w 238125"/>
                      <a:gd name="connsiteY2" fmla="*/ 833437 h 833437"/>
                      <a:gd name="connsiteX3" fmla="*/ 0 w 238125"/>
                      <a:gd name="connsiteY3" fmla="*/ 361950 h 833437"/>
                      <a:gd name="connsiteX4" fmla="*/ 7144 w 238125"/>
                      <a:gd name="connsiteY4" fmla="*/ 0 h 833437"/>
                      <a:gd name="connsiteX0" fmla="*/ 7144 w 238125"/>
                      <a:gd name="connsiteY0" fmla="*/ 0 h 833437"/>
                      <a:gd name="connsiteX1" fmla="*/ 238125 w 238125"/>
                      <a:gd name="connsiteY1" fmla="*/ 833437 h 833437"/>
                      <a:gd name="connsiteX2" fmla="*/ 109537 w 238125"/>
                      <a:gd name="connsiteY2" fmla="*/ 833437 h 833437"/>
                      <a:gd name="connsiteX3" fmla="*/ 0 w 238125"/>
                      <a:gd name="connsiteY3" fmla="*/ 361950 h 833437"/>
                      <a:gd name="connsiteX4" fmla="*/ 7144 w 238125"/>
                      <a:gd name="connsiteY4" fmla="*/ 0 h 833437"/>
                      <a:gd name="connsiteX0" fmla="*/ 33338 w 238125"/>
                      <a:gd name="connsiteY0" fmla="*/ 0 h 895350"/>
                      <a:gd name="connsiteX1" fmla="*/ 238125 w 238125"/>
                      <a:gd name="connsiteY1" fmla="*/ 895350 h 895350"/>
                      <a:gd name="connsiteX2" fmla="*/ 109537 w 238125"/>
                      <a:gd name="connsiteY2" fmla="*/ 895350 h 895350"/>
                      <a:gd name="connsiteX3" fmla="*/ 0 w 238125"/>
                      <a:gd name="connsiteY3" fmla="*/ 423863 h 895350"/>
                      <a:gd name="connsiteX4" fmla="*/ 33338 w 238125"/>
                      <a:gd name="connsiteY4" fmla="*/ 0 h 895350"/>
                      <a:gd name="connsiteX0" fmla="*/ 9525 w 214312"/>
                      <a:gd name="connsiteY0" fmla="*/ 0 h 895350"/>
                      <a:gd name="connsiteX1" fmla="*/ 214312 w 214312"/>
                      <a:gd name="connsiteY1" fmla="*/ 895350 h 895350"/>
                      <a:gd name="connsiteX2" fmla="*/ 85724 w 214312"/>
                      <a:gd name="connsiteY2" fmla="*/ 895350 h 895350"/>
                      <a:gd name="connsiteX3" fmla="*/ 0 w 214312"/>
                      <a:gd name="connsiteY3" fmla="*/ 350045 h 895350"/>
                      <a:gd name="connsiteX4" fmla="*/ 9525 w 214312"/>
                      <a:gd name="connsiteY4" fmla="*/ 0 h 895350"/>
                      <a:gd name="connsiteX0" fmla="*/ 33337 w 238124"/>
                      <a:gd name="connsiteY0" fmla="*/ 0 h 895350"/>
                      <a:gd name="connsiteX1" fmla="*/ 238124 w 238124"/>
                      <a:gd name="connsiteY1" fmla="*/ 895350 h 895350"/>
                      <a:gd name="connsiteX2" fmla="*/ 109536 w 238124"/>
                      <a:gd name="connsiteY2" fmla="*/ 895350 h 895350"/>
                      <a:gd name="connsiteX3" fmla="*/ 0 w 238124"/>
                      <a:gd name="connsiteY3" fmla="*/ 350045 h 895350"/>
                      <a:gd name="connsiteX4" fmla="*/ 33337 w 238124"/>
                      <a:gd name="connsiteY4" fmla="*/ 0 h 8953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38124" h="895350">
                        <a:moveTo>
                          <a:pt x="33337" y="0"/>
                        </a:moveTo>
                        <a:cubicBezTo>
                          <a:pt x="129381" y="253999"/>
                          <a:pt x="215899" y="558007"/>
                          <a:pt x="238124" y="895350"/>
                        </a:cubicBezTo>
                        <a:lnTo>
                          <a:pt x="109536" y="895350"/>
                        </a:lnTo>
                        <a:cubicBezTo>
                          <a:pt x="94456" y="776289"/>
                          <a:pt x="74612" y="504826"/>
                          <a:pt x="0" y="350045"/>
                        </a:cubicBezTo>
                        <a:lnTo>
                          <a:pt x="33337" y="0"/>
                        </a:lnTo>
                        <a:close/>
                      </a:path>
                    </a:pathLst>
                  </a:custGeom>
                  <a:solidFill>
                    <a:sysClr val="window" lastClr="FFFFFF">
                      <a:lumMod val="65000"/>
                    </a:sys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32472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0" cap="none" spc="0" normalizeH="0" baseline="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Calibr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</p:grpSp>
            <p:sp>
              <p:nvSpPr>
                <p:cNvPr id="75" name="Rectangle 109"/>
                <p:cNvSpPr/>
                <p:nvPr/>
              </p:nvSpPr>
              <p:spPr bwMode="auto">
                <a:xfrm>
                  <a:off x="11428839" y="1443421"/>
                  <a:ext cx="391947" cy="328612"/>
                </a:xfrm>
                <a:custGeom>
                  <a:avLst/>
                  <a:gdLst>
                    <a:gd name="connsiteX0" fmla="*/ 0 w 390296"/>
                    <a:gd name="connsiteY0" fmla="*/ 0 h 571500"/>
                    <a:gd name="connsiteX1" fmla="*/ 390296 w 390296"/>
                    <a:gd name="connsiteY1" fmla="*/ 0 h 571500"/>
                    <a:gd name="connsiteX2" fmla="*/ 390296 w 390296"/>
                    <a:gd name="connsiteY2" fmla="*/ 571500 h 571500"/>
                    <a:gd name="connsiteX3" fmla="*/ 0 w 390296"/>
                    <a:gd name="connsiteY3" fmla="*/ 571500 h 571500"/>
                    <a:gd name="connsiteX4" fmla="*/ 0 w 390296"/>
                    <a:gd name="connsiteY4" fmla="*/ 0 h 571500"/>
                    <a:gd name="connsiteX0" fmla="*/ 0 w 390296"/>
                    <a:gd name="connsiteY0" fmla="*/ 2833 h 574333"/>
                    <a:gd name="connsiteX1" fmla="*/ 193612 w 390296"/>
                    <a:gd name="connsiteY1" fmla="*/ 0 h 574333"/>
                    <a:gd name="connsiteX2" fmla="*/ 390296 w 390296"/>
                    <a:gd name="connsiteY2" fmla="*/ 2833 h 574333"/>
                    <a:gd name="connsiteX3" fmla="*/ 390296 w 390296"/>
                    <a:gd name="connsiteY3" fmla="*/ 574333 h 574333"/>
                    <a:gd name="connsiteX4" fmla="*/ 0 w 390296"/>
                    <a:gd name="connsiteY4" fmla="*/ 574333 h 574333"/>
                    <a:gd name="connsiteX5" fmla="*/ 0 w 390296"/>
                    <a:gd name="connsiteY5" fmla="*/ 2833 h 574333"/>
                    <a:gd name="connsiteX0" fmla="*/ 0 w 390296"/>
                    <a:gd name="connsiteY0" fmla="*/ 57601 h 629101"/>
                    <a:gd name="connsiteX1" fmla="*/ 188850 w 390296"/>
                    <a:gd name="connsiteY1" fmla="*/ 0 h 629101"/>
                    <a:gd name="connsiteX2" fmla="*/ 390296 w 390296"/>
                    <a:gd name="connsiteY2" fmla="*/ 57601 h 629101"/>
                    <a:gd name="connsiteX3" fmla="*/ 390296 w 390296"/>
                    <a:gd name="connsiteY3" fmla="*/ 629101 h 629101"/>
                    <a:gd name="connsiteX4" fmla="*/ 0 w 390296"/>
                    <a:gd name="connsiteY4" fmla="*/ 629101 h 629101"/>
                    <a:gd name="connsiteX5" fmla="*/ 0 w 390296"/>
                    <a:gd name="connsiteY5" fmla="*/ 57601 h 629101"/>
                    <a:gd name="connsiteX0" fmla="*/ 0 w 390296"/>
                    <a:gd name="connsiteY0" fmla="*/ 57601 h 629101"/>
                    <a:gd name="connsiteX1" fmla="*/ 188850 w 390296"/>
                    <a:gd name="connsiteY1" fmla="*/ 0 h 629101"/>
                    <a:gd name="connsiteX2" fmla="*/ 390296 w 390296"/>
                    <a:gd name="connsiteY2" fmla="*/ 57601 h 629101"/>
                    <a:gd name="connsiteX3" fmla="*/ 388874 w 390296"/>
                    <a:gd name="connsiteY3" fmla="*/ 328612 h 629101"/>
                    <a:gd name="connsiteX4" fmla="*/ 390296 w 390296"/>
                    <a:gd name="connsiteY4" fmla="*/ 629101 h 629101"/>
                    <a:gd name="connsiteX5" fmla="*/ 0 w 390296"/>
                    <a:gd name="connsiteY5" fmla="*/ 629101 h 629101"/>
                    <a:gd name="connsiteX6" fmla="*/ 0 w 390296"/>
                    <a:gd name="connsiteY6" fmla="*/ 57601 h 629101"/>
                    <a:gd name="connsiteX0" fmla="*/ 1651 w 391947"/>
                    <a:gd name="connsiteY0" fmla="*/ 57601 h 629101"/>
                    <a:gd name="connsiteX1" fmla="*/ 190501 w 391947"/>
                    <a:gd name="connsiteY1" fmla="*/ 0 h 629101"/>
                    <a:gd name="connsiteX2" fmla="*/ 391947 w 391947"/>
                    <a:gd name="connsiteY2" fmla="*/ 57601 h 629101"/>
                    <a:gd name="connsiteX3" fmla="*/ 390525 w 391947"/>
                    <a:gd name="connsiteY3" fmla="*/ 328612 h 629101"/>
                    <a:gd name="connsiteX4" fmla="*/ 391947 w 391947"/>
                    <a:gd name="connsiteY4" fmla="*/ 629101 h 629101"/>
                    <a:gd name="connsiteX5" fmla="*/ 1651 w 391947"/>
                    <a:gd name="connsiteY5" fmla="*/ 629101 h 629101"/>
                    <a:gd name="connsiteX6" fmla="*/ 0 w 391947"/>
                    <a:gd name="connsiteY6" fmla="*/ 311944 h 629101"/>
                    <a:gd name="connsiteX7" fmla="*/ 1651 w 391947"/>
                    <a:gd name="connsiteY7" fmla="*/ 57601 h 629101"/>
                    <a:gd name="connsiteX0" fmla="*/ 1651 w 391947"/>
                    <a:gd name="connsiteY0" fmla="*/ 57601 h 629101"/>
                    <a:gd name="connsiteX1" fmla="*/ 190501 w 391947"/>
                    <a:gd name="connsiteY1" fmla="*/ 0 h 629101"/>
                    <a:gd name="connsiteX2" fmla="*/ 391947 w 391947"/>
                    <a:gd name="connsiteY2" fmla="*/ 57601 h 629101"/>
                    <a:gd name="connsiteX3" fmla="*/ 390525 w 391947"/>
                    <a:gd name="connsiteY3" fmla="*/ 328612 h 629101"/>
                    <a:gd name="connsiteX4" fmla="*/ 391947 w 391947"/>
                    <a:gd name="connsiteY4" fmla="*/ 629101 h 629101"/>
                    <a:gd name="connsiteX5" fmla="*/ 0 w 391947"/>
                    <a:gd name="connsiteY5" fmla="*/ 311944 h 629101"/>
                    <a:gd name="connsiteX6" fmla="*/ 1651 w 391947"/>
                    <a:gd name="connsiteY6" fmla="*/ 57601 h 629101"/>
                    <a:gd name="connsiteX0" fmla="*/ 1651 w 391947"/>
                    <a:gd name="connsiteY0" fmla="*/ 57601 h 328612"/>
                    <a:gd name="connsiteX1" fmla="*/ 190501 w 391947"/>
                    <a:gd name="connsiteY1" fmla="*/ 0 h 328612"/>
                    <a:gd name="connsiteX2" fmla="*/ 391947 w 391947"/>
                    <a:gd name="connsiteY2" fmla="*/ 57601 h 328612"/>
                    <a:gd name="connsiteX3" fmla="*/ 390525 w 391947"/>
                    <a:gd name="connsiteY3" fmla="*/ 328612 h 328612"/>
                    <a:gd name="connsiteX4" fmla="*/ 0 w 391947"/>
                    <a:gd name="connsiteY4" fmla="*/ 311944 h 328612"/>
                    <a:gd name="connsiteX5" fmla="*/ 1651 w 391947"/>
                    <a:gd name="connsiteY5" fmla="*/ 57601 h 3286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91947" h="328612">
                      <a:moveTo>
                        <a:pt x="1651" y="57601"/>
                      </a:moveTo>
                      <a:lnTo>
                        <a:pt x="190501" y="0"/>
                      </a:lnTo>
                      <a:lnTo>
                        <a:pt x="391947" y="57601"/>
                      </a:lnTo>
                      <a:lnTo>
                        <a:pt x="390525" y="328612"/>
                      </a:lnTo>
                      <a:lnTo>
                        <a:pt x="0" y="311944"/>
                      </a:lnTo>
                      <a:cubicBezTo>
                        <a:pt x="550" y="227163"/>
                        <a:pt x="1101" y="142382"/>
                        <a:pt x="1651" y="57601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472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Calibr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76" name="Freeform 75"/>
                <p:cNvSpPr/>
                <p:nvPr/>
              </p:nvSpPr>
              <p:spPr bwMode="auto">
                <a:xfrm>
                  <a:off x="11364266" y="1474182"/>
                  <a:ext cx="525457" cy="907255"/>
                </a:xfrm>
                <a:custGeom>
                  <a:avLst/>
                  <a:gdLst>
                    <a:gd name="connsiteX0" fmla="*/ 0 w 608801"/>
                    <a:gd name="connsiteY0" fmla="*/ 0 h 1019175"/>
                    <a:gd name="connsiteX1" fmla="*/ 225692 w 608801"/>
                    <a:gd name="connsiteY1" fmla="*/ 0 h 1019175"/>
                    <a:gd name="connsiteX2" fmla="*/ 225420 w 608801"/>
                    <a:gd name="connsiteY2" fmla="*/ 2381 h 1019175"/>
                    <a:gd name="connsiteX3" fmla="*/ 306382 w 608801"/>
                    <a:gd name="connsiteY3" fmla="*/ 569119 h 1019175"/>
                    <a:gd name="connsiteX4" fmla="*/ 347756 w 608801"/>
                    <a:gd name="connsiteY4" fmla="*/ 283964 h 1019175"/>
                    <a:gd name="connsiteX5" fmla="*/ 379666 w 608801"/>
                    <a:gd name="connsiteY5" fmla="*/ 0 h 1019175"/>
                    <a:gd name="connsiteX6" fmla="*/ 608801 w 608801"/>
                    <a:gd name="connsiteY6" fmla="*/ 0 h 1019175"/>
                    <a:gd name="connsiteX7" fmla="*/ 608801 w 608801"/>
                    <a:gd name="connsiteY7" fmla="*/ 1019175 h 1019175"/>
                    <a:gd name="connsiteX8" fmla="*/ 0 w 608801"/>
                    <a:gd name="connsiteY8" fmla="*/ 1019175 h 1019175"/>
                    <a:gd name="connsiteX0" fmla="*/ 0 w 608801"/>
                    <a:gd name="connsiteY0" fmla="*/ 0 h 1019175"/>
                    <a:gd name="connsiteX1" fmla="*/ 225692 w 608801"/>
                    <a:gd name="connsiteY1" fmla="*/ 0 h 1019175"/>
                    <a:gd name="connsiteX2" fmla="*/ 225420 w 608801"/>
                    <a:gd name="connsiteY2" fmla="*/ 2381 h 1019175"/>
                    <a:gd name="connsiteX3" fmla="*/ 306382 w 608801"/>
                    <a:gd name="connsiteY3" fmla="*/ 569119 h 1019175"/>
                    <a:gd name="connsiteX4" fmla="*/ 347756 w 608801"/>
                    <a:gd name="connsiteY4" fmla="*/ 283964 h 1019175"/>
                    <a:gd name="connsiteX5" fmla="*/ 379666 w 608801"/>
                    <a:gd name="connsiteY5" fmla="*/ 0 h 1019175"/>
                    <a:gd name="connsiteX6" fmla="*/ 608801 w 608801"/>
                    <a:gd name="connsiteY6" fmla="*/ 0 h 1019175"/>
                    <a:gd name="connsiteX7" fmla="*/ 608801 w 608801"/>
                    <a:gd name="connsiteY7" fmla="*/ 1019175 h 1019175"/>
                    <a:gd name="connsiteX8" fmla="*/ 0 w 608801"/>
                    <a:gd name="connsiteY8" fmla="*/ 1019175 h 1019175"/>
                    <a:gd name="connsiteX9" fmla="*/ 0 w 608801"/>
                    <a:gd name="connsiteY9" fmla="*/ 0 h 1019175"/>
                    <a:gd name="connsiteX0" fmla="*/ 0 w 608801"/>
                    <a:gd name="connsiteY0" fmla="*/ 28575 h 1047750"/>
                    <a:gd name="connsiteX1" fmla="*/ 225692 w 608801"/>
                    <a:gd name="connsiteY1" fmla="*/ 28575 h 1047750"/>
                    <a:gd name="connsiteX2" fmla="*/ 225420 w 608801"/>
                    <a:gd name="connsiteY2" fmla="*/ 30956 h 1047750"/>
                    <a:gd name="connsiteX3" fmla="*/ 306382 w 608801"/>
                    <a:gd name="connsiteY3" fmla="*/ 597694 h 1047750"/>
                    <a:gd name="connsiteX4" fmla="*/ 347756 w 608801"/>
                    <a:gd name="connsiteY4" fmla="*/ 312539 h 1047750"/>
                    <a:gd name="connsiteX5" fmla="*/ 432054 w 608801"/>
                    <a:gd name="connsiteY5" fmla="*/ 0 h 1047750"/>
                    <a:gd name="connsiteX6" fmla="*/ 608801 w 608801"/>
                    <a:gd name="connsiteY6" fmla="*/ 28575 h 1047750"/>
                    <a:gd name="connsiteX7" fmla="*/ 608801 w 608801"/>
                    <a:gd name="connsiteY7" fmla="*/ 1047750 h 1047750"/>
                    <a:gd name="connsiteX8" fmla="*/ 0 w 608801"/>
                    <a:gd name="connsiteY8" fmla="*/ 1047750 h 1047750"/>
                    <a:gd name="connsiteX9" fmla="*/ 0 w 608801"/>
                    <a:gd name="connsiteY9" fmla="*/ 28575 h 1047750"/>
                    <a:gd name="connsiteX0" fmla="*/ 0 w 608801"/>
                    <a:gd name="connsiteY0" fmla="*/ 28575 h 1047750"/>
                    <a:gd name="connsiteX1" fmla="*/ 225692 w 608801"/>
                    <a:gd name="connsiteY1" fmla="*/ 28575 h 1047750"/>
                    <a:gd name="connsiteX2" fmla="*/ 306382 w 608801"/>
                    <a:gd name="connsiteY2" fmla="*/ 597694 h 1047750"/>
                    <a:gd name="connsiteX3" fmla="*/ 347756 w 608801"/>
                    <a:gd name="connsiteY3" fmla="*/ 312539 h 1047750"/>
                    <a:gd name="connsiteX4" fmla="*/ 432054 w 608801"/>
                    <a:gd name="connsiteY4" fmla="*/ 0 h 1047750"/>
                    <a:gd name="connsiteX5" fmla="*/ 608801 w 608801"/>
                    <a:gd name="connsiteY5" fmla="*/ 28575 h 1047750"/>
                    <a:gd name="connsiteX6" fmla="*/ 608801 w 608801"/>
                    <a:gd name="connsiteY6" fmla="*/ 1047750 h 1047750"/>
                    <a:gd name="connsiteX7" fmla="*/ 0 w 608801"/>
                    <a:gd name="connsiteY7" fmla="*/ 1047750 h 1047750"/>
                    <a:gd name="connsiteX8" fmla="*/ 0 w 608801"/>
                    <a:gd name="connsiteY8" fmla="*/ 28575 h 1047750"/>
                    <a:gd name="connsiteX0" fmla="*/ 0 w 608801"/>
                    <a:gd name="connsiteY0" fmla="*/ 30956 h 1050131"/>
                    <a:gd name="connsiteX1" fmla="*/ 213786 w 608801"/>
                    <a:gd name="connsiteY1" fmla="*/ 0 h 1050131"/>
                    <a:gd name="connsiteX2" fmla="*/ 306382 w 608801"/>
                    <a:gd name="connsiteY2" fmla="*/ 600075 h 1050131"/>
                    <a:gd name="connsiteX3" fmla="*/ 347756 w 608801"/>
                    <a:gd name="connsiteY3" fmla="*/ 314920 h 1050131"/>
                    <a:gd name="connsiteX4" fmla="*/ 432054 w 608801"/>
                    <a:gd name="connsiteY4" fmla="*/ 2381 h 1050131"/>
                    <a:gd name="connsiteX5" fmla="*/ 608801 w 608801"/>
                    <a:gd name="connsiteY5" fmla="*/ 30956 h 1050131"/>
                    <a:gd name="connsiteX6" fmla="*/ 608801 w 608801"/>
                    <a:gd name="connsiteY6" fmla="*/ 1050131 h 1050131"/>
                    <a:gd name="connsiteX7" fmla="*/ 0 w 608801"/>
                    <a:gd name="connsiteY7" fmla="*/ 1050131 h 1050131"/>
                    <a:gd name="connsiteX8" fmla="*/ 0 w 608801"/>
                    <a:gd name="connsiteY8" fmla="*/ 30956 h 1050131"/>
                    <a:gd name="connsiteX0" fmla="*/ 0 w 608801"/>
                    <a:gd name="connsiteY0" fmla="*/ 30956 h 1050131"/>
                    <a:gd name="connsiteX1" fmla="*/ 213786 w 608801"/>
                    <a:gd name="connsiteY1" fmla="*/ 0 h 1050131"/>
                    <a:gd name="connsiteX2" fmla="*/ 306382 w 608801"/>
                    <a:gd name="connsiteY2" fmla="*/ 600075 h 1050131"/>
                    <a:gd name="connsiteX3" fmla="*/ 347756 w 608801"/>
                    <a:gd name="connsiteY3" fmla="*/ 314920 h 1050131"/>
                    <a:gd name="connsiteX4" fmla="*/ 432054 w 608801"/>
                    <a:gd name="connsiteY4" fmla="*/ 2381 h 1050131"/>
                    <a:gd name="connsiteX5" fmla="*/ 589751 w 608801"/>
                    <a:gd name="connsiteY5" fmla="*/ 26194 h 1050131"/>
                    <a:gd name="connsiteX6" fmla="*/ 608801 w 608801"/>
                    <a:gd name="connsiteY6" fmla="*/ 1050131 h 1050131"/>
                    <a:gd name="connsiteX7" fmla="*/ 0 w 608801"/>
                    <a:gd name="connsiteY7" fmla="*/ 1050131 h 1050131"/>
                    <a:gd name="connsiteX8" fmla="*/ 0 w 608801"/>
                    <a:gd name="connsiteY8" fmla="*/ 30956 h 1050131"/>
                    <a:gd name="connsiteX0" fmla="*/ 64294 w 608801"/>
                    <a:gd name="connsiteY0" fmla="*/ 26193 h 1050131"/>
                    <a:gd name="connsiteX1" fmla="*/ 213786 w 608801"/>
                    <a:gd name="connsiteY1" fmla="*/ 0 h 1050131"/>
                    <a:gd name="connsiteX2" fmla="*/ 306382 w 608801"/>
                    <a:gd name="connsiteY2" fmla="*/ 600075 h 1050131"/>
                    <a:gd name="connsiteX3" fmla="*/ 347756 w 608801"/>
                    <a:gd name="connsiteY3" fmla="*/ 314920 h 1050131"/>
                    <a:gd name="connsiteX4" fmla="*/ 432054 w 608801"/>
                    <a:gd name="connsiteY4" fmla="*/ 2381 h 1050131"/>
                    <a:gd name="connsiteX5" fmla="*/ 589751 w 608801"/>
                    <a:gd name="connsiteY5" fmla="*/ 26194 h 1050131"/>
                    <a:gd name="connsiteX6" fmla="*/ 608801 w 608801"/>
                    <a:gd name="connsiteY6" fmla="*/ 1050131 h 1050131"/>
                    <a:gd name="connsiteX7" fmla="*/ 0 w 608801"/>
                    <a:gd name="connsiteY7" fmla="*/ 1050131 h 1050131"/>
                    <a:gd name="connsiteX8" fmla="*/ 64294 w 608801"/>
                    <a:gd name="connsiteY8" fmla="*/ 26193 h 1050131"/>
                    <a:gd name="connsiteX0" fmla="*/ 0 w 544507"/>
                    <a:gd name="connsiteY0" fmla="*/ 26193 h 1050131"/>
                    <a:gd name="connsiteX1" fmla="*/ 149492 w 544507"/>
                    <a:gd name="connsiteY1" fmla="*/ 0 h 1050131"/>
                    <a:gd name="connsiteX2" fmla="*/ 242088 w 544507"/>
                    <a:gd name="connsiteY2" fmla="*/ 600075 h 1050131"/>
                    <a:gd name="connsiteX3" fmla="*/ 283462 w 544507"/>
                    <a:gd name="connsiteY3" fmla="*/ 314920 h 1050131"/>
                    <a:gd name="connsiteX4" fmla="*/ 367760 w 544507"/>
                    <a:gd name="connsiteY4" fmla="*/ 2381 h 1050131"/>
                    <a:gd name="connsiteX5" fmla="*/ 525457 w 544507"/>
                    <a:gd name="connsiteY5" fmla="*/ 26194 h 1050131"/>
                    <a:gd name="connsiteX6" fmla="*/ 544507 w 544507"/>
                    <a:gd name="connsiteY6" fmla="*/ 1050131 h 1050131"/>
                    <a:gd name="connsiteX7" fmla="*/ 14287 w 544507"/>
                    <a:gd name="connsiteY7" fmla="*/ 900112 h 1050131"/>
                    <a:gd name="connsiteX8" fmla="*/ 0 w 544507"/>
                    <a:gd name="connsiteY8" fmla="*/ 26193 h 1050131"/>
                    <a:gd name="connsiteX0" fmla="*/ 0 w 525457"/>
                    <a:gd name="connsiteY0" fmla="*/ 26193 h 902493"/>
                    <a:gd name="connsiteX1" fmla="*/ 149492 w 525457"/>
                    <a:gd name="connsiteY1" fmla="*/ 0 h 902493"/>
                    <a:gd name="connsiteX2" fmla="*/ 242088 w 525457"/>
                    <a:gd name="connsiteY2" fmla="*/ 600075 h 902493"/>
                    <a:gd name="connsiteX3" fmla="*/ 283462 w 525457"/>
                    <a:gd name="connsiteY3" fmla="*/ 314920 h 902493"/>
                    <a:gd name="connsiteX4" fmla="*/ 367760 w 525457"/>
                    <a:gd name="connsiteY4" fmla="*/ 2381 h 902493"/>
                    <a:gd name="connsiteX5" fmla="*/ 525457 w 525457"/>
                    <a:gd name="connsiteY5" fmla="*/ 26194 h 902493"/>
                    <a:gd name="connsiteX6" fmla="*/ 511169 w 525457"/>
                    <a:gd name="connsiteY6" fmla="*/ 902493 h 902493"/>
                    <a:gd name="connsiteX7" fmla="*/ 14287 w 525457"/>
                    <a:gd name="connsiteY7" fmla="*/ 900112 h 902493"/>
                    <a:gd name="connsiteX8" fmla="*/ 0 w 525457"/>
                    <a:gd name="connsiteY8" fmla="*/ 26193 h 902493"/>
                    <a:gd name="connsiteX0" fmla="*/ 0 w 525457"/>
                    <a:gd name="connsiteY0" fmla="*/ 26193 h 902493"/>
                    <a:gd name="connsiteX1" fmla="*/ 149492 w 525457"/>
                    <a:gd name="connsiteY1" fmla="*/ 0 h 902493"/>
                    <a:gd name="connsiteX2" fmla="*/ 283462 w 525457"/>
                    <a:gd name="connsiteY2" fmla="*/ 314920 h 902493"/>
                    <a:gd name="connsiteX3" fmla="*/ 367760 w 525457"/>
                    <a:gd name="connsiteY3" fmla="*/ 2381 h 902493"/>
                    <a:gd name="connsiteX4" fmla="*/ 525457 w 525457"/>
                    <a:gd name="connsiteY4" fmla="*/ 26194 h 902493"/>
                    <a:gd name="connsiteX5" fmla="*/ 511169 w 525457"/>
                    <a:gd name="connsiteY5" fmla="*/ 902493 h 902493"/>
                    <a:gd name="connsiteX6" fmla="*/ 14287 w 525457"/>
                    <a:gd name="connsiteY6" fmla="*/ 900112 h 902493"/>
                    <a:gd name="connsiteX7" fmla="*/ 0 w 525457"/>
                    <a:gd name="connsiteY7" fmla="*/ 26193 h 902493"/>
                    <a:gd name="connsiteX0" fmla="*/ 0 w 525457"/>
                    <a:gd name="connsiteY0" fmla="*/ 26193 h 902493"/>
                    <a:gd name="connsiteX1" fmla="*/ 149492 w 525457"/>
                    <a:gd name="connsiteY1" fmla="*/ 0 h 902493"/>
                    <a:gd name="connsiteX2" fmla="*/ 264412 w 525457"/>
                    <a:gd name="connsiteY2" fmla="*/ 172045 h 902493"/>
                    <a:gd name="connsiteX3" fmla="*/ 367760 w 525457"/>
                    <a:gd name="connsiteY3" fmla="*/ 2381 h 902493"/>
                    <a:gd name="connsiteX4" fmla="*/ 525457 w 525457"/>
                    <a:gd name="connsiteY4" fmla="*/ 26194 h 902493"/>
                    <a:gd name="connsiteX5" fmla="*/ 511169 w 525457"/>
                    <a:gd name="connsiteY5" fmla="*/ 902493 h 902493"/>
                    <a:gd name="connsiteX6" fmla="*/ 14287 w 525457"/>
                    <a:gd name="connsiteY6" fmla="*/ 900112 h 902493"/>
                    <a:gd name="connsiteX7" fmla="*/ 0 w 525457"/>
                    <a:gd name="connsiteY7" fmla="*/ 26193 h 902493"/>
                    <a:gd name="connsiteX0" fmla="*/ 0 w 525457"/>
                    <a:gd name="connsiteY0" fmla="*/ 26193 h 902493"/>
                    <a:gd name="connsiteX1" fmla="*/ 149492 w 525457"/>
                    <a:gd name="connsiteY1" fmla="*/ 0 h 902493"/>
                    <a:gd name="connsiteX2" fmla="*/ 264412 w 525457"/>
                    <a:gd name="connsiteY2" fmla="*/ 172045 h 902493"/>
                    <a:gd name="connsiteX3" fmla="*/ 367760 w 525457"/>
                    <a:gd name="connsiteY3" fmla="*/ 2381 h 902493"/>
                    <a:gd name="connsiteX4" fmla="*/ 525457 w 525457"/>
                    <a:gd name="connsiteY4" fmla="*/ 26194 h 902493"/>
                    <a:gd name="connsiteX5" fmla="*/ 511169 w 525457"/>
                    <a:gd name="connsiteY5" fmla="*/ 902493 h 902493"/>
                    <a:gd name="connsiteX6" fmla="*/ 14287 w 525457"/>
                    <a:gd name="connsiteY6" fmla="*/ 900112 h 902493"/>
                    <a:gd name="connsiteX7" fmla="*/ 0 w 525457"/>
                    <a:gd name="connsiteY7" fmla="*/ 26193 h 902493"/>
                    <a:gd name="connsiteX0" fmla="*/ 0 w 525457"/>
                    <a:gd name="connsiteY0" fmla="*/ 26193 h 902493"/>
                    <a:gd name="connsiteX1" fmla="*/ 149492 w 525457"/>
                    <a:gd name="connsiteY1" fmla="*/ 0 h 902493"/>
                    <a:gd name="connsiteX2" fmla="*/ 257268 w 525457"/>
                    <a:gd name="connsiteY2" fmla="*/ 174427 h 902493"/>
                    <a:gd name="connsiteX3" fmla="*/ 367760 w 525457"/>
                    <a:gd name="connsiteY3" fmla="*/ 2381 h 902493"/>
                    <a:gd name="connsiteX4" fmla="*/ 525457 w 525457"/>
                    <a:gd name="connsiteY4" fmla="*/ 26194 h 902493"/>
                    <a:gd name="connsiteX5" fmla="*/ 511169 w 525457"/>
                    <a:gd name="connsiteY5" fmla="*/ 902493 h 902493"/>
                    <a:gd name="connsiteX6" fmla="*/ 14287 w 525457"/>
                    <a:gd name="connsiteY6" fmla="*/ 900112 h 902493"/>
                    <a:gd name="connsiteX7" fmla="*/ 0 w 525457"/>
                    <a:gd name="connsiteY7" fmla="*/ 26193 h 902493"/>
                    <a:gd name="connsiteX0" fmla="*/ 0 w 525457"/>
                    <a:gd name="connsiteY0" fmla="*/ 26193 h 902493"/>
                    <a:gd name="connsiteX1" fmla="*/ 149492 w 525457"/>
                    <a:gd name="connsiteY1" fmla="*/ 0 h 902493"/>
                    <a:gd name="connsiteX2" fmla="*/ 257268 w 525457"/>
                    <a:gd name="connsiteY2" fmla="*/ 174427 h 902493"/>
                    <a:gd name="connsiteX3" fmla="*/ 367760 w 525457"/>
                    <a:gd name="connsiteY3" fmla="*/ 2381 h 902493"/>
                    <a:gd name="connsiteX4" fmla="*/ 525457 w 525457"/>
                    <a:gd name="connsiteY4" fmla="*/ 26194 h 902493"/>
                    <a:gd name="connsiteX5" fmla="*/ 511169 w 525457"/>
                    <a:gd name="connsiteY5" fmla="*/ 902493 h 902493"/>
                    <a:gd name="connsiteX6" fmla="*/ 14287 w 525457"/>
                    <a:gd name="connsiteY6" fmla="*/ 900112 h 902493"/>
                    <a:gd name="connsiteX7" fmla="*/ 0 w 525457"/>
                    <a:gd name="connsiteY7" fmla="*/ 26193 h 902493"/>
                    <a:gd name="connsiteX0" fmla="*/ 0 w 525457"/>
                    <a:gd name="connsiteY0" fmla="*/ 30955 h 907255"/>
                    <a:gd name="connsiteX1" fmla="*/ 149492 w 525457"/>
                    <a:gd name="connsiteY1" fmla="*/ 0 h 907255"/>
                    <a:gd name="connsiteX2" fmla="*/ 257268 w 525457"/>
                    <a:gd name="connsiteY2" fmla="*/ 179189 h 907255"/>
                    <a:gd name="connsiteX3" fmla="*/ 367760 w 525457"/>
                    <a:gd name="connsiteY3" fmla="*/ 7143 h 907255"/>
                    <a:gd name="connsiteX4" fmla="*/ 525457 w 525457"/>
                    <a:gd name="connsiteY4" fmla="*/ 30956 h 907255"/>
                    <a:gd name="connsiteX5" fmla="*/ 511169 w 525457"/>
                    <a:gd name="connsiteY5" fmla="*/ 907255 h 907255"/>
                    <a:gd name="connsiteX6" fmla="*/ 14287 w 525457"/>
                    <a:gd name="connsiteY6" fmla="*/ 904874 h 907255"/>
                    <a:gd name="connsiteX7" fmla="*/ 0 w 525457"/>
                    <a:gd name="connsiteY7" fmla="*/ 30955 h 9072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25457" h="907255">
                      <a:moveTo>
                        <a:pt x="0" y="30955"/>
                      </a:moveTo>
                      <a:lnTo>
                        <a:pt x="149492" y="0"/>
                      </a:lnTo>
                      <a:cubicBezTo>
                        <a:pt x="196736" y="48121"/>
                        <a:pt x="199808" y="93166"/>
                        <a:pt x="257268" y="179189"/>
                      </a:cubicBezTo>
                      <a:lnTo>
                        <a:pt x="367760" y="7143"/>
                      </a:lnTo>
                      <a:lnTo>
                        <a:pt x="525457" y="30956"/>
                      </a:lnTo>
                      <a:lnTo>
                        <a:pt x="511169" y="907255"/>
                      </a:lnTo>
                      <a:lnTo>
                        <a:pt x="14287" y="904874"/>
                      </a:lnTo>
                      <a:lnTo>
                        <a:pt x="0" y="30955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65000"/>
                  </a:sysClr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472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Calibr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77" name="Freeform 76"/>
                <p:cNvSpPr/>
                <p:nvPr/>
              </p:nvSpPr>
              <p:spPr bwMode="auto">
                <a:xfrm rot="5400000">
                  <a:off x="11428551" y="1116145"/>
                  <a:ext cx="392904" cy="309562"/>
                </a:xfrm>
                <a:custGeom>
                  <a:avLst/>
                  <a:gdLst>
                    <a:gd name="connsiteX0" fmla="*/ 0 w 392904"/>
                    <a:gd name="connsiteY0" fmla="*/ 184191 h 309562"/>
                    <a:gd name="connsiteX1" fmla="*/ 0 w 392904"/>
                    <a:gd name="connsiteY1" fmla="*/ 125371 h 309562"/>
                    <a:gd name="connsiteX2" fmla="*/ 95323 w 392904"/>
                    <a:gd name="connsiteY2" fmla="*/ 30048 h 309562"/>
                    <a:gd name="connsiteX3" fmla="*/ 107911 w 392904"/>
                    <a:gd name="connsiteY3" fmla="*/ 30048 h 309562"/>
                    <a:gd name="connsiteX4" fmla="*/ 116458 w 392904"/>
                    <a:gd name="connsiteY4" fmla="*/ 9416 h 309562"/>
                    <a:gd name="connsiteX5" fmla="*/ 139189 w 392904"/>
                    <a:gd name="connsiteY5" fmla="*/ 0 h 309562"/>
                    <a:gd name="connsiteX6" fmla="*/ 182279 w 392904"/>
                    <a:gd name="connsiteY6" fmla="*/ 0 h 309562"/>
                    <a:gd name="connsiteX7" fmla="*/ 205010 w 392904"/>
                    <a:gd name="connsiteY7" fmla="*/ 9416 h 309562"/>
                    <a:gd name="connsiteX8" fmla="*/ 213557 w 392904"/>
                    <a:gd name="connsiteY8" fmla="*/ 30048 h 309562"/>
                    <a:gd name="connsiteX9" fmla="*/ 252339 w 392904"/>
                    <a:gd name="connsiteY9" fmla="*/ 30048 h 309562"/>
                    <a:gd name="connsiteX10" fmla="*/ 319742 w 392904"/>
                    <a:gd name="connsiteY10" fmla="*/ 57968 h 309562"/>
                    <a:gd name="connsiteX11" fmla="*/ 336441 w 392904"/>
                    <a:gd name="connsiteY11" fmla="*/ 82735 h 309562"/>
                    <a:gd name="connsiteX12" fmla="*/ 357186 w 392904"/>
                    <a:gd name="connsiteY12" fmla="*/ 80848 h 309562"/>
                    <a:gd name="connsiteX13" fmla="*/ 392904 w 392904"/>
                    <a:gd name="connsiteY13" fmla="*/ 152286 h 309562"/>
                    <a:gd name="connsiteX14" fmla="*/ 357186 w 392904"/>
                    <a:gd name="connsiteY14" fmla="*/ 235629 h 309562"/>
                    <a:gd name="connsiteX15" fmla="*/ 330992 w 392904"/>
                    <a:gd name="connsiteY15" fmla="*/ 235629 h 309562"/>
                    <a:gd name="connsiteX16" fmla="*/ 330992 w 392904"/>
                    <a:gd name="connsiteY16" fmla="*/ 234909 h 309562"/>
                    <a:gd name="connsiteX17" fmla="*/ 319742 w 392904"/>
                    <a:gd name="connsiteY17" fmla="*/ 251594 h 309562"/>
                    <a:gd name="connsiteX18" fmla="*/ 252339 w 392904"/>
                    <a:gd name="connsiteY18" fmla="*/ 279514 h 309562"/>
                    <a:gd name="connsiteX19" fmla="*/ 213557 w 392904"/>
                    <a:gd name="connsiteY19" fmla="*/ 279514 h 309562"/>
                    <a:gd name="connsiteX20" fmla="*/ 205010 w 392904"/>
                    <a:gd name="connsiteY20" fmla="*/ 300146 h 309562"/>
                    <a:gd name="connsiteX21" fmla="*/ 182279 w 392904"/>
                    <a:gd name="connsiteY21" fmla="*/ 309562 h 309562"/>
                    <a:gd name="connsiteX22" fmla="*/ 139189 w 392904"/>
                    <a:gd name="connsiteY22" fmla="*/ 309562 h 309562"/>
                    <a:gd name="connsiteX23" fmla="*/ 116458 w 392904"/>
                    <a:gd name="connsiteY23" fmla="*/ 300146 h 309562"/>
                    <a:gd name="connsiteX24" fmla="*/ 107911 w 392904"/>
                    <a:gd name="connsiteY24" fmla="*/ 279514 h 309562"/>
                    <a:gd name="connsiteX25" fmla="*/ 95323 w 392904"/>
                    <a:gd name="connsiteY25" fmla="*/ 279514 h 309562"/>
                    <a:gd name="connsiteX26" fmla="*/ 0 w 392904"/>
                    <a:gd name="connsiteY26" fmla="*/ 184191 h 3095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392904" h="309562">
                      <a:moveTo>
                        <a:pt x="0" y="184191"/>
                      </a:moveTo>
                      <a:lnTo>
                        <a:pt x="0" y="125371"/>
                      </a:lnTo>
                      <a:cubicBezTo>
                        <a:pt x="0" y="72726"/>
                        <a:pt x="42678" y="30048"/>
                        <a:pt x="95323" y="30048"/>
                      </a:cubicBezTo>
                      <a:lnTo>
                        <a:pt x="107911" y="30048"/>
                      </a:lnTo>
                      <a:lnTo>
                        <a:pt x="116458" y="9416"/>
                      </a:lnTo>
                      <a:cubicBezTo>
                        <a:pt x="122275" y="3598"/>
                        <a:pt x="130312" y="0"/>
                        <a:pt x="139189" y="0"/>
                      </a:cubicBezTo>
                      <a:lnTo>
                        <a:pt x="182279" y="0"/>
                      </a:lnTo>
                      <a:cubicBezTo>
                        <a:pt x="191156" y="0"/>
                        <a:pt x="199193" y="3598"/>
                        <a:pt x="205010" y="9416"/>
                      </a:cubicBezTo>
                      <a:lnTo>
                        <a:pt x="213557" y="30048"/>
                      </a:lnTo>
                      <a:lnTo>
                        <a:pt x="252339" y="30048"/>
                      </a:lnTo>
                      <a:cubicBezTo>
                        <a:pt x="278662" y="30048"/>
                        <a:pt x="302492" y="40718"/>
                        <a:pt x="319742" y="57968"/>
                      </a:cubicBezTo>
                      <a:lnTo>
                        <a:pt x="336441" y="82735"/>
                      </a:lnTo>
                      <a:lnTo>
                        <a:pt x="357186" y="80848"/>
                      </a:lnTo>
                      <a:lnTo>
                        <a:pt x="392904" y="152286"/>
                      </a:lnTo>
                      <a:lnTo>
                        <a:pt x="357186" y="235629"/>
                      </a:lnTo>
                      <a:lnTo>
                        <a:pt x="330992" y="235629"/>
                      </a:lnTo>
                      <a:lnTo>
                        <a:pt x="330992" y="234909"/>
                      </a:lnTo>
                      <a:lnTo>
                        <a:pt x="319742" y="251594"/>
                      </a:lnTo>
                      <a:cubicBezTo>
                        <a:pt x="302492" y="268845"/>
                        <a:pt x="278662" y="279514"/>
                        <a:pt x="252339" y="279514"/>
                      </a:cubicBezTo>
                      <a:lnTo>
                        <a:pt x="213557" y="279514"/>
                      </a:lnTo>
                      <a:lnTo>
                        <a:pt x="205010" y="300146"/>
                      </a:lnTo>
                      <a:cubicBezTo>
                        <a:pt x="199193" y="305964"/>
                        <a:pt x="191156" y="309562"/>
                        <a:pt x="182279" y="309562"/>
                      </a:cubicBezTo>
                      <a:lnTo>
                        <a:pt x="139189" y="309562"/>
                      </a:lnTo>
                      <a:cubicBezTo>
                        <a:pt x="130312" y="309562"/>
                        <a:pt x="122275" y="305964"/>
                        <a:pt x="116458" y="300146"/>
                      </a:cubicBezTo>
                      <a:lnTo>
                        <a:pt x="107911" y="279514"/>
                      </a:lnTo>
                      <a:lnTo>
                        <a:pt x="95323" y="279514"/>
                      </a:lnTo>
                      <a:cubicBezTo>
                        <a:pt x="42678" y="279514"/>
                        <a:pt x="0" y="236836"/>
                        <a:pt x="0" y="184191"/>
                      </a:cubicBezTo>
                      <a:close/>
                    </a:path>
                  </a:pathLst>
                </a:custGeom>
                <a:solidFill>
                  <a:srgbClr val="FFC000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472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Calibr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78" name="Freeform 77"/>
                <p:cNvSpPr/>
                <p:nvPr/>
              </p:nvSpPr>
              <p:spPr bwMode="auto">
                <a:xfrm>
                  <a:off x="11472272" y="1019300"/>
                  <a:ext cx="301906" cy="195665"/>
                </a:xfrm>
                <a:custGeom>
                  <a:avLst/>
                  <a:gdLst>
                    <a:gd name="connsiteX0" fmla="*/ 300038 w 300038"/>
                    <a:gd name="connsiteY0" fmla="*/ 190500 h 190500"/>
                    <a:gd name="connsiteX1" fmla="*/ 271463 w 300038"/>
                    <a:gd name="connsiteY1" fmla="*/ 116681 h 190500"/>
                    <a:gd name="connsiteX2" fmla="*/ 195263 w 300038"/>
                    <a:gd name="connsiteY2" fmla="*/ 107156 h 190500"/>
                    <a:gd name="connsiteX3" fmla="*/ 52388 w 300038"/>
                    <a:gd name="connsiteY3" fmla="*/ 100012 h 190500"/>
                    <a:gd name="connsiteX4" fmla="*/ 21431 w 300038"/>
                    <a:gd name="connsiteY4" fmla="*/ 119062 h 190500"/>
                    <a:gd name="connsiteX5" fmla="*/ 23813 w 300038"/>
                    <a:gd name="connsiteY5" fmla="*/ 164306 h 190500"/>
                    <a:gd name="connsiteX6" fmla="*/ 0 w 300038"/>
                    <a:gd name="connsiteY6" fmla="*/ 171450 h 190500"/>
                    <a:gd name="connsiteX7" fmla="*/ 97631 w 300038"/>
                    <a:gd name="connsiteY7" fmla="*/ 0 h 190500"/>
                    <a:gd name="connsiteX8" fmla="*/ 214313 w 300038"/>
                    <a:gd name="connsiteY8" fmla="*/ 40481 h 190500"/>
                    <a:gd name="connsiteX9" fmla="*/ 300038 w 300038"/>
                    <a:gd name="connsiteY9" fmla="*/ 190500 h 190500"/>
                    <a:gd name="connsiteX0" fmla="*/ 300038 w 300038"/>
                    <a:gd name="connsiteY0" fmla="*/ 190500 h 190500"/>
                    <a:gd name="connsiteX1" fmla="*/ 271463 w 300038"/>
                    <a:gd name="connsiteY1" fmla="*/ 116681 h 190500"/>
                    <a:gd name="connsiteX2" fmla="*/ 195263 w 300038"/>
                    <a:gd name="connsiteY2" fmla="*/ 107156 h 190500"/>
                    <a:gd name="connsiteX3" fmla="*/ 52388 w 300038"/>
                    <a:gd name="connsiteY3" fmla="*/ 100012 h 190500"/>
                    <a:gd name="connsiteX4" fmla="*/ 21431 w 300038"/>
                    <a:gd name="connsiteY4" fmla="*/ 119062 h 190500"/>
                    <a:gd name="connsiteX5" fmla="*/ 23813 w 300038"/>
                    <a:gd name="connsiteY5" fmla="*/ 164306 h 190500"/>
                    <a:gd name="connsiteX6" fmla="*/ 0 w 300038"/>
                    <a:gd name="connsiteY6" fmla="*/ 171450 h 190500"/>
                    <a:gd name="connsiteX7" fmla="*/ 97631 w 300038"/>
                    <a:gd name="connsiteY7" fmla="*/ 0 h 190500"/>
                    <a:gd name="connsiteX8" fmla="*/ 214313 w 300038"/>
                    <a:gd name="connsiteY8" fmla="*/ 40481 h 190500"/>
                    <a:gd name="connsiteX9" fmla="*/ 300038 w 300038"/>
                    <a:gd name="connsiteY9" fmla="*/ 190500 h 190500"/>
                    <a:gd name="connsiteX0" fmla="*/ 300038 w 300038"/>
                    <a:gd name="connsiteY0" fmla="*/ 190500 h 190500"/>
                    <a:gd name="connsiteX1" fmla="*/ 271463 w 300038"/>
                    <a:gd name="connsiteY1" fmla="*/ 116681 h 190500"/>
                    <a:gd name="connsiteX2" fmla="*/ 195263 w 300038"/>
                    <a:gd name="connsiteY2" fmla="*/ 107156 h 190500"/>
                    <a:gd name="connsiteX3" fmla="*/ 52388 w 300038"/>
                    <a:gd name="connsiteY3" fmla="*/ 100012 h 190500"/>
                    <a:gd name="connsiteX4" fmla="*/ 21431 w 300038"/>
                    <a:gd name="connsiteY4" fmla="*/ 119062 h 190500"/>
                    <a:gd name="connsiteX5" fmla="*/ 23813 w 300038"/>
                    <a:gd name="connsiteY5" fmla="*/ 164306 h 190500"/>
                    <a:gd name="connsiteX6" fmla="*/ 0 w 300038"/>
                    <a:gd name="connsiteY6" fmla="*/ 171450 h 190500"/>
                    <a:gd name="connsiteX7" fmla="*/ 97631 w 300038"/>
                    <a:gd name="connsiteY7" fmla="*/ 0 h 190500"/>
                    <a:gd name="connsiteX8" fmla="*/ 214313 w 300038"/>
                    <a:gd name="connsiteY8" fmla="*/ 40481 h 190500"/>
                    <a:gd name="connsiteX9" fmla="*/ 300038 w 300038"/>
                    <a:gd name="connsiteY9" fmla="*/ 190500 h 190500"/>
                    <a:gd name="connsiteX0" fmla="*/ 300038 w 301649"/>
                    <a:gd name="connsiteY0" fmla="*/ 190500 h 190500"/>
                    <a:gd name="connsiteX1" fmla="*/ 271463 w 301649"/>
                    <a:gd name="connsiteY1" fmla="*/ 116681 h 190500"/>
                    <a:gd name="connsiteX2" fmla="*/ 195263 w 301649"/>
                    <a:gd name="connsiteY2" fmla="*/ 107156 h 190500"/>
                    <a:gd name="connsiteX3" fmla="*/ 52388 w 301649"/>
                    <a:gd name="connsiteY3" fmla="*/ 100012 h 190500"/>
                    <a:gd name="connsiteX4" fmla="*/ 21431 w 301649"/>
                    <a:gd name="connsiteY4" fmla="*/ 119062 h 190500"/>
                    <a:gd name="connsiteX5" fmla="*/ 23813 w 301649"/>
                    <a:gd name="connsiteY5" fmla="*/ 164306 h 190500"/>
                    <a:gd name="connsiteX6" fmla="*/ 0 w 301649"/>
                    <a:gd name="connsiteY6" fmla="*/ 171450 h 190500"/>
                    <a:gd name="connsiteX7" fmla="*/ 97631 w 301649"/>
                    <a:gd name="connsiteY7" fmla="*/ 0 h 190500"/>
                    <a:gd name="connsiteX8" fmla="*/ 214313 w 301649"/>
                    <a:gd name="connsiteY8" fmla="*/ 40481 h 190500"/>
                    <a:gd name="connsiteX9" fmla="*/ 300038 w 301649"/>
                    <a:gd name="connsiteY9" fmla="*/ 190500 h 190500"/>
                    <a:gd name="connsiteX0" fmla="*/ 300038 w 301649"/>
                    <a:gd name="connsiteY0" fmla="*/ 194507 h 194507"/>
                    <a:gd name="connsiteX1" fmla="*/ 271463 w 301649"/>
                    <a:gd name="connsiteY1" fmla="*/ 120688 h 194507"/>
                    <a:gd name="connsiteX2" fmla="*/ 195263 w 301649"/>
                    <a:gd name="connsiteY2" fmla="*/ 111163 h 194507"/>
                    <a:gd name="connsiteX3" fmla="*/ 52388 w 301649"/>
                    <a:gd name="connsiteY3" fmla="*/ 104019 h 194507"/>
                    <a:gd name="connsiteX4" fmla="*/ 21431 w 301649"/>
                    <a:gd name="connsiteY4" fmla="*/ 123069 h 194507"/>
                    <a:gd name="connsiteX5" fmla="*/ 23813 w 301649"/>
                    <a:gd name="connsiteY5" fmla="*/ 168313 h 194507"/>
                    <a:gd name="connsiteX6" fmla="*/ 0 w 301649"/>
                    <a:gd name="connsiteY6" fmla="*/ 175457 h 194507"/>
                    <a:gd name="connsiteX7" fmla="*/ 97631 w 301649"/>
                    <a:gd name="connsiteY7" fmla="*/ 4007 h 194507"/>
                    <a:gd name="connsiteX8" fmla="*/ 214313 w 301649"/>
                    <a:gd name="connsiteY8" fmla="*/ 44488 h 194507"/>
                    <a:gd name="connsiteX9" fmla="*/ 300038 w 301649"/>
                    <a:gd name="connsiteY9" fmla="*/ 194507 h 194507"/>
                    <a:gd name="connsiteX0" fmla="*/ 300038 w 301649"/>
                    <a:gd name="connsiteY0" fmla="*/ 195665 h 195665"/>
                    <a:gd name="connsiteX1" fmla="*/ 271463 w 301649"/>
                    <a:gd name="connsiteY1" fmla="*/ 121846 h 195665"/>
                    <a:gd name="connsiteX2" fmla="*/ 195263 w 301649"/>
                    <a:gd name="connsiteY2" fmla="*/ 112321 h 195665"/>
                    <a:gd name="connsiteX3" fmla="*/ 52388 w 301649"/>
                    <a:gd name="connsiteY3" fmla="*/ 105177 h 195665"/>
                    <a:gd name="connsiteX4" fmla="*/ 21431 w 301649"/>
                    <a:gd name="connsiteY4" fmla="*/ 124227 h 195665"/>
                    <a:gd name="connsiteX5" fmla="*/ 23813 w 301649"/>
                    <a:gd name="connsiteY5" fmla="*/ 169471 h 195665"/>
                    <a:gd name="connsiteX6" fmla="*/ 0 w 301649"/>
                    <a:gd name="connsiteY6" fmla="*/ 176615 h 195665"/>
                    <a:gd name="connsiteX7" fmla="*/ 97631 w 301649"/>
                    <a:gd name="connsiteY7" fmla="*/ 5165 h 195665"/>
                    <a:gd name="connsiteX8" fmla="*/ 214313 w 301649"/>
                    <a:gd name="connsiteY8" fmla="*/ 45646 h 195665"/>
                    <a:gd name="connsiteX9" fmla="*/ 300038 w 301649"/>
                    <a:gd name="connsiteY9" fmla="*/ 195665 h 195665"/>
                    <a:gd name="connsiteX0" fmla="*/ 300038 w 301649"/>
                    <a:gd name="connsiteY0" fmla="*/ 195665 h 195665"/>
                    <a:gd name="connsiteX1" fmla="*/ 271463 w 301649"/>
                    <a:gd name="connsiteY1" fmla="*/ 121846 h 195665"/>
                    <a:gd name="connsiteX2" fmla="*/ 195263 w 301649"/>
                    <a:gd name="connsiteY2" fmla="*/ 112321 h 195665"/>
                    <a:gd name="connsiteX3" fmla="*/ 52388 w 301649"/>
                    <a:gd name="connsiteY3" fmla="*/ 105177 h 195665"/>
                    <a:gd name="connsiteX4" fmla="*/ 45243 w 301649"/>
                    <a:gd name="connsiteY4" fmla="*/ 150420 h 195665"/>
                    <a:gd name="connsiteX5" fmla="*/ 23813 w 301649"/>
                    <a:gd name="connsiteY5" fmla="*/ 169471 h 195665"/>
                    <a:gd name="connsiteX6" fmla="*/ 0 w 301649"/>
                    <a:gd name="connsiteY6" fmla="*/ 176615 h 195665"/>
                    <a:gd name="connsiteX7" fmla="*/ 97631 w 301649"/>
                    <a:gd name="connsiteY7" fmla="*/ 5165 h 195665"/>
                    <a:gd name="connsiteX8" fmla="*/ 214313 w 301649"/>
                    <a:gd name="connsiteY8" fmla="*/ 45646 h 195665"/>
                    <a:gd name="connsiteX9" fmla="*/ 300038 w 301649"/>
                    <a:gd name="connsiteY9" fmla="*/ 195665 h 195665"/>
                    <a:gd name="connsiteX0" fmla="*/ 300483 w 302094"/>
                    <a:gd name="connsiteY0" fmla="*/ 195665 h 195665"/>
                    <a:gd name="connsiteX1" fmla="*/ 271908 w 302094"/>
                    <a:gd name="connsiteY1" fmla="*/ 121846 h 195665"/>
                    <a:gd name="connsiteX2" fmla="*/ 195708 w 302094"/>
                    <a:gd name="connsiteY2" fmla="*/ 112321 h 195665"/>
                    <a:gd name="connsiteX3" fmla="*/ 52833 w 302094"/>
                    <a:gd name="connsiteY3" fmla="*/ 105177 h 195665"/>
                    <a:gd name="connsiteX4" fmla="*/ 45688 w 302094"/>
                    <a:gd name="connsiteY4" fmla="*/ 150420 h 195665"/>
                    <a:gd name="connsiteX5" fmla="*/ 24258 w 302094"/>
                    <a:gd name="connsiteY5" fmla="*/ 169471 h 195665"/>
                    <a:gd name="connsiteX6" fmla="*/ 445 w 302094"/>
                    <a:gd name="connsiteY6" fmla="*/ 176615 h 195665"/>
                    <a:gd name="connsiteX7" fmla="*/ 98076 w 302094"/>
                    <a:gd name="connsiteY7" fmla="*/ 5165 h 195665"/>
                    <a:gd name="connsiteX8" fmla="*/ 214758 w 302094"/>
                    <a:gd name="connsiteY8" fmla="*/ 45646 h 195665"/>
                    <a:gd name="connsiteX9" fmla="*/ 300483 w 302094"/>
                    <a:gd name="connsiteY9" fmla="*/ 195665 h 195665"/>
                    <a:gd name="connsiteX0" fmla="*/ 300483 w 302094"/>
                    <a:gd name="connsiteY0" fmla="*/ 195665 h 195665"/>
                    <a:gd name="connsiteX1" fmla="*/ 271908 w 302094"/>
                    <a:gd name="connsiteY1" fmla="*/ 121846 h 195665"/>
                    <a:gd name="connsiteX2" fmla="*/ 195708 w 302094"/>
                    <a:gd name="connsiteY2" fmla="*/ 112321 h 195665"/>
                    <a:gd name="connsiteX3" fmla="*/ 52833 w 302094"/>
                    <a:gd name="connsiteY3" fmla="*/ 105177 h 195665"/>
                    <a:gd name="connsiteX4" fmla="*/ 45688 w 302094"/>
                    <a:gd name="connsiteY4" fmla="*/ 150420 h 195665"/>
                    <a:gd name="connsiteX5" fmla="*/ 21877 w 302094"/>
                    <a:gd name="connsiteY5" fmla="*/ 131371 h 195665"/>
                    <a:gd name="connsiteX6" fmla="*/ 445 w 302094"/>
                    <a:gd name="connsiteY6" fmla="*/ 176615 h 195665"/>
                    <a:gd name="connsiteX7" fmla="*/ 98076 w 302094"/>
                    <a:gd name="connsiteY7" fmla="*/ 5165 h 195665"/>
                    <a:gd name="connsiteX8" fmla="*/ 214758 w 302094"/>
                    <a:gd name="connsiteY8" fmla="*/ 45646 h 195665"/>
                    <a:gd name="connsiteX9" fmla="*/ 300483 w 302094"/>
                    <a:gd name="connsiteY9" fmla="*/ 195665 h 195665"/>
                    <a:gd name="connsiteX0" fmla="*/ 300483 w 302094"/>
                    <a:gd name="connsiteY0" fmla="*/ 195665 h 195665"/>
                    <a:gd name="connsiteX1" fmla="*/ 271908 w 302094"/>
                    <a:gd name="connsiteY1" fmla="*/ 121846 h 195665"/>
                    <a:gd name="connsiteX2" fmla="*/ 195708 w 302094"/>
                    <a:gd name="connsiteY2" fmla="*/ 112321 h 195665"/>
                    <a:gd name="connsiteX3" fmla="*/ 52833 w 302094"/>
                    <a:gd name="connsiteY3" fmla="*/ 105177 h 195665"/>
                    <a:gd name="connsiteX4" fmla="*/ 43307 w 302094"/>
                    <a:gd name="connsiteY4" fmla="*/ 126608 h 195665"/>
                    <a:gd name="connsiteX5" fmla="*/ 21877 w 302094"/>
                    <a:gd name="connsiteY5" fmla="*/ 131371 h 195665"/>
                    <a:gd name="connsiteX6" fmla="*/ 445 w 302094"/>
                    <a:gd name="connsiteY6" fmla="*/ 176615 h 195665"/>
                    <a:gd name="connsiteX7" fmla="*/ 98076 w 302094"/>
                    <a:gd name="connsiteY7" fmla="*/ 5165 h 195665"/>
                    <a:gd name="connsiteX8" fmla="*/ 214758 w 302094"/>
                    <a:gd name="connsiteY8" fmla="*/ 45646 h 195665"/>
                    <a:gd name="connsiteX9" fmla="*/ 300483 w 302094"/>
                    <a:gd name="connsiteY9" fmla="*/ 195665 h 195665"/>
                    <a:gd name="connsiteX0" fmla="*/ 300483 w 302094"/>
                    <a:gd name="connsiteY0" fmla="*/ 195665 h 195665"/>
                    <a:gd name="connsiteX1" fmla="*/ 271908 w 302094"/>
                    <a:gd name="connsiteY1" fmla="*/ 121846 h 195665"/>
                    <a:gd name="connsiteX2" fmla="*/ 195708 w 302094"/>
                    <a:gd name="connsiteY2" fmla="*/ 112321 h 195665"/>
                    <a:gd name="connsiteX3" fmla="*/ 52833 w 302094"/>
                    <a:gd name="connsiteY3" fmla="*/ 105177 h 195665"/>
                    <a:gd name="connsiteX4" fmla="*/ 43307 w 302094"/>
                    <a:gd name="connsiteY4" fmla="*/ 126608 h 195665"/>
                    <a:gd name="connsiteX5" fmla="*/ 12352 w 302094"/>
                    <a:gd name="connsiteY5" fmla="*/ 171852 h 195665"/>
                    <a:gd name="connsiteX6" fmla="*/ 445 w 302094"/>
                    <a:gd name="connsiteY6" fmla="*/ 176615 h 195665"/>
                    <a:gd name="connsiteX7" fmla="*/ 98076 w 302094"/>
                    <a:gd name="connsiteY7" fmla="*/ 5165 h 195665"/>
                    <a:gd name="connsiteX8" fmla="*/ 214758 w 302094"/>
                    <a:gd name="connsiteY8" fmla="*/ 45646 h 195665"/>
                    <a:gd name="connsiteX9" fmla="*/ 300483 w 302094"/>
                    <a:gd name="connsiteY9" fmla="*/ 195665 h 195665"/>
                    <a:gd name="connsiteX0" fmla="*/ 300483 w 302094"/>
                    <a:gd name="connsiteY0" fmla="*/ 195665 h 195665"/>
                    <a:gd name="connsiteX1" fmla="*/ 271908 w 302094"/>
                    <a:gd name="connsiteY1" fmla="*/ 121846 h 195665"/>
                    <a:gd name="connsiteX2" fmla="*/ 195708 w 302094"/>
                    <a:gd name="connsiteY2" fmla="*/ 112321 h 195665"/>
                    <a:gd name="connsiteX3" fmla="*/ 52833 w 302094"/>
                    <a:gd name="connsiteY3" fmla="*/ 105177 h 195665"/>
                    <a:gd name="connsiteX4" fmla="*/ 43307 w 302094"/>
                    <a:gd name="connsiteY4" fmla="*/ 126608 h 195665"/>
                    <a:gd name="connsiteX5" fmla="*/ 12352 w 302094"/>
                    <a:gd name="connsiteY5" fmla="*/ 171852 h 195665"/>
                    <a:gd name="connsiteX6" fmla="*/ 445 w 302094"/>
                    <a:gd name="connsiteY6" fmla="*/ 176615 h 195665"/>
                    <a:gd name="connsiteX7" fmla="*/ 98076 w 302094"/>
                    <a:gd name="connsiteY7" fmla="*/ 5165 h 195665"/>
                    <a:gd name="connsiteX8" fmla="*/ 214758 w 302094"/>
                    <a:gd name="connsiteY8" fmla="*/ 45646 h 195665"/>
                    <a:gd name="connsiteX9" fmla="*/ 300483 w 302094"/>
                    <a:gd name="connsiteY9" fmla="*/ 195665 h 195665"/>
                    <a:gd name="connsiteX0" fmla="*/ 300483 w 302094"/>
                    <a:gd name="connsiteY0" fmla="*/ 195665 h 195665"/>
                    <a:gd name="connsiteX1" fmla="*/ 271908 w 302094"/>
                    <a:gd name="connsiteY1" fmla="*/ 121846 h 195665"/>
                    <a:gd name="connsiteX2" fmla="*/ 195708 w 302094"/>
                    <a:gd name="connsiteY2" fmla="*/ 112321 h 195665"/>
                    <a:gd name="connsiteX3" fmla="*/ 52833 w 302094"/>
                    <a:gd name="connsiteY3" fmla="*/ 105177 h 195665"/>
                    <a:gd name="connsiteX4" fmla="*/ 43307 w 302094"/>
                    <a:gd name="connsiteY4" fmla="*/ 126608 h 195665"/>
                    <a:gd name="connsiteX5" fmla="*/ 12352 w 302094"/>
                    <a:gd name="connsiteY5" fmla="*/ 171852 h 195665"/>
                    <a:gd name="connsiteX6" fmla="*/ 445 w 302094"/>
                    <a:gd name="connsiteY6" fmla="*/ 176615 h 195665"/>
                    <a:gd name="connsiteX7" fmla="*/ 98076 w 302094"/>
                    <a:gd name="connsiteY7" fmla="*/ 5165 h 195665"/>
                    <a:gd name="connsiteX8" fmla="*/ 214758 w 302094"/>
                    <a:gd name="connsiteY8" fmla="*/ 45646 h 195665"/>
                    <a:gd name="connsiteX9" fmla="*/ 300483 w 302094"/>
                    <a:gd name="connsiteY9" fmla="*/ 195665 h 195665"/>
                    <a:gd name="connsiteX0" fmla="*/ 300483 w 302094"/>
                    <a:gd name="connsiteY0" fmla="*/ 195665 h 195665"/>
                    <a:gd name="connsiteX1" fmla="*/ 271908 w 302094"/>
                    <a:gd name="connsiteY1" fmla="*/ 121846 h 195665"/>
                    <a:gd name="connsiteX2" fmla="*/ 195708 w 302094"/>
                    <a:gd name="connsiteY2" fmla="*/ 112321 h 195665"/>
                    <a:gd name="connsiteX3" fmla="*/ 52833 w 302094"/>
                    <a:gd name="connsiteY3" fmla="*/ 105177 h 195665"/>
                    <a:gd name="connsiteX4" fmla="*/ 43307 w 302094"/>
                    <a:gd name="connsiteY4" fmla="*/ 126608 h 195665"/>
                    <a:gd name="connsiteX5" fmla="*/ 12352 w 302094"/>
                    <a:gd name="connsiteY5" fmla="*/ 171852 h 195665"/>
                    <a:gd name="connsiteX6" fmla="*/ 445 w 302094"/>
                    <a:gd name="connsiteY6" fmla="*/ 176615 h 195665"/>
                    <a:gd name="connsiteX7" fmla="*/ 98076 w 302094"/>
                    <a:gd name="connsiteY7" fmla="*/ 5165 h 195665"/>
                    <a:gd name="connsiteX8" fmla="*/ 214758 w 302094"/>
                    <a:gd name="connsiteY8" fmla="*/ 45646 h 195665"/>
                    <a:gd name="connsiteX9" fmla="*/ 300483 w 302094"/>
                    <a:gd name="connsiteY9" fmla="*/ 195665 h 195665"/>
                    <a:gd name="connsiteX0" fmla="*/ 300483 w 302094"/>
                    <a:gd name="connsiteY0" fmla="*/ 195665 h 195665"/>
                    <a:gd name="connsiteX1" fmla="*/ 271908 w 302094"/>
                    <a:gd name="connsiteY1" fmla="*/ 121846 h 195665"/>
                    <a:gd name="connsiteX2" fmla="*/ 195708 w 302094"/>
                    <a:gd name="connsiteY2" fmla="*/ 112321 h 195665"/>
                    <a:gd name="connsiteX3" fmla="*/ 52833 w 302094"/>
                    <a:gd name="connsiteY3" fmla="*/ 105177 h 195665"/>
                    <a:gd name="connsiteX4" fmla="*/ 43307 w 302094"/>
                    <a:gd name="connsiteY4" fmla="*/ 126608 h 195665"/>
                    <a:gd name="connsiteX5" fmla="*/ 12352 w 302094"/>
                    <a:gd name="connsiteY5" fmla="*/ 171852 h 195665"/>
                    <a:gd name="connsiteX6" fmla="*/ 445 w 302094"/>
                    <a:gd name="connsiteY6" fmla="*/ 176615 h 195665"/>
                    <a:gd name="connsiteX7" fmla="*/ 98076 w 302094"/>
                    <a:gd name="connsiteY7" fmla="*/ 5165 h 195665"/>
                    <a:gd name="connsiteX8" fmla="*/ 214758 w 302094"/>
                    <a:gd name="connsiteY8" fmla="*/ 45646 h 195665"/>
                    <a:gd name="connsiteX9" fmla="*/ 300483 w 302094"/>
                    <a:gd name="connsiteY9" fmla="*/ 195665 h 195665"/>
                    <a:gd name="connsiteX0" fmla="*/ 300483 w 301906"/>
                    <a:gd name="connsiteY0" fmla="*/ 195665 h 195665"/>
                    <a:gd name="connsiteX1" fmla="*/ 271908 w 301906"/>
                    <a:gd name="connsiteY1" fmla="*/ 121846 h 195665"/>
                    <a:gd name="connsiteX2" fmla="*/ 195708 w 301906"/>
                    <a:gd name="connsiteY2" fmla="*/ 112321 h 195665"/>
                    <a:gd name="connsiteX3" fmla="*/ 52833 w 301906"/>
                    <a:gd name="connsiteY3" fmla="*/ 105177 h 195665"/>
                    <a:gd name="connsiteX4" fmla="*/ 43307 w 301906"/>
                    <a:gd name="connsiteY4" fmla="*/ 126608 h 195665"/>
                    <a:gd name="connsiteX5" fmla="*/ 12352 w 301906"/>
                    <a:gd name="connsiteY5" fmla="*/ 171852 h 195665"/>
                    <a:gd name="connsiteX6" fmla="*/ 445 w 301906"/>
                    <a:gd name="connsiteY6" fmla="*/ 176615 h 195665"/>
                    <a:gd name="connsiteX7" fmla="*/ 98076 w 301906"/>
                    <a:gd name="connsiteY7" fmla="*/ 5165 h 195665"/>
                    <a:gd name="connsiteX8" fmla="*/ 214758 w 301906"/>
                    <a:gd name="connsiteY8" fmla="*/ 45646 h 195665"/>
                    <a:gd name="connsiteX9" fmla="*/ 300483 w 301906"/>
                    <a:gd name="connsiteY9" fmla="*/ 195665 h 195665"/>
                    <a:gd name="connsiteX0" fmla="*/ 300483 w 301906"/>
                    <a:gd name="connsiteY0" fmla="*/ 195665 h 195665"/>
                    <a:gd name="connsiteX1" fmla="*/ 271908 w 301906"/>
                    <a:gd name="connsiteY1" fmla="*/ 121846 h 195665"/>
                    <a:gd name="connsiteX2" fmla="*/ 195708 w 301906"/>
                    <a:gd name="connsiteY2" fmla="*/ 112321 h 195665"/>
                    <a:gd name="connsiteX3" fmla="*/ 52833 w 301906"/>
                    <a:gd name="connsiteY3" fmla="*/ 105177 h 195665"/>
                    <a:gd name="connsiteX4" fmla="*/ 43307 w 301906"/>
                    <a:gd name="connsiteY4" fmla="*/ 126608 h 195665"/>
                    <a:gd name="connsiteX5" fmla="*/ 12352 w 301906"/>
                    <a:gd name="connsiteY5" fmla="*/ 171852 h 195665"/>
                    <a:gd name="connsiteX6" fmla="*/ 445 w 301906"/>
                    <a:gd name="connsiteY6" fmla="*/ 176615 h 195665"/>
                    <a:gd name="connsiteX7" fmla="*/ 98076 w 301906"/>
                    <a:gd name="connsiteY7" fmla="*/ 5165 h 195665"/>
                    <a:gd name="connsiteX8" fmla="*/ 214758 w 301906"/>
                    <a:gd name="connsiteY8" fmla="*/ 45646 h 195665"/>
                    <a:gd name="connsiteX9" fmla="*/ 300483 w 301906"/>
                    <a:gd name="connsiteY9" fmla="*/ 195665 h 1956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01906" h="195665">
                      <a:moveTo>
                        <a:pt x="300483" y="195665"/>
                      </a:moveTo>
                      <a:cubicBezTo>
                        <a:pt x="231426" y="159153"/>
                        <a:pt x="281433" y="146452"/>
                        <a:pt x="271908" y="121846"/>
                      </a:cubicBezTo>
                      <a:cubicBezTo>
                        <a:pt x="246508" y="130578"/>
                        <a:pt x="221108" y="115496"/>
                        <a:pt x="195708" y="112321"/>
                      </a:cubicBezTo>
                      <a:cubicBezTo>
                        <a:pt x="117127" y="138515"/>
                        <a:pt x="86170" y="124227"/>
                        <a:pt x="52833" y="105177"/>
                      </a:cubicBezTo>
                      <a:lnTo>
                        <a:pt x="43307" y="126608"/>
                      </a:lnTo>
                      <a:cubicBezTo>
                        <a:pt x="32989" y="141689"/>
                        <a:pt x="32195" y="178203"/>
                        <a:pt x="12352" y="171852"/>
                      </a:cubicBezTo>
                      <a:lnTo>
                        <a:pt x="445" y="176615"/>
                      </a:lnTo>
                      <a:cubicBezTo>
                        <a:pt x="-2730" y="105177"/>
                        <a:pt x="9176" y="22627"/>
                        <a:pt x="98076" y="5165"/>
                      </a:cubicBezTo>
                      <a:cubicBezTo>
                        <a:pt x="186976" y="-12297"/>
                        <a:pt x="204439" y="17864"/>
                        <a:pt x="214758" y="45646"/>
                      </a:cubicBezTo>
                      <a:cubicBezTo>
                        <a:pt x="302864" y="31358"/>
                        <a:pt x="305246" y="133753"/>
                        <a:pt x="300483" y="195665"/>
                      </a:cubicBezTo>
                      <a:close/>
                    </a:path>
                  </a:pathLst>
                </a:custGeom>
                <a:solidFill>
                  <a:sysClr val="windowText" lastClr="000000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472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Calibri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64" name="Rounded Rectangle 63"/>
              <p:cNvSpPr/>
              <p:nvPr/>
            </p:nvSpPr>
            <p:spPr bwMode="auto">
              <a:xfrm>
                <a:off x="8174481" y="1331501"/>
                <a:ext cx="877952" cy="719573"/>
              </a:xfrm>
              <a:prstGeom prst="roundRect">
                <a:avLst>
                  <a:gd name="adj" fmla="val 8466"/>
                </a:avLst>
              </a:prstGeom>
              <a:solidFill>
                <a:sysClr val="window" lastClr="FFFFFF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Calibri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65" name="Group 64"/>
              <p:cNvGrpSpPr/>
              <p:nvPr/>
            </p:nvGrpSpPr>
            <p:grpSpPr>
              <a:xfrm>
                <a:off x="8073545" y="1323731"/>
                <a:ext cx="1090143" cy="757908"/>
                <a:chOff x="7381716" y="3699474"/>
                <a:chExt cx="1230016" cy="855153"/>
              </a:xfrm>
            </p:grpSpPr>
            <p:sp>
              <p:nvSpPr>
                <p:cNvPr id="66" name="Freeform 20"/>
                <p:cNvSpPr>
                  <a:spLocks noEditPoints="1"/>
                </p:cNvSpPr>
                <p:nvPr/>
              </p:nvSpPr>
              <p:spPr bwMode="black">
                <a:xfrm>
                  <a:off x="7381716" y="3699474"/>
                  <a:ext cx="1230016" cy="855153"/>
                </a:xfrm>
                <a:custGeom>
                  <a:avLst/>
                  <a:gdLst/>
                  <a:ahLst/>
                  <a:cxnLst>
                    <a:cxn ang="0">
                      <a:pos x="774" y="456"/>
                    </a:cxn>
                    <a:cxn ang="0">
                      <a:pos x="774" y="36"/>
                    </a:cxn>
                    <a:cxn ang="0">
                      <a:pos x="737" y="0"/>
                    </a:cxn>
                    <a:cxn ang="0">
                      <a:pos x="107" y="0"/>
                    </a:cxn>
                    <a:cxn ang="0">
                      <a:pos x="71" y="36"/>
                    </a:cxn>
                    <a:cxn ang="0">
                      <a:pos x="71" y="456"/>
                    </a:cxn>
                    <a:cxn ang="0">
                      <a:pos x="0" y="544"/>
                    </a:cxn>
                    <a:cxn ang="0">
                      <a:pos x="44" y="588"/>
                    </a:cxn>
                    <a:cxn ang="0">
                      <a:pos x="800" y="588"/>
                    </a:cxn>
                    <a:cxn ang="0">
                      <a:pos x="844" y="544"/>
                    </a:cxn>
                    <a:cxn ang="0">
                      <a:pos x="774" y="456"/>
                    </a:cxn>
                    <a:cxn ang="0">
                      <a:pos x="481" y="554"/>
                    </a:cxn>
                    <a:cxn ang="0">
                      <a:pos x="350" y="554"/>
                    </a:cxn>
                    <a:cxn ang="0">
                      <a:pos x="337" y="547"/>
                    </a:cxn>
                    <a:cxn ang="0">
                      <a:pos x="352" y="519"/>
                    </a:cxn>
                    <a:cxn ang="0">
                      <a:pos x="363" y="514"/>
                    </a:cxn>
                    <a:cxn ang="0">
                      <a:pos x="468" y="514"/>
                    </a:cxn>
                    <a:cxn ang="0">
                      <a:pos x="478" y="519"/>
                    </a:cxn>
                    <a:cxn ang="0">
                      <a:pos x="494" y="547"/>
                    </a:cxn>
                    <a:cxn ang="0">
                      <a:pos x="481" y="554"/>
                    </a:cxn>
                    <a:cxn ang="0">
                      <a:pos x="748" y="456"/>
                    </a:cxn>
                    <a:cxn ang="0">
                      <a:pos x="99" y="456"/>
                    </a:cxn>
                    <a:cxn ang="0">
                      <a:pos x="99" y="42"/>
                    </a:cxn>
                    <a:cxn ang="0">
                      <a:pos x="117" y="24"/>
                    </a:cxn>
                    <a:cxn ang="0">
                      <a:pos x="730" y="24"/>
                    </a:cxn>
                    <a:cxn ang="0">
                      <a:pos x="748" y="42"/>
                    </a:cxn>
                    <a:cxn ang="0">
                      <a:pos x="748" y="456"/>
                    </a:cxn>
                  </a:cxnLst>
                  <a:rect l="0" t="0" r="r" b="b"/>
                  <a:pathLst>
                    <a:path w="844" h="588">
                      <a:moveTo>
                        <a:pt x="774" y="456"/>
                      </a:moveTo>
                      <a:cubicBezTo>
                        <a:pt x="774" y="36"/>
                        <a:pt x="774" y="36"/>
                        <a:pt x="774" y="36"/>
                      </a:cubicBezTo>
                      <a:cubicBezTo>
                        <a:pt x="774" y="16"/>
                        <a:pt x="757" y="0"/>
                        <a:pt x="737" y="0"/>
                      </a:cubicBezTo>
                      <a:cubicBezTo>
                        <a:pt x="107" y="0"/>
                        <a:pt x="107" y="0"/>
                        <a:pt x="107" y="0"/>
                      </a:cubicBezTo>
                      <a:cubicBezTo>
                        <a:pt x="87" y="0"/>
                        <a:pt x="71" y="16"/>
                        <a:pt x="71" y="36"/>
                      </a:cubicBezTo>
                      <a:cubicBezTo>
                        <a:pt x="71" y="456"/>
                        <a:pt x="71" y="456"/>
                        <a:pt x="71" y="456"/>
                      </a:cubicBezTo>
                      <a:cubicBezTo>
                        <a:pt x="0" y="544"/>
                        <a:pt x="0" y="544"/>
                        <a:pt x="0" y="544"/>
                      </a:cubicBezTo>
                      <a:cubicBezTo>
                        <a:pt x="0" y="568"/>
                        <a:pt x="20" y="588"/>
                        <a:pt x="44" y="588"/>
                      </a:cubicBezTo>
                      <a:cubicBezTo>
                        <a:pt x="800" y="588"/>
                        <a:pt x="800" y="588"/>
                        <a:pt x="800" y="588"/>
                      </a:cubicBezTo>
                      <a:cubicBezTo>
                        <a:pt x="824" y="588"/>
                        <a:pt x="844" y="568"/>
                        <a:pt x="844" y="544"/>
                      </a:cubicBezTo>
                      <a:lnTo>
                        <a:pt x="774" y="456"/>
                      </a:lnTo>
                      <a:close/>
                      <a:moveTo>
                        <a:pt x="481" y="554"/>
                      </a:moveTo>
                      <a:cubicBezTo>
                        <a:pt x="350" y="554"/>
                        <a:pt x="350" y="554"/>
                        <a:pt x="350" y="554"/>
                      </a:cubicBezTo>
                      <a:cubicBezTo>
                        <a:pt x="343" y="554"/>
                        <a:pt x="337" y="551"/>
                        <a:pt x="337" y="547"/>
                      </a:cubicBezTo>
                      <a:cubicBezTo>
                        <a:pt x="352" y="519"/>
                        <a:pt x="352" y="519"/>
                        <a:pt x="352" y="519"/>
                      </a:cubicBezTo>
                      <a:cubicBezTo>
                        <a:pt x="352" y="516"/>
                        <a:pt x="357" y="514"/>
                        <a:pt x="363" y="514"/>
                      </a:cubicBezTo>
                      <a:cubicBezTo>
                        <a:pt x="468" y="514"/>
                        <a:pt x="468" y="514"/>
                        <a:pt x="468" y="514"/>
                      </a:cubicBezTo>
                      <a:cubicBezTo>
                        <a:pt x="473" y="514"/>
                        <a:pt x="478" y="516"/>
                        <a:pt x="478" y="519"/>
                      </a:cubicBezTo>
                      <a:cubicBezTo>
                        <a:pt x="494" y="547"/>
                        <a:pt x="494" y="547"/>
                        <a:pt x="494" y="547"/>
                      </a:cubicBezTo>
                      <a:cubicBezTo>
                        <a:pt x="494" y="551"/>
                        <a:pt x="488" y="554"/>
                        <a:pt x="481" y="554"/>
                      </a:cubicBezTo>
                      <a:close/>
                      <a:moveTo>
                        <a:pt x="748" y="456"/>
                      </a:moveTo>
                      <a:cubicBezTo>
                        <a:pt x="99" y="456"/>
                        <a:pt x="99" y="456"/>
                        <a:pt x="99" y="456"/>
                      </a:cubicBezTo>
                      <a:cubicBezTo>
                        <a:pt x="99" y="42"/>
                        <a:pt x="99" y="42"/>
                        <a:pt x="99" y="42"/>
                      </a:cubicBezTo>
                      <a:cubicBezTo>
                        <a:pt x="99" y="32"/>
                        <a:pt x="107" y="24"/>
                        <a:pt x="117" y="24"/>
                      </a:cubicBezTo>
                      <a:cubicBezTo>
                        <a:pt x="730" y="24"/>
                        <a:pt x="730" y="24"/>
                        <a:pt x="730" y="24"/>
                      </a:cubicBezTo>
                      <a:cubicBezTo>
                        <a:pt x="740" y="24"/>
                        <a:pt x="748" y="32"/>
                        <a:pt x="748" y="42"/>
                      </a:cubicBezTo>
                      <a:lnTo>
                        <a:pt x="748" y="456"/>
                      </a:lnTo>
                      <a:close/>
                    </a:path>
                  </a:pathLst>
                </a:custGeom>
                <a:solidFill>
                  <a:srgbClr val="4F81BD"/>
                </a:solidFill>
                <a:extLst/>
              </p:spPr>
              <p:txBody>
                <a:bodyPr vert="horz" wrap="square" lIns="82305" tIns="41153" rIns="82305" bIns="4115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3231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endParaRPr>
                </a:p>
              </p:txBody>
            </p:sp>
            <p:grpSp>
              <p:nvGrpSpPr>
                <p:cNvPr id="67" name="Group 66"/>
                <p:cNvGrpSpPr/>
                <p:nvPr/>
              </p:nvGrpSpPr>
              <p:grpSpPr>
                <a:xfrm>
                  <a:off x="7559578" y="3772221"/>
                  <a:ext cx="508055" cy="321947"/>
                  <a:chOff x="4514106" y="3476226"/>
                  <a:chExt cx="697117" cy="441752"/>
                </a:xfrm>
              </p:grpSpPr>
              <p:sp>
                <p:nvSpPr>
                  <p:cNvPr id="68" name="Rectangle 67"/>
                  <p:cNvSpPr/>
                  <p:nvPr/>
                </p:nvSpPr>
                <p:spPr bwMode="auto">
                  <a:xfrm>
                    <a:off x="4514106" y="3703469"/>
                    <a:ext cx="219786" cy="213643"/>
                  </a:xfrm>
                  <a:prstGeom prst="rect">
                    <a:avLst/>
                  </a:prstGeom>
                  <a:solidFill>
                    <a:srgbClr val="4BACC6"/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32472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0" cap="none" spc="0" normalizeH="0" baseline="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Calibr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69" name="Rectangle 68"/>
                  <p:cNvSpPr/>
                  <p:nvPr/>
                </p:nvSpPr>
                <p:spPr bwMode="auto">
                  <a:xfrm>
                    <a:off x="4752723" y="3704335"/>
                    <a:ext cx="219787" cy="213643"/>
                  </a:xfrm>
                  <a:prstGeom prst="rect">
                    <a:avLst/>
                  </a:prstGeom>
                  <a:solidFill>
                    <a:srgbClr val="C0504D"/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32472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0" cap="none" spc="0" normalizeH="0" baseline="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Calibr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70" name="Rectangle 69"/>
                  <p:cNvSpPr/>
                  <p:nvPr/>
                </p:nvSpPr>
                <p:spPr bwMode="auto">
                  <a:xfrm>
                    <a:off x="4514106" y="3476226"/>
                    <a:ext cx="219786" cy="213643"/>
                  </a:xfrm>
                  <a:prstGeom prst="rect">
                    <a:avLst/>
                  </a:prstGeom>
                  <a:solidFill>
                    <a:srgbClr val="4F81BD"/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32472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0" cap="none" spc="0" normalizeH="0" baseline="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Calibr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71" name="Rectangle 70"/>
                  <p:cNvSpPr/>
                  <p:nvPr/>
                </p:nvSpPr>
                <p:spPr bwMode="auto">
                  <a:xfrm>
                    <a:off x="4752723" y="3476226"/>
                    <a:ext cx="219786" cy="213643"/>
                  </a:xfrm>
                  <a:prstGeom prst="rect">
                    <a:avLst/>
                  </a:prstGeom>
                  <a:solidFill>
                    <a:srgbClr val="9BBB59"/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32472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0" cap="none" spc="0" normalizeH="0" baseline="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Calibr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72" name="Rectangle 71"/>
                  <p:cNvSpPr/>
                  <p:nvPr/>
                </p:nvSpPr>
                <p:spPr bwMode="auto">
                  <a:xfrm>
                    <a:off x="4991436" y="3704335"/>
                    <a:ext cx="219787" cy="213643"/>
                  </a:xfrm>
                  <a:prstGeom prst="rect">
                    <a:avLst/>
                  </a:prstGeom>
                  <a:solidFill>
                    <a:srgbClr val="8064A2"/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32472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0" cap="none" spc="0" normalizeH="0" baseline="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Calibr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</p:grpSp>
          </p:grpSp>
        </p:grpSp>
        <p:grpSp>
          <p:nvGrpSpPr>
            <p:cNvPr id="43" name="Group 42"/>
            <p:cNvGrpSpPr/>
            <p:nvPr/>
          </p:nvGrpSpPr>
          <p:grpSpPr>
            <a:xfrm>
              <a:off x="4424579" y="2643746"/>
              <a:ext cx="789150" cy="817050"/>
              <a:chOff x="6604713" y="113297"/>
              <a:chExt cx="1147587" cy="1188158"/>
            </a:xfrm>
          </p:grpSpPr>
          <p:grpSp>
            <p:nvGrpSpPr>
              <p:cNvPr id="44" name="Group 43"/>
              <p:cNvGrpSpPr/>
              <p:nvPr/>
            </p:nvGrpSpPr>
            <p:grpSpPr>
              <a:xfrm>
                <a:off x="6604713" y="113297"/>
                <a:ext cx="756643" cy="1188158"/>
                <a:chOff x="7140575" y="303916"/>
                <a:chExt cx="825500" cy="1296284"/>
              </a:xfrm>
            </p:grpSpPr>
            <p:sp>
              <p:nvSpPr>
                <p:cNvPr id="55" name="Freeform 54"/>
                <p:cNvSpPr/>
                <p:nvPr/>
              </p:nvSpPr>
              <p:spPr bwMode="auto">
                <a:xfrm>
                  <a:off x="7366613" y="638175"/>
                  <a:ext cx="142262" cy="131258"/>
                </a:xfrm>
                <a:custGeom>
                  <a:avLst/>
                  <a:gdLst>
                    <a:gd name="connsiteX0" fmla="*/ 41275 w 123825"/>
                    <a:gd name="connsiteY0" fmla="*/ 0 h 127000"/>
                    <a:gd name="connsiteX1" fmla="*/ 0 w 123825"/>
                    <a:gd name="connsiteY1" fmla="*/ 34925 h 127000"/>
                    <a:gd name="connsiteX2" fmla="*/ 104775 w 123825"/>
                    <a:gd name="connsiteY2" fmla="*/ 127000 h 127000"/>
                    <a:gd name="connsiteX3" fmla="*/ 123825 w 123825"/>
                    <a:gd name="connsiteY3" fmla="*/ 15875 h 127000"/>
                    <a:gd name="connsiteX4" fmla="*/ 41275 w 123825"/>
                    <a:gd name="connsiteY4" fmla="*/ 0 h 127000"/>
                    <a:gd name="connsiteX0" fmla="*/ 57150 w 139700"/>
                    <a:gd name="connsiteY0" fmla="*/ 0 h 127000"/>
                    <a:gd name="connsiteX1" fmla="*/ 0 w 139700"/>
                    <a:gd name="connsiteY1" fmla="*/ 34925 h 127000"/>
                    <a:gd name="connsiteX2" fmla="*/ 120650 w 139700"/>
                    <a:gd name="connsiteY2" fmla="*/ 127000 h 127000"/>
                    <a:gd name="connsiteX3" fmla="*/ 139700 w 139700"/>
                    <a:gd name="connsiteY3" fmla="*/ 15875 h 127000"/>
                    <a:gd name="connsiteX4" fmla="*/ 57150 w 139700"/>
                    <a:gd name="connsiteY4" fmla="*/ 0 h 127000"/>
                    <a:gd name="connsiteX0" fmla="*/ 57150 w 139700"/>
                    <a:gd name="connsiteY0" fmla="*/ 0 h 127000"/>
                    <a:gd name="connsiteX1" fmla="*/ 0 w 139700"/>
                    <a:gd name="connsiteY1" fmla="*/ 34925 h 127000"/>
                    <a:gd name="connsiteX2" fmla="*/ 120650 w 139700"/>
                    <a:gd name="connsiteY2" fmla="*/ 127000 h 127000"/>
                    <a:gd name="connsiteX3" fmla="*/ 139700 w 139700"/>
                    <a:gd name="connsiteY3" fmla="*/ 15875 h 127000"/>
                    <a:gd name="connsiteX4" fmla="*/ 57150 w 139700"/>
                    <a:gd name="connsiteY4" fmla="*/ 0 h 127000"/>
                    <a:gd name="connsiteX0" fmla="*/ 59779 w 142329"/>
                    <a:gd name="connsiteY0" fmla="*/ 0 h 127000"/>
                    <a:gd name="connsiteX1" fmla="*/ 2629 w 142329"/>
                    <a:gd name="connsiteY1" fmla="*/ 34925 h 127000"/>
                    <a:gd name="connsiteX2" fmla="*/ 123279 w 142329"/>
                    <a:gd name="connsiteY2" fmla="*/ 127000 h 127000"/>
                    <a:gd name="connsiteX3" fmla="*/ 142329 w 142329"/>
                    <a:gd name="connsiteY3" fmla="*/ 15875 h 127000"/>
                    <a:gd name="connsiteX4" fmla="*/ 59779 w 142329"/>
                    <a:gd name="connsiteY4" fmla="*/ 0 h 127000"/>
                    <a:gd name="connsiteX0" fmla="*/ 59712 w 142262"/>
                    <a:gd name="connsiteY0" fmla="*/ 0 h 131258"/>
                    <a:gd name="connsiteX1" fmla="*/ 2562 w 142262"/>
                    <a:gd name="connsiteY1" fmla="*/ 34925 h 131258"/>
                    <a:gd name="connsiteX2" fmla="*/ 123212 w 142262"/>
                    <a:gd name="connsiteY2" fmla="*/ 127000 h 131258"/>
                    <a:gd name="connsiteX3" fmla="*/ 142262 w 142262"/>
                    <a:gd name="connsiteY3" fmla="*/ 15875 h 131258"/>
                    <a:gd name="connsiteX4" fmla="*/ 59712 w 142262"/>
                    <a:gd name="connsiteY4" fmla="*/ 0 h 1312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2262" h="131258">
                      <a:moveTo>
                        <a:pt x="59712" y="0"/>
                      </a:moveTo>
                      <a:cubicBezTo>
                        <a:pt x="78762" y="94192"/>
                        <a:pt x="21612" y="23283"/>
                        <a:pt x="2562" y="34925"/>
                      </a:cubicBezTo>
                      <a:cubicBezTo>
                        <a:pt x="-17546" y="144992"/>
                        <a:pt x="86170" y="134408"/>
                        <a:pt x="123212" y="127000"/>
                      </a:cubicBezTo>
                      <a:lnTo>
                        <a:pt x="142262" y="15875"/>
                      </a:lnTo>
                      <a:lnTo>
                        <a:pt x="59712" y="0"/>
                      </a:lnTo>
                      <a:close/>
                    </a:path>
                  </a:pathLst>
                </a:custGeom>
                <a:solidFill>
                  <a:sysClr val="windowText" lastClr="000000">
                    <a:lumMod val="95000"/>
                    <a:lumOff val="5000"/>
                  </a:sysClr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472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Calibr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56" name="Freeform 55"/>
                <p:cNvSpPr/>
                <p:nvPr/>
              </p:nvSpPr>
              <p:spPr bwMode="auto">
                <a:xfrm flipH="1">
                  <a:off x="7623788" y="638175"/>
                  <a:ext cx="142262" cy="131258"/>
                </a:xfrm>
                <a:custGeom>
                  <a:avLst/>
                  <a:gdLst>
                    <a:gd name="connsiteX0" fmla="*/ 41275 w 123825"/>
                    <a:gd name="connsiteY0" fmla="*/ 0 h 127000"/>
                    <a:gd name="connsiteX1" fmla="*/ 0 w 123825"/>
                    <a:gd name="connsiteY1" fmla="*/ 34925 h 127000"/>
                    <a:gd name="connsiteX2" fmla="*/ 104775 w 123825"/>
                    <a:gd name="connsiteY2" fmla="*/ 127000 h 127000"/>
                    <a:gd name="connsiteX3" fmla="*/ 123825 w 123825"/>
                    <a:gd name="connsiteY3" fmla="*/ 15875 h 127000"/>
                    <a:gd name="connsiteX4" fmla="*/ 41275 w 123825"/>
                    <a:gd name="connsiteY4" fmla="*/ 0 h 127000"/>
                    <a:gd name="connsiteX0" fmla="*/ 57150 w 139700"/>
                    <a:gd name="connsiteY0" fmla="*/ 0 h 127000"/>
                    <a:gd name="connsiteX1" fmla="*/ 0 w 139700"/>
                    <a:gd name="connsiteY1" fmla="*/ 34925 h 127000"/>
                    <a:gd name="connsiteX2" fmla="*/ 120650 w 139700"/>
                    <a:gd name="connsiteY2" fmla="*/ 127000 h 127000"/>
                    <a:gd name="connsiteX3" fmla="*/ 139700 w 139700"/>
                    <a:gd name="connsiteY3" fmla="*/ 15875 h 127000"/>
                    <a:gd name="connsiteX4" fmla="*/ 57150 w 139700"/>
                    <a:gd name="connsiteY4" fmla="*/ 0 h 127000"/>
                    <a:gd name="connsiteX0" fmla="*/ 57150 w 139700"/>
                    <a:gd name="connsiteY0" fmla="*/ 0 h 127000"/>
                    <a:gd name="connsiteX1" fmla="*/ 0 w 139700"/>
                    <a:gd name="connsiteY1" fmla="*/ 34925 h 127000"/>
                    <a:gd name="connsiteX2" fmla="*/ 120650 w 139700"/>
                    <a:gd name="connsiteY2" fmla="*/ 127000 h 127000"/>
                    <a:gd name="connsiteX3" fmla="*/ 139700 w 139700"/>
                    <a:gd name="connsiteY3" fmla="*/ 15875 h 127000"/>
                    <a:gd name="connsiteX4" fmla="*/ 57150 w 139700"/>
                    <a:gd name="connsiteY4" fmla="*/ 0 h 127000"/>
                    <a:gd name="connsiteX0" fmla="*/ 59779 w 142329"/>
                    <a:gd name="connsiteY0" fmla="*/ 0 h 127000"/>
                    <a:gd name="connsiteX1" fmla="*/ 2629 w 142329"/>
                    <a:gd name="connsiteY1" fmla="*/ 34925 h 127000"/>
                    <a:gd name="connsiteX2" fmla="*/ 123279 w 142329"/>
                    <a:gd name="connsiteY2" fmla="*/ 127000 h 127000"/>
                    <a:gd name="connsiteX3" fmla="*/ 142329 w 142329"/>
                    <a:gd name="connsiteY3" fmla="*/ 15875 h 127000"/>
                    <a:gd name="connsiteX4" fmla="*/ 59779 w 142329"/>
                    <a:gd name="connsiteY4" fmla="*/ 0 h 127000"/>
                    <a:gd name="connsiteX0" fmla="*/ 59712 w 142262"/>
                    <a:gd name="connsiteY0" fmla="*/ 0 h 131258"/>
                    <a:gd name="connsiteX1" fmla="*/ 2562 w 142262"/>
                    <a:gd name="connsiteY1" fmla="*/ 34925 h 131258"/>
                    <a:gd name="connsiteX2" fmla="*/ 123212 w 142262"/>
                    <a:gd name="connsiteY2" fmla="*/ 127000 h 131258"/>
                    <a:gd name="connsiteX3" fmla="*/ 142262 w 142262"/>
                    <a:gd name="connsiteY3" fmla="*/ 15875 h 131258"/>
                    <a:gd name="connsiteX4" fmla="*/ 59712 w 142262"/>
                    <a:gd name="connsiteY4" fmla="*/ 0 h 1312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2262" h="131258">
                      <a:moveTo>
                        <a:pt x="59712" y="0"/>
                      </a:moveTo>
                      <a:cubicBezTo>
                        <a:pt x="78762" y="94192"/>
                        <a:pt x="21612" y="23283"/>
                        <a:pt x="2562" y="34925"/>
                      </a:cubicBezTo>
                      <a:cubicBezTo>
                        <a:pt x="-17546" y="144992"/>
                        <a:pt x="86170" y="134408"/>
                        <a:pt x="123212" y="127000"/>
                      </a:cubicBezTo>
                      <a:lnTo>
                        <a:pt x="142262" y="15875"/>
                      </a:lnTo>
                      <a:lnTo>
                        <a:pt x="59712" y="0"/>
                      </a:lnTo>
                      <a:close/>
                    </a:path>
                  </a:pathLst>
                </a:custGeom>
                <a:solidFill>
                  <a:sysClr val="windowText" lastClr="000000">
                    <a:lumMod val="95000"/>
                    <a:lumOff val="5000"/>
                  </a:sysClr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472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Calibr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57" name="Rectangle 56"/>
                <p:cNvSpPr/>
                <p:nvPr/>
              </p:nvSpPr>
              <p:spPr bwMode="auto">
                <a:xfrm>
                  <a:off x="7477125" y="784225"/>
                  <a:ext cx="164306" cy="407987"/>
                </a:xfrm>
                <a:prstGeom prst="rect">
                  <a:avLst/>
                </a:prstGeom>
                <a:solidFill>
                  <a:sysClr val="window" lastClr="FFFFFF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472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Calibr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58" name="Rounded Rectangle 57"/>
                <p:cNvSpPr/>
                <p:nvPr/>
              </p:nvSpPr>
              <p:spPr bwMode="auto">
                <a:xfrm>
                  <a:off x="7877175" y="1395413"/>
                  <a:ext cx="76200" cy="123825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FFC000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472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Calibr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59" name="Rounded Rectangle 58"/>
                <p:cNvSpPr/>
                <p:nvPr/>
              </p:nvSpPr>
              <p:spPr bwMode="auto">
                <a:xfrm>
                  <a:off x="7159572" y="1395413"/>
                  <a:ext cx="76200" cy="123825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FFC000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472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Calibr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60" name="Freeform 59"/>
                <p:cNvSpPr/>
                <p:nvPr/>
              </p:nvSpPr>
              <p:spPr bwMode="auto">
                <a:xfrm>
                  <a:off x="7140575" y="784225"/>
                  <a:ext cx="825500" cy="815975"/>
                </a:xfrm>
                <a:custGeom>
                  <a:avLst/>
                  <a:gdLst>
                    <a:gd name="connsiteX0" fmla="*/ 336550 w 825500"/>
                    <a:gd name="connsiteY0" fmla="*/ 0 h 815975"/>
                    <a:gd name="connsiteX1" fmla="*/ 415925 w 825500"/>
                    <a:gd name="connsiteY1" fmla="*/ 574675 h 815975"/>
                    <a:gd name="connsiteX2" fmla="*/ 492125 w 825500"/>
                    <a:gd name="connsiteY2" fmla="*/ 3175 h 815975"/>
                    <a:gd name="connsiteX3" fmla="*/ 676275 w 825500"/>
                    <a:gd name="connsiteY3" fmla="*/ 19050 h 815975"/>
                    <a:gd name="connsiteX4" fmla="*/ 825500 w 825500"/>
                    <a:gd name="connsiteY4" fmla="*/ 654050 h 815975"/>
                    <a:gd name="connsiteX5" fmla="*/ 717550 w 825500"/>
                    <a:gd name="connsiteY5" fmla="*/ 657225 h 815975"/>
                    <a:gd name="connsiteX6" fmla="*/ 676275 w 825500"/>
                    <a:gd name="connsiteY6" fmla="*/ 285750 h 815975"/>
                    <a:gd name="connsiteX7" fmla="*/ 638175 w 825500"/>
                    <a:gd name="connsiteY7" fmla="*/ 815975 h 815975"/>
                    <a:gd name="connsiteX8" fmla="*/ 187325 w 825500"/>
                    <a:gd name="connsiteY8" fmla="*/ 815975 h 815975"/>
                    <a:gd name="connsiteX9" fmla="*/ 171450 w 825500"/>
                    <a:gd name="connsiteY9" fmla="*/ 285750 h 815975"/>
                    <a:gd name="connsiteX10" fmla="*/ 98425 w 825500"/>
                    <a:gd name="connsiteY10" fmla="*/ 657225 h 815975"/>
                    <a:gd name="connsiteX11" fmla="*/ 0 w 825500"/>
                    <a:gd name="connsiteY11" fmla="*/ 657225 h 815975"/>
                    <a:gd name="connsiteX12" fmla="*/ 149225 w 825500"/>
                    <a:gd name="connsiteY12" fmla="*/ 28575 h 815975"/>
                    <a:gd name="connsiteX13" fmla="*/ 336550 w 825500"/>
                    <a:gd name="connsiteY13" fmla="*/ 0 h 815975"/>
                    <a:gd name="connsiteX0" fmla="*/ 336550 w 825500"/>
                    <a:gd name="connsiteY0" fmla="*/ 0 h 815975"/>
                    <a:gd name="connsiteX1" fmla="*/ 415925 w 825500"/>
                    <a:gd name="connsiteY1" fmla="*/ 574675 h 815975"/>
                    <a:gd name="connsiteX2" fmla="*/ 492125 w 825500"/>
                    <a:gd name="connsiteY2" fmla="*/ 3175 h 815975"/>
                    <a:gd name="connsiteX3" fmla="*/ 676275 w 825500"/>
                    <a:gd name="connsiteY3" fmla="*/ 19050 h 815975"/>
                    <a:gd name="connsiteX4" fmla="*/ 825500 w 825500"/>
                    <a:gd name="connsiteY4" fmla="*/ 654050 h 815975"/>
                    <a:gd name="connsiteX5" fmla="*/ 717550 w 825500"/>
                    <a:gd name="connsiteY5" fmla="*/ 657225 h 815975"/>
                    <a:gd name="connsiteX6" fmla="*/ 676275 w 825500"/>
                    <a:gd name="connsiteY6" fmla="*/ 285750 h 815975"/>
                    <a:gd name="connsiteX7" fmla="*/ 638175 w 825500"/>
                    <a:gd name="connsiteY7" fmla="*/ 815975 h 815975"/>
                    <a:gd name="connsiteX8" fmla="*/ 187325 w 825500"/>
                    <a:gd name="connsiteY8" fmla="*/ 815975 h 815975"/>
                    <a:gd name="connsiteX9" fmla="*/ 171450 w 825500"/>
                    <a:gd name="connsiteY9" fmla="*/ 285750 h 815975"/>
                    <a:gd name="connsiteX10" fmla="*/ 98425 w 825500"/>
                    <a:gd name="connsiteY10" fmla="*/ 657225 h 815975"/>
                    <a:gd name="connsiteX11" fmla="*/ 0 w 825500"/>
                    <a:gd name="connsiteY11" fmla="*/ 657225 h 815975"/>
                    <a:gd name="connsiteX12" fmla="*/ 149225 w 825500"/>
                    <a:gd name="connsiteY12" fmla="*/ 28575 h 815975"/>
                    <a:gd name="connsiteX13" fmla="*/ 336550 w 825500"/>
                    <a:gd name="connsiteY13" fmla="*/ 0 h 815975"/>
                    <a:gd name="connsiteX0" fmla="*/ 336550 w 825500"/>
                    <a:gd name="connsiteY0" fmla="*/ 0 h 815975"/>
                    <a:gd name="connsiteX1" fmla="*/ 415925 w 825500"/>
                    <a:gd name="connsiteY1" fmla="*/ 574675 h 815975"/>
                    <a:gd name="connsiteX2" fmla="*/ 492125 w 825500"/>
                    <a:gd name="connsiteY2" fmla="*/ 3175 h 815975"/>
                    <a:gd name="connsiteX3" fmla="*/ 676275 w 825500"/>
                    <a:gd name="connsiteY3" fmla="*/ 19050 h 815975"/>
                    <a:gd name="connsiteX4" fmla="*/ 825500 w 825500"/>
                    <a:gd name="connsiteY4" fmla="*/ 654050 h 815975"/>
                    <a:gd name="connsiteX5" fmla="*/ 717550 w 825500"/>
                    <a:gd name="connsiteY5" fmla="*/ 657225 h 815975"/>
                    <a:gd name="connsiteX6" fmla="*/ 676275 w 825500"/>
                    <a:gd name="connsiteY6" fmla="*/ 285750 h 815975"/>
                    <a:gd name="connsiteX7" fmla="*/ 638175 w 825500"/>
                    <a:gd name="connsiteY7" fmla="*/ 815975 h 815975"/>
                    <a:gd name="connsiteX8" fmla="*/ 187325 w 825500"/>
                    <a:gd name="connsiteY8" fmla="*/ 815975 h 815975"/>
                    <a:gd name="connsiteX9" fmla="*/ 171450 w 825500"/>
                    <a:gd name="connsiteY9" fmla="*/ 285750 h 815975"/>
                    <a:gd name="connsiteX10" fmla="*/ 98425 w 825500"/>
                    <a:gd name="connsiteY10" fmla="*/ 657225 h 815975"/>
                    <a:gd name="connsiteX11" fmla="*/ 0 w 825500"/>
                    <a:gd name="connsiteY11" fmla="*/ 657225 h 815975"/>
                    <a:gd name="connsiteX12" fmla="*/ 149225 w 825500"/>
                    <a:gd name="connsiteY12" fmla="*/ 28575 h 815975"/>
                    <a:gd name="connsiteX13" fmla="*/ 336550 w 825500"/>
                    <a:gd name="connsiteY13" fmla="*/ 0 h 815975"/>
                    <a:gd name="connsiteX0" fmla="*/ 336550 w 825500"/>
                    <a:gd name="connsiteY0" fmla="*/ 0 h 815975"/>
                    <a:gd name="connsiteX1" fmla="*/ 415925 w 825500"/>
                    <a:gd name="connsiteY1" fmla="*/ 574675 h 815975"/>
                    <a:gd name="connsiteX2" fmla="*/ 492125 w 825500"/>
                    <a:gd name="connsiteY2" fmla="*/ 3175 h 815975"/>
                    <a:gd name="connsiteX3" fmla="*/ 676275 w 825500"/>
                    <a:gd name="connsiteY3" fmla="*/ 19050 h 815975"/>
                    <a:gd name="connsiteX4" fmla="*/ 825500 w 825500"/>
                    <a:gd name="connsiteY4" fmla="*/ 654050 h 815975"/>
                    <a:gd name="connsiteX5" fmla="*/ 717550 w 825500"/>
                    <a:gd name="connsiteY5" fmla="*/ 657225 h 815975"/>
                    <a:gd name="connsiteX6" fmla="*/ 676275 w 825500"/>
                    <a:gd name="connsiteY6" fmla="*/ 285750 h 815975"/>
                    <a:gd name="connsiteX7" fmla="*/ 638175 w 825500"/>
                    <a:gd name="connsiteY7" fmla="*/ 815975 h 815975"/>
                    <a:gd name="connsiteX8" fmla="*/ 187325 w 825500"/>
                    <a:gd name="connsiteY8" fmla="*/ 815975 h 815975"/>
                    <a:gd name="connsiteX9" fmla="*/ 171450 w 825500"/>
                    <a:gd name="connsiteY9" fmla="*/ 285750 h 815975"/>
                    <a:gd name="connsiteX10" fmla="*/ 98425 w 825500"/>
                    <a:gd name="connsiteY10" fmla="*/ 657225 h 815975"/>
                    <a:gd name="connsiteX11" fmla="*/ 0 w 825500"/>
                    <a:gd name="connsiteY11" fmla="*/ 657225 h 815975"/>
                    <a:gd name="connsiteX12" fmla="*/ 149225 w 825500"/>
                    <a:gd name="connsiteY12" fmla="*/ 28575 h 815975"/>
                    <a:gd name="connsiteX13" fmla="*/ 336550 w 825500"/>
                    <a:gd name="connsiteY13" fmla="*/ 0 h 815975"/>
                    <a:gd name="connsiteX0" fmla="*/ 336550 w 825500"/>
                    <a:gd name="connsiteY0" fmla="*/ 0 h 815975"/>
                    <a:gd name="connsiteX1" fmla="*/ 415925 w 825500"/>
                    <a:gd name="connsiteY1" fmla="*/ 574675 h 815975"/>
                    <a:gd name="connsiteX2" fmla="*/ 492125 w 825500"/>
                    <a:gd name="connsiteY2" fmla="*/ 3175 h 815975"/>
                    <a:gd name="connsiteX3" fmla="*/ 676275 w 825500"/>
                    <a:gd name="connsiteY3" fmla="*/ 19050 h 815975"/>
                    <a:gd name="connsiteX4" fmla="*/ 825500 w 825500"/>
                    <a:gd name="connsiteY4" fmla="*/ 654050 h 815975"/>
                    <a:gd name="connsiteX5" fmla="*/ 717550 w 825500"/>
                    <a:gd name="connsiteY5" fmla="*/ 657225 h 815975"/>
                    <a:gd name="connsiteX6" fmla="*/ 676275 w 825500"/>
                    <a:gd name="connsiteY6" fmla="*/ 285750 h 815975"/>
                    <a:gd name="connsiteX7" fmla="*/ 638175 w 825500"/>
                    <a:gd name="connsiteY7" fmla="*/ 815975 h 815975"/>
                    <a:gd name="connsiteX8" fmla="*/ 187325 w 825500"/>
                    <a:gd name="connsiteY8" fmla="*/ 815975 h 815975"/>
                    <a:gd name="connsiteX9" fmla="*/ 171450 w 825500"/>
                    <a:gd name="connsiteY9" fmla="*/ 285750 h 815975"/>
                    <a:gd name="connsiteX10" fmla="*/ 98425 w 825500"/>
                    <a:gd name="connsiteY10" fmla="*/ 657225 h 815975"/>
                    <a:gd name="connsiteX11" fmla="*/ 0 w 825500"/>
                    <a:gd name="connsiteY11" fmla="*/ 657225 h 815975"/>
                    <a:gd name="connsiteX12" fmla="*/ 149225 w 825500"/>
                    <a:gd name="connsiteY12" fmla="*/ 28575 h 815975"/>
                    <a:gd name="connsiteX13" fmla="*/ 336550 w 825500"/>
                    <a:gd name="connsiteY13" fmla="*/ 0 h 815975"/>
                    <a:gd name="connsiteX0" fmla="*/ 336550 w 825500"/>
                    <a:gd name="connsiteY0" fmla="*/ 0 h 815975"/>
                    <a:gd name="connsiteX1" fmla="*/ 415925 w 825500"/>
                    <a:gd name="connsiteY1" fmla="*/ 574675 h 815975"/>
                    <a:gd name="connsiteX2" fmla="*/ 492125 w 825500"/>
                    <a:gd name="connsiteY2" fmla="*/ 3175 h 815975"/>
                    <a:gd name="connsiteX3" fmla="*/ 676275 w 825500"/>
                    <a:gd name="connsiteY3" fmla="*/ 19050 h 815975"/>
                    <a:gd name="connsiteX4" fmla="*/ 825500 w 825500"/>
                    <a:gd name="connsiteY4" fmla="*/ 654050 h 815975"/>
                    <a:gd name="connsiteX5" fmla="*/ 717550 w 825500"/>
                    <a:gd name="connsiteY5" fmla="*/ 657225 h 815975"/>
                    <a:gd name="connsiteX6" fmla="*/ 666750 w 825500"/>
                    <a:gd name="connsiteY6" fmla="*/ 285750 h 815975"/>
                    <a:gd name="connsiteX7" fmla="*/ 638175 w 825500"/>
                    <a:gd name="connsiteY7" fmla="*/ 815975 h 815975"/>
                    <a:gd name="connsiteX8" fmla="*/ 187325 w 825500"/>
                    <a:gd name="connsiteY8" fmla="*/ 815975 h 815975"/>
                    <a:gd name="connsiteX9" fmla="*/ 171450 w 825500"/>
                    <a:gd name="connsiteY9" fmla="*/ 285750 h 815975"/>
                    <a:gd name="connsiteX10" fmla="*/ 98425 w 825500"/>
                    <a:gd name="connsiteY10" fmla="*/ 657225 h 815975"/>
                    <a:gd name="connsiteX11" fmla="*/ 0 w 825500"/>
                    <a:gd name="connsiteY11" fmla="*/ 657225 h 815975"/>
                    <a:gd name="connsiteX12" fmla="*/ 149225 w 825500"/>
                    <a:gd name="connsiteY12" fmla="*/ 28575 h 815975"/>
                    <a:gd name="connsiteX13" fmla="*/ 336550 w 825500"/>
                    <a:gd name="connsiteY13" fmla="*/ 0 h 815975"/>
                    <a:gd name="connsiteX0" fmla="*/ 336550 w 825500"/>
                    <a:gd name="connsiteY0" fmla="*/ 0 h 815975"/>
                    <a:gd name="connsiteX1" fmla="*/ 415925 w 825500"/>
                    <a:gd name="connsiteY1" fmla="*/ 574675 h 815975"/>
                    <a:gd name="connsiteX2" fmla="*/ 492125 w 825500"/>
                    <a:gd name="connsiteY2" fmla="*/ 3175 h 815975"/>
                    <a:gd name="connsiteX3" fmla="*/ 676275 w 825500"/>
                    <a:gd name="connsiteY3" fmla="*/ 19050 h 815975"/>
                    <a:gd name="connsiteX4" fmla="*/ 825500 w 825500"/>
                    <a:gd name="connsiteY4" fmla="*/ 654050 h 815975"/>
                    <a:gd name="connsiteX5" fmla="*/ 717550 w 825500"/>
                    <a:gd name="connsiteY5" fmla="*/ 657225 h 815975"/>
                    <a:gd name="connsiteX6" fmla="*/ 666750 w 825500"/>
                    <a:gd name="connsiteY6" fmla="*/ 285750 h 815975"/>
                    <a:gd name="connsiteX7" fmla="*/ 638175 w 825500"/>
                    <a:gd name="connsiteY7" fmla="*/ 815975 h 815975"/>
                    <a:gd name="connsiteX8" fmla="*/ 187325 w 825500"/>
                    <a:gd name="connsiteY8" fmla="*/ 815975 h 815975"/>
                    <a:gd name="connsiteX9" fmla="*/ 171450 w 825500"/>
                    <a:gd name="connsiteY9" fmla="*/ 285750 h 815975"/>
                    <a:gd name="connsiteX10" fmla="*/ 98425 w 825500"/>
                    <a:gd name="connsiteY10" fmla="*/ 657225 h 815975"/>
                    <a:gd name="connsiteX11" fmla="*/ 0 w 825500"/>
                    <a:gd name="connsiteY11" fmla="*/ 657225 h 815975"/>
                    <a:gd name="connsiteX12" fmla="*/ 149225 w 825500"/>
                    <a:gd name="connsiteY12" fmla="*/ 28575 h 815975"/>
                    <a:gd name="connsiteX13" fmla="*/ 336550 w 825500"/>
                    <a:gd name="connsiteY13" fmla="*/ 0 h 815975"/>
                    <a:gd name="connsiteX0" fmla="*/ 336550 w 825500"/>
                    <a:gd name="connsiteY0" fmla="*/ 0 h 815975"/>
                    <a:gd name="connsiteX1" fmla="*/ 415925 w 825500"/>
                    <a:gd name="connsiteY1" fmla="*/ 574675 h 815975"/>
                    <a:gd name="connsiteX2" fmla="*/ 492125 w 825500"/>
                    <a:gd name="connsiteY2" fmla="*/ 3175 h 815975"/>
                    <a:gd name="connsiteX3" fmla="*/ 676275 w 825500"/>
                    <a:gd name="connsiteY3" fmla="*/ 19050 h 815975"/>
                    <a:gd name="connsiteX4" fmla="*/ 825500 w 825500"/>
                    <a:gd name="connsiteY4" fmla="*/ 654050 h 815975"/>
                    <a:gd name="connsiteX5" fmla="*/ 717550 w 825500"/>
                    <a:gd name="connsiteY5" fmla="*/ 657225 h 815975"/>
                    <a:gd name="connsiteX6" fmla="*/ 666750 w 825500"/>
                    <a:gd name="connsiteY6" fmla="*/ 285750 h 815975"/>
                    <a:gd name="connsiteX7" fmla="*/ 638175 w 825500"/>
                    <a:gd name="connsiteY7" fmla="*/ 815975 h 815975"/>
                    <a:gd name="connsiteX8" fmla="*/ 187325 w 825500"/>
                    <a:gd name="connsiteY8" fmla="*/ 815975 h 815975"/>
                    <a:gd name="connsiteX9" fmla="*/ 171450 w 825500"/>
                    <a:gd name="connsiteY9" fmla="*/ 285750 h 815975"/>
                    <a:gd name="connsiteX10" fmla="*/ 98425 w 825500"/>
                    <a:gd name="connsiteY10" fmla="*/ 657225 h 815975"/>
                    <a:gd name="connsiteX11" fmla="*/ 0 w 825500"/>
                    <a:gd name="connsiteY11" fmla="*/ 657225 h 815975"/>
                    <a:gd name="connsiteX12" fmla="*/ 149225 w 825500"/>
                    <a:gd name="connsiteY12" fmla="*/ 28575 h 815975"/>
                    <a:gd name="connsiteX13" fmla="*/ 336550 w 825500"/>
                    <a:gd name="connsiteY13" fmla="*/ 0 h 815975"/>
                    <a:gd name="connsiteX0" fmla="*/ 336550 w 825500"/>
                    <a:gd name="connsiteY0" fmla="*/ 0 h 815975"/>
                    <a:gd name="connsiteX1" fmla="*/ 415925 w 825500"/>
                    <a:gd name="connsiteY1" fmla="*/ 574675 h 815975"/>
                    <a:gd name="connsiteX2" fmla="*/ 492125 w 825500"/>
                    <a:gd name="connsiteY2" fmla="*/ 3175 h 815975"/>
                    <a:gd name="connsiteX3" fmla="*/ 676275 w 825500"/>
                    <a:gd name="connsiteY3" fmla="*/ 19050 h 815975"/>
                    <a:gd name="connsiteX4" fmla="*/ 825500 w 825500"/>
                    <a:gd name="connsiteY4" fmla="*/ 654050 h 815975"/>
                    <a:gd name="connsiteX5" fmla="*/ 717550 w 825500"/>
                    <a:gd name="connsiteY5" fmla="*/ 657225 h 815975"/>
                    <a:gd name="connsiteX6" fmla="*/ 666750 w 825500"/>
                    <a:gd name="connsiteY6" fmla="*/ 285750 h 815975"/>
                    <a:gd name="connsiteX7" fmla="*/ 638175 w 825500"/>
                    <a:gd name="connsiteY7" fmla="*/ 815975 h 815975"/>
                    <a:gd name="connsiteX8" fmla="*/ 187325 w 825500"/>
                    <a:gd name="connsiteY8" fmla="*/ 815975 h 815975"/>
                    <a:gd name="connsiteX9" fmla="*/ 171450 w 825500"/>
                    <a:gd name="connsiteY9" fmla="*/ 285750 h 815975"/>
                    <a:gd name="connsiteX10" fmla="*/ 98425 w 825500"/>
                    <a:gd name="connsiteY10" fmla="*/ 657225 h 815975"/>
                    <a:gd name="connsiteX11" fmla="*/ 0 w 825500"/>
                    <a:gd name="connsiteY11" fmla="*/ 657225 h 815975"/>
                    <a:gd name="connsiteX12" fmla="*/ 149225 w 825500"/>
                    <a:gd name="connsiteY12" fmla="*/ 28575 h 815975"/>
                    <a:gd name="connsiteX13" fmla="*/ 336550 w 825500"/>
                    <a:gd name="connsiteY13" fmla="*/ 0 h 815975"/>
                    <a:gd name="connsiteX0" fmla="*/ 336550 w 825500"/>
                    <a:gd name="connsiteY0" fmla="*/ 0 h 815975"/>
                    <a:gd name="connsiteX1" fmla="*/ 415925 w 825500"/>
                    <a:gd name="connsiteY1" fmla="*/ 574675 h 815975"/>
                    <a:gd name="connsiteX2" fmla="*/ 492125 w 825500"/>
                    <a:gd name="connsiteY2" fmla="*/ 3175 h 815975"/>
                    <a:gd name="connsiteX3" fmla="*/ 676275 w 825500"/>
                    <a:gd name="connsiteY3" fmla="*/ 19050 h 815975"/>
                    <a:gd name="connsiteX4" fmla="*/ 825500 w 825500"/>
                    <a:gd name="connsiteY4" fmla="*/ 654050 h 815975"/>
                    <a:gd name="connsiteX5" fmla="*/ 717550 w 825500"/>
                    <a:gd name="connsiteY5" fmla="*/ 657225 h 815975"/>
                    <a:gd name="connsiteX6" fmla="*/ 666750 w 825500"/>
                    <a:gd name="connsiteY6" fmla="*/ 285750 h 815975"/>
                    <a:gd name="connsiteX7" fmla="*/ 638175 w 825500"/>
                    <a:gd name="connsiteY7" fmla="*/ 815975 h 815975"/>
                    <a:gd name="connsiteX8" fmla="*/ 187325 w 825500"/>
                    <a:gd name="connsiteY8" fmla="*/ 815975 h 815975"/>
                    <a:gd name="connsiteX9" fmla="*/ 171450 w 825500"/>
                    <a:gd name="connsiteY9" fmla="*/ 285750 h 815975"/>
                    <a:gd name="connsiteX10" fmla="*/ 98425 w 825500"/>
                    <a:gd name="connsiteY10" fmla="*/ 657225 h 815975"/>
                    <a:gd name="connsiteX11" fmla="*/ 0 w 825500"/>
                    <a:gd name="connsiteY11" fmla="*/ 657225 h 815975"/>
                    <a:gd name="connsiteX12" fmla="*/ 149225 w 825500"/>
                    <a:gd name="connsiteY12" fmla="*/ 28575 h 815975"/>
                    <a:gd name="connsiteX13" fmla="*/ 336550 w 825500"/>
                    <a:gd name="connsiteY13" fmla="*/ 0 h 815975"/>
                    <a:gd name="connsiteX0" fmla="*/ 336550 w 825500"/>
                    <a:gd name="connsiteY0" fmla="*/ 0 h 815975"/>
                    <a:gd name="connsiteX1" fmla="*/ 415925 w 825500"/>
                    <a:gd name="connsiteY1" fmla="*/ 574675 h 815975"/>
                    <a:gd name="connsiteX2" fmla="*/ 492125 w 825500"/>
                    <a:gd name="connsiteY2" fmla="*/ 3175 h 815975"/>
                    <a:gd name="connsiteX3" fmla="*/ 676275 w 825500"/>
                    <a:gd name="connsiteY3" fmla="*/ 19050 h 815975"/>
                    <a:gd name="connsiteX4" fmla="*/ 825500 w 825500"/>
                    <a:gd name="connsiteY4" fmla="*/ 654050 h 815975"/>
                    <a:gd name="connsiteX5" fmla="*/ 717550 w 825500"/>
                    <a:gd name="connsiteY5" fmla="*/ 657225 h 815975"/>
                    <a:gd name="connsiteX6" fmla="*/ 666750 w 825500"/>
                    <a:gd name="connsiteY6" fmla="*/ 285750 h 815975"/>
                    <a:gd name="connsiteX7" fmla="*/ 638175 w 825500"/>
                    <a:gd name="connsiteY7" fmla="*/ 815975 h 815975"/>
                    <a:gd name="connsiteX8" fmla="*/ 187325 w 825500"/>
                    <a:gd name="connsiteY8" fmla="*/ 815975 h 815975"/>
                    <a:gd name="connsiteX9" fmla="*/ 171450 w 825500"/>
                    <a:gd name="connsiteY9" fmla="*/ 285750 h 815975"/>
                    <a:gd name="connsiteX10" fmla="*/ 98425 w 825500"/>
                    <a:gd name="connsiteY10" fmla="*/ 657225 h 815975"/>
                    <a:gd name="connsiteX11" fmla="*/ 0 w 825500"/>
                    <a:gd name="connsiteY11" fmla="*/ 657225 h 815975"/>
                    <a:gd name="connsiteX12" fmla="*/ 149225 w 825500"/>
                    <a:gd name="connsiteY12" fmla="*/ 28575 h 815975"/>
                    <a:gd name="connsiteX13" fmla="*/ 336550 w 825500"/>
                    <a:gd name="connsiteY13" fmla="*/ 0 h 815975"/>
                    <a:gd name="connsiteX0" fmla="*/ 336550 w 825500"/>
                    <a:gd name="connsiteY0" fmla="*/ 0 h 815975"/>
                    <a:gd name="connsiteX1" fmla="*/ 415925 w 825500"/>
                    <a:gd name="connsiteY1" fmla="*/ 574675 h 815975"/>
                    <a:gd name="connsiteX2" fmla="*/ 492125 w 825500"/>
                    <a:gd name="connsiteY2" fmla="*/ 3175 h 815975"/>
                    <a:gd name="connsiteX3" fmla="*/ 676275 w 825500"/>
                    <a:gd name="connsiteY3" fmla="*/ 19050 h 815975"/>
                    <a:gd name="connsiteX4" fmla="*/ 825500 w 825500"/>
                    <a:gd name="connsiteY4" fmla="*/ 654050 h 815975"/>
                    <a:gd name="connsiteX5" fmla="*/ 717550 w 825500"/>
                    <a:gd name="connsiteY5" fmla="*/ 657225 h 815975"/>
                    <a:gd name="connsiteX6" fmla="*/ 666750 w 825500"/>
                    <a:gd name="connsiteY6" fmla="*/ 285750 h 815975"/>
                    <a:gd name="connsiteX7" fmla="*/ 638175 w 825500"/>
                    <a:gd name="connsiteY7" fmla="*/ 815975 h 815975"/>
                    <a:gd name="connsiteX8" fmla="*/ 187325 w 825500"/>
                    <a:gd name="connsiteY8" fmla="*/ 815975 h 815975"/>
                    <a:gd name="connsiteX9" fmla="*/ 171450 w 825500"/>
                    <a:gd name="connsiteY9" fmla="*/ 285750 h 815975"/>
                    <a:gd name="connsiteX10" fmla="*/ 104775 w 825500"/>
                    <a:gd name="connsiteY10" fmla="*/ 660400 h 815975"/>
                    <a:gd name="connsiteX11" fmla="*/ 0 w 825500"/>
                    <a:gd name="connsiteY11" fmla="*/ 657225 h 815975"/>
                    <a:gd name="connsiteX12" fmla="*/ 149225 w 825500"/>
                    <a:gd name="connsiteY12" fmla="*/ 28575 h 815975"/>
                    <a:gd name="connsiteX13" fmla="*/ 336550 w 825500"/>
                    <a:gd name="connsiteY13" fmla="*/ 0 h 815975"/>
                    <a:gd name="connsiteX0" fmla="*/ 336550 w 825500"/>
                    <a:gd name="connsiteY0" fmla="*/ 0 h 815975"/>
                    <a:gd name="connsiteX1" fmla="*/ 415925 w 825500"/>
                    <a:gd name="connsiteY1" fmla="*/ 574675 h 815975"/>
                    <a:gd name="connsiteX2" fmla="*/ 492125 w 825500"/>
                    <a:gd name="connsiteY2" fmla="*/ 3175 h 815975"/>
                    <a:gd name="connsiteX3" fmla="*/ 676275 w 825500"/>
                    <a:gd name="connsiteY3" fmla="*/ 19050 h 815975"/>
                    <a:gd name="connsiteX4" fmla="*/ 825500 w 825500"/>
                    <a:gd name="connsiteY4" fmla="*/ 654050 h 815975"/>
                    <a:gd name="connsiteX5" fmla="*/ 717550 w 825500"/>
                    <a:gd name="connsiteY5" fmla="*/ 657225 h 815975"/>
                    <a:gd name="connsiteX6" fmla="*/ 666750 w 825500"/>
                    <a:gd name="connsiteY6" fmla="*/ 285750 h 815975"/>
                    <a:gd name="connsiteX7" fmla="*/ 638175 w 825500"/>
                    <a:gd name="connsiteY7" fmla="*/ 815975 h 815975"/>
                    <a:gd name="connsiteX8" fmla="*/ 187325 w 825500"/>
                    <a:gd name="connsiteY8" fmla="*/ 815975 h 815975"/>
                    <a:gd name="connsiteX9" fmla="*/ 171450 w 825500"/>
                    <a:gd name="connsiteY9" fmla="*/ 285750 h 815975"/>
                    <a:gd name="connsiteX10" fmla="*/ 104775 w 825500"/>
                    <a:gd name="connsiteY10" fmla="*/ 660400 h 815975"/>
                    <a:gd name="connsiteX11" fmla="*/ 0 w 825500"/>
                    <a:gd name="connsiteY11" fmla="*/ 657225 h 815975"/>
                    <a:gd name="connsiteX12" fmla="*/ 149225 w 825500"/>
                    <a:gd name="connsiteY12" fmla="*/ 28575 h 815975"/>
                    <a:gd name="connsiteX13" fmla="*/ 336550 w 825500"/>
                    <a:gd name="connsiteY13" fmla="*/ 0 h 8159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825500" h="815975">
                      <a:moveTo>
                        <a:pt x="336550" y="0"/>
                      </a:moveTo>
                      <a:lnTo>
                        <a:pt x="415925" y="574675"/>
                      </a:lnTo>
                      <a:lnTo>
                        <a:pt x="492125" y="3175"/>
                      </a:lnTo>
                      <a:lnTo>
                        <a:pt x="676275" y="19050"/>
                      </a:lnTo>
                      <a:cubicBezTo>
                        <a:pt x="799042" y="262467"/>
                        <a:pt x="817033" y="531283"/>
                        <a:pt x="825500" y="654050"/>
                      </a:cubicBezTo>
                      <a:lnTo>
                        <a:pt x="717550" y="657225"/>
                      </a:lnTo>
                      <a:cubicBezTo>
                        <a:pt x="729192" y="536575"/>
                        <a:pt x="693208" y="393700"/>
                        <a:pt x="666750" y="285750"/>
                      </a:cubicBezTo>
                      <a:lnTo>
                        <a:pt x="638175" y="815975"/>
                      </a:lnTo>
                      <a:lnTo>
                        <a:pt x="187325" y="815975"/>
                      </a:lnTo>
                      <a:lnTo>
                        <a:pt x="171450" y="285750"/>
                      </a:lnTo>
                      <a:cubicBezTo>
                        <a:pt x="134408" y="384175"/>
                        <a:pt x="110067" y="530225"/>
                        <a:pt x="104775" y="660400"/>
                      </a:cubicBezTo>
                      <a:lnTo>
                        <a:pt x="0" y="657225"/>
                      </a:lnTo>
                      <a:cubicBezTo>
                        <a:pt x="21167" y="508000"/>
                        <a:pt x="35983" y="276225"/>
                        <a:pt x="149225" y="28575"/>
                      </a:cubicBezTo>
                      <a:lnTo>
                        <a:pt x="336550" y="0"/>
                      </a:lnTo>
                      <a:close/>
                    </a:path>
                  </a:pathLst>
                </a:custGeom>
                <a:solidFill>
                  <a:srgbClr val="ADD40D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472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Calibr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61" name="Freeform 60"/>
                <p:cNvSpPr/>
                <p:nvPr/>
              </p:nvSpPr>
              <p:spPr bwMode="auto">
                <a:xfrm rot="5400000">
                  <a:off x="7369932" y="462960"/>
                  <a:ext cx="392904" cy="309562"/>
                </a:xfrm>
                <a:custGeom>
                  <a:avLst/>
                  <a:gdLst>
                    <a:gd name="connsiteX0" fmla="*/ 0 w 392904"/>
                    <a:gd name="connsiteY0" fmla="*/ 184191 h 309562"/>
                    <a:gd name="connsiteX1" fmla="*/ 0 w 392904"/>
                    <a:gd name="connsiteY1" fmla="*/ 125371 h 309562"/>
                    <a:gd name="connsiteX2" fmla="*/ 95323 w 392904"/>
                    <a:gd name="connsiteY2" fmla="*/ 30048 h 309562"/>
                    <a:gd name="connsiteX3" fmla="*/ 107911 w 392904"/>
                    <a:gd name="connsiteY3" fmla="*/ 30048 h 309562"/>
                    <a:gd name="connsiteX4" fmla="*/ 116458 w 392904"/>
                    <a:gd name="connsiteY4" fmla="*/ 9416 h 309562"/>
                    <a:gd name="connsiteX5" fmla="*/ 139189 w 392904"/>
                    <a:gd name="connsiteY5" fmla="*/ 0 h 309562"/>
                    <a:gd name="connsiteX6" fmla="*/ 182279 w 392904"/>
                    <a:gd name="connsiteY6" fmla="*/ 0 h 309562"/>
                    <a:gd name="connsiteX7" fmla="*/ 205010 w 392904"/>
                    <a:gd name="connsiteY7" fmla="*/ 9416 h 309562"/>
                    <a:gd name="connsiteX8" fmla="*/ 213557 w 392904"/>
                    <a:gd name="connsiteY8" fmla="*/ 30048 h 309562"/>
                    <a:gd name="connsiteX9" fmla="*/ 252339 w 392904"/>
                    <a:gd name="connsiteY9" fmla="*/ 30048 h 309562"/>
                    <a:gd name="connsiteX10" fmla="*/ 319742 w 392904"/>
                    <a:gd name="connsiteY10" fmla="*/ 57968 h 309562"/>
                    <a:gd name="connsiteX11" fmla="*/ 336441 w 392904"/>
                    <a:gd name="connsiteY11" fmla="*/ 82735 h 309562"/>
                    <a:gd name="connsiteX12" fmla="*/ 357186 w 392904"/>
                    <a:gd name="connsiteY12" fmla="*/ 80848 h 309562"/>
                    <a:gd name="connsiteX13" fmla="*/ 392904 w 392904"/>
                    <a:gd name="connsiteY13" fmla="*/ 152286 h 309562"/>
                    <a:gd name="connsiteX14" fmla="*/ 357186 w 392904"/>
                    <a:gd name="connsiteY14" fmla="*/ 235629 h 309562"/>
                    <a:gd name="connsiteX15" fmla="*/ 330992 w 392904"/>
                    <a:gd name="connsiteY15" fmla="*/ 235629 h 309562"/>
                    <a:gd name="connsiteX16" fmla="*/ 330992 w 392904"/>
                    <a:gd name="connsiteY16" fmla="*/ 234909 h 309562"/>
                    <a:gd name="connsiteX17" fmla="*/ 319742 w 392904"/>
                    <a:gd name="connsiteY17" fmla="*/ 251594 h 309562"/>
                    <a:gd name="connsiteX18" fmla="*/ 252339 w 392904"/>
                    <a:gd name="connsiteY18" fmla="*/ 279514 h 309562"/>
                    <a:gd name="connsiteX19" fmla="*/ 213557 w 392904"/>
                    <a:gd name="connsiteY19" fmla="*/ 279514 h 309562"/>
                    <a:gd name="connsiteX20" fmla="*/ 205010 w 392904"/>
                    <a:gd name="connsiteY20" fmla="*/ 300146 h 309562"/>
                    <a:gd name="connsiteX21" fmla="*/ 182279 w 392904"/>
                    <a:gd name="connsiteY21" fmla="*/ 309562 h 309562"/>
                    <a:gd name="connsiteX22" fmla="*/ 139189 w 392904"/>
                    <a:gd name="connsiteY22" fmla="*/ 309562 h 309562"/>
                    <a:gd name="connsiteX23" fmla="*/ 116458 w 392904"/>
                    <a:gd name="connsiteY23" fmla="*/ 300146 h 309562"/>
                    <a:gd name="connsiteX24" fmla="*/ 107911 w 392904"/>
                    <a:gd name="connsiteY24" fmla="*/ 279514 h 309562"/>
                    <a:gd name="connsiteX25" fmla="*/ 95323 w 392904"/>
                    <a:gd name="connsiteY25" fmla="*/ 279514 h 309562"/>
                    <a:gd name="connsiteX26" fmla="*/ 0 w 392904"/>
                    <a:gd name="connsiteY26" fmla="*/ 184191 h 3095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392904" h="309562">
                      <a:moveTo>
                        <a:pt x="0" y="184191"/>
                      </a:moveTo>
                      <a:lnTo>
                        <a:pt x="0" y="125371"/>
                      </a:lnTo>
                      <a:cubicBezTo>
                        <a:pt x="0" y="72726"/>
                        <a:pt x="42678" y="30048"/>
                        <a:pt x="95323" y="30048"/>
                      </a:cubicBezTo>
                      <a:lnTo>
                        <a:pt x="107911" y="30048"/>
                      </a:lnTo>
                      <a:lnTo>
                        <a:pt x="116458" y="9416"/>
                      </a:lnTo>
                      <a:cubicBezTo>
                        <a:pt x="122275" y="3598"/>
                        <a:pt x="130312" y="0"/>
                        <a:pt x="139189" y="0"/>
                      </a:cubicBezTo>
                      <a:lnTo>
                        <a:pt x="182279" y="0"/>
                      </a:lnTo>
                      <a:cubicBezTo>
                        <a:pt x="191156" y="0"/>
                        <a:pt x="199193" y="3598"/>
                        <a:pt x="205010" y="9416"/>
                      </a:cubicBezTo>
                      <a:lnTo>
                        <a:pt x="213557" y="30048"/>
                      </a:lnTo>
                      <a:lnTo>
                        <a:pt x="252339" y="30048"/>
                      </a:lnTo>
                      <a:cubicBezTo>
                        <a:pt x="278662" y="30048"/>
                        <a:pt x="302492" y="40718"/>
                        <a:pt x="319742" y="57968"/>
                      </a:cubicBezTo>
                      <a:lnTo>
                        <a:pt x="336441" y="82735"/>
                      </a:lnTo>
                      <a:lnTo>
                        <a:pt x="357186" y="80848"/>
                      </a:lnTo>
                      <a:lnTo>
                        <a:pt x="392904" y="152286"/>
                      </a:lnTo>
                      <a:lnTo>
                        <a:pt x="357186" y="235629"/>
                      </a:lnTo>
                      <a:lnTo>
                        <a:pt x="330992" y="235629"/>
                      </a:lnTo>
                      <a:lnTo>
                        <a:pt x="330992" y="234909"/>
                      </a:lnTo>
                      <a:lnTo>
                        <a:pt x="319742" y="251594"/>
                      </a:lnTo>
                      <a:cubicBezTo>
                        <a:pt x="302492" y="268845"/>
                        <a:pt x="278662" y="279514"/>
                        <a:pt x="252339" y="279514"/>
                      </a:cubicBezTo>
                      <a:lnTo>
                        <a:pt x="213557" y="279514"/>
                      </a:lnTo>
                      <a:lnTo>
                        <a:pt x="205010" y="300146"/>
                      </a:lnTo>
                      <a:cubicBezTo>
                        <a:pt x="199193" y="305964"/>
                        <a:pt x="191156" y="309562"/>
                        <a:pt x="182279" y="309562"/>
                      </a:cubicBezTo>
                      <a:lnTo>
                        <a:pt x="139189" y="309562"/>
                      </a:lnTo>
                      <a:cubicBezTo>
                        <a:pt x="130312" y="309562"/>
                        <a:pt x="122275" y="305964"/>
                        <a:pt x="116458" y="300146"/>
                      </a:cubicBezTo>
                      <a:lnTo>
                        <a:pt x="107911" y="279514"/>
                      </a:lnTo>
                      <a:lnTo>
                        <a:pt x="95323" y="279514"/>
                      </a:lnTo>
                      <a:cubicBezTo>
                        <a:pt x="42678" y="279514"/>
                        <a:pt x="0" y="236836"/>
                        <a:pt x="0" y="184191"/>
                      </a:cubicBezTo>
                      <a:close/>
                    </a:path>
                  </a:pathLst>
                </a:custGeom>
                <a:solidFill>
                  <a:srgbClr val="FDB813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472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Calibr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62" name="Freeform 61"/>
                <p:cNvSpPr/>
                <p:nvPr/>
              </p:nvSpPr>
              <p:spPr bwMode="auto">
                <a:xfrm>
                  <a:off x="7375560" y="303916"/>
                  <a:ext cx="364778" cy="283264"/>
                </a:xfrm>
                <a:custGeom>
                  <a:avLst/>
                  <a:gdLst>
                    <a:gd name="connsiteX0" fmla="*/ 300038 w 300038"/>
                    <a:gd name="connsiteY0" fmla="*/ 190500 h 190500"/>
                    <a:gd name="connsiteX1" fmla="*/ 271463 w 300038"/>
                    <a:gd name="connsiteY1" fmla="*/ 116681 h 190500"/>
                    <a:gd name="connsiteX2" fmla="*/ 195263 w 300038"/>
                    <a:gd name="connsiteY2" fmla="*/ 107156 h 190500"/>
                    <a:gd name="connsiteX3" fmla="*/ 52388 w 300038"/>
                    <a:gd name="connsiteY3" fmla="*/ 100012 h 190500"/>
                    <a:gd name="connsiteX4" fmla="*/ 21431 w 300038"/>
                    <a:gd name="connsiteY4" fmla="*/ 119062 h 190500"/>
                    <a:gd name="connsiteX5" fmla="*/ 23813 w 300038"/>
                    <a:gd name="connsiteY5" fmla="*/ 164306 h 190500"/>
                    <a:gd name="connsiteX6" fmla="*/ 0 w 300038"/>
                    <a:gd name="connsiteY6" fmla="*/ 171450 h 190500"/>
                    <a:gd name="connsiteX7" fmla="*/ 97631 w 300038"/>
                    <a:gd name="connsiteY7" fmla="*/ 0 h 190500"/>
                    <a:gd name="connsiteX8" fmla="*/ 214313 w 300038"/>
                    <a:gd name="connsiteY8" fmla="*/ 40481 h 190500"/>
                    <a:gd name="connsiteX9" fmla="*/ 300038 w 300038"/>
                    <a:gd name="connsiteY9" fmla="*/ 190500 h 190500"/>
                    <a:gd name="connsiteX0" fmla="*/ 300038 w 300038"/>
                    <a:gd name="connsiteY0" fmla="*/ 190500 h 190500"/>
                    <a:gd name="connsiteX1" fmla="*/ 271463 w 300038"/>
                    <a:gd name="connsiteY1" fmla="*/ 116681 h 190500"/>
                    <a:gd name="connsiteX2" fmla="*/ 195263 w 300038"/>
                    <a:gd name="connsiteY2" fmla="*/ 107156 h 190500"/>
                    <a:gd name="connsiteX3" fmla="*/ 52388 w 300038"/>
                    <a:gd name="connsiteY3" fmla="*/ 100012 h 190500"/>
                    <a:gd name="connsiteX4" fmla="*/ 21431 w 300038"/>
                    <a:gd name="connsiteY4" fmla="*/ 119062 h 190500"/>
                    <a:gd name="connsiteX5" fmla="*/ 23813 w 300038"/>
                    <a:gd name="connsiteY5" fmla="*/ 164306 h 190500"/>
                    <a:gd name="connsiteX6" fmla="*/ 0 w 300038"/>
                    <a:gd name="connsiteY6" fmla="*/ 171450 h 190500"/>
                    <a:gd name="connsiteX7" fmla="*/ 97631 w 300038"/>
                    <a:gd name="connsiteY7" fmla="*/ 0 h 190500"/>
                    <a:gd name="connsiteX8" fmla="*/ 214313 w 300038"/>
                    <a:gd name="connsiteY8" fmla="*/ 40481 h 190500"/>
                    <a:gd name="connsiteX9" fmla="*/ 300038 w 300038"/>
                    <a:gd name="connsiteY9" fmla="*/ 190500 h 190500"/>
                    <a:gd name="connsiteX0" fmla="*/ 300038 w 300038"/>
                    <a:gd name="connsiteY0" fmla="*/ 190500 h 190500"/>
                    <a:gd name="connsiteX1" fmla="*/ 271463 w 300038"/>
                    <a:gd name="connsiteY1" fmla="*/ 116681 h 190500"/>
                    <a:gd name="connsiteX2" fmla="*/ 195263 w 300038"/>
                    <a:gd name="connsiteY2" fmla="*/ 107156 h 190500"/>
                    <a:gd name="connsiteX3" fmla="*/ 52388 w 300038"/>
                    <a:gd name="connsiteY3" fmla="*/ 100012 h 190500"/>
                    <a:gd name="connsiteX4" fmla="*/ 21431 w 300038"/>
                    <a:gd name="connsiteY4" fmla="*/ 119062 h 190500"/>
                    <a:gd name="connsiteX5" fmla="*/ 23813 w 300038"/>
                    <a:gd name="connsiteY5" fmla="*/ 164306 h 190500"/>
                    <a:gd name="connsiteX6" fmla="*/ 0 w 300038"/>
                    <a:gd name="connsiteY6" fmla="*/ 171450 h 190500"/>
                    <a:gd name="connsiteX7" fmla="*/ 97631 w 300038"/>
                    <a:gd name="connsiteY7" fmla="*/ 0 h 190500"/>
                    <a:gd name="connsiteX8" fmla="*/ 214313 w 300038"/>
                    <a:gd name="connsiteY8" fmla="*/ 40481 h 190500"/>
                    <a:gd name="connsiteX9" fmla="*/ 300038 w 300038"/>
                    <a:gd name="connsiteY9" fmla="*/ 190500 h 190500"/>
                    <a:gd name="connsiteX0" fmla="*/ 300038 w 301649"/>
                    <a:gd name="connsiteY0" fmla="*/ 190500 h 190500"/>
                    <a:gd name="connsiteX1" fmla="*/ 271463 w 301649"/>
                    <a:gd name="connsiteY1" fmla="*/ 116681 h 190500"/>
                    <a:gd name="connsiteX2" fmla="*/ 195263 w 301649"/>
                    <a:gd name="connsiteY2" fmla="*/ 107156 h 190500"/>
                    <a:gd name="connsiteX3" fmla="*/ 52388 w 301649"/>
                    <a:gd name="connsiteY3" fmla="*/ 100012 h 190500"/>
                    <a:gd name="connsiteX4" fmla="*/ 21431 w 301649"/>
                    <a:gd name="connsiteY4" fmla="*/ 119062 h 190500"/>
                    <a:gd name="connsiteX5" fmla="*/ 23813 w 301649"/>
                    <a:gd name="connsiteY5" fmla="*/ 164306 h 190500"/>
                    <a:gd name="connsiteX6" fmla="*/ 0 w 301649"/>
                    <a:gd name="connsiteY6" fmla="*/ 171450 h 190500"/>
                    <a:gd name="connsiteX7" fmla="*/ 97631 w 301649"/>
                    <a:gd name="connsiteY7" fmla="*/ 0 h 190500"/>
                    <a:gd name="connsiteX8" fmla="*/ 214313 w 301649"/>
                    <a:gd name="connsiteY8" fmla="*/ 40481 h 190500"/>
                    <a:gd name="connsiteX9" fmla="*/ 300038 w 301649"/>
                    <a:gd name="connsiteY9" fmla="*/ 190500 h 190500"/>
                    <a:gd name="connsiteX0" fmla="*/ 300038 w 301649"/>
                    <a:gd name="connsiteY0" fmla="*/ 194507 h 194507"/>
                    <a:gd name="connsiteX1" fmla="*/ 271463 w 301649"/>
                    <a:gd name="connsiteY1" fmla="*/ 120688 h 194507"/>
                    <a:gd name="connsiteX2" fmla="*/ 195263 w 301649"/>
                    <a:gd name="connsiteY2" fmla="*/ 111163 h 194507"/>
                    <a:gd name="connsiteX3" fmla="*/ 52388 w 301649"/>
                    <a:gd name="connsiteY3" fmla="*/ 104019 h 194507"/>
                    <a:gd name="connsiteX4" fmla="*/ 21431 w 301649"/>
                    <a:gd name="connsiteY4" fmla="*/ 123069 h 194507"/>
                    <a:gd name="connsiteX5" fmla="*/ 23813 w 301649"/>
                    <a:gd name="connsiteY5" fmla="*/ 168313 h 194507"/>
                    <a:gd name="connsiteX6" fmla="*/ 0 w 301649"/>
                    <a:gd name="connsiteY6" fmla="*/ 175457 h 194507"/>
                    <a:gd name="connsiteX7" fmla="*/ 97631 w 301649"/>
                    <a:gd name="connsiteY7" fmla="*/ 4007 h 194507"/>
                    <a:gd name="connsiteX8" fmla="*/ 214313 w 301649"/>
                    <a:gd name="connsiteY8" fmla="*/ 44488 h 194507"/>
                    <a:gd name="connsiteX9" fmla="*/ 300038 w 301649"/>
                    <a:gd name="connsiteY9" fmla="*/ 194507 h 194507"/>
                    <a:gd name="connsiteX0" fmla="*/ 300038 w 301649"/>
                    <a:gd name="connsiteY0" fmla="*/ 195665 h 195665"/>
                    <a:gd name="connsiteX1" fmla="*/ 271463 w 301649"/>
                    <a:gd name="connsiteY1" fmla="*/ 121846 h 195665"/>
                    <a:gd name="connsiteX2" fmla="*/ 195263 w 301649"/>
                    <a:gd name="connsiteY2" fmla="*/ 112321 h 195665"/>
                    <a:gd name="connsiteX3" fmla="*/ 52388 w 301649"/>
                    <a:gd name="connsiteY3" fmla="*/ 105177 h 195665"/>
                    <a:gd name="connsiteX4" fmla="*/ 21431 w 301649"/>
                    <a:gd name="connsiteY4" fmla="*/ 124227 h 195665"/>
                    <a:gd name="connsiteX5" fmla="*/ 23813 w 301649"/>
                    <a:gd name="connsiteY5" fmla="*/ 169471 h 195665"/>
                    <a:gd name="connsiteX6" fmla="*/ 0 w 301649"/>
                    <a:gd name="connsiteY6" fmla="*/ 176615 h 195665"/>
                    <a:gd name="connsiteX7" fmla="*/ 97631 w 301649"/>
                    <a:gd name="connsiteY7" fmla="*/ 5165 h 195665"/>
                    <a:gd name="connsiteX8" fmla="*/ 214313 w 301649"/>
                    <a:gd name="connsiteY8" fmla="*/ 45646 h 195665"/>
                    <a:gd name="connsiteX9" fmla="*/ 300038 w 301649"/>
                    <a:gd name="connsiteY9" fmla="*/ 195665 h 195665"/>
                    <a:gd name="connsiteX0" fmla="*/ 300038 w 301649"/>
                    <a:gd name="connsiteY0" fmla="*/ 195665 h 195665"/>
                    <a:gd name="connsiteX1" fmla="*/ 271463 w 301649"/>
                    <a:gd name="connsiteY1" fmla="*/ 121846 h 195665"/>
                    <a:gd name="connsiteX2" fmla="*/ 195263 w 301649"/>
                    <a:gd name="connsiteY2" fmla="*/ 112321 h 195665"/>
                    <a:gd name="connsiteX3" fmla="*/ 52388 w 301649"/>
                    <a:gd name="connsiteY3" fmla="*/ 105177 h 195665"/>
                    <a:gd name="connsiteX4" fmla="*/ 45243 w 301649"/>
                    <a:gd name="connsiteY4" fmla="*/ 150420 h 195665"/>
                    <a:gd name="connsiteX5" fmla="*/ 23813 w 301649"/>
                    <a:gd name="connsiteY5" fmla="*/ 169471 h 195665"/>
                    <a:gd name="connsiteX6" fmla="*/ 0 w 301649"/>
                    <a:gd name="connsiteY6" fmla="*/ 176615 h 195665"/>
                    <a:gd name="connsiteX7" fmla="*/ 97631 w 301649"/>
                    <a:gd name="connsiteY7" fmla="*/ 5165 h 195665"/>
                    <a:gd name="connsiteX8" fmla="*/ 214313 w 301649"/>
                    <a:gd name="connsiteY8" fmla="*/ 45646 h 195665"/>
                    <a:gd name="connsiteX9" fmla="*/ 300038 w 301649"/>
                    <a:gd name="connsiteY9" fmla="*/ 195665 h 195665"/>
                    <a:gd name="connsiteX0" fmla="*/ 300483 w 302094"/>
                    <a:gd name="connsiteY0" fmla="*/ 195665 h 195665"/>
                    <a:gd name="connsiteX1" fmla="*/ 271908 w 302094"/>
                    <a:gd name="connsiteY1" fmla="*/ 121846 h 195665"/>
                    <a:gd name="connsiteX2" fmla="*/ 195708 w 302094"/>
                    <a:gd name="connsiteY2" fmla="*/ 112321 h 195665"/>
                    <a:gd name="connsiteX3" fmla="*/ 52833 w 302094"/>
                    <a:gd name="connsiteY3" fmla="*/ 105177 h 195665"/>
                    <a:gd name="connsiteX4" fmla="*/ 45688 w 302094"/>
                    <a:gd name="connsiteY4" fmla="*/ 150420 h 195665"/>
                    <a:gd name="connsiteX5" fmla="*/ 24258 w 302094"/>
                    <a:gd name="connsiteY5" fmla="*/ 169471 h 195665"/>
                    <a:gd name="connsiteX6" fmla="*/ 445 w 302094"/>
                    <a:gd name="connsiteY6" fmla="*/ 176615 h 195665"/>
                    <a:gd name="connsiteX7" fmla="*/ 98076 w 302094"/>
                    <a:gd name="connsiteY7" fmla="*/ 5165 h 195665"/>
                    <a:gd name="connsiteX8" fmla="*/ 214758 w 302094"/>
                    <a:gd name="connsiteY8" fmla="*/ 45646 h 195665"/>
                    <a:gd name="connsiteX9" fmla="*/ 300483 w 302094"/>
                    <a:gd name="connsiteY9" fmla="*/ 195665 h 195665"/>
                    <a:gd name="connsiteX0" fmla="*/ 300483 w 302094"/>
                    <a:gd name="connsiteY0" fmla="*/ 195665 h 195665"/>
                    <a:gd name="connsiteX1" fmla="*/ 271908 w 302094"/>
                    <a:gd name="connsiteY1" fmla="*/ 121846 h 195665"/>
                    <a:gd name="connsiteX2" fmla="*/ 195708 w 302094"/>
                    <a:gd name="connsiteY2" fmla="*/ 112321 h 195665"/>
                    <a:gd name="connsiteX3" fmla="*/ 52833 w 302094"/>
                    <a:gd name="connsiteY3" fmla="*/ 105177 h 195665"/>
                    <a:gd name="connsiteX4" fmla="*/ 45688 w 302094"/>
                    <a:gd name="connsiteY4" fmla="*/ 150420 h 195665"/>
                    <a:gd name="connsiteX5" fmla="*/ 21877 w 302094"/>
                    <a:gd name="connsiteY5" fmla="*/ 131371 h 195665"/>
                    <a:gd name="connsiteX6" fmla="*/ 445 w 302094"/>
                    <a:gd name="connsiteY6" fmla="*/ 176615 h 195665"/>
                    <a:gd name="connsiteX7" fmla="*/ 98076 w 302094"/>
                    <a:gd name="connsiteY7" fmla="*/ 5165 h 195665"/>
                    <a:gd name="connsiteX8" fmla="*/ 214758 w 302094"/>
                    <a:gd name="connsiteY8" fmla="*/ 45646 h 195665"/>
                    <a:gd name="connsiteX9" fmla="*/ 300483 w 302094"/>
                    <a:gd name="connsiteY9" fmla="*/ 195665 h 195665"/>
                    <a:gd name="connsiteX0" fmla="*/ 300483 w 302094"/>
                    <a:gd name="connsiteY0" fmla="*/ 195665 h 195665"/>
                    <a:gd name="connsiteX1" fmla="*/ 271908 w 302094"/>
                    <a:gd name="connsiteY1" fmla="*/ 121846 h 195665"/>
                    <a:gd name="connsiteX2" fmla="*/ 195708 w 302094"/>
                    <a:gd name="connsiteY2" fmla="*/ 112321 h 195665"/>
                    <a:gd name="connsiteX3" fmla="*/ 52833 w 302094"/>
                    <a:gd name="connsiteY3" fmla="*/ 105177 h 195665"/>
                    <a:gd name="connsiteX4" fmla="*/ 43307 w 302094"/>
                    <a:gd name="connsiteY4" fmla="*/ 126608 h 195665"/>
                    <a:gd name="connsiteX5" fmla="*/ 21877 w 302094"/>
                    <a:gd name="connsiteY5" fmla="*/ 131371 h 195665"/>
                    <a:gd name="connsiteX6" fmla="*/ 445 w 302094"/>
                    <a:gd name="connsiteY6" fmla="*/ 176615 h 195665"/>
                    <a:gd name="connsiteX7" fmla="*/ 98076 w 302094"/>
                    <a:gd name="connsiteY7" fmla="*/ 5165 h 195665"/>
                    <a:gd name="connsiteX8" fmla="*/ 214758 w 302094"/>
                    <a:gd name="connsiteY8" fmla="*/ 45646 h 195665"/>
                    <a:gd name="connsiteX9" fmla="*/ 300483 w 302094"/>
                    <a:gd name="connsiteY9" fmla="*/ 195665 h 195665"/>
                    <a:gd name="connsiteX0" fmla="*/ 300483 w 302094"/>
                    <a:gd name="connsiteY0" fmla="*/ 195665 h 195665"/>
                    <a:gd name="connsiteX1" fmla="*/ 271908 w 302094"/>
                    <a:gd name="connsiteY1" fmla="*/ 121846 h 195665"/>
                    <a:gd name="connsiteX2" fmla="*/ 195708 w 302094"/>
                    <a:gd name="connsiteY2" fmla="*/ 112321 h 195665"/>
                    <a:gd name="connsiteX3" fmla="*/ 52833 w 302094"/>
                    <a:gd name="connsiteY3" fmla="*/ 105177 h 195665"/>
                    <a:gd name="connsiteX4" fmla="*/ 43307 w 302094"/>
                    <a:gd name="connsiteY4" fmla="*/ 126608 h 195665"/>
                    <a:gd name="connsiteX5" fmla="*/ 12352 w 302094"/>
                    <a:gd name="connsiteY5" fmla="*/ 171852 h 195665"/>
                    <a:gd name="connsiteX6" fmla="*/ 445 w 302094"/>
                    <a:gd name="connsiteY6" fmla="*/ 176615 h 195665"/>
                    <a:gd name="connsiteX7" fmla="*/ 98076 w 302094"/>
                    <a:gd name="connsiteY7" fmla="*/ 5165 h 195665"/>
                    <a:gd name="connsiteX8" fmla="*/ 214758 w 302094"/>
                    <a:gd name="connsiteY8" fmla="*/ 45646 h 195665"/>
                    <a:gd name="connsiteX9" fmla="*/ 300483 w 302094"/>
                    <a:gd name="connsiteY9" fmla="*/ 195665 h 195665"/>
                    <a:gd name="connsiteX0" fmla="*/ 300483 w 302094"/>
                    <a:gd name="connsiteY0" fmla="*/ 195665 h 195665"/>
                    <a:gd name="connsiteX1" fmla="*/ 271908 w 302094"/>
                    <a:gd name="connsiteY1" fmla="*/ 121846 h 195665"/>
                    <a:gd name="connsiteX2" fmla="*/ 195708 w 302094"/>
                    <a:gd name="connsiteY2" fmla="*/ 112321 h 195665"/>
                    <a:gd name="connsiteX3" fmla="*/ 52833 w 302094"/>
                    <a:gd name="connsiteY3" fmla="*/ 105177 h 195665"/>
                    <a:gd name="connsiteX4" fmla="*/ 43307 w 302094"/>
                    <a:gd name="connsiteY4" fmla="*/ 126608 h 195665"/>
                    <a:gd name="connsiteX5" fmla="*/ 12352 w 302094"/>
                    <a:gd name="connsiteY5" fmla="*/ 171852 h 195665"/>
                    <a:gd name="connsiteX6" fmla="*/ 445 w 302094"/>
                    <a:gd name="connsiteY6" fmla="*/ 176615 h 195665"/>
                    <a:gd name="connsiteX7" fmla="*/ 98076 w 302094"/>
                    <a:gd name="connsiteY7" fmla="*/ 5165 h 195665"/>
                    <a:gd name="connsiteX8" fmla="*/ 214758 w 302094"/>
                    <a:gd name="connsiteY8" fmla="*/ 45646 h 195665"/>
                    <a:gd name="connsiteX9" fmla="*/ 300483 w 302094"/>
                    <a:gd name="connsiteY9" fmla="*/ 195665 h 195665"/>
                    <a:gd name="connsiteX0" fmla="*/ 300483 w 302094"/>
                    <a:gd name="connsiteY0" fmla="*/ 195665 h 195665"/>
                    <a:gd name="connsiteX1" fmla="*/ 271908 w 302094"/>
                    <a:gd name="connsiteY1" fmla="*/ 121846 h 195665"/>
                    <a:gd name="connsiteX2" fmla="*/ 195708 w 302094"/>
                    <a:gd name="connsiteY2" fmla="*/ 112321 h 195665"/>
                    <a:gd name="connsiteX3" fmla="*/ 52833 w 302094"/>
                    <a:gd name="connsiteY3" fmla="*/ 105177 h 195665"/>
                    <a:gd name="connsiteX4" fmla="*/ 43307 w 302094"/>
                    <a:gd name="connsiteY4" fmla="*/ 126608 h 195665"/>
                    <a:gd name="connsiteX5" fmla="*/ 12352 w 302094"/>
                    <a:gd name="connsiteY5" fmla="*/ 171852 h 195665"/>
                    <a:gd name="connsiteX6" fmla="*/ 445 w 302094"/>
                    <a:gd name="connsiteY6" fmla="*/ 176615 h 195665"/>
                    <a:gd name="connsiteX7" fmla="*/ 98076 w 302094"/>
                    <a:gd name="connsiteY7" fmla="*/ 5165 h 195665"/>
                    <a:gd name="connsiteX8" fmla="*/ 214758 w 302094"/>
                    <a:gd name="connsiteY8" fmla="*/ 45646 h 195665"/>
                    <a:gd name="connsiteX9" fmla="*/ 300483 w 302094"/>
                    <a:gd name="connsiteY9" fmla="*/ 195665 h 195665"/>
                    <a:gd name="connsiteX0" fmla="*/ 300483 w 302094"/>
                    <a:gd name="connsiteY0" fmla="*/ 195665 h 195665"/>
                    <a:gd name="connsiteX1" fmla="*/ 271908 w 302094"/>
                    <a:gd name="connsiteY1" fmla="*/ 121846 h 195665"/>
                    <a:gd name="connsiteX2" fmla="*/ 195708 w 302094"/>
                    <a:gd name="connsiteY2" fmla="*/ 112321 h 195665"/>
                    <a:gd name="connsiteX3" fmla="*/ 52833 w 302094"/>
                    <a:gd name="connsiteY3" fmla="*/ 105177 h 195665"/>
                    <a:gd name="connsiteX4" fmla="*/ 43307 w 302094"/>
                    <a:gd name="connsiteY4" fmla="*/ 126608 h 195665"/>
                    <a:gd name="connsiteX5" fmla="*/ 12352 w 302094"/>
                    <a:gd name="connsiteY5" fmla="*/ 171852 h 195665"/>
                    <a:gd name="connsiteX6" fmla="*/ 445 w 302094"/>
                    <a:gd name="connsiteY6" fmla="*/ 176615 h 195665"/>
                    <a:gd name="connsiteX7" fmla="*/ 98076 w 302094"/>
                    <a:gd name="connsiteY7" fmla="*/ 5165 h 195665"/>
                    <a:gd name="connsiteX8" fmla="*/ 214758 w 302094"/>
                    <a:gd name="connsiteY8" fmla="*/ 45646 h 195665"/>
                    <a:gd name="connsiteX9" fmla="*/ 300483 w 302094"/>
                    <a:gd name="connsiteY9" fmla="*/ 195665 h 195665"/>
                    <a:gd name="connsiteX0" fmla="*/ 300483 w 302094"/>
                    <a:gd name="connsiteY0" fmla="*/ 195665 h 195665"/>
                    <a:gd name="connsiteX1" fmla="*/ 271908 w 302094"/>
                    <a:gd name="connsiteY1" fmla="*/ 121846 h 195665"/>
                    <a:gd name="connsiteX2" fmla="*/ 195708 w 302094"/>
                    <a:gd name="connsiteY2" fmla="*/ 112321 h 195665"/>
                    <a:gd name="connsiteX3" fmla="*/ 52833 w 302094"/>
                    <a:gd name="connsiteY3" fmla="*/ 105177 h 195665"/>
                    <a:gd name="connsiteX4" fmla="*/ 43307 w 302094"/>
                    <a:gd name="connsiteY4" fmla="*/ 126608 h 195665"/>
                    <a:gd name="connsiteX5" fmla="*/ 12352 w 302094"/>
                    <a:gd name="connsiteY5" fmla="*/ 171852 h 195665"/>
                    <a:gd name="connsiteX6" fmla="*/ 445 w 302094"/>
                    <a:gd name="connsiteY6" fmla="*/ 176615 h 195665"/>
                    <a:gd name="connsiteX7" fmla="*/ 98076 w 302094"/>
                    <a:gd name="connsiteY7" fmla="*/ 5165 h 195665"/>
                    <a:gd name="connsiteX8" fmla="*/ 214758 w 302094"/>
                    <a:gd name="connsiteY8" fmla="*/ 45646 h 195665"/>
                    <a:gd name="connsiteX9" fmla="*/ 300483 w 302094"/>
                    <a:gd name="connsiteY9" fmla="*/ 195665 h 195665"/>
                    <a:gd name="connsiteX0" fmla="*/ 300483 w 301906"/>
                    <a:gd name="connsiteY0" fmla="*/ 195665 h 195665"/>
                    <a:gd name="connsiteX1" fmla="*/ 271908 w 301906"/>
                    <a:gd name="connsiteY1" fmla="*/ 121846 h 195665"/>
                    <a:gd name="connsiteX2" fmla="*/ 195708 w 301906"/>
                    <a:gd name="connsiteY2" fmla="*/ 112321 h 195665"/>
                    <a:gd name="connsiteX3" fmla="*/ 52833 w 301906"/>
                    <a:gd name="connsiteY3" fmla="*/ 105177 h 195665"/>
                    <a:gd name="connsiteX4" fmla="*/ 43307 w 301906"/>
                    <a:gd name="connsiteY4" fmla="*/ 126608 h 195665"/>
                    <a:gd name="connsiteX5" fmla="*/ 12352 w 301906"/>
                    <a:gd name="connsiteY5" fmla="*/ 171852 h 195665"/>
                    <a:gd name="connsiteX6" fmla="*/ 445 w 301906"/>
                    <a:gd name="connsiteY6" fmla="*/ 176615 h 195665"/>
                    <a:gd name="connsiteX7" fmla="*/ 98076 w 301906"/>
                    <a:gd name="connsiteY7" fmla="*/ 5165 h 195665"/>
                    <a:gd name="connsiteX8" fmla="*/ 214758 w 301906"/>
                    <a:gd name="connsiteY8" fmla="*/ 45646 h 195665"/>
                    <a:gd name="connsiteX9" fmla="*/ 300483 w 301906"/>
                    <a:gd name="connsiteY9" fmla="*/ 195665 h 195665"/>
                    <a:gd name="connsiteX0" fmla="*/ 300483 w 301906"/>
                    <a:gd name="connsiteY0" fmla="*/ 195665 h 195665"/>
                    <a:gd name="connsiteX1" fmla="*/ 271908 w 301906"/>
                    <a:gd name="connsiteY1" fmla="*/ 121846 h 195665"/>
                    <a:gd name="connsiteX2" fmla="*/ 195708 w 301906"/>
                    <a:gd name="connsiteY2" fmla="*/ 112321 h 195665"/>
                    <a:gd name="connsiteX3" fmla="*/ 52833 w 301906"/>
                    <a:gd name="connsiteY3" fmla="*/ 105177 h 195665"/>
                    <a:gd name="connsiteX4" fmla="*/ 43307 w 301906"/>
                    <a:gd name="connsiteY4" fmla="*/ 126608 h 195665"/>
                    <a:gd name="connsiteX5" fmla="*/ 12352 w 301906"/>
                    <a:gd name="connsiteY5" fmla="*/ 171852 h 195665"/>
                    <a:gd name="connsiteX6" fmla="*/ 445 w 301906"/>
                    <a:gd name="connsiteY6" fmla="*/ 176615 h 195665"/>
                    <a:gd name="connsiteX7" fmla="*/ 98076 w 301906"/>
                    <a:gd name="connsiteY7" fmla="*/ 5165 h 195665"/>
                    <a:gd name="connsiteX8" fmla="*/ 214758 w 301906"/>
                    <a:gd name="connsiteY8" fmla="*/ 45646 h 195665"/>
                    <a:gd name="connsiteX9" fmla="*/ 300483 w 301906"/>
                    <a:gd name="connsiteY9" fmla="*/ 195665 h 195665"/>
                    <a:gd name="connsiteX0" fmla="*/ 300157 w 305426"/>
                    <a:gd name="connsiteY0" fmla="*/ 207197 h 207197"/>
                    <a:gd name="connsiteX1" fmla="*/ 271582 w 305426"/>
                    <a:gd name="connsiteY1" fmla="*/ 133378 h 207197"/>
                    <a:gd name="connsiteX2" fmla="*/ 195382 w 305426"/>
                    <a:gd name="connsiteY2" fmla="*/ 123853 h 207197"/>
                    <a:gd name="connsiteX3" fmla="*/ 52507 w 305426"/>
                    <a:gd name="connsiteY3" fmla="*/ 116709 h 207197"/>
                    <a:gd name="connsiteX4" fmla="*/ 42981 w 305426"/>
                    <a:gd name="connsiteY4" fmla="*/ 138140 h 207197"/>
                    <a:gd name="connsiteX5" fmla="*/ 12026 w 305426"/>
                    <a:gd name="connsiteY5" fmla="*/ 183384 h 207197"/>
                    <a:gd name="connsiteX6" fmla="*/ 119 w 305426"/>
                    <a:gd name="connsiteY6" fmla="*/ 188147 h 207197"/>
                    <a:gd name="connsiteX7" fmla="*/ 97750 w 305426"/>
                    <a:gd name="connsiteY7" fmla="*/ 16697 h 207197"/>
                    <a:gd name="connsiteX8" fmla="*/ 236657 w 305426"/>
                    <a:gd name="connsiteY8" fmla="*/ 25428 h 207197"/>
                    <a:gd name="connsiteX9" fmla="*/ 300157 w 305426"/>
                    <a:gd name="connsiteY9" fmla="*/ 207197 h 207197"/>
                    <a:gd name="connsiteX0" fmla="*/ 301589 w 306858"/>
                    <a:gd name="connsiteY0" fmla="*/ 228594 h 228594"/>
                    <a:gd name="connsiteX1" fmla="*/ 273014 w 306858"/>
                    <a:gd name="connsiteY1" fmla="*/ 154775 h 228594"/>
                    <a:gd name="connsiteX2" fmla="*/ 196814 w 306858"/>
                    <a:gd name="connsiteY2" fmla="*/ 145250 h 228594"/>
                    <a:gd name="connsiteX3" fmla="*/ 53939 w 306858"/>
                    <a:gd name="connsiteY3" fmla="*/ 138106 h 228594"/>
                    <a:gd name="connsiteX4" fmla="*/ 44413 w 306858"/>
                    <a:gd name="connsiteY4" fmla="*/ 159537 h 228594"/>
                    <a:gd name="connsiteX5" fmla="*/ 13458 w 306858"/>
                    <a:gd name="connsiteY5" fmla="*/ 204781 h 228594"/>
                    <a:gd name="connsiteX6" fmla="*/ 1551 w 306858"/>
                    <a:gd name="connsiteY6" fmla="*/ 209544 h 228594"/>
                    <a:gd name="connsiteX7" fmla="*/ 35682 w 306858"/>
                    <a:gd name="connsiteY7" fmla="*/ 9519 h 228594"/>
                    <a:gd name="connsiteX8" fmla="*/ 238089 w 306858"/>
                    <a:gd name="connsiteY8" fmla="*/ 46825 h 228594"/>
                    <a:gd name="connsiteX9" fmla="*/ 301589 w 306858"/>
                    <a:gd name="connsiteY9" fmla="*/ 228594 h 228594"/>
                    <a:gd name="connsiteX0" fmla="*/ 309678 w 314947"/>
                    <a:gd name="connsiteY0" fmla="*/ 254831 h 254831"/>
                    <a:gd name="connsiteX1" fmla="*/ 281103 w 314947"/>
                    <a:gd name="connsiteY1" fmla="*/ 181012 h 254831"/>
                    <a:gd name="connsiteX2" fmla="*/ 204903 w 314947"/>
                    <a:gd name="connsiteY2" fmla="*/ 171487 h 254831"/>
                    <a:gd name="connsiteX3" fmla="*/ 62028 w 314947"/>
                    <a:gd name="connsiteY3" fmla="*/ 164343 h 254831"/>
                    <a:gd name="connsiteX4" fmla="*/ 52502 w 314947"/>
                    <a:gd name="connsiteY4" fmla="*/ 185774 h 254831"/>
                    <a:gd name="connsiteX5" fmla="*/ 21547 w 314947"/>
                    <a:gd name="connsiteY5" fmla="*/ 231018 h 254831"/>
                    <a:gd name="connsiteX6" fmla="*/ 9640 w 314947"/>
                    <a:gd name="connsiteY6" fmla="*/ 235781 h 254831"/>
                    <a:gd name="connsiteX7" fmla="*/ 43771 w 314947"/>
                    <a:gd name="connsiteY7" fmla="*/ 35756 h 254831"/>
                    <a:gd name="connsiteX8" fmla="*/ 246178 w 314947"/>
                    <a:gd name="connsiteY8" fmla="*/ 73062 h 254831"/>
                    <a:gd name="connsiteX9" fmla="*/ 309678 w 314947"/>
                    <a:gd name="connsiteY9" fmla="*/ 254831 h 254831"/>
                    <a:gd name="connsiteX0" fmla="*/ 322378 w 324871"/>
                    <a:gd name="connsiteY0" fmla="*/ 280231 h 280231"/>
                    <a:gd name="connsiteX1" fmla="*/ 281103 w 324871"/>
                    <a:gd name="connsiteY1" fmla="*/ 181012 h 280231"/>
                    <a:gd name="connsiteX2" fmla="*/ 204903 w 324871"/>
                    <a:gd name="connsiteY2" fmla="*/ 171487 h 280231"/>
                    <a:gd name="connsiteX3" fmla="*/ 62028 w 324871"/>
                    <a:gd name="connsiteY3" fmla="*/ 164343 h 280231"/>
                    <a:gd name="connsiteX4" fmla="*/ 52502 w 324871"/>
                    <a:gd name="connsiteY4" fmla="*/ 185774 h 280231"/>
                    <a:gd name="connsiteX5" fmla="*/ 21547 w 324871"/>
                    <a:gd name="connsiteY5" fmla="*/ 231018 h 280231"/>
                    <a:gd name="connsiteX6" fmla="*/ 9640 w 324871"/>
                    <a:gd name="connsiteY6" fmla="*/ 235781 h 280231"/>
                    <a:gd name="connsiteX7" fmla="*/ 43771 w 324871"/>
                    <a:gd name="connsiteY7" fmla="*/ 35756 h 280231"/>
                    <a:gd name="connsiteX8" fmla="*/ 246178 w 324871"/>
                    <a:gd name="connsiteY8" fmla="*/ 73062 h 280231"/>
                    <a:gd name="connsiteX9" fmla="*/ 322378 w 324871"/>
                    <a:gd name="connsiteY9" fmla="*/ 280231 h 280231"/>
                    <a:gd name="connsiteX0" fmla="*/ 322378 w 335881"/>
                    <a:gd name="connsiteY0" fmla="*/ 280231 h 280231"/>
                    <a:gd name="connsiteX1" fmla="*/ 281103 w 335881"/>
                    <a:gd name="connsiteY1" fmla="*/ 181012 h 280231"/>
                    <a:gd name="connsiteX2" fmla="*/ 204903 w 335881"/>
                    <a:gd name="connsiteY2" fmla="*/ 171487 h 280231"/>
                    <a:gd name="connsiteX3" fmla="*/ 62028 w 335881"/>
                    <a:gd name="connsiteY3" fmla="*/ 164343 h 280231"/>
                    <a:gd name="connsiteX4" fmla="*/ 52502 w 335881"/>
                    <a:gd name="connsiteY4" fmla="*/ 185774 h 280231"/>
                    <a:gd name="connsiteX5" fmla="*/ 21547 w 335881"/>
                    <a:gd name="connsiteY5" fmla="*/ 231018 h 280231"/>
                    <a:gd name="connsiteX6" fmla="*/ 9640 w 335881"/>
                    <a:gd name="connsiteY6" fmla="*/ 235781 h 280231"/>
                    <a:gd name="connsiteX7" fmla="*/ 43771 w 335881"/>
                    <a:gd name="connsiteY7" fmla="*/ 35756 h 280231"/>
                    <a:gd name="connsiteX8" fmla="*/ 246178 w 335881"/>
                    <a:gd name="connsiteY8" fmla="*/ 73062 h 280231"/>
                    <a:gd name="connsiteX9" fmla="*/ 322378 w 335881"/>
                    <a:gd name="connsiteY9" fmla="*/ 280231 h 280231"/>
                    <a:gd name="connsiteX0" fmla="*/ 320006 w 333509"/>
                    <a:gd name="connsiteY0" fmla="*/ 256912 h 256912"/>
                    <a:gd name="connsiteX1" fmla="*/ 278731 w 333509"/>
                    <a:gd name="connsiteY1" fmla="*/ 157693 h 256912"/>
                    <a:gd name="connsiteX2" fmla="*/ 202531 w 333509"/>
                    <a:gd name="connsiteY2" fmla="*/ 148168 h 256912"/>
                    <a:gd name="connsiteX3" fmla="*/ 59656 w 333509"/>
                    <a:gd name="connsiteY3" fmla="*/ 141024 h 256912"/>
                    <a:gd name="connsiteX4" fmla="*/ 50130 w 333509"/>
                    <a:gd name="connsiteY4" fmla="*/ 162455 h 256912"/>
                    <a:gd name="connsiteX5" fmla="*/ 19175 w 333509"/>
                    <a:gd name="connsiteY5" fmla="*/ 207699 h 256912"/>
                    <a:gd name="connsiteX6" fmla="*/ 918 w 333509"/>
                    <a:gd name="connsiteY6" fmla="*/ 253737 h 256912"/>
                    <a:gd name="connsiteX7" fmla="*/ 41399 w 333509"/>
                    <a:gd name="connsiteY7" fmla="*/ 12437 h 256912"/>
                    <a:gd name="connsiteX8" fmla="*/ 243806 w 333509"/>
                    <a:gd name="connsiteY8" fmla="*/ 49743 h 256912"/>
                    <a:gd name="connsiteX9" fmla="*/ 320006 w 333509"/>
                    <a:gd name="connsiteY9" fmla="*/ 256912 h 256912"/>
                    <a:gd name="connsiteX0" fmla="*/ 340397 w 353900"/>
                    <a:gd name="connsiteY0" fmla="*/ 256912 h 256912"/>
                    <a:gd name="connsiteX1" fmla="*/ 299122 w 353900"/>
                    <a:gd name="connsiteY1" fmla="*/ 157693 h 256912"/>
                    <a:gd name="connsiteX2" fmla="*/ 222922 w 353900"/>
                    <a:gd name="connsiteY2" fmla="*/ 148168 h 256912"/>
                    <a:gd name="connsiteX3" fmla="*/ 80047 w 353900"/>
                    <a:gd name="connsiteY3" fmla="*/ 141024 h 256912"/>
                    <a:gd name="connsiteX4" fmla="*/ 70521 w 353900"/>
                    <a:gd name="connsiteY4" fmla="*/ 162455 h 256912"/>
                    <a:gd name="connsiteX5" fmla="*/ 39566 w 353900"/>
                    <a:gd name="connsiteY5" fmla="*/ 207699 h 256912"/>
                    <a:gd name="connsiteX6" fmla="*/ 21309 w 353900"/>
                    <a:gd name="connsiteY6" fmla="*/ 253737 h 256912"/>
                    <a:gd name="connsiteX7" fmla="*/ 61790 w 353900"/>
                    <a:gd name="connsiteY7" fmla="*/ 12437 h 256912"/>
                    <a:gd name="connsiteX8" fmla="*/ 264197 w 353900"/>
                    <a:gd name="connsiteY8" fmla="*/ 49743 h 256912"/>
                    <a:gd name="connsiteX9" fmla="*/ 340397 w 353900"/>
                    <a:gd name="connsiteY9" fmla="*/ 256912 h 256912"/>
                    <a:gd name="connsiteX0" fmla="*/ 351275 w 364778"/>
                    <a:gd name="connsiteY0" fmla="*/ 283264 h 283264"/>
                    <a:gd name="connsiteX1" fmla="*/ 310000 w 364778"/>
                    <a:gd name="connsiteY1" fmla="*/ 184045 h 283264"/>
                    <a:gd name="connsiteX2" fmla="*/ 233800 w 364778"/>
                    <a:gd name="connsiteY2" fmla="*/ 174520 h 283264"/>
                    <a:gd name="connsiteX3" fmla="*/ 90925 w 364778"/>
                    <a:gd name="connsiteY3" fmla="*/ 167376 h 283264"/>
                    <a:gd name="connsiteX4" fmla="*/ 81399 w 364778"/>
                    <a:gd name="connsiteY4" fmla="*/ 188807 h 283264"/>
                    <a:gd name="connsiteX5" fmla="*/ 50444 w 364778"/>
                    <a:gd name="connsiteY5" fmla="*/ 234051 h 283264"/>
                    <a:gd name="connsiteX6" fmla="*/ 32187 w 364778"/>
                    <a:gd name="connsiteY6" fmla="*/ 280089 h 283264"/>
                    <a:gd name="connsiteX7" fmla="*/ 72668 w 364778"/>
                    <a:gd name="connsiteY7" fmla="*/ 38789 h 283264"/>
                    <a:gd name="connsiteX8" fmla="*/ 275075 w 364778"/>
                    <a:gd name="connsiteY8" fmla="*/ 76095 h 283264"/>
                    <a:gd name="connsiteX9" fmla="*/ 351275 w 364778"/>
                    <a:gd name="connsiteY9" fmla="*/ 283264 h 2832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4778" h="283264">
                      <a:moveTo>
                        <a:pt x="351275" y="283264"/>
                      </a:moveTo>
                      <a:cubicBezTo>
                        <a:pt x="282218" y="246752"/>
                        <a:pt x="319525" y="208651"/>
                        <a:pt x="310000" y="184045"/>
                      </a:cubicBezTo>
                      <a:cubicBezTo>
                        <a:pt x="284600" y="192777"/>
                        <a:pt x="259200" y="177695"/>
                        <a:pt x="233800" y="174520"/>
                      </a:cubicBezTo>
                      <a:cubicBezTo>
                        <a:pt x="155219" y="200714"/>
                        <a:pt x="124262" y="186426"/>
                        <a:pt x="90925" y="167376"/>
                      </a:cubicBezTo>
                      <a:lnTo>
                        <a:pt x="81399" y="188807"/>
                      </a:lnTo>
                      <a:cubicBezTo>
                        <a:pt x="71081" y="203888"/>
                        <a:pt x="70287" y="240402"/>
                        <a:pt x="50444" y="234051"/>
                      </a:cubicBezTo>
                      <a:lnTo>
                        <a:pt x="32187" y="280089"/>
                      </a:lnTo>
                      <a:cubicBezTo>
                        <a:pt x="-18613" y="186426"/>
                        <a:pt x="-12263" y="133113"/>
                        <a:pt x="72668" y="38789"/>
                      </a:cubicBezTo>
                      <a:cubicBezTo>
                        <a:pt x="157599" y="-55535"/>
                        <a:pt x="264756" y="48313"/>
                        <a:pt x="275075" y="76095"/>
                      </a:cubicBezTo>
                      <a:cubicBezTo>
                        <a:pt x="363181" y="61807"/>
                        <a:pt x="381438" y="253102"/>
                        <a:pt x="351275" y="283264"/>
                      </a:cubicBezTo>
                      <a:close/>
                    </a:path>
                  </a:pathLst>
                </a:custGeom>
                <a:solidFill>
                  <a:sysClr val="windowText" lastClr="000000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472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Calibri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45" name="Rounded Rectangle 44"/>
              <p:cNvSpPr/>
              <p:nvPr/>
            </p:nvSpPr>
            <p:spPr bwMode="auto">
              <a:xfrm>
                <a:off x="7250334" y="369439"/>
                <a:ext cx="480026" cy="862185"/>
              </a:xfrm>
              <a:prstGeom prst="roundRect">
                <a:avLst>
                  <a:gd name="adj" fmla="val 4692"/>
                </a:avLst>
              </a:prstGeom>
              <a:solidFill>
                <a:sysClr val="window" lastClr="FFFFFF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Calibri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46" name="Group 45"/>
              <p:cNvGrpSpPr/>
              <p:nvPr/>
            </p:nvGrpSpPr>
            <p:grpSpPr>
              <a:xfrm>
                <a:off x="7233294" y="358167"/>
                <a:ext cx="519006" cy="879723"/>
                <a:chOff x="6687194" y="3493929"/>
                <a:chExt cx="519006" cy="879723"/>
              </a:xfrm>
            </p:grpSpPr>
            <p:sp>
              <p:nvSpPr>
                <p:cNvPr id="47" name="Rectangle 79"/>
                <p:cNvSpPr/>
                <p:nvPr/>
              </p:nvSpPr>
              <p:spPr>
                <a:xfrm>
                  <a:off x="6687194" y="3493929"/>
                  <a:ext cx="519006" cy="8797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07298" h="2385394">
                      <a:moveTo>
                        <a:pt x="703650" y="2179220"/>
                      </a:moveTo>
                      <a:cubicBezTo>
                        <a:pt x="660028" y="2179220"/>
                        <a:pt x="624666" y="2214582"/>
                        <a:pt x="624666" y="2258204"/>
                      </a:cubicBezTo>
                      <a:cubicBezTo>
                        <a:pt x="624666" y="2301826"/>
                        <a:pt x="660028" y="2337188"/>
                        <a:pt x="703650" y="2337188"/>
                      </a:cubicBezTo>
                      <a:cubicBezTo>
                        <a:pt x="747272" y="2337188"/>
                        <a:pt x="782634" y="2301826"/>
                        <a:pt x="782634" y="2258204"/>
                      </a:cubicBezTo>
                      <a:cubicBezTo>
                        <a:pt x="782634" y="2214582"/>
                        <a:pt x="747272" y="2179220"/>
                        <a:pt x="703650" y="2179220"/>
                      </a:cubicBezTo>
                      <a:close/>
                      <a:moveTo>
                        <a:pt x="177553" y="179867"/>
                      </a:moveTo>
                      <a:lnTo>
                        <a:pt x="172551" y="180877"/>
                      </a:lnTo>
                      <a:lnTo>
                        <a:pt x="165667" y="180877"/>
                      </a:lnTo>
                      <a:cubicBezTo>
                        <a:pt x="144630" y="180877"/>
                        <a:pt x="127577" y="197930"/>
                        <a:pt x="127577" y="218967"/>
                      </a:cubicBezTo>
                      <a:lnTo>
                        <a:pt x="127577" y="2097793"/>
                      </a:lnTo>
                      <a:cubicBezTo>
                        <a:pt x="127577" y="2118830"/>
                        <a:pt x="144630" y="2135883"/>
                        <a:pt x="165667" y="2135883"/>
                      </a:cubicBezTo>
                      <a:lnTo>
                        <a:pt x="1241631" y="2135883"/>
                      </a:lnTo>
                      <a:cubicBezTo>
                        <a:pt x="1262668" y="2135883"/>
                        <a:pt x="1279721" y="2118830"/>
                        <a:pt x="1279721" y="2097793"/>
                      </a:cubicBezTo>
                      <a:lnTo>
                        <a:pt x="1279721" y="218967"/>
                      </a:lnTo>
                      <a:cubicBezTo>
                        <a:pt x="1279721" y="197930"/>
                        <a:pt x="1262668" y="180877"/>
                        <a:pt x="1241631" y="180877"/>
                      </a:cubicBezTo>
                      <a:lnTo>
                        <a:pt x="1234749" y="180877"/>
                      </a:lnTo>
                      <a:cubicBezTo>
                        <a:pt x="1233161" y="179963"/>
                        <a:pt x="1231465" y="179867"/>
                        <a:pt x="1229746" y="179867"/>
                      </a:cubicBezTo>
                      <a:close/>
                      <a:moveTo>
                        <a:pt x="602415" y="56498"/>
                      </a:moveTo>
                      <a:cubicBezTo>
                        <a:pt x="588290" y="56498"/>
                        <a:pt x="576839" y="67949"/>
                        <a:pt x="576839" y="82074"/>
                      </a:cubicBezTo>
                      <a:cubicBezTo>
                        <a:pt x="576839" y="96199"/>
                        <a:pt x="588290" y="107650"/>
                        <a:pt x="602415" y="107650"/>
                      </a:cubicBezTo>
                      <a:lnTo>
                        <a:pt x="804884" y="107650"/>
                      </a:lnTo>
                      <a:cubicBezTo>
                        <a:pt x="819009" y="107650"/>
                        <a:pt x="830460" y="96199"/>
                        <a:pt x="830460" y="82074"/>
                      </a:cubicBezTo>
                      <a:cubicBezTo>
                        <a:pt x="830460" y="67949"/>
                        <a:pt x="819009" y="56498"/>
                        <a:pt x="804884" y="56498"/>
                      </a:cubicBezTo>
                      <a:close/>
                      <a:moveTo>
                        <a:pt x="76685" y="0"/>
                      </a:moveTo>
                      <a:lnTo>
                        <a:pt x="1330614" y="0"/>
                      </a:lnTo>
                      <a:cubicBezTo>
                        <a:pt x="1372966" y="0"/>
                        <a:pt x="1407298" y="34333"/>
                        <a:pt x="1407298" y="76684"/>
                      </a:cubicBezTo>
                      <a:lnTo>
                        <a:pt x="1407298" y="1757263"/>
                      </a:lnTo>
                      <a:lnTo>
                        <a:pt x="1407298" y="1766789"/>
                      </a:lnTo>
                      <a:lnTo>
                        <a:pt x="1407298" y="2308710"/>
                      </a:lnTo>
                      <a:cubicBezTo>
                        <a:pt x="1407298" y="2351061"/>
                        <a:pt x="1372966" y="2385394"/>
                        <a:pt x="1330614" y="2385394"/>
                      </a:cubicBezTo>
                      <a:lnTo>
                        <a:pt x="76685" y="2385394"/>
                      </a:lnTo>
                      <a:cubicBezTo>
                        <a:pt x="34333" y="2385394"/>
                        <a:pt x="0" y="2351061"/>
                        <a:pt x="0" y="2308710"/>
                      </a:cubicBezTo>
                      <a:lnTo>
                        <a:pt x="0" y="1766789"/>
                      </a:lnTo>
                      <a:lnTo>
                        <a:pt x="0" y="1757263"/>
                      </a:lnTo>
                      <a:lnTo>
                        <a:pt x="0" y="76684"/>
                      </a:lnTo>
                      <a:cubicBezTo>
                        <a:pt x="0" y="34333"/>
                        <a:pt x="34333" y="0"/>
                        <a:pt x="76685" y="0"/>
                      </a:cubicBezTo>
                      <a:close/>
                    </a:path>
                  </a:pathLst>
                </a:custGeom>
                <a:solidFill>
                  <a:srgbClr val="4F81BD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31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grpSp>
              <p:nvGrpSpPr>
                <p:cNvPr id="48" name="Group 47"/>
                <p:cNvGrpSpPr/>
                <p:nvPr/>
              </p:nvGrpSpPr>
              <p:grpSpPr>
                <a:xfrm>
                  <a:off x="6764987" y="3587992"/>
                  <a:ext cx="314070" cy="462508"/>
                  <a:chOff x="6764864" y="3556134"/>
                  <a:chExt cx="314070" cy="462508"/>
                </a:xfrm>
              </p:grpSpPr>
              <p:sp>
                <p:nvSpPr>
                  <p:cNvPr id="49" name="Rectangle 48"/>
                  <p:cNvSpPr/>
                  <p:nvPr/>
                </p:nvSpPr>
                <p:spPr bwMode="auto">
                  <a:xfrm>
                    <a:off x="6764864" y="3556134"/>
                    <a:ext cx="147979" cy="143842"/>
                  </a:xfrm>
                  <a:prstGeom prst="rect">
                    <a:avLst/>
                  </a:prstGeom>
                  <a:solidFill>
                    <a:srgbClr val="4BACC6"/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32472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0" cap="none" spc="0" normalizeH="0" baseline="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Calibr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50" name="Rectangle 49"/>
                  <p:cNvSpPr/>
                  <p:nvPr/>
                </p:nvSpPr>
                <p:spPr bwMode="auto">
                  <a:xfrm>
                    <a:off x="6764864" y="3716106"/>
                    <a:ext cx="147979" cy="143842"/>
                  </a:xfrm>
                  <a:prstGeom prst="rect">
                    <a:avLst/>
                  </a:prstGeom>
                  <a:solidFill>
                    <a:srgbClr val="C0504D"/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32472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0" cap="none" spc="0" normalizeH="0" baseline="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Calibr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51" name="Rectangle 50"/>
                  <p:cNvSpPr/>
                  <p:nvPr/>
                </p:nvSpPr>
                <p:spPr bwMode="auto">
                  <a:xfrm>
                    <a:off x="6930955" y="3556134"/>
                    <a:ext cx="147979" cy="143842"/>
                  </a:xfrm>
                  <a:prstGeom prst="rect">
                    <a:avLst/>
                  </a:prstGeom>
                  <a:solidFill>
                    <a:srgbClr val="4BACC6"/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32472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0" cap="none" spc="0" normalizeH="0" baseline="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Calibr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52" name="Rectangle 51"/>
                  <p:cNvSpPr/>
                  <p:nvPr/>
                </p:nvSpPr>
                <p:spPr bwMode="auto">
                  <a:xfrm>
                    <a:off x="6930955" y="3716106"/>
                    <a:ext cx="147979" cy="143842"/>
                  </a:xfrm>
                  <a:prstGeom prst="rect">
                    <a:avLst/>
                  </a:prstGeom>
                  <a:solidFill>
                    <a:srgbClr val="C0504D"/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32472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0" cap="none" spc="0" normalizeH="0" baseline="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Calibr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53" name="Rectangle 52"/>
                  <p:cNvSpPr/>
                  <p:nvPr/>
                </p:nvSpPr>
                <p:spPr bwMode="auto">
                  <a:xfrm>
                    <a:off x="6764864" y="3874799"/>
                    <a:ext cx="147979" cy="143843"/>
                  </a:xfrm>
                  <a:prstGeom prst="rect">
                    <a:avLst/>
                  </a:prstGeom>
                  <a:solidFill>
                    <a:srgbClr val="4BACC6"/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32472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0" cap="none" spc="0" normalizeH="0" baseline="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Calibr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54" name="Rectangle 53"/>
                  <p:cNvSpPr/>
                  <p:nvPr/>
                </p:nvSpPr>
                <p:spPr bwMode="auto">
                  <a:xfrm>
                    <a:off x="6930955" y="3874800"/>
                    <a:ext cx="147979" cy="143842"/>
                  </a:xfrm>
                  <a:prstGeom prst="rect">
                    <a:avLst/>
                  </a:prstGeom>
                  <a:solidFill>
                    <a:srgbClr val="C0504D"/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32472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0" cap="none" spc="0" normalizeH="0" baseline="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Calibr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</p:grpSp>
          </p:grpSp>
        </p:grpSp>
        <p:sp>
          <p:nvSpPr>
            <p:cNvPr id="8" name="Freeform 5"/>
            <p:cNvSpPr>
              <a:spLocks/>
            </p:cNvSpPr>
            <p:nvPr/>
          </p:nvSpPr>
          <p:spPr bwMode="auto">
            <a:xfrm>
              <a:off x="5372986" y="4379144"/>
              <a:ext cx="573103" cy="573103"/>
            </a:xfrm>
            <a:custGeom>
              <a:avLst/>
              <a:gdLst>
                <a:gd name="T0" fmla="*/ 426 w 1063"/>
                <a:gd name="T1" fmla="*/ 111 h 1063"/>
                <a:gd name="T2" fmla="*/ 426 w 1063"/>
                <a:gd name="T3" fmla="*/ 0 h 1063"/>
                <a:gd name="T4" fmla="*/ 151 w 1063"/>
                <a:gd name="T5" fmla="*/ 0 h 1063"/>
                <a:gd name="T6" fmla="*/ 151 w 1063"/>
                <a:gd name="T7" fmla="*/ 111 h 1063"/>
                <a:gd name="T8" fmla="*/ 0 w 1063"/>
                <a:gd name="T9" fmla="*/ 111 h 1063"/>
                <a:gd name="T10" fmla="*/ 0 w 1063"/>
                <a:gd name="T11" fmla="*/ 139 h 1063"/>
                <a:gd name="T12" fmla="*/ 35 w 1063"/>
                <a:gd name="T13" fmla="*/ 139 h 1063"/>
                <a:gd name="T14" fmla="*/ 35 w 1063"/>
                <a:gd name="T15" fmla="*/ 1063 h 1063"/>
                <a:gd name="T16" fmla="*/ 1028 w 1063"/>
                <a:gd name="T17" fmla="*/ 1063 h 1063"/>
                <a:gd name="T18" fmla="*/ 1028 w 1063"/>
                <a:gd name="T19" fmla="*/ 139 h 1063"/>
                <a:gd name="T20" fmla="*/ 1063 w 1063"/>
                <a:gd name="T21" fmla="*/ 139 h 1063"/>
                <a:gd name="T22" fmla="*/ 1063 w 1063"/>
                <a:gd name="T23" fmla="*/ 111 h 1063"/>
                <a:gd name="T24" fmla="*/ 426 w 1063"/>
                <a:gd name="T25" fmla="*/ 111 h 10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63" h="1063">
                  <a:moveTo>
                    <a:pt x="426" y="111"/>
                  </a:moveTo>
                  <a:lnTo>
                    <a:pt x="426" y="0"/>
                  </a:lnTo>
                  <a:lnTo>
                    <a:pt x="151" y="0"/>
                  </a:lnTo>
                  <a:lnTo>
                    <a:pt x="151" y="111"/>
                  </a:lnTo>
                  <a:lnTo>
                    <a:pt x="0" y="111"/>
                  </a:lnTo>
                  <a:lnTo>
                    <a:pt x="0" y="139"/>
                  </a:lnTo>
                  <a:lnTo>
                    <a:pt x="35" y="139"/>
                  </a:lnTo>
                  <a:lnTo>
                    <a:pt x="35" y="1063"/>
                  </a:lnTo>
                  <a:lnTo>
                    <a:pt x="1028" y="1063"/>
                  </a:lnTo>
                  <a:lnTo>
                    <a:pt x="1028" y="139"/>
                  </a:lnTo>
                  <a:lnTo>
                    <a:pt x="1063" y="139"/>
                  </a:lnTo>
                  <a:lnTo>
                    <a:pt x="1063" y="111"/>
                  </a:lnTo>
                  <a:lnTo>
                    <a:pt x="426" y="111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5372986" y="4377674"/>
              <a:ext cx="838892" cy="838892"/>
            </a:xfrm>
            <a:custGeom>
              <a:avLst/>
              <a:gdLst>
                <a:gd name="T0" fmla="*/ 426 w 1063"/>
                <a:gd name="T1" fmla="*/ 111 h 1063"/>
                <a:gd name="T2" fmla="*/ 426 w 1063"/>
                <a:gd name="T3" fmla="*/ 0 h 1063"/>
                <a:gd name="T4" fmla="*/ 151 w 1063"/>
                <a:gd name="T5" fmla="*/ 0 h 1063"/>
                <a:gd name="T6" fmla="*/ 151 w 1063"/>
                <a:gd name="T7" fmla="*/ 111 h 1063"/>
                <a:gd name="T8" fmla="*/ 0 w 1063"/>
                <a:gd name="T9" fmla="*/ 111 h 1063"/>
                <a:gd name="T10" fmla="*/ 0 w 1063"/>
                <a:gd name="T11" fmla="*/ 139 h 1063"/>
                <a:gd name="T12" fmla="*/ 35 w 1063"/>
                <a:gd name="T13" fmla="*/ 139 h 1063"/>
                <a:gd name="T14" fmla="*/ 35 w 1063"/>
                <a:gd name="T15" fmla="*/ 1063 h 1063"/>
                <a:gd name="T16" fmla="*/ 1028 w 1063"/>
                <a:gd name="T17" fmla="*/ 1063 h 1063"/>
                <a:gd name="T18" fmla="*/ 1028 w 1063"/>
                <a:gd name="T19" fmla="*/ 139 h 1063"/>
                <a:gd name="T20" fmla="*/ 1063 w 1063"/>
                <a:gd name="T21" fmla="*/ 139 h 1063"/>
                <a:gd name="T22" fmla="*/ 1063 w 1063"/>
                <a:gd name="T23" fmla="*/ 111 h 1063"/>
                <a:gd name="T24" fmla="*/ 426 w 1063"/>
                <a:gd name="T25" fmla="*/ 111 h 10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63" h="1063">
                  <a:moveTo>
                    <a:pt x="426" y="111"/>
                  </a:moveTo>
                  <a:lnTo>
                    <a:pt x="426" y="0"/>
                  </a:lnTo>
                  <a:lnTo>
                    <a:pt x="151" y="0"/>
                  </a:lnTo>
                  <a:lnTo>
                    <a:pt x="151" y="111"/>
                  </a:lnTo>
                  <a:lnTo>
                    <a:pt x="0" y="111"/>
                  </a:lnTo>
                  <a:lnTo>
                    <a:pt x="0" y="139"/>
                  </a:lnTo>
                  <a:lnTo>
                    <a:pt x="35" y="139"/>
                  </a:lnTo>
                  <a:lnTo>
                    <a:pt x="35" y="1063"/>
                  </a:lnTo>
                  <a:lnTo>
                    <a:pt x="1028" y="1063"/>
                  </a:lnTo>
                  <a:lnTo>
                    <a:pt x="1028" y="139"/>
                  </a:lnTo>
                  <a:lnTo>
                    <a:pt x="1063" y="139"/>
                  </a:lnTo>
                  <a:lnTo>
                    <a:pt x="1063" y="111"/>
                  </a:lnTo>
                  <a:lnTo>
                    <a:pt x="426" y="11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Rectangle 10"/>
            <p:cNvSpPr>
              <a:spLocks noChangeArrowheads="1"/>
            </p:cNvSpPr>
            <p:nvPr/>
          </p:nvSpPr>
          <p:spPr bwMode="auto">
            <a:xfrm>
              <a:off x="5687077" y="4039118"/>
              <a:ext cx="560313" cy="465612"/>
            </a:xfrm>
            <a:prstGeom prst="rect">
              <a:avLst/>
            </a:prstGeom>
            <a:solidFill>
              <a:srgbClr val="6821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Rectangle 11"/>
            <p:cNvSpPr>
              <a:spLocks noChangeArrowheads="1"/>
            </p:cNvSpPr>
            <p:nvPr/>
          </p:nvSpPr>
          <p:spPr bwMode="auto">
            <a:xfrm>
              <a:off x="5687077" y="4039118"/>
              <a:ext cx="560313" cy="4656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Rectangle 14"/>
            <p:cNvSpPr>
              <a:spLocks noChangeArrowheads="1"/>
            </p:cNvSpPr>
            <p:nvPr/>
          </p:nvSpPr>
          <p:spPr bwMode="auto">
            <a:xfrm>
              <a:off x="5743108" y="4100674"/>
              <a:ext cx="452197" cy="73393"/>
            </a:xfrm>
            <a:prstGeom prst="rect">
              <a:avLst/>
            </a:prstGeom>
            <a:solidFill>
              <a:srgbClr val="9B4F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Rectangle 15"/>
            <p:cNvSpPr>
              <a:spLocks noChangeArrowheads="1"/>
            </p:cNvSpPr>
            <p:nvPr/>
          </p:nvSpPr>
          <p:spPr bwMode="auto">
            <a:xfrm>
              <a:off x="5743108" y="4100674"/>
              <a:ext cx="452197" cy="733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Rectangle 16"/>
            <p:cNvSpPr>
              <a:spLocks noChangeArrowheads="1"/>
            </p:cNvSpPr>
            <p:nvPr/>
          </p:nvSpPr>
          <p:spPr bwMode="auto">
            <a:xfrm>
              <a:off x="5743108" y="4227731"/>
              <a:ext cx="452197" cy="73393"/>
            </a:xfrm>
            <a:prstGeom prst="rect">
              <a:avLst/>
            </a:prstGeom>
            <a:solidFill>
              <a:srgbClr val="9B4F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Rectangle 17"/>
            <p:cNvSpPr>
              <a:spLocks noChangeArrowheads="1"/>
            </p:cNvSpPr>
            <p:nvPr/>
          </p:nvSpPr>
          <p:spPr bwMode="auto">
            <a:xfrm>
              <a:off x="5743108" y="4227731"/>
              <a:ext cx="452197" cy="733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Freeform 18"/>
            <p:cNvSpPr>
              <a:spLocks/>
            </p:cNvSpPr>
            <p:nvPr/>
          </p:nvSpPr>
          <p:spPr bwMode="auto">
            <a:xfrm>
              <a:off x="5687077" y="4039118"/>
              <a:ext cx="198083" cy="187035"/>
            </a:xfrm>
            <a:custGeom>
              <a:avLst/>
              <a:gdLst>
                <a:gd name="T0" fmla="*/ 106 w 106"/>
                <a:gd name="T1" fmla="*/ 0 h 100"/>
                <a:gd name="T2" fmla="*/ 0 w 106"/>
                <a:gd name="T3" fmla="*/ 0 h 100"/>
                <a:gd name="T4" fmla="*/ 0 w 106"/>
                <a:gd name="T5" fmla="*/ 99 h 100"/>
                <a:gd name="T6" fmla="*/ 8 w 106"/>
                <a:gd name="T7" fmla="*/ 100 h 100"/>
                <a:gd name="T8" fmla="*/ 76 w 106"/>
                <a:gd name="T9" fmla="*/ 72 h 100"/>
                <a:gd name="T10" fmla="*/ 30 w 106"/>
                <a:gd name="T11" fmla="*/ 72 h 100"/>
                <a:gd name="T12" fmla="*/ 30 w 106"/>
                <a:gd name="T13" fmla="*/ 33 h 100"/>
                <a:gd name="T14" fmla="*/ 101 w 106"/>
                <a:gd name="T15" fmla="*/ 33 h 100"/>
                <a:gd name="T16" fmla="*/ 106 w 106"/>
                <a:gd name="T17" fmla="*/ 2 h 100"/>
                <a:gd name="T18" fmla="*/ 106 w 106"/>
                <a:gd name="T19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6" h="100">
                  <a:moveTo>
                    <a:pt x="10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3" y="99"/>
                    <a:pt x="5" y="100"/>
                    <a:pt x="8" y="100"/>
                  </a:cubicBezTo>
                  <a:cubicBezTo>
                    <a:pt x="34" y="100"/>
                    <a:pt x="58" y="89"/>
                    <a:pt x="76" y="72"/>
                  </a:cubicBezTo>
                  <a:cubicBezTo>
                    <a:pt x="30" y="72"/>
                    <a:pt x="30" y="72"/>
                    <a:pt x="30" y="72"/>
                  </a:cubicBezTo>
                  <a:cubicBezTo>
                    <a:pt x="30" y="33"/>
                    <a:pt x="30" y="33"/>
                    <a:pt x="30" y="33"/>
                  </a:cubicBezTo>
                  <a:cubicBezTo>
                    <a:pt x="101" y="33"/>
                    <a:pt x="101" y="33"/>
                    <a:pt x="101" y="33"/>
                  </a:cubicBezTo>
                  <a:cubicBezTo>
                    <a:pt x="104" y="23"/>
                    <a:pt x="106" y="13"/>
                    <a:pt x="106" y="2"/>
                  </a:cubicBezTo>
                  <a:cubicBezTo>
                    <a:pt x="106" y="1"/>
                    <a:pt x="106" y="0"/>
                    <a:pt x="106" y="0"/>
                  </a:cubicBezTo>
                </a:path>
              </a:pathLst>
            </a:custGeom>
            <a:solidFill>
              <a:srgbClr val="531A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Rectangle 22"/>
            <p:cNvSpPr>
              <a:spLocks noChangeArrowheads="1"/>
            </p:cNvSpPr>
            <p:nvPr/>
          </p:nvSpPr>
          <p:spPr bwMode="auto">
            <a:xfrm>
              <a:off x="5743108" y="4353209"/>
              <a:ext cx="452197" cy="726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" name="Rectangle 23"/>
            <p:cNvSpPr>
              <a:spLocks noChangeArrowheads="1"/>
            </p:cNvSpPr>
            <p:nvPr/>
          </p:nvSpPr>
          <p:spPr bwMode="auto">
            <a:xfrm>
              <a:off x="5687077" y="4504732"/>
              <a:ext cx="560313" cy="447515"/>
            </a:xfrm>
            <a:prstGeom prst="rect">
              <a:avLst/>
            </a:prstGeom>
            <a:solidFill>
              <a:srgbClr val="6821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" name="Rectangle 24"/>
            <p:cNvSpPr>
              <a:spLocks noChangeArrowheads="1"/>
            </p:cNvSpPr>
            <p:nvPr/>
          </p:nvSpPr>
          <p:spPr bwMode="auto">
            <a:xfrm>
              <a:off x="5687077" y="4504731"/>
              <a:ext cx="560313" cy="7118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" name="Rectangle 25"/>
            <p:cNvSpPr>
              <a:spLocks noChangeArrowheads="1"/>
            </p:cNvSpPr>
            <p:nvPr/>
          </p:nvSpPr>
          <p:spPr bwMode="auto">
            <a:xfrm>
              <a:off x="5658667" y="4383960"/>
              <a:ext cx="617134" cy="22097"/>
            </a:xfrm>
            <a:prstGeom prst="rect">
              <a:avLst/>
            </a:prstGeom>
            <a:solidFill>
              <a:srgbClr val="9B4F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" name="Rectangle 26"/>
            <p:cNvSpPr>
              <a:spLocks noChangeArrowheads="1"/>
            </p:cNvSpPr>
            <p:nvPr/>
          </p:nvSpPr>
          <p:spPr bwMode="auto">
            <a:xfrm>
              <a:off x="5658667" y="4493682"/>
              <a:ext cx="617134" cy="220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" name="Rectangle 27"/>
            <p:cNvSpPr>
              <a:spLocks noChangeArrowheads="1"/>
            </p:cNvSpPr>
            <p:nvPr/>
          </p:nvSpPr>
          <p:spPr bwMode="auto">
            <a:xfrm>
              <a:off x="5994854" y="4813270"/>
              <a:ext cx="73393" cy="140473"/>
            </a:xfrm>
            <a:prstGeom prst="rect">
              <a:avLst/>
            </a:prstGeom>
            <a:solidFill>
              <a:srgbClr val="9B4F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" name="Rectangle 28"/>
            <p:cNvSpPr>
              <a:spLocks noChangeArrowheads="1"/>
            </p:cNvSpPr>
            <p:nvPr/>
          </p:nvSpPr>
          <p:spPr bwMode="auto">
            <a:xfrm>
              <a:off x="5867797" y="4813270"/>
              <a:ext cx="73393" cy="140473"/>
            </a:xfrm>
            <a:prstGeom prst="rect">
              <a:avLst/>
            </a:prstGeom>
            <a:solidFill>
              <a:srgbClr val="9B4F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" name="Rectangle 29"/>
            <p:cNvSpPr>
              <a:spLocks noChangeArrowheads="1"/>
            </p:cNvSpPr>
            <p:nvPr/>
          </p:nvSpPr>
          <p:spPr bwMode="auto">
            <a:xfrm>
              <a:off x="5867797" y="5074514"/>
              <a:ext cx="73393" cy="1404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" name="Rectangle 30"/>
            <p:cNvSpPr>
              <a:spLocks noChangeArrowheads="1"/>
            </p:cNvSpPr>
            <p:nvPr/>
          </p:nvSpPr>
          <p:spPr bwMode="auto">
            <a:xfrm>
              <a:off x="5743108" y="4505765"/>
              <a:ext cx="452197" cy="73393"/>
            </a:xfrm>
            <a:prstGeom prst="rect">
              <a:avLst/>
            </a:prstGeom>
            <a:solidFill>
              <a:srgbClr val="9B4F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Rectangle 31"/>
            <p:cNvSpPr>
              <a:spLocks noChangeArrowheads="1"/>
            </p:cNvSpPr>
            <p:nvPr/>
          </p:nvSpPr>
          <p:spPr bwMode="auto">
            <a:xfrm>
              <a:off x="5743108" y="4578913"/>
              <a:ext cx="452197" cy="733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Rectangle 32"/>
            <p:cNvSpPr>
              <a:spLocks noChangeArrowheads="1"/>
            </p:cNvSpPr>
            <p:nvPr/>
          </p:nvSpPr>
          <p:spPr bwMode="auto">
            <a:xfrm>
              <a:off x="5743108" y="4631244"/>
              <a:ext cx="452197" cy="72604"/>
            </a:xfrm>
            <a:prstGeom prst="rect">
              <a:avLst/>
            </a:prstGeom>
            <a:solidFill>
              <a:srgbClr val="9B4F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Rectangle 33"/>
            <p:cNvSpPr>
              <a:spLocks noChangeArrowheads="1"/>
            </p:cNvSpPr>
            <p:nvPr/>
          </p:nvSpPr>
          <p:spPr bwMode="auto">
            <a:xfrm>
              <a:off x="5743108" y="4704392"/>
              <a:ext cx="452197" cy="726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Rectangle 35"/>
            <p:cNvSpPr>
              <a:spLocks noChangeArrowheads="1"/>
            </p:cNvSpPr>
            <p:nvPr/>
          </p:nvSpPr>
          <p:spPr bwMode="auto">
            <a:xfrm>
              <a:off x="5743108" y="4829870"/>
              <a:ext cx="452197" cy="726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" name="Rectangle 37"/>
            <p:cNvSpPr>
              <a:spLocks noChangeArrowheads="1"/>
            </p:cNvSpPr>
            <p:nvPr/>
          </p:nvSpPr>
          <p:spPr bwMode="auto">
            <a:xfrm>
              <a:off x="5743108" y="4956928"/>
              <a:ext cx="452197" cy="726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" name="Freeform 47"/>
            <p:cNvSpPr>
              <a:spLocks noEditPoints="1"/>
            </p:cNvSpPr>
            <p:nvPr/>
          </p:nvSpPr>
          <p:spPr bwMode="auto">
            <a:xfrm>
              <a:off x="5773097" y="4515779"/>
              <a:ext cx="236752" cy="188612"/>
            </a:xfrm>
            <a:custGeom>
              <a:avLst/>
              <a:gdLst>
                <a:gd name="T0" fmla="*/ 127 w 127"/>
                <a:gd name="T1" fmla="*/ 73 h 101"/>
                <a:gd name="T2" fmla="*/ 0 w 127"/>
                <a:gd name="T3" fmla="*/ 73 h 101"/>
                <a:gd name="T4" fmla="*/ 16 w 127"/>
                <a:gd name="T5" fmla="*/ 101 h 101"/>
                <a:gd name="T6" fmla="*/ 112 w 127"/>
                <a:gd name="T7" fmla="*/ 101 h 101"/>
                <a:gd name="T8" fmla="*/ 127 w 127"/>
                <a:gd name="T9" fmla="*/ 73 h 101"/>
                <a:gd name="T10" fmla="*/ 95 w 127"/>
                <a:gd name="T11" fmla="*/ 0 h 101"/>
                <a:gd name="T12" fmla="*/ 33 w 127"/>
                <a:gd name="T13" fmla="*/ 0 h 101"/>
                <a:gd name="T14" fmla="*/ 3 w 127"/>
                <a:gd name="T15" fmla="*/ 34 h 101"/>
                <a:gd name="T16" fmla="*/ 124 w 127"/>
                <a:gd name="T17" fmla="*/ 34 h 101"/>
                <a:gd name="T18" fmla="*/ 95 w 127"/>
                <a:gd name="T1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01">
                  <a:moveTo>
                    <a:pt x="127" y="73"/>
                  </a:moveTo>
                  <a:cubicBezTo>
                    <a:pt x="0" y="73"/>
                    <a:pt x="0" y="73"/>
                    <a:pt x="0" y="73"/>
                  </a:cubicBezTo>
                  <a:cubicBezTo>
                    <a:pt x="3" y="83"/>
                    <a:pt x="8" y="93"/>
                    <a:pt x="16" y="101"/>
                  </a:cubicBezTo>
                  <a:cubicBezTo>
                    <a:pt x="112" y="101"/>
                    <a:pt x="112" y="101"/>
                    <a:pt x="112" y="101"/>
                  </a:cubicBezTo>
                  <a:cubicBezTo>
                    <a:pt x="119" y="93"/>
                    <a:pt x="124" y="83"/>
                    <a:pt x="127" y="73"/>
                  </a:cubicBezTo>
                  <a:moveTo>
                    <a:pt x="95" y="0"/>
                  </a:moveTo>
                  <a:cubicBezTo>
                    <a:pt x="33" y="0"/>
                    <a:pt x="33" y="0"/>
                    <a:pt x="33" y="0"/>
                  </a:cubicBezTo>
                  <a:cubicBezTo>
                    <a:pt x="19" y="7"/>
                    <a:pt x="9" y="19"/>
                    <a:pt x="3" y="34"/>
                  </a:cubicBezTo>
                  <a:cubicBezTo>
                    <a:pt x="124" y="34"/>
                    <a:pt x="124" y="34"/>
                    <a:pt x="124" y="34"/>
                  </a:cubicBezTo>
                  <a:cubicBezTo>
                    <a:pt x="119" y="19"/>
                    <a:pt x="108" y="7"/>
                    <a:pt x="95" y="0"/>
                  </a:cubicBezTo>
                </a:path>
              </a:pathLst>
            </a:custGeom>
            <a:solidFill>
              <a:srgbClr val="531A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" name="Freeform 48"/>
            <p:cNvSpPr>
              <a:spLocks/>
            </p:cNvSpPr>
            <p:nvPr/>
          </p:nvSpPr>
          <p:spPr bwMode="auto">
            <a:xfrm>
              <a:off x="5834652" y="4500785"/>
              <a:ext cx="116009" cy="14995"/>
            </a:xfrm>
            <a:custGeom>
              <a:avLst/>
              <a:gdLst>
                <a:gd name="T0" fmla="*/ 31 w 62"/>
                <a:gd name="T1" fmla="*/ 0 h 8"/>
                <a:gd name="T2" fmla="*/ 0 w 62"/>
                <a:gd name="T3" fmla="*/ 8 h 8"/>
                <a:gd name="T4" fmla="*/ 62 w 62"/>
                <a:gd name="T5" fmla="*/ 8 h 8"/>
                <a:gd name="T6" fmla="*/ 31 w 62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" h="8">
                  <a:moveTo>
                    <a:pt x="31" y="0"/>
                  </a:moveTo>
                  <a:cubicBezTo>
                    <a:pt x="19" y="0"/>
                    <a:pt x="9" y="3"/>
                    <a:pt x="0" y="8"/>
                  </a:cubicBezTo>
                  <a:cubicBezTo>
                    <a:pt x="62" y="8"/>
                    <a:pt x="62" y="8"/>
                    <a:pt x="62" y="8"/>
                  </a:cubicBezTo>
                  <a:cubicBezTo>
                    <a:pt x="53" y="3"/>
                    <a:pt x="42" y="0"/>
                    <a:pt x="31" y="0"/>
                  </a:cubicBezTo>
                </a:path>
              </a:pathLst>
            </a:custGeom>
            <a:solidFill>
              <a:srgbClr val="7C3F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Freeform 49"/>
            <p:cNvSpPr>
              <a:spLocks/>
            </p:cNvSpPr>
            <p:nvPr/>
          </p:nvSpPr>
          <p:spPr bwMode="auto">
            <a:xfrm>
              <a:off x="5770729" y="4578913"/>
              <a:ext cx="243065" cy="73393"/>
            </a:xfrm>
            <a:custGeom>
              <a:avLst/>
              <a:gdLst>
                <a:gd name="T0" fmla="*/ 125 w 130"/>
                <a:gd name="T1" fmla="*/ 0 h 39"/>
                <a:gd name="T2" fmla="*/ 4 w 130"/>
                <a:gd name="T3" fmla="*/ 0 h 39"/>
                <a:gd name="T4" fmla="*/ 0 w 130"/>
                <a:gd name="T5" fmla="*/ 23 h 39"/>
                <a:gd name="T6" fmla="*/ 1 w 130"/>
                <a:gd name="T7" fmla="*/ 39 h 39"/>
                <a:gd name="T8" fmla="*/ 128 w 130"/>
                <a:gd name="T9" fmla="*/ 39 h 39"/>
                <a:gd name="T10" fmla="*/ 130 w 130"/>
                <a:gd name="T11" fmla="*/ 23 h 39"/>
                <a:gd name="T12" fmla="*/ 125 w 130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39">
                  <a:moveTo>
                    <a:pt x="125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1" y="7"/>
                    <a:pt x="0" y="15"/>
                    <a:pt x="0" y="23"/>
                  </a:cubicBezTo>
                  <a:cubicBezTo>
                    <a:pt x="0" y="28"/>
                    <a:pt x="0" y="34"/>
                    <a:pt x="1" y="39"/>
                  </a:cubicBezTo>
                  <a:cubicBezTo>
                    <a:pt x="128" y="39"/>
                    <a:pt x="128" y="39"/>
                    <a:pt x="128" y="39"/>
                  </a:cubicBezTo>
                  <a:cubicBezTo>
                    <a:pt x="129" y="34"/>
                    <a:pt x="130" y="28"/>
                    <a:pt x="130" y="23"/>
                  </a:cubicBezTo>
                  <a:cubicBezTo>
                    <a:pt x="130" y="15"/>
                    <a:pt x="128" y="7"/>
                    <a:pt x="125" y="0"/>
                  </a:cubicBezTo>
                </a:path>
              </a:pathLst>
            </a:custGeom>
            <a:solidFill>
              <a:srgbClr val="7C3F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" name="Freeform 50"/>
            <p:cNvSpPr>
              <a:spLocks/>
            </p:cNvSpPr>
            <p:nvPr/>
          </p:nvSpPr>
          <p:spPr bwMode="auto">
            <a:xfrm>
              <a:off x="5802296" y="4704392"/>
              <a:ext cx="179931" cy="39459"/>
            </a:xfrm>
            <a:custGeom>
              <a:avLst/>
              <a:gdLst>
                <a:gd name="T0" fmla="*/ 96 w 96"/>
                <a:gd name="T1" fmla="*/ 0 h 21"/>
                <a:gd name="T2" fmla="*/ 0 w 96"/>
                <a:gd name="T3" fmla="*/ 0 h 21"/>
                <a:gd name="T4" fmla="*/ 48 w 96"/>
                <a:gd name="T5" fmla="*/ 21 h 21"/>
                <a:gd name="T6" fmla="*/ 96 w 96"/>
                <a:gd name="T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6" h="21">
                  <a:moveTo>
                    <a:pt x="9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" y="13"/>
                    <a:pt x="29" y="21"/>
                    <a:pt x="48" y="21"/>
                  </a:cubicBezTo>
                  <a:cubicBezTo>
                    <a:pt x="67" y="21"/>
                    <a:pt x="84" y="13"/>
                    <a:pt x="96" y="0"/>
                  </a:cubicBezTo>
                </a:path>
              </a:pathLst>
            </a:custGeom>
            <a:solidFill>
              <a:srgbClr val="7C3F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" name="Oval 51"/>
            <p:cNvSpPr>
              <a:spLocks noChangeArrowheads="1"/>
            </p:cNvSpPr>
            <p:nvPr/>
          </p:nvSpPr>
          <p:spPr bwMode="auto">
            <a:xfrm>
              <a:off x="5785818" y="4502705"/>
              <a:ext cx="356717" cy="359022"/>
            </a:xfrm>
            <a:prstGeom prst="ellipse">
              <a:avLst/>
            </a:prstGeom>
            <a:solidFill>
              <a:srgbClr val="E81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32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Segoe UI" pitchFamily="34" charset="0"/>
                </a:rPr>
                <a:t>ACCOUNTING</a:t>
              </a:r>
              <a:endParaRPr kumimoji="0" lang="en-US" sz="6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38" name="Oval 58"/>
            <p:cNvSpPr>
              <a:spLocks noChangeArrowheads="1"/>
            </p:cNvSpPr>
            <p:nvPr/>
          </p:nvSpPr>
          <p:spPr bwMode="auto">
            <a:xfrm>
              <a:off x="6028157" y="4192251"/>
              <a:ext cx="159413" cy="15862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32316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Segoe UI" pitchFamily="34" charset="0"/>
                </a:rPr>
                <a:t>HR</a:t>
              </a:r>
            </a:p>
          </p:txBody>
        </p:sp>
        <p:sp>
          <p:nvSpPr>
            <p:cNvPr id="39" name="Freeform 66"/>
            <p:cNvSpPr>
              <a:spLocks/>
            </p:cNvSpPr>
            <p:nvPr/>
          </p:nvSpPr>
          <p:spPr bwMode="auto">
            <a:xfrm>
              <a:off x="5882792" y="4900896"/>
              <a:ext cx="48929" cy="1578"/>
            </a:xfrm>
            <a:custGeom>
              <a:avLst/>
              <a:gdLst>
                <a:gd name="T0" fmla="*/ 13 w 26"/>
                <a:gd name="T1" fmla="*/ 0 h 1"/>
                <a:gd name="T2" fmla="*/ 0 w 26"/>
                <a:gd name="T3" fmla="*/ 1 h 1"/>
                <a:gd name="T4" fmla="*/ 26 w 26"/>
                <a:gd name="T5" fmla="*/ 1 h 1"/>
                <a:gd name="T6" fmla="*/ 13 w 26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1">
                  <a:moveTo>
                    <a:pt x="13" y="0"/>
                  </a:moveTo>
                  <a:cubicBezTo>
                    <a:pt x="8" y="0"/>
                    <a:pt x="4" y="0"/>
                    <a:pt x="0" y="1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2" y="0"/>
                    <a:pt x="17" y="0"/>
                    <a:pt x="13" y="0"/>
                  </a:cubicBezTo>
                </a:path>
              </a:pathLst>
            </a:custGeom>
            <a:solidFill>
              <a:srgbClr val="7C3F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Oval 58"/>
            <p:cNvSpPr>
              <a:spLocks noChangeArrowheads="1"/>
            </p:cNvSpPr>
            <p:nvPr/>
          </p:nvSpPr>
          <p:spPr bwMode="auto">
            <a:xfrm>
              <a:off x="5804664" y="4069728"/>
              <a:ext cx="159413" cy="158624"/>
            </a:xfrm>
            <a:prstGeom prst="ellipse">
              <a:avLst/>
            </a:prstGeom>
            <a:solidFill>
              <a:srgbClr val="4F81BD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32316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Segoe UI" pitchFamily="34" charset="0"/>
                </a:rPr>
                <a:t>CRM</a:t>
              </a:r>
            </a:p>
          </p:txBody>
        </p:sp>
        <p:sp>
          <p:nvSpPr>
            <p:cNvPr id="12" name="Rectangle 12"/>
            <p:cNvSpPr>
              <a:spLocks noChangeArrowheads="1"/>
            </p:cNvSpPr>
            <p:nvPr/>
          </p:nvSpPr>
          <p:spPr bwMode="auto">
            <a:xfrm>
              <a:off x="5658667" y="4017021"/>
              <a:ext cx="617134" cy="22097"/>
            </a:xfrm>
            <a:prstGeom prst="rect">
              <a:avLst/>
            </a:prstGeom>
            <a:solidFill>
              <a:srgbClr val="9B4F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Rectangle 13"/>
            <p:cNvSpPr>
              <a:spLocks noChangeArrowheads="1"/>
            </p:cNvSpPr>
            <p:nvPr/>
          </p:nvSpPr>
          <p:spPr bwMode="auto">
            <a:xfrm>
              <a:off x="5658667" y="4017021"/>
              <a:ext cx="617134" cy="220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49" name="Group 148"/>
          <p:cNvGrpSpPr/>
          <p:nvPr/>
        </p:nvGrpSpPr>
        <p:grpSpPr>
          <a:xfrm>
            <a:off x="3800313" y="2418373"/>
            <a:ext cx="4591375" cy="2021254"/>
            <a:chOff x="3800313" y="2418373"/>
            <a:chExt cx="4591375" cy="2021254"/>
          </a:xfrm>
        </p:grpSpPr>
        <p:pic>
          <p:nvPicPr>
            <p:cNvPr id="112" name="Picture 111"/>
            <p:cNvPicPr>
              <a:picLocks noChangeAspect="1"/>
            </p:cNvPicPr>
            <p:nvPr/>
          </p:nvPicPr>
          <p:blipFill rotWithShape="1">
            <a:blip r:embed="rId2"/>
            <a:srcRect l="23833" t="10527" r="23833" b="10527"/>
            <a:stretch/>
          </p:blipFill>
          <p:spPr>
            <a:xfrm>
              <a:off x="5457080" y="2418373"/>
              <a:ext cx="1339938" cy="2021254"/>
            </a:xfrm>
            <a:prstGeom prst="rect">
              <a:avLst/>
            </a:prstGeom>
          </p:spPr>
        </p:pic>
        <p:sp>
          <p:nvSpPr>
            <p:cNvPr id="113" name="AutoShape 141"/>
            <p:cNvSpPr>
              <a:spLocks noChangeAspect="1" noChangeArrowheads="1" noTextEdit="1"/>
            </p:cNvSpPr>
            <p:nvPr/>
          </p:nvSpPr>
          <p:spPr bwMode="auto">
            <a:xfrm>
              <a:off x="7324589" y="2525837"/>
              <a:ext cx="1033031" cy="18510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grpSp>
          <p:nvGrpSpPr>
            <p:cNvPr id="114" name="Group 113"/>
            <p:cNvGrpSpPr/>
            <p:nvPr/>
          </p:nvGrpSpPr>
          <p:grpSpPr>
            <a:xfrm>
              <a:off x="4414771" y="3691512"/>
              <a:ext cx="456217" cy="664568"/>
              <a:chOff x="10615819" y="2160171"/>
              <a:chExt cx="456217" cy="664568"/>
            </a:xfrm>
          </p:grpSpPr>
          <p:sp>
            <p:nvSpPr>
              <p:cNvPr id="137" name="Freeform 136"/>
              <p:cNvSpPr>
                <a:spLocks/>
              </p:cNvSpPr>
              <p:nvPr/>
            </p:nvSpPr>
            <p:spPr bwMode="auto">
              <a:xfrm>
                <a:off x="10615819" y="2160171"/>
                <a:ext cx="456217" cy="664568"/>
              </a:xfrm>
              <a:custGeom>
                <a:avLst/>
                <a:gdLst>
                  <a:gd name="T0" fmla="*/ 0 w 376"/>
                  <a:gd name="T1" fmla="*/ 253 h 548"/>
                  <a:gd name="T2" fmla="*/ 0 w 376"/>
                  <a:gd name="T3" fmla="*/ 524 h 548"/>
                  <a:gd name="T4" fmla="*/ 25 w 376"/>
                  <a:gd name="T5" fmla="*/ 548 h 548"/>
                  <a:gd name="T6" fmla="*/ 351 w 376"/>
                  <a:gd name="T7" fmla="*/ 548 h 548"/>
                  <a:gd name="T8" fmla="*/ 376 w 376"/>
                  <a:gd name="T9" fmla="*/ 524 h 548"/>
                  <a:gd name="T10" fmla="*/ 376 w 376"/>
                  <a:gd name="T11" fmla="*/ 25 h 548"/>
                  <a:gd name="T12" fmla="*/ 351 w 376"/>
                  <a:gd name="T13" fmla="*/ 0 h 548"/>
                  <a:gd name="T14" fmla="*/ 25 w 376"/>
                  <a:gd name="T15" fmla="*/ 0 h 548"/>
                  <a:gd name="T16" fmla="*/ 0 w 376"/>
                  <a:gd name="T17" fmla="*/ 25 h 548"/>
                  <a:gd name="T18" fmla="*/ 0 w 376"/>
                  <a:gd name="T19" fmla="*/ 173 h 548"/>
                  <a:gd name="T20" fmla="*/ 0 w 376"/>
                  <a:gd name="T21" fmla="*/ 253 h 5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76" h="548">
                    <a:moveTo>
                      <a:pt x="0" y="253"/>
                    </a:moveTo>
                    <a:cubicBezTo>
                      <a:pt x="0" y="524"/>
                      <a:pt x="0" y="524"/>
                      <a:pt x="0" y="524"/>
                    </a:cubicBezTo>
                    <a:cubicBezTo>
                      <a:pt x="0" y="537"/>
                      <a:pt x="11" y="548"/>
                      <a:pt x="25" y="548"/>
                    </a:cubicBezTo>
                    <a:cubicBezTo>
                      <a:pt x="351" y="548"/>
                      <a:pt x="351" y="548"/>
                      <a:pt x="351" y="548"/>
                    </a:cubicBezTo>
                    <a:cubicBezTo>
                      <a:pt x="365" y="548"/>
                      <a:pt x="376" y="537"/>
                      <a:pt x="376" y="524"/>
                    </a:cubicBezTo>
                    <a:cubicBezTo>
                      <a:pt x="376" y="25"/>
                      <a:pt x="376" y="25"/>
                      <a:pt x="376" y="25"/>
                    </a:cubicBezTo>
                    <a:cubicBezTo>
                      <a:pt x="376" y="11"/>
                      <a:pt x="365" y="0"/>
                      <a:pt x="351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11" y="0"/>
                      <a:pt x="0" y="11"/>
                      <a:pt x="0" y="25"/>
                    </a:cubicBezTo>
                    <a:cubicBezTo>
                      <a:pt x="0" y="173"/>
                      <a:pt x="0" y="173"/>
                      <a:pt x="0" y="173"/>
                    </a:cubicBezTo>
                    <a:lnTo>
                      <a:pt x="0" y="253"/>
                    </a:lnTo>
                    <a:close/>
                  </a:path>
                </a:pathLst>
              </a:cu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38" name="Rectangle 137"/>
              <p:cNvSpPr>
                <a:spLocks noChangeArrowheads="1"/>
              </p:cNvSpPr>
              <p:nvPr/>
            </p:nvSpPr>
            <p:spPr bwMode="auto">
              <a:xfrm>
                <a:off x="10659439" y="2203792"/>
                <a:ext cx="368976" cy="578353"/>
              </a:xfrm>
              <a:prstGeom prst="rect">
                <a:avLst/>
              </a:pr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39" name="Rectangle 138"/>
              <p:cNvSpPr>
                <a:spLocks noChangeArrowheads="1"/>
              </p:cNvSpPr>
              <p:nvPr/>
            </p:nvSpPr>
            <p:spPr bwMode="auto">
              <a:xfrm>
                <a:off x="10697415" y="2278203"/>
                <a:ext cx="188850" cy="188850"/>
              </a:xfrm>
              <a:prstGeom prst="rect">
                <a:avLst/>
              </a:prstGeom>
              <a:solidFill>
                <a:srgbClr val="EB3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40" name="Rectangle 139"/>
              <p:cNvSpPr>
                <a:spLocks noChangeArrowheads="1"/>
              </p:cNvSpPr>
              <p:nvPr/>
            </p:nvSpPr>
            <p:spPr bwMode="auto">
              <a:xfrm>
                <a:off x="10905766" y="2278203"/>
                <a:ext cx="84675" cy="84675"/>
              </a:xfrm>
              <a:prstGeom prst="rect">
                <a:avLst/>
              </a:prstGeom>
              <a:solidFill>
                <a:srgbClr val="EB3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41" name="Rectangle 140"/>
              <p:cNvSpPr>
                <a:spLocks noChangeArrowheads="1"/>
              </p:cNvSpPr>
              <p:nvPr/>
            </p:nvSpPr>
            <p:spPr bwMode="auto">
              <a:xfrm>
                <a:off x="10697415" y="2487580"/>
                <a:ext cx="83648" cy="85188"/>
              </a:xfrm>
              <a:prstGeom prst="rect">
                <a:avLst/>
              </a:prstGeom>
              <a:solidFill>
                <a:srgbClr val="EB3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42" name="Rectangle 141"/>
              <p:cNvSpPr>
                <a:spLocks noChangeArrowheads="1"/>
              </p:cNvSpPr>
              <p:nvPr/>
            </p:nvSpPr>
            <p:spPr bwMode="auto">
              <a:xfrm>
                <a:off x="10801590" y="2487580"/>
                <a:ext cx="84675" cy="85188"/>
              </a:xfrm>
              <a:prstGeom prst="rect">
                <a:avLst/>
              </a:prstGeom>
              <a:solidFill>
                <a:srgbClr val="EB3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43" name="Rectangle 142"/>
              <p:cNvSpPr>
                <a:spLocks noChangeArrowheads="1"/>
              </p:cNvSpPr>
              <p:nvPr/>
            </p:nvSpPr>
            <p:spPr bwMode="auto">
              <a:xfrm>
                <a:off x="10905766" y="2487580"/>
                <a:ext cx="84675" cy="85188"/>
              </a:xfrm>
              <a:prstGeom prst="rect">
                <a:avLst/>
              </a:prstGeom>
              <a:solidFill>
                <a:srgbClr val="EB3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44" name="Rectangle 143"/>
              <p:cNvSpPr>
                <a:spLocks noChangeArrowheads="1"/>
              </p:cNvSpPr>
              <p:nvPr/>
            </p:nvSpPr>
            <p:spPr bwMode="auto">
              <a:xfrm>
                <a:off x="10697415" y="2591756"/>
                <a:ext cx="83648" cy="85188"/>
              </a:xfrm>
              <a:prstGeom prst="rect">
                <a:avLst/>
              </a:prstGeom>
              <a:solidFill>
                <a:srgbClr val="EB3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45" name="Rectangle 144"/>
              <p:cNvSpPr>
                <a:spLocks noChangeArrowheads="1"/>
              </p:cNvSpPr>
              <p:nvPr/>
            </p:nvSpPr>
            <p:spPr bwMode="auto">
              <a:xfrm>
                <a:off x="10801590" y="2591756"/>
                <a:ext cx="84675" cy="85188"/>
              </a:xfrm>
              <a:prstGeom prst="rect">
                <a:avLst/>
              </a:prstGeom>
              <a:solidFill>
                <a:srgbClr val="EB3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46" name="Rectangle 145"/>
              <p:cNvSpPr>
                <a:spLocks noChangeArrowheads="1"/>
              </p:cNvSpPr>
              <p:nvPr/>
            </p:nvSpPr>
            <p:spPr bwMode="auto">
              <a:xfrm>
                <a:off x="10905766" y="2591756"/>
                <a:ext cx="84675" cy="85188"/>
              </a:xfrm>
              <a:prstGeom prst="rect">
                <a:avLst/>
              </a:prstGeom>
              <a:solidFill>
                <a:srgbClr val="EB3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47" name="Rectangle 146"/>
              <p:cNvSpPr>
                <a:spLocks noChangeArrowheads="1"/>
              </p:cNvSpPr>
              <p:nvPr/>
            </p:nvSpPr>
            <p:spPr bwMode="auto">
              <a:xfrm>
                <a:off x="10697415" y="2697471"/>
                <a:ext cx="293026" cy="84675"/>
              </a:xfrm>
              <a:prstGeom prst="rect">
                <a:avLst/>
              </a:prstGeom>
              <a:solidFill>
                <a:srgbClr val="EB3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48" name="Rectangle 147"/>
              <p:cNvSpPr>
                <a:spLocks noChangeArrowheads="1"/>
              </p:cNvSpPr>
              <p:nvPr/>
            </p:nvSpPr>
            <p:spPr bwMode="auto">
              <a:xfrm>
                <a:off x="10905766" y="2382378"/>
                <a:ext cx="84675" cy="84675"/>
              </a:xfrm>
              <a:prstGeom prst="rect">
                <a:avLst/>
              </a:prstGeom>
              <a:solidFill>
                <a:srgbClr val="EB3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</p:grpSp>
        <p:grpSp>
          <p:nvGrpSpPr>
            <p:cNvPr id="115" name="Group 114"/>
            <p:cNvGrpSpPr/>
            <p:nvPr/>
          </p:nvGrpSpPr>
          <p:grpSpPr>
            <a:xfrm>
              <a:off x="6785237" y="3503945"/>
              <a:ext cx="1030978" cy="853418"/>
              <a:chOff x="10562448" y="2862201"/>
              <a:chExt cx="1030978" cy="853418"/>
            </a:xfrm>
          </p:grpSpPr>
          <p:sp>
            <p:nvSpPr>
              <p:cNvPr id="124" name="Freeform 123"/>
              <p:cNvSpPr>
                <a:spLocks/>
              </p:cNvSpPr>
              <p:nvPr/>
            </p:nvSpPr>
            <p:spPr bwMode="auto">
              <a:xfrm>
                <a:off x="10562448" y="2862201"/>
                <a:ext cx="1030978" cy="775928"/>
              </a:xfrm>
              <a:custGeom>
                <a:avLst/>
                <a:gdLst>
                  <a:gd name="T0" fmla="*/ 850 w 850"/>
                  <a:gd name="T1" fmla="*/ 17 h 640"/>
                  <a:gd name="T2" fmla="*/ 834 w 850"/>
                  <a:gd name="T3" fmla="*/ 0 h 640"/>
                  <a:gd name="T4" fmla="*/ 17 w 850"/>
                  <a:gd name="T5" fmla="*/ 0 h 640"/>
                  <a:gd name="T6" fmla="*/ 0 w 850"/>
                  <a:gd name="T7" fmla="*/ 17 h 640"/>
                  <a:gd name="T8" fmla="*/ 0 w 850"/>
                  <a:gd name="T9" fmla="*/ 573 h 640"/>
                  <a:gd name="T10" fmla="*/ 17 w 850"/>
                  <a:gd name="T11" fmla="*/ 590 h 640"/>
                  <a:gd name="T12" fmla="*/ 395 w 850"/>
                  <a:gd name="T13" fmla="*/ 590 h 640"/>
                  <a:gd name="T14" fmla="*/ 382 w 850"/>
                  <a:gd name="T15" fmla="*/ 627 h 640"/>
                  <a:gd name="T16" fmla="*/ 307 w 850"/>
                  <a:gd name="T17" fmla="*/ 627 h 640"/>
                  <a:gd name="T18" fmla="*/ 307 w 850"/>
                  <a:gd name="T19" fmla="*/ 640 h 640"/>
                  <a:gd name="T20" fmla="*/ 539 w 850"/>
                  <a:gd name="T21" fmla="*/ 640 h 640"/>
                  <a:gd name="T22" fmla="*/ 539 w 850"/>
                  <a:gd name="T23" fmla="*/ 627 h 640"/>
                  <a:gd name="T24" fmla="*/ 478 w 850"/>
                  <a:gd name="T25" fmla="*/ 627 h 640"/>
                  <a:gd name="T26" fmla="*/ 466 w 850"/>
                  <a:gd name="T27" fmla="*/ 590 h 640"/>
                  <a:gd name="T28" fmla="*/ 834 w 850"/>
                  <a:gd name="T29" fmla="*/ 590 h 640"/>
                  <a:gd name="T30" fmla="*/ 850 w 850"/>
                  <a:gd name="T31" fmla="*/ 573 h 640"/>
                  <a:gd name="T32" fmla="*/ 850 w 850"/>
                  <a:gd name="T33" fmla="*/ 17 h 6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50" h="640">
                    <a:moveTo>
                      <a:pt x="850" y="17"/>
                    </a:moveTo>
                    <a:cubicBezTo>
                      <a:pt x="850" y="8"/>
                      <a:pt x="843" y="0"/>
                      <a:pt x="834" y="0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7" y="0"/>
                      <a:pt x="0" y="8"/>
                      <a:pt x="0" y="17"/>
                    </a:cubicBezTo>
                    <a:cubicBezTo>
                      <a:pt x="0" y="573"/>
                      <a:pt x="0" y="573"/>
                      <a:pt x="0" y="573"/>
                    </a:cubicBezTo>
                    <a:cubicBezTo>
                      <a:pt x="0" y="582"/>
                      <a:pt x="7" y="590"/>
                      <a:pt x="17" y="590"/>
                    </a:cubicBezTo>
                    <a:cubicBezTo>
                      <a:pt x="395" y="590"/>
                      <a:pt x="395" y="590"/>
                      <a:pt x="395" y="590"/>
                    </a:cubicBezTo>
                    <a:cubicBezTo>
                      <a:pt x="382" y="627"/>
                      <a:pt x="382" y="627"/>
                      <a:pt x="382" y="627"/>
                    </a:cubicBezTo>
                    <a:cubicBezTo>
                      <a:pt x="307" y="627"/>
                      <a:pt x="307" y="627"/>
                      <a:pt x="307" y="627"/>
                    </a:cubicBezTo>
                    <a:cubicBezTo>
                      <a:pt x="307" y="640"/>
                      <a:pt x="307" y="640"/>
                      <a:pt x="307" y="640"/>
                    </a:cubicBezTo>
                    <a:cubicBezTo>
                      <a:pt x="539" y="640"/>
                      <a:pt x="539" y="640"/>
                      <a:pt x="539" y="640"/>
                    </a:cubicBezTo>
                    <a:cubicBezTo>
                      <a:pt x="539" y="627"/>
                      <a:pt x="539" y="627"/>
                      <a:pt x="539" y="627"/>
                    </a:cubicBezTo>
                    <a:cubicBezTo>
                      <a:pt x="478" y="627"/>
                      <a:pt x="478" y="627"/>
                      <a:pt x="478" y="627"/>
                    </a:cubicBezTo>
                    <a:cubicBezTo>
                      <a:pt x="466" y="590"/>
                      <a:pt x="466" y="590"/>
                      <a:pt x="466" y="590"/>
                    </a:cubicBezTo>
                    <a:cubicBezTo>
                      <a:pt x="834" y="590"/>
                      <a:pt x="834" y="590"/>
                      <a:pt x="834" y="590"/>
                    </a:cubicBezTo>
                    <a:cubicBezTo>
                      <a:pt x="843" y="590"/>
                      <a:pt x="850" y="582"/>
                      <a:pt x="850" y="573"/>
                    </a:cubicBezTo>
                    <a:lnTo>
                      <a:pt x="850" y="17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25" name="Rectangle 124"/>
              <p:cNvSpPr>
                <a:spLocks noChangeArrowheads="1"/>
              </p:cNvSpPr>
              <p:nvPr/>
            </p:nvSpPr>
            <p:spPr bwMode="auto">
              <a:xfrm>
                <a:off x="10588107" y="2887860"/>
                <a:ext cx="980687" cy="551155"/>
              </a:xfrm>
              <a:prstGeom prst="rect">
                <a:avLst/>
              </a:pr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26" name="Freeform 125"/>
              <p:cNvSpPr>
                <a:spLocks/>
              </p:cNvSpPr>
              <p:nvPr/>
            </p:nvSpPr>
            <p:spPr bwMode="auto">
              <a:xfrm>
                <a:off x="11426130" y="3662248"/>
                <a:ext cx="106741" cy="53371"/>
              </a:xfrm>
              <a:custGeom>
                <a:avLst/>
                <a:gdLst>
                  <a:gd name="T0" fmla="*/ 44 w 88"/>
                  <a:gd name="T1" fmla="*/ 0 h 44"/>
                  <a:gd name="T2" fmla="*/ 0 w 88"/>
                  <a:gd name="T3" fmla="*/ 44 h 44"/>
                  <a:gd name="T4" fmla="*/ 88 w 88"/>
                  <a:gd name="T5" fmla="*/ 44 h 44"/>
                  <a:gd name="T6" fmla="*/ 44 w 88"/>
                  <a:gd name="T7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8" h="44">
                    <a:moveTo>
                      <a:pt x="44" y="0"/>
                    </a:moveTo>
                    <a:cubicBezTo>
                      <a:pt x="19" y="0"/>
                      <a:pt x="0" y="20"/>
                      <a:pt x="0" y="44"/>
                    </a:cubicBezTo>
                    <a:cubicBezTo>
                      <a:pt x="88" y="44"/>
                      <a:pt x="88" y="44"/>
                      <a:pt x="88" y="44"/>
                    </a:cubicBezTo>
                    <a:cubicBezTo>
                      <a:pt x="88" y="20"/>
                      <a:pt x="68" y="0"/>
                      <a:pt x="44" y="0"/>
                    </a:cubicBez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27" name="Freeform 126"/>
              <p:cNvSpPr>
                <a:spLocks/>
              </p:cNvSpPr>
              <p:nvPr/>
            </p:nvSpPr>
            <p:spPr bwMode="auto">
              <a:xfrm>
                <a:off x="10588107" y="3658656"/>
                <a:ext cx="800047" cy="55937"/>
              </a:xfrm>
              <a:custGeom>
                <a:avLst/>
                <a:gdLst>
                  <a:gd name="T0" fmla="*/ 1559 w 1559"/>
                  <a:gd name="T1" fmla="*/ 109 h 109"/>
                  <a:gd name="T2" fmla="*/ 0 w 1559"/>
                  <a:gd name="T3" fmla="*/ 109 h 109"/>
                  <a:gd name="T4" fmla="*/ 0 w 1559"/>
                  <a:gd name="T5" fmla="*/ 64 h 109"/>
                  <a:gd name="T6" fmla="*/ 158 w 1559"/>
                  <a:gd name="T7" fmla="*/ 0 h 109"/>
                  <a:gd name="T8" fmla="*/ 1401 w 1559"/>
                  <a:gd name="T9" fmla="*/ 0 h 109"/>
                  <a:gd name="T10" fmla="*/ 1559 w 1559"/>
                  <a:gd name="T11" fmla="*/ 64 h 109"/>
                  <a:gd name="T12" fmla="*/ 1559 w 1559"/>
                  <a:gd name="T13" fmla="*/ 109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59" h="109">
                    <a:moveTo>
                      <a:pt x="1559" y="109"/>
                    </a:moveTo>
                    <a:lnTo>
                      <a:pt x="0" y="109"/>
                    </a:lnTo>
                    <a:lnTo>
                      <a:pt x="0" y="64"/>
                    </a:lnTo>
                    <a:lnTo>
                      <a:pt x="158" y="0"/>
                    </a:lnTo>
                    <a:lnTo>
                      <a:pt x="1401" y="0"/>
                    </a:lnTo>
                    <a:lnTo>
                      <a:pt x="1559" y="64"/>
                    </a:lnTo>
                    <a:lnTo>
                      <a:pt x="1559" y="109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28" name="Freeform 127"/>
              <p:cNvSpPr>
                <a:spLocks/>
              </p:cNvSpPr>
              <p:nvPr/>
            </p:nvSpPr>
            <p:spPr bwMode="auto">
              <a:xfrm>
                <a:off x="11212647" y="3625813"/>
                <a:ext cx="267880" cy="79030"/>
              </a:xfrm>
              <a:custGeom>
                <a:avLst/>
                <a:gdLst>
                  <a:gd name="T0" fmla="*/ 218 w 221"/>
                  <a:gd name="T1" fmla="*/ 65 h 65"/>
                  <a:gd name="T2" fmla="*/ 0 w 221"/>
                  <a:gd name="T3" fmla="*/ 7 h 65"/>
                  <a:gd name="T4" fmla="*/ 0 w 221"/>
                  <a:gd name="T5" fmla="*/ 0 h 65"/>
                  <a:gd name="T6" fmla="*/ 221 w 221"/>
                  <a:gd name="T7" fmla="*/ 59 h 65"/>
                  <a:gd name="T8" fmla="*/ 218 w 221"/>
                  <a:gd name="T9" fmla="*/ 6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1" h="65">
                    <a:moveTo>
                      <a:pt x="218" y="65"/>
                    </a:moveTo>
                    <a:cubicBezTo>
                      <a:pt x="152" y="27"/>
                      <a:pt x="76" y="7"/>
                      <a:pt x="0" y="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7" y="0"/>
                      <a:pt x="154" y="21"/>
                      <a:pt x="221" y="59"/>
                    </a:cubicBezTo>
                    <a:lnTo>
                      <a:pt x="218" y="65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29" name="Rectangle 128"/>
              <p:cNvSpPr>
                <a:spLocks noChangeArrowheads="1"/>
              </p:cNvSpPr>
              <p:nvPr/>
            </p:nvSpPr>
            <p:spPr bwMode="auto">
              <a:xfrm>
                <a:off x="11331192" y="2959192"/>
                <a:ext cx="202706" cy="202706"/>
              </a:xfrm>
              <a:prstGeom prst="rect">
                <a:avLst/>
              </a:prstGeom>
              <a:solidFill>
                <a:srgbClr val="00BC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30" name="Rectangle 129"/>
              <p:cNvSpPr>
                <a:spLocks noChangeArrowheads="1"/>
              </p:cNvSpPr>
              <p:nvPr/>
            </p:nvSpPr>
            <p:spPr bwMode="auto">
              <a:xfrm>
                <a:off x="11110524" y="2959192"/>
                <a:ext cx="203732" cy="202706"/>
              </a:xfrm>
              <a:prstGeom prst="rect">
                <a:avLst/>
              </a:prstGeom>
              <a:solidFill>
                <a:srgbClr val="00BC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31" name="Rectangle 130"/>
              <p:cNvSpPr>
                <a:spLocks noChangeArrowheads="1"/>
              </p:cNvSpPr>
              <p:nvPr/>
            </p:nvSpPr>
            <p:spPr bwMode="auto">
              <a:xfrm>
                <a:off x="10891397" y="2959192"/>
                <a:ext cx="202193" cy="202706"/>
              </a:xfrm>
              <a:prstGeom prst="rect">
                <a:avLst/>
              </a:prstGeom>
              <a:solidFill>
                <a:srgbClr val="00BC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32" name="Rectangle 131"/>
              <p:cNvSpPr>
                <a:spLocks noChangeArrowheads="1"/>
              </p:cNvSpPr>
              <p:nvPr/>
            </p:nvSpPr>
            <p:spPr bwMode="auto">
              <a:xfrm>
                <a:off x="11331192" y="3178833"/>
                <a:ext cx="202706" cy="203219"/>
              </a:xfrm>
              <a:prstGeom prst="rect">
                <a:avLst/>
              </a:prstGeom>
              <a:solidFill>
                <a:srgbClr val="00BC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33" name="Rectangle 132"/>
              <p:cNvSpPr>
                <a:spLocks noChangeArrowheads="1"/>
              </p:cNvSpPr>
              <p:nvPr/>
            </p:nvSpPr>
            <p:spPr bwMode="auto">
              <a:xfrm>
                <a:off x="11110524" y="3178833"/>
                <a:ext cx="203732" cy="203219"/>
              </a:xfrm>
              <a:prstGeom prst="rect">
                <a:avLst/>
              </a:prstGeom>
              <a:solidFill>
                <a:srgbClr val="00BC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34" name="Rectangle 133"/>
              <p:cNvSpPr>
                <a:spLocks noChangeArrowheads="1"/>
              </p:cNvSpPr>
              <p:nvPr/>
            </p:nvSpPr>
            <p:spPr bwMode="auto">
              <a:xfrm>
                <a:off x="10891397" y="3178833"/>
                <a:ext cx="202193" cy="203219"/>
              </a:xfrm>
              <a:prstGeom prst="rect">
                <a:avLst/>
              </a:prstGeom>
              <a:solidFill>
                <a:srgbClr val="00BC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35" name="Rectangle 134"/>
              <p:cNvSpPr>
                <a:spLocks noChangeArrowheads="1"/>
              </p:cNvSpPr>
              <p:nvPr/>
            </p:nvSpPr>
            <p:spPr bwMode="auto">
              <a:xfrm>
                <a:off x="10671756" y="2959192"/>
                <a:ext cx="202706" cy="202706"/>
              </a:xfrm>
              <a:prstGeom prst="rect">
                <a:avLst/>
              </a:prstGeom>
              <a:solidFill>
                <a:srgbClr val="00BC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36" name="Rectangle 135"/>
              <p:cNvSpPr>
                <a:spLocks noChangeArrowheads="1"/>
              </p:cNvSpPr>
              <p:nvPr/>
            </p:nvSpPr>
            <p:spPr bwMode="auto">
              <a:xfrm>
                <a:off x="10671756" y="3178833"/>
                <a:ext cx="202706" cy="203219"/>
              </a:xfrm>
              <a:prstGeom prst="rect">
                <a:avLst/>
              </a:prstGeom>
              <a:solidFill>
                <a:srgbClr val="00BC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</p:grpSp>
        <p:pic>
          <p:nvPicPr>
            <p:cNvPr id="116" name="Picture 11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658870" y="2718205"/>
              <a:ext cx="1066432" cy="439598"/>
            </a:xfrm>
            <a:prstGeom prst="rect">
              <a:avLst/>
            </a:prstGeom>
          </p:spPr>
        </p:pic>
        <p:pic>
          <p:nvPicPr>
            <p:cNvPr id="117" name="Picture 11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800313" y="3082933"/>
              <a:ext cx="594524" cy="245071"/>
            </a:xfrm>
            <a:prstGeom prst="rect">
              <a:avLst/>
            </a:prstGeom>
          </p:spPr>
        </p:pic>
        <p:pic>
          <p:nvPicPr>
            <p:cNvPr id="118" name="Picture 117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444874" y="2869910"/>
              <a:ext cx="946814" cy="1086778"/>
            </a:xfrm>
            <a:prstGeom prst="rect">
              <a:avLst/>
            </a:prstGeom>
          </p:spPr>
        </p:pic>
        <p:grpSp>
          <p:nvGrpSpPr>
            <p:cNvPr id="119" name="Group 118"/>
            <p:cNvGrpSpPr/>
            <p:nvPr/>
          </p:nvGrpSpPr>
          <p:grpSpPr>
            <a:xfrm>
              <a:off x="4239878" y="2576552"/>
              <a:ext cx="944055" cy="944055"/>
              <a:chOff x="8865764" y="3123531"/>
              <a:chExt cx="556158" cy="556158"/>
            </a:xfrm>
          </p:grpSpPr>
          <p:sp>
            <p:nvSpPr>
              <p:cNvPr id="122" name="Oval 121"/>
              <p:cNvSpPr/>
              <p:nvPr/>
            </p:nvSpPr>
            <p:spPr>
              <a:xfrm>
                <a:off x="8865764" y="3123531"/>
                <a:ext cx="556158" cy="556158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IN"/>
              </a:p>
            </p:txBody>
          </p:sp>
          <p:pic>
            <p:nvPicPr>
              <p:cNvPr id="123" name="Picture 122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8976097" y="3238385"/>
                <a:ext cx="335492" cy="382305"/>
              </a:xfrm>
              <a:prstGeom prst="rect">
                <a:avLst/>
              </a:prstGeom>
            </p:spPr>
          </p:pic>
        </p:grpSp>
        <p:pic>
          <p:nvPicPr>
            <p:cNvPr id="120" name="Picture 119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049777" y="3786139"/>
              <a:ext cx="901398" cy="615326"/>
            </a:xfrm>
            <a:prstGeom prst="rect">
              <a:avLst/>
            </a:prstGeom>
          </p:spPr>
        </p:pic>
        <p:pic>
          <p:nvPicPr>
            <p:cNvPr id="121" name="Picture 120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649014" y="2715880"/>
              <a:ext cx="837457" cy="3452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9399541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620706" y="127236"/>
            <a:ext cx="7772400" cy="3200400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1849306" y="333506"/>
            <a:ext cx="7315200" cy="2743200"/>
          </a:xfrm>
          <a:prstGeom prst="rect">
            <a:avLst/>
          </a:prstGeom>
          <a:solidFill>
            <a:srgbClr val="4B00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6421306" y="332927"/>
            <a:ext cx="2743200" cy="2743200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2064176" y="534189"/>
            <a:ext cx="3629841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nderstand Your Customers to Increase Your Sales </a:t>
            </a:r>
            <a:endParaRPr lang="en-US" sz="1400" dirty="0" smtClean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en-US" sz="1400" dirty="0" smtClean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en-US" sz="1600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lus, see Office 365 Power BI and Microsoft Surface in action today!</a:t>
            </a:r>
            <a:endParaRPr lang="en-US" sz="16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5360942" y="423768"/>
            <a:ext cx="3917864" cy="2777824"/>
            <a:chOff x="4587745" y="3254139"/>
            <a:chExt cx="4276169" cy="3031867"/>
          </a:xfrm>
        </p:grpSpPr>
        <p:sp>
          <p:nvSpPr>
            <p:cNvPr id="527" name="Freeform 526"/>
            <p:cNvSpPr>
              <a:spLocks/>
            </p:cNvSpPr>
            <p:nvPr/>
          </p:nvSpPr>
          <p:spPr bwMode="auto">
            <a:xfrm>
              <a:off x="5134446" y="3254139"/>
              <a:ext cx="1354577" cy="890391"/>
            </a:xfrm>
            <a:custGeom>
              <a:avLst/>
              <a:gdLst>
                <a:gd name="T0" fmla="*/ 132 w 157"/>
                <a:gd name="T1" fmla="*/ 45 h 103"/>
                <a:gd name="T2" fmla="*/ 132 w 157"/>
                <a:gd name="T3" fmla="*/ 43 h 103"/>
                <a:gd name="T4" fmla="*/ 88 w 157"/>
                <a:gd name="T5" fmla="*/ 0 h 103"/>
                <a:gd name="T6" fmla="*/ 52 w 157"/>
                <a:gd name="T7" fmla="*/ 19 h 103"/>
                <a:gd name="T8" fmla="*/ 41 w 157"/>
                <a:gd name="T9" fmla="*/ 16 h 103"/>
                <a:gd name="T10" fmla="*/ 27 w 157"/>
                <a:gd name="T11" fmla="*/ 20 h 103"/>
                <a:gd name="T12" fmla="*/ 15 w 157"/>
                <a:gd name="T13" fmla="*/ 40 h 103"/>
                <a:gd name="T14" fmla="*/ 0 w 157"/>
                <a:gd name="T15" fmla="*/ 69 h 103"/>
                <a:gd name="T16" fmla="*/ 30 w 157"/>
                <a:gd name="T17" fmla="*/ 103 h 103"/>
                <a:gd name="T18" fmla="*/ 34 w 157"/>
                <a:gd name="T19" fmla="*/ 103 h 103"/>
                <a:gd name="T20" fmla="*/ 37 w 157"/>
                <a:gd name="T21" fmla="*/ 103 h 103"/>
                <a:gd name="T22" fmla="*/ 108 w 157"/>
                <a:gd name="T23" fmla="*/ 103 h 103"/>
                <a:gd name="T24" fmla="*/ 109 w 157"/>
                <a:gd name="T25" fmla="*/ 103 h 103"/>
                <a:gd name="T26" fmla="*/ 111 w 157"/>
                <a:gd name="T27" fmla="*/ 103 h 103"/>
                <a:gd name="T28" fmla="*/ 116 w 157"/>
                <a:gd name="T29" fmla="*/ 103 h 103"/>
                <a:gd name="T30" fmla="*/ 128 w 157"/>
                <a:gd name="T31" fmla="*/ 103 h 103"/>
                <a:gd name="T32" fmla="*/ 157 w 157"/>
                <a:gd name="T33" fmla="*/ 74 h 103"/>
                <a:gd name="T34" fmla="*/ 132 w 157"/>
                <a:gd name="T35" fmla="*/ 4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7" h="103">
                  <a:moveTo>
                    <a:pt x="132" y="45"/>
                  </a:moveTo>
                  <a:cubicBezTo>
                    <a:pt x="132" y="44"/>
                    <a:pt x="132" y="44"/>
                    <a:pt x="132" y="43"/>
                  </a:cubicBezTo>
                  <a:cubicBezTo>
                    <a:pt x="132" y="19"/>
                    <a:pt x="112" y="0"/>
                    <a:pt x="88" y="0"/>
                  </a:cubicBezTo>
                  <a:cubicBezTo>
                    <a:pt x="73" y="0"/>
                    <a:pt x="60" y="8"/>
                    <a:pt x="52" y="19"/>
                  </a:cubicBezTo>
                  <a:cubicBezTo>
                    <a:pt x="49" y="17"/>
                    <a:pt x="45" y="16"/>
                    <a:pt x="41" y="16"/>
                  </a:cubicBezTo>
                  <a:cubicBezTo>
                    <a:pt x="35" y="16"/>
                    <a:pt x="31" y="18"/>
                    <a:pt x="27" y="20"/>
                  </a:cubicBezTo>
                  <a:cubicBezTo>
                    <a:pt x="20" y="25"/>
                    <a:pt x="16" y="32"/>
                    <a:pt x="15" y="40"/>
                  </a:cubicBezTo>
                  <a:cubicBezTo>
                    <a:pt x="6" y="46"/>
                    <a:pt x="0" y="57"/>
                    <a:pt x="0" y="69"/>
                  </a:cubicBezTo>
                  <a:cubicBezTo>
                    <a:pt x="0" y="87"/>
                    <a:pt x="13" y="101"/>
                    <a:pt x="30" y="103"/>
                  </a:cubicBezTo>
                  <a:cubicBezTo>
                    <a:pt x="31" y="103"/>
                    <a:pt x="33" y="103"/>
                    <a:pt x="34" y="103"/>
                  </a:cubicBezTo>
                  <a:cubicBezTo>
                    <a:pt x="35" y="103"/>
                    <a:pt x="36" y="103"/>
                    <a:pt x="37" y="103"/>
                  </a:cubicBezTo>
                  <a:cubicBezTo>
                    <a:pt x="53" y="103"/>
                    <a:pt x="90" y="103"/>
                    <a:pt x="108" y="103"/>
                  </a:cubicBezTo>
                  <a:cubicBezTo>
                    <a:pt x="109" y="103"/>
                    <a:pt x="109" y="103"/>
                    <a:pt x="109" y="103"/>
                  </a:cubicBezTo>
                  <a:cubicBezTo>
                    <a:pt x="111" y="103"/>
                    <a:pt x="111" y="103"/>
                    <a:pt x="111" y="103"/>
                  </a:cubicBezTo>
                  <a:cubicBezTo>
                    <a:pt x="112" y="103"/>
                    <a:pt x="115" y="103"/>
                    <a:pt x="116" y="103"/>
                  </a:cubicBezTo>
                  <a:cubicBezTo>
                    <a:pt x="128" y="103"/>
                    <a:pt x="128" y="103"/>
                    <a:pt x="128" y="103"/>
                  </a:cubicBezTo>
                  <a:cubicBezTo>
                    <a:pt x="144" y="103"/>
                    <a:pt x="157" y="90"/>
                    <a:pt x="157" y="74"/>
                  </a:cubicBezTo>
                  <a:cubicBezTo>
                    <a:pt x="157" y="59"/>
                    <a:pt x="146" y="47"/>
                    <a:pt x="132" y="45"/>
                  </a:cubicBezTo>
                  <a:close/>
                </a:path>
              </a:pathLst>
            </a:custGeom>
            <a:solidFill>
              <a:srgbClr val="00BCF2">
                <a:lumMod val="40000"/>
                <a:lumOff val="60000"/>
              </a:srgb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528" name="Group 527"/>
            <p:cNvGrpSpPr/>
            <p:nvPr/>
          </p:nvGrpSpPr>
          <p:grpSpPr>
            <a:xfrm>
              <a:off x="7341919" y="3753990"/>
              <a:ext cx="1521995" cy="1898322"/>
              <a:chOff x="-3438232" y="-1996810"/>
              <a:chExt cx="1236693" cy="1542479"/>
            </a:xfrm>
          </p:grpSpPr>
          <p:sp>
            <p:nvSpPr>
              <p:cNvPr id="652" name="Trapezoid 651"/>
              <p:cNvSpPr/>
              <p:nvPr/>
            </p:nvSpPr>
            <p:spPr bwMode="auto">
              <a:xfrm rot="16200000">
                <a:off x="-3591125" y="-1843917"/>
                <a:ext cx="1542479" cy="1236693"/>
              </a:xfrm>
              <a:prstGeom prst="trapezoid">
                <a:avLst/>
              </a:prstGeom>
              <a:solidFill>
                <a:srgbClr val="ADD40D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53" name="Trapezoid 652"/>
              <p:cNvSpPr/>
              <p:nvPr/>
            </p:nvSpPr>
            <p:spPr bwMode="auto">
              <a:xfrm rot="16200000">
                <a:off x="-3482517" y="-1759465"/>
                <a:ext cx="1284658" cy="1029983"/>
              </a:xfrm>
              <a:prstGeom prst="trapezoid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54" name="Trapezoid 653"/>
              <p:cNvSpPr/>
              <p:nvPr/>
            </p:nvSpPr>
            <p:spPr bwMode="auto">
              <a:xfrm rot="16200000">
                <a:off x="-3158999" y="-1250136"/>
                <a:ext cx="579368" cy="185978"/>
              </a:xfrm>
              <a:prstGeom prst="trapezoid">
                <a:avLst/>
              </a:prstGeom>
              <a:solidFill>
                <a:srgbClr val="DC3C00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55" name="Trapezoid 654"/>
              <p:cNvSpPr/>
              <p:nvPr/>
            </p:nvSpPr>
            <p:spPr bwMode="auto">
              <a:xfrm rot="16200000">
                <a:off x="-2999579" y="-1287916"/>
                <a:ext cx="819999" cy="179106"/>
              </a:xfrm>
              <a:prstGeom prst="trapezoid">
                <a:avLst/>
              </a:prstGeom>
              <a:solidFill>
                <a:srgbClr val="008272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56" name="Trapezoid 655"/>
              <p:cNvSpPr/>
              <p:nvPr/>
            </p:nvSpPr>
            <p:spPr bwMode="auto">
              <a:xfrm rot="16200000">
                <a:off x="-3317728" y="-1206991"/>
                <a:ext cx="384076" cy="150736"/>
              </a:xfrm>
              <a:prstGeom prst="trapezoid">
                <a:avLst/>
              </a:prstGeom>
              <a:solidFill>
                <a:srgbClr val="68217A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529" name="Group 528"/>
            <p:cNvGrpSpPr/>
            <p:nvPr/>
          </p:nvGrpSpPr>
          <p:grpSpPr>
            <a:xfrm>
              <a:off x="4678243" y="3992028"/>
              <a:ext cx="809914" cy="477821"/>
              <a:chOff x="938299" y="2418389"/>
              <a:chExt cx="1240068" cy="731596"/>
            </a:xfrm>
          </p:grpSpPr>
          <p:sp>
            <p:nvSpPr>
              <p:cNvPr id="646" name="Rectangle 645"/>
              <p:cNvSpPr/>
              <p:nvPr/>
            </p:nvSpPr>
            <p:spPr bwMode="auto">
              <a:xfrm>
                <a:off x="1005461" y="2484653"/>
                <a:ext cx="1045740" cy="605615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647" name="Group 646"/>
              <p:cNvGrpSpPr/>
              <p:nvPr/>
            </p:nvGrpSpPr>
            <p:grpSpPr>
              <a:xfrm>
                <a:off x="938299" y="2418389"/>
                <a:ext cx="1240068" cy="731596"/>
                <a:chOff x="5526195" y="527271"/>
                <a:chExt cx="1177118" cy="694459"/>
              </a:xfrm>
            </p:grpSpPr>
            <p:sp>
              <p:nvSpPr>
                <p:cNvPr id="648" name="Rectangle 79"/>
                <p:cNvSpPr/>
                <p:nvPr/>
              </p:nvSpPr>
              <p:spPr>
                <a:xfrm rot="16200000">
                  <a:off x="5767524" y="285942"/>
                  <a:ext cx="694459" cy="11771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07298" h="2385394">
                      <a:moveTo>
                        <a:pt x="703650" y="2179220"/>
                      </a:moveTo>
                      <a:cubicBezTo>
                        <a:pt x="660028" y="2179220"/>
                        <a:pt x="624666" y="2214582"/>
                        <a:pt x="624666" y="2258204"/>
                      </a:cubicBezTo>
                      <a:cubicBezTo>
                        <a:pt x="624666" y="2301826"/>
                        <a:pt x="660028" y="2337188"/>
                        <a:pt x="703650" y="2337188"/>
                      </a:cubicBezTo>
                      <a:cubicBezTo>
                        <a:pt x="747272" y="2337188"/>
                        <a:pt x="782634" y="2301826"/>
                        <a:pt x="782634" y="2258204"/>
                      </a:cubicBezTo>
                      <a:cubicBezTo>
                        <a:pt x="782634" y="2214582"/>
                        <a:pt x="747272" y="2179220"/>
                        <a:pt x="703650" y="2179220"/>
                      </a:cubicBezTo>
                      <a:close/>
                      <a:moveTo>
                        <a:pt x="177553" y="179867"/>
                      </a:moveTo>
                      <a:lnTo>
                        <a:pt x="172551" y="180877"/>
                      </a:lnTo>
                      <a:lnTo>
                        <a:pt x="165667" y="180877"/>
                      </a:lnTo>
                      <a:cubicBezTo>
                        <a:pt x="144630" y="180877"/>
                        <a:pt x="127577" y="197930"/>
                        <a:pt x="127577" y="218967"/>
                      </a:cubicBezTo>
                      <a:lnTo>
                        <a:pt x="127577" y="2097793"/>
                      </a:lnTo>
                      <a:cubicBezTo>
                        <a:pt x="127577" y="2118830"/>
                        <a:pt x="144630" y="2135883"/>
                        <a:pt x="165667" y="2135883"/>
                      </a:cubicBezTo>
                      <a:lnTo>
                        <a:pt x="1241631" y="2135883"/>
                      </a:lnTo>
                      <a:cubicBezTo>
                        <a:pt x="1262668" y="2135883"/>
                        <a:pt x="1279721" y="2118830"/>
                        <a:pt x="1279721" y="2097793"/>
                      </a:cubicBezTo>
                      <a:lnTo>
                        <a:pt x="1279721" y="218967"/>
                      </a:lnTo>
                      <a:cubicBezTo>
                        <a:pt x="1279721" y="197930"/>
                        <a:pt x="1262668" y="180877"/>
                        <a:pt x="1241631" y="180877"/>
                      </a:cubicBezTo>
                      <a:lnTo>
                        <a:pt x="1234749" y="180877"/>
                      </a:lnTo>
                      <a:cubicBezTo>
                        <a:pt x="1233161" y="179963"/>
                        <a:pt x="1231465" y="179867"/>
                        <a:pt x="1229746" y="179867"/>
                      </a:cubicBezTo>
                      <a:close/>
                      <a:moveTo>
                        <a:pt x="602415" y="56498"/>
                      </a:moveTo>
                      <a:cubicBezTo>
                        <a:pt x="588290" y="56498"/>
                        <a:pt x="576839" y="67949"/>
                        <a:pt x="576839" y="82074"/>
                      </a:cubicBezTo>
                      <a:cubicBezTo>
                        <a:pt x="576839" y="96199"/>
                        <a:pt x="588290" y="107650"/>
                        <a:pt x="602415" y="107650"/>
                      </a:cubicBezTo>
                      <a:lnTo>
                        <a:pt x="804884" y="107650"/>
                      </a:lnTo>
                      <a:cubicBezTo>
                        <a:pt x="819009" y="107650"/>
                        <a:pt x="830460" y="96199"/>
                        <a:pt x="830460" y="82074"/>
                      </a:cubicBezTo>
                      <a:cubicBezTo>
                        <a:pt x="830460" y="67949"/>
                        <a:pt x="819009" y="56498"/>
                        <a:pt x="804884" y="56498"/>
                      </a:cubicBezTo>
                      <a:close/>
                      <a:moveTo>
                        <a:pt x="76685" y="0"/>
                      </a:moveTo>
                      <a:lnTo>
                        <a:pt x="1330614" y="0"/>
                      </a:lnTo>
                      <a:cubicBezTo>
                        <a:pt x="1372966" y="0"/>
                        <a:pt x="1407298" y="34333"/>
                        <a:pt x="1407298" y="76684"/>
                      </a:cubicBezTo>
                      <a:lnTo>
                        <a:pt x="1407298" y="1757263"/>
                      </a:lnTo>
                      <a:lnTo>
                        <a:pt x="1407298" y="1766789"/>
                      </a:lnTo>
                      <a:lnTo>
                        <a:pt x="1407298" y="2308710"/>
                      </a:lnTo>
                      <a:cubicBezTo>
                        <a:pt x="1407298" y="2351061"/>
                        <a:pt x="1372966" y="2385394"/>
                        <a:pt x="1330614" y="2385394"/>
                      </a:cubicBezTo>
                      <a:lnTo>
                        <a:pt x="76685" y="2385394"/>
                      </a:lnTo>
                      <a:cubicBezTo>
                        <a:pt x="34333" y="2385394"/>
                        <a:pt x="0" y="2351061"/>
                        <a:pt x="0" y="2308710"/>
                      </a:cubicBezTo>
                      <a:lnTo>
                        <a:pt x="0" y="1766789"/>
                      </a:lnTo>
                      <a:lnTo>
                        <a:pt x="0" y="1757263"/>
                      </a:lnTo>
                      <a:lnTo>
                        <a:pt x="0" y="76684"/>
                      </a:lnTo>
                      <a:cubicBezTo>
                        <a:pt x="0" y="34333"/>
                        <a:pt x="34333" y="0"/>
                        <a:pt x="76685" y="0"/>
                      </a:cubicBezTo>
                      <a:close/>
                    </a:path>
                  </a:pathLst>
                </a:custGeom>
                <a:solidFill>
                  <a:srgbClr val="AB0086"/>
                </a:solidFill>
                <a:ln w="10795" cap="flat" cmpd="sng" algn="ctr">
                  <a:noFill/>
                  <a:prstDash val="solid"/>
                </a:ln>
                <a:effectLst/>
              </p:spPr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9" name="Rectangle 648"/>
                <p:cNvSpPr/>
                <p:nvPr/>
              </p:nvSpPr>
              <p:spPr bwMode="auto">
                <a:xfrm>
                  <a:off x="5736327" y="861495"/>
                  <a:ext cx="205914" cy="252129"/>
                </a:xfrm>
                <a:prstGeom prst="rect">
                  <a:avLst/>
                </a:prstGeom>
                <a:solidFill>
                  <a:srgbClr val="68217A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650" name="Rectangle 649"/>
                <p:cNvSpPr/>
                <p:nvPr/>
              </p:nvSpPr>
              <p:spPr bwMode="auto">
                <a:xfrm>
                  <a:off x="6268272" y="677648"/>
                  <a:ext cx="189474" cy="430031"/>
                </a:xfrm>
                <a:prstGeom prst="rect">
                  <a:avLst/>
                </a:prstGeom>
                <a:solidFill>
                  <a:srgbClr val="008272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651" name="Rectangle 650"/>
                <p:cNvSpPr/>
                <p:nvPr/>
              </p:nvSpPr>
              <p:spPr bwMode="auto">
                <a:xfrm>
                  <a:off x="6002300" y="797768"/>
                  <a:ext cx="205914" cy="309911"/>
                </a:xfrm>
                <a:prstGeom prst="rect">
                  <a:avLst/>
                </a:prstGeom>
                <a:solidFill>
                  <a:srgbClr val="DC3C00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</p:grpSp>
        <p:sp>
          <p:nvSpPr>
            <p:cNvPr id="533" name="Freeform 532"/>
            <p:cNvSpPr>
              <a:spLocks/>
            </p:cNvSpPr>
            <p:nvPr/>
          </p:nvSpPr>
          <p:spPr bwMode="auto">
            <a:xfrm>
              <a:off x="6268970" y="3522531"/>
              <a:ext cx="576313" cy="379382"/>
            </a:xfrm>
            <a:custGeom>
              <a:avLst/>
              <a:gdLst>
                <a:gd name="T0" fmla="*/ 34 w 213"/>
                <a:gd name="T1" fmla="*/ 62 h 140"/>
                <a:gd name="T2" fmla="*/ 34 w 213"/>
                <a:gd name="T3" fmla="*/ 59 h 140"/>
                <a:gd name="T4" fmla="*/ 92 w 213"/>
                <a:gd name="T5" fmla="*/ 0 h 140"/>
                <a:gd name="T6" fmla="*/ 141 w 213"/>
                <a:gd name="T7" fmla="*/ 27 h 140"/>
                <a:gd name="T8" fmla="*/ 157 w 213"/>
                <a:gd name="T9" fmla="*/ 22 h 140"/>
                <a:gd name="T10" fmla="*/ 176 w 213"/>
                <a:gd name="T11" fmla="*/ 28 h 140"/>
                <a:gd name="T12" fmla="*/ 192 w 213"/>
                <a:gd name="T13" fmla="*/ 55 h 140"/>
                <a:gd name="T14" fmla="*/ 213 w 213"/>
                <a:gd name="T15" fmla="*/ 94 h 140"/>
                <a:gd name="T16" fmla="*/ 172 w 213"/>
                <a:gd name="T17" fmla="*/ 140 h 140"/>
                <a:gd name="T18" fmla="*/ 166 w 213"/>
                <a:gd name="T19" fmla="*/ 140 h 140"/>
                <a:gd name="T20" fmla="*/ 162 w 213"/>
                <a:gd name="T21" fmla="*/ 140 h 140"/>
                <a:gd name="T22" fmla="*/ 66 w 213"/>
                <a:gd name="T23" fmla="*/ 140 h 140"/>
                <a:gd name="T24" fmla="*/ 64 w 213"/>
                <a:gd name="T25" fmla="*/ 140 h 140"/>
                <a:gd name="T26" fmla="*/ 61 w 213"/>
                <a:gd name="T27" fmla="*/ 140 h 140"/>
                <a:gd name="T28" fmla="*/ 54 w 213"/>
                <a:gd name="T29" fmla="*/ 140 h 140"/>
                <a:gd name="T30" fmla="*/ 39 w 213"/>
                <a:gd name="T31" fmla="*/ 140 h 140"/>
                <a:gd name="T32" fmla="*/ 0 w 213"/>
                <a:gd name="T33" fmla="*/ 101 h 140"/>
                <a:gd name="T34" fmla="*/ 34 w 213"/>
                <a:gd name="T35" fmla="*/ 62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3" h="140">
                  <a:moveTo>
                    <a:pt x="34" y="62"/>
                  </a:moveTo>
                  <a:cubicBezTo>
                    <a:pt x="34" y="61"/>
                    <a:pt x="34" y="60"/>
                    <a:pt x="34" y="59"/>
                  </a:cubicBezTo>
                  <a:cubicBezTo>
                    <a:pt x="34" y="27"/>
                    <a:pt x="60" y="0"/>
                    <a:pt x="92" y="0"/>
                  </a:cubicBezTo>
                  <a:cubicBezTo>
                    <a:pt x="113" y="0"/>
                    <a:pt x="131" y="11"/>
                    <a:pt x="141" y="27"/>
                  </a:cubicBezTo>
                  <a:cubicBezTo>
                    <a:pt x="146" y="24"/>
                    <a:pt x="152" y="22"/>
                    <a:pt x="157" y="22"/>
                  </a:cubicBezTo>
                  <a:cubicBezTo>
                    <a:pt x="165" y="22"/>
                    <a:pt x="171" y="24"/>
                    <a:pt x="176" y="28"/>
                  </a:cubicBezTo>
                  <a:cubicBezTo>
                    <a:pt x="185" y="34"/>
                    <a:pt x="191" y="44"/>
                    <a:pt x="192" y="55"/>
                  </a:cubicBezTo>
                  <a:cubicBezTo>
                    <a:pt x="204" y="64"/>
                    <a:pt x="213" y="78"/>
                    <a:pt x="213" y="94"/>
                  </a:cubicBezTo>
                  <a:cubicBezTo>
                    <a:pt x="213" y="118"/>
                    <a:pt x="195" y="137"/>
                    <a:pt x="172" y="140"/>
                  </a:cubicBezTo>
                  <a:cubicBezTo>
                    <a:pt x="170" y="140"/>
                    <a:pt x="168" y="140"/>
                    <a:pt x="166" y="140"/>
                  </a:cubicBezTo>
                  <a:cubicBezTo>
                    <a:pt x="165" y="140"/>
                    <a:pt x="163" y="140"/>
                    <a:pt x="162" y="140"/>
                  </a:cubicBezTo>
                  <a:cubicBezTo>
                    <a:pt x="140" y="140"/>
                    <a:pt x="90" y="140"/>
                    <a:pt x="66" y="140"/>
                  </a:cubicBezTo>
                  <a:cubicBezTo>
                    <a:pt x="65" y="140"/>
                    <a:pt x="64" y="140"/>
                    <a:pt x="64" y="140"/>
                  </a:cubicBezTo>
                  <a:cubicBezTo>
                    <a:pt x="61" y="140"/>
                    <a:pt x="61" y="140"/>
                    <a:pt x="61" y="140"/>
                  </a:cubicBezTo>
                  <a:cubicBezTo>
                    <a:pt x="60" y="140"/>
                    <a:pt x="57" y="140"/>
                    <a:pt x="54" y="140"/>
                  </a:cubicBezTo>
                  <a:cubicBezTo>
                    <a:pt x="39" y="140"/>
                    <a:pt x="39" y="140"/>
                    <a:pt x="39" y="140"/>
                  </a:cubicBezTo>
                  <a:cubicBezTo>
                    <a:pt x="17" y="139"/>
                    <a:pt x="0" y="122"/>
                    <a:pt x="0" y="101"/>
                  </a:cubicBezTo>
                  <a:cubicBezTo>
                    <a:pt x="0" y="81"/>
                    <a:pt x="14" y="64"/>
                    <a:pt x="34" y="62"/>
                  </a:cubicBezTo>
                  <a:close/>
                </a:path>
              </a:pathLst>
            </a:custGeom>
            <a:solidFill>
              <a:srgbClr val="00BCF2">
                <a:lumMod val="20000"/>
                <a:lumOff val="8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534" name="Group 533"/>
            <p:cNvGrpSpPr/>
            <p:nvPr/>
          </p:nvGrpSpPr>
          <p:grpSpPr>
            <a:xfrm rot="16200000">
              <a:off x="6746654" y="4474140"/>
              <a:ext cx="359294" cy="458023"/>
              <a:chOff x="10058671" y="4257034"/>
              <a:chExt cx="685116" cy="1036491"/>
            </a:xfrm>
          </p:grpSpPr>
          <p:sp>
            <p:nvSpPr>
              <p:cNvPr id="633" name="Freeform 632"/>
              <p:cNvSpPr/>
              <p:nvPr/>
            </p:nvSpPr>
            <p:spPr bwMode="auto">
              <a:xfrm>
                <a:off x="10094534" y="4409521"/>
                <a:ext cx="649253" cy="884004"/>
              </a:xfrm>
              <a:custGeom>
                <a:avLst/>
                <a:gdLst>
                  <a:gd name="connsiteX0" fmla="*/ 72587 w 148530"/>
                  <a:gd name="connsiteY0" fmla="*/ 202235 h 202235"/>
                  <a:gd name="connsiteX1" fmla="*/ 148530 w 148530"/>
                  <a:gd name="connsiteY1" fmla="*/ 124614 h 202235"/>
                  <a:gd name="connsiteX2" fmla="*/ 148530 w 148530"/>
                  <a:gd name="connsiteY2" fmla="*/ 77202 h 202235"/>
                  <a:gd name="connsiteX3" fmla="*/ 93985 w 148530"/>
                  <a:gd name="connsiteY3" fmla="*/ 131746 h 202235"/>
                  <a:gd name="connsiteX4" fmla="*/ 93985 w 148530"/>
                  <a:gd name="connsiteY4" fmla="*/ 0 h 202235"/>
                  <a:gd name="connsiteX5" fmla="*/ 56223 w 148530"/>
                  <a:gd name="connsiteY5" fmla="*/ 0 h 202235"/>
                  <a:gd name="connsiteX6" fmla="*/ 56223 w 148530"/>
                  <a:gd name="connsiteY6" fmla="*/ 134264 h 202235"/>
                  <a:gd name="connsiteX7" fmla="*/ 420 w 148530"/>
                  <a:gd name="connsiteY7" fmla="*/ 74684 h 202235"/>
                  <a:gd name="connsiteX8" fmla="*/ 0 w 148530"/>
                  <a:gd name="connsiteY8" fmla="*/ 121677 h 2022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8530" h="202235">
                    <a:moveTo>
                      <a:pt x="72587" y="202235"/>
                    </a:moveTo>
                    <a:lnTo>
                      <a:pt x="148530" y="124614"/>
                    </a:lnTo>
                    <a:lnTo>
                      <a:pt x="148530" y="77202"/>
                    </a:lnTo>
                    <a:lnTo>
                      <a:pt x="93985" y="131746"/>
                    </a:lnTo>
                    <a:lnTo>
                      <a:pt x="93985" y="0"/>
                    </a:lnTo>
                    <a:lnTo>
                      <a:pt x="56223" y="0"/>
                    </a:lnTo>
                    <a:lnTo>
                      <a:pt x="56223" y="134264"/>
                    </a:lnTo>
                    <a:lnTo>
                      <a:pt x="420" y="74684"/>
                    </a:lnTo>
                    <a:cubicBezTo>
                      <a:pt x="280" y="90348"/>
                      <a:pt x="140" y="106013"/>
                      <a:pt x="0" y="121677"/>
                    </a:cubicBezTo>
                    <a:close/>
                  </a:path>
                </a:pathLst>
              </a:custGeom>
              <a:solidFill>
                <a:srgbClr val="FF8C00"/>
              </a:solidFill>
              <a:ln w="10795" cap="flat" cmpd="sng" algn="ctr">
                <a:noFill/>
                <a:prstDash val="solid"/>
              </a:ln>
              <a:effectLst/>
            </p:spPr>
            <p:txBody>
              <a:bodyPr wrap="square" rtlCol="0" anchor="ctr">
                <a:noAutofit/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31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4" name="Freeform 633"/>
              <p:cNvSpPr/>
              <p:nvPr/>
            </p:nvSpPr>
            <p:spPr bwMode="auto">
              <a:xfrm>
                <a:off x="10058671" y="4257034"/>
                <a:ext cx="319354" cy="884004"/>
              </a:xfrm>
              <a:custGeom>
                <a:avLst/>
                <a:gdLst>
                  <a:gd name="connsiteX0" fmla="*/ 245761 w 319354"/>
                  <a:gd name="connsiteY0" fmla="*/ 0 h 884004"/>
                  <a:gd name="connsiteX1" fmla="*/ 319354 w 319354"/>
                  <a:gd name="connsiteY1" fmla="*/ 0 h 884004"/>
                  <a:gd name="connsiteX2" fmla="*/ 319354 w 319354"/>
                  <a:gd name="connsiteY2" fmla="*/ 881897 h 884004"/>
                  <a:gd name="connsiteX3" fmla="*/ 317292 w 319354"/>
                  <a:gd name="connsiteY3" fmla="*/ 884004 h 884004"/>
                  <a:gd name="connsiteX4" fmla="*/ 0 w 319354"/>
                  <a:gd name="connsiteY4" fmla="*/ 531871 h 884004"/>
                  <a:gd name="connsiteX5" fmla="*/ 1836 w 319354"/>
                  <a:gd name="connsiteY5" fmla="*/ 326457 h 884004"/>
                  <a:gd name="connsiteX6" fmla="*/ 245761 w 319354"/>
                  <a:gd name="connsiteY6" fmla="*/ 586891 h 8840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9354" h="884004">
                    <a:moveTo>
                      <a:pt x="245761" y="0"/>
                    </a:moveTo>
                    <a:lnTo>
                      <a:pt x="319354" y="0"/>
                    </a:lnTo>
                    <a:lnTo>
                      <a:pt x="319354" y="881897"/>
                    </a:lnTo>
                    <a:lnTo>
                      <a:pt x="317292" y="884004"/>
                    </a:lnTo>
                    <a:lnTo>
                      <a:pt x="0" y="531871"/>
                    </a:lnTo>
                    <a:cubicBezTo>
                      <a:pt x="612" y="463401"/>
                      <a:pt x="1224" y="394927"/>
                      <a:pt x="1836" y="326457"/>
                    </a:cubicBezTo>
                    <a:lnTo>
                      <a:pt x="245761" y="586891"/>
                    </a:lnTo>
                    <a:close/>
                  </a:path>
                </a:pathLst>
              </a:custGeom>
              <a:solidFill>
                <a:srgbClr val="FF8C00">
                  <a:lumMod val="60000"/>
                  <a:lumOff val="40000"/>
                </a:srgbClr>
              </a:solidFill>
              <a:ln w="10795" cap="flat" cmpd="sng" algn="ctr">
                <a:noFill/>
                <a:prstDash val="solid"/>
              </a:ln>
              <a:effectLst/>
            </p:spPr>
            <p:txBody>
              <a:bodyPr wrap="square" rtlCol="0" anchor="ctr">
                <a:noAutofit/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31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535" name="Group 534"/>
            <p:cNvGrpSpPr/>
            <p:nvPr/>
          </p:nvGrpSpPr>
          <p:grpSpPr>
            <a:xfrm>
              <a:off x="4587745" y="4549491"/>
              <a:ext cx="2372247" cy="1736515"/>
              <a:chOff x="581660" y="3112295"/>
              <a:chExt cx="3850248" cy="2818432"/>
            </a:xfrm>
          </p:grpSpPr>
          <p:sp>
            <p:nvSpPr>
              <p:cNvPr id="536" name="Oval 535"/>
              <p:cNvSpPr/>
              <p:nvPr/>
            </p:nvSpPr>
            <p:spPr bwMode="auto">
              <a:xfrm>
                <a:off x="581660" y="5236327"/>
                <a:ext cx="3850248" cy="694400"/>
              </a:xfrm>
              <a:prstGeom prst="ellipse">
                <a:avLst/>
              </a:prstGeom>
              <a:solidFill>
                <a:srgbClr val="FFFFFF">
                  <a:lumMod val="85000"/>
                </a:srgb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37" name="Oval 536"/>
              <p:cNvSpPr/>
              <p:nvPr/>
            </p:nvSpPr>
            <p:spPr bwMode="auto">
              <a:xfrm>
                <a:off x="581660" y="5154215"/>
                <a:ext cx="3850248" cy="694400"/>
              </a:xfrm>
              <a:prstGeom prst="ellipse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538" name="Group 537"/>
              <p:cNvGrpSpPr/>
              <p:nvPr/>
            </p:nvGrpSpPr>
            <p:grpSpPr>
              <a:xfrm>
                <a:off x="799737" y="3112295"/>
                <a:ext cx="3244701" cy="2378815"/>
                <a:chOff x="5119260" y="2527486"/>
                <a:chExt cx="3932536" cy="2883090"/>
              </a:xfrm>
            </p:grpSpPr>
            <p:sp>
              <p:nvSpPr>
                <p:cNvPr id="539" name="Freeform 538"/>
                <p:cNvSpPr>
                  <a:spLocks/>
                </p:cNvSpPr>
                <p:nvPr/>
              </p:nvSpPr>
              <p:spPr bwMode="auto">
                <a:xfrm>
                  <a:off x="5119260" y="3006079"/>
                  <a:ext cx="1060977" cy="2394888"/>
                </a:xfrm>
                <a:custGeom>
                  <a:avLst/>
                  <a:gdLst>
                    <a:gd name="T0" fmla="*/ 183 w 233"/>
                    <a:gd name="T1" fmla="*/ 95 h 526"/>
                    <a:gd name="T2" fmla="*/ 182 w 233"/>
                    <a:gd name="T3" fmla="*/ 95 h 526"/>
                    <a:gd name="T4" fmla="*/ 182 w 233"/>
                    <a:gd name="T5" fmla="*/ 95 h 526"/>
                    <a:gd name="T6" fmla="*/ 132 w 233"/>
                    <a:gd name="T7" fmla="*/ 91 h 526"/>
                    <a:gd name="T8" fmla="*/ 132 w 233"/>
                    <a:gd name="T9" fmla="*/ 83 h 526"/>
                    <a:gd name="T10" fmla="*/ 143 w 233"/>
                    <a:gd name="T11" fmla="*/ 70 h 526"/>
                    <a:gd name="T12" fmla="*/ 143 w 233"/>
                    <a:gd name="T13" fmla="*/ 59 h 526"/>
                    <a:gd name="T14" fmla="*/ 148 w 233"/>
                    <a:gd name="T15" fmla="*/ 54 h 526"/>
                    <a:gd name="T16" fmla="*/ 148 w 233"/>
                    <a:gd name="T17" fmla="*/ 44 h 526"/>
                    <a:gd name="T18" fmla="*/ 145 w 233"/>
                    <a:gd name="T19" fmla="*/ 40 h 526"/>
                    <a:gd name="T20" fmla="*/ 151 w 233"/>
                    <a:gd name="T21" fmla="*/ 26 h 526"/>
                    <a:gd name="T22" fmla="*/ 132 w 233"/>
                    <a:gd name="T23" fmla="*/ 7 h 526"/>
                    <a:gd name="T24" fmla="*/ 131 w 233"/>
                    <a:gd name="T25" fmla="*/ 7 h 526"/>
                    <a:gd name="T26" fmla="*/ 110 w 233"/>
                    <a:gd name="T27" fmla="*/ 0 h 526"/>
                    <a:gd name="T28" fmla="*/ 81 w 233"/>
                    <a:gd name="T29" fmla="*/ 25 h 526"/>
                    <a:gd name="T30" fmla="*/ 87 w 233"/>
                    <a:gd name="T31" fmla="*/ 39 h 526"/>
                    <a:gd name="T32" fmla="*/ 83 w 233"/>
                    <a:gd name="T33" fmla="*/ 44 h 526"/>
                    <a:gd name="T34" fmla="*/ 83 w 233"/>
                    <a:gd name="T35" fmla="*/ 54 h 526"/>
                    <a:gd name="T36" fmla="*/ 88 w 233"/>
                    <a:gd name="T37" fmla="*/ 59 h 526"/>
                    <a:gd name="T38" fmla="*/ 88 w 233"/>
                    <a:gd name="T39" fmla="*/ 70 h 526"/>
                    <a:gd name="T40" fmla="*/ 99 w 233"/>
                    <a:gd name="T41" fmla="*/ 83 h 526"/>
                    <a:gd name="T42" fmla="*/ 99 w 233"/>
                    <a:gd name="T43" fmla="*/ 91 h 526"/>
                    <a:gd name="T44" fmla="*/ 49 w 233"/>
                    <a:gd name="T45" fmla="*/ 95 h 526"/>
                    <a:gd name="T46" fmla="*/ 49 w 233"/>
                    <a:gd name="T47" fmla="*/ 97 h 526"/>
                    <a:gd name="T48" fmla="*/ 0 w 233"/>
                    <a:gd name="T49" fmla="*/ 276 h 526"/>
                    <a:gd name="T50" fmla="*/ 3 w 233"/>
                    <a:gd name="T51" fmla="*/ 276 h 526"/>
                    <a:gd name="T52" fmla="*/ 3 w 233"/>
                    <a:gd name="T53" fmla="*/ 289 h 526"/>
                    <a:gd name="T54" fmla="*/ 14 w 233"/>
                    <a:gd name="T55" fmla="*/ 299 h 526"/>
                    <a:gd name="T56" fmla="*/ 25 w 233"/>
                    <a:gd name="T57" fmla="*/ 289 h 526"/>
                    <a:gd name="T58" fmla="*/ 25 w 233"/>
                    <a:gd name="T59" fmla="*/ 276 h 526"/>
                    <a:gd name="T60" fmla="*/ 28 w 233"/>
                    <a:gd name="T61" fmla="*/ 276 h 526"/>
                    <a:gd name="T62" fmla="*/ 49 w 233"/>
                    <a:gd name="T63" fmla="*/ 176 h 526"/>
                    <a:gd name="T64" fmla="*/ 49 w 233"/>
                    <a:gd name="T65" fmla="*/ 319 h 526"/>
                    <a:gd name="T66" fmla="*/ 67 w 233"/>
                    <a:gd name="T67" fmla="*/ 319 h 526"/>
                    <a:gd name="T68" fmla="*/ 73 w 233"/>
                    <a:gd name="T69" fmla="*/ 509 h 526"/>
                    <a:gd name="T70" fmla="*/ 79 w 233"/>
                    <a:gd name="T71" fmla="*/ 509 h 526"/>
                    <a:gd name="T72" fmla="*/ 70 w 233"/>
                    <a:gd name="T73" fmla="*/ 526 h 526"/>
                    <a:gd name="T74" fmla="*/ 111 w 233"/>
                    <a:gd name="T75" fmla="*/ 526 h 526"/>
                    <a:gd name="T76" fmla="*/ 102 w 233"/>
                    <a:gd name="T77" fmla="*/ 509 h 526"/>
                    <a:gd name="T78" fmla="*/ 108 w 233"/>
                    <a:gd name="T79" fmla="*/ 509 h 526"/>
                    <a:gd name="T80" fmla="*/ 115 w 233"/>
                    <a:gd name="T81" fmla="*/ 319 h 526"/>
                    <a:gd name="T82" fmla="*/ 117 w 233"/>
                    <a:gd name="T83" fmla="*/ 319 h 526"/>
                    <a:gd name="T84" fmla="*/ 123 w 233"/>
                    <a:gd name="T85" fmla="*/ 509 h 526"/>
                    <a:gd name="T86" fmla="*/ 129 w 233"/>
                    <a:gd name="T87" fmla="*/ 509 h 526"/>
                    <a:gd name="T88" fmla="*/ 120 w 233"/>
                    <a:gd name="T89" fmla="*/ 526 h 526"/>
                    <a:gd name="T90" fmla="*/ 161 w 233"/>
                    <a:gd name="T91" fmla="*/ 526 h 526"/>
                    <a:gd name="T92" fmla="*/ 153 w 233"/>
                    <a:gd name="T93" fmla="*/ 509 h 526"/>
                    <a:gd name="T94" fmla="*/ 158 w 233"/>
                    <a:gd name="T95" fmla="*/ 509 h 526"/>
                    <a:gd name="T96" fmla="*/ 165 w 233"/>
                    <a:gd name="T97" fmla="*/ 319 h 526"/>
                    <a:gd name="T98" fmla="*/ 182 w 233"/>
                    <a:gd name="T99" fmla="*/ 319 h 526"/>
                    <a:gd name="T100" fmla="*/ 182 w 233"/>
                    <a:gd name="T101" fmla="*/ 173 h 526"/>
                    <a:gd name="T102" fmla="*/ 204 w 233"/>
                    <a:gd name="T103" fmla="*/ 276 h 526"/>
                    <a:gd name="T104" fmla="*/ 208 w 233"/>
                    <a:gd name="T105" fmla="*/ 276 h 526"/>
                    <a:gd name="T106" fmla="*/ 208 w 233"/>
                    <a:gd name="T107" fmla="*/ 289 h 526"/>
                    <a:gd name="T108" fmla="*/ 218 w 233"/>
                    <a:gd name="T109" fmla="*/ 299 h 526"/>
                    <a:gd name="T110" fmla="*/ 229 w 233"/>
                    <a:gd name="T111" fmla="*/ 289 h 526"/>
                    <a:gd name="T112" fmla="*/ 229 w 233"/>
                    <a:gd name="T113" fmla="*/ 276 h 526"/>
                    <a:gd name="T114" fmla="*/ 233 w 233"/>
                    <a:gd name="T115" fmla="*/ 276 h 526"/>
                    <a:gd name="T116" fmla="*/ 183 w 233"/>
                    <a:gd name="T117" fmla="*/ 95 h 5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33" h="526">
                      <a:moveTo>
                        <a:pt x="183" y="95"/>
                      </a:moveTo>
                      <a:cubicBezTo>
                        <a:pt x="182" y="95"/>
                        <a:pt x="182" y="95"/>
                        <a:pt x="182" y="95"/>
                      </a:cubicBezTo>
                      <a:cubicBezTo>
                        <a:pt x="182" y="95"/>
                        <a:pt x="182" y="95"/>
                        <a:pt x="182" y="95"/>
                      </a:cubicBezTo>
                      <a:cubicBezTo>
                        <a:pt x="132" y="91"/>
                        <a:pt x="132" y="91"/>
                        <a:pt x="132" y="91"/>
                      </a:cubicBezTo>
                      <a:cubicBezTo>
                        <a:pt x="132" y="83"/>
                        <a:pt x="132" y="83"/>
                        <a:pt x="132" y="83"/>
                      </a:cubicBezTo>
                      <a:cubicBezTo>
                        <a:pt x="138" y="82"/>
                        <a:pt x="143" y="77"/>
                        <a:pt x="143" y="70"/>
                      </a:cubicBezTo>
                      <a:cubicBezTo>
                        <a:pt x="143" y="59"/>
                        <a:pt x="143" y="59"/>
                        <a:pt x="143" y="59"/>
                      </a:cubicBezTo>
                      <a:cubicBezTo>
                        <a:pt x="146" y="59"/>
                        <a:pt x="148" y="57"/>
                        <a:pt x="148" y="54"/>
                      </a:cubicBezTo>
                      <a:cubicBezTo>
                        <a:pt x="148" y="44"/>
                        <a:pt x="148" y="44"/>
                        <a:pt x="148" y="44"/>
                      </a:cubicBezTo>
                      <a:cubicBezTo>
                        <a:pt x="148" y="42"/>
                        <a:pt x="146" y="40"/>
                        <a:pt x="145" y="40"/>
                      </a:cubicBezTo>
                      <a:cubicBezTo>
                        <a:pt x="148" y="36"/>
                        <a:pt x="151" y="31"/>
                        <a:pt x="151" y="26"/>
                      </a:cubicBezTo>
                      <a:cubicBezTo>
                        <a:pt x="151" y="16"/>
                        <a:pt x="142" y="7"/>
                        <a:pt x="132" y="7"/>
                      </a:cubicBezTo>
                      <a:cubicBezTo>
                        <a:pt x="131" y="7"/>
                        <a:pt x="131" y="7"/>
                        <a:pt x="131" y="7"/>
                      </a:cubicBezTo>
                      <a:cubicBezTo>
                        <a:pt x="126" y="3"/>
                        <a:pt x="118" y="0"/>
                        <a:pt x="110" y="0"/>
                      </a:cubicBezTo>
                      <a:cubicBezTo>
                        <a:pt x="94" y="0"/>
                        <a:pt x="81" y="11"/>
                        <a:pt x="81" y="25"/>
                      </a:cubicBezTo>
                      <a:cubicBezTo>
                        <a:pt x="81" y="30"/>
                        <a:pt x="83" y="35"/>
                        <a:pt x="87" y="39"/>
                      </a:cubicBezTo>
                      <a:cubicBezTo>
                        <a:pt x="85" y="40"/>
                        <a:pt x="83" y="42"/>
                        <a:pt x="83" y="44"/>
                      </a:cubicBezTo>
                      <a:cubicBezTo>
                        <a:pt x="83" y="54"/>
                        <a:pt x="83" y="54"/>
                        <a:pt x="83" y="54"/>
                      </a:cubicBezTo>
                      <a:cubicBezTo>
                        <a:pt x="83" y="57"/>
                        <a:pt x="85" y="59"/>
                        <a:pt x="88" y="59"/>
                      </a:cubicBezTo>
                      <a:cubicBezTo>
                        <a:pt x="88" y="70"/>
                        <a:pt x="88" y="70"/>
                        <a:pt x="88" y="70"/>
                      </a:cubicBezTo>
                      <a:cubicBezTo>
                        <a:pt x="88" y="77"/>
                        <a:pt x="93" y="83"/>
                        <a:pt x="99" y="83"/>
                      </a:cubicBezTo>
                      <a:cubicBezTo>
                        <a:pt x="99" y="91"/>
                        <a:pt x="99" y="91"/>
                        <a:pt x="99" y="91"/>
                      </a:cubicBezTo>
                      <a:cubicBezTo>
                        <a:pt x="49" y="95"/>
                        <a:pt x="49" y="95"/>
                        <a:pt x="49" y="95"/>
                      </a:cubicBezTo>
                      <a:cubicBezTo>
                        <a:pt x="49" y="97"/>
                        <a:pt x="49" y="97"/>
                        <a:pt x="49" y="97"/>
                      </a:cubicBezTo>
                      <a:cubicBezTo>
                        <a:pt x="23" y="155"/>
                        <a:pt x="6" y="213"/>
                        <a:pt x="0" y="276"/>
                      </a:cubicBezTo>
                      <a:cubicBezTo>
                        <a:pt x="3" y="276"/>
                        <a:pt x="3" y="276"/>
                        <a:pt x="3" y="276"/>
                      </a:cubicBezTo>
                      <a:cubicBezTo>
                        <a:pt x="3" y="289"/>
                        <a:pt x="3" y="289"/>
                        <a:pt x="3" y="289"/>
                      </a:cubicBezTo>
                      <a:cubicBezTo>
                        <a:pt x="3" y="295"/>
                        <a:pt x="8" y="299"/>
                        <a:pt x="14" y="299"/>
                      </a:cubicBezTo>
                      <a:cubicBezTo>
                        <a:pt x="20" y="299"/>
                        <a:pt x="25" y="295"/>
                        <a:pt x="25" y="289"/>
                      </a:cubicBezTo>
                      <a:cubicBezTo>
                        <a:pt x="25" y="276"/>
                        <a:pt x="25" y="276"/>
                        <a:pt x="25" y="276"/>
                      </a:cubicBezTo>
                      <a:cubicBezTo>
                        <a:pt x="28" y="276"/>
                        <a:pt x="28" y="276"/>
                        <a:pt x="28" y="276"/>
                      </a:cubicBezTo>
                      <a:cubicBezTo>
                        <a:pt x="32" y="241"/>
                        <a:pt x="39" y="208"/>
                        <a:pt x="49" y="176"/>
                      </a:cubicBezTo>
                      <a:cubicBezTo>
                        <a:pt x="49" y="319"/>
                        <a:pt x="49" y="319"/>
                        <a:pt x="49" y="319"/>
                      </a:cubicBezTo>
                      <a:cubicBezTo>
                        <a:pt x="67" y="319"/>
                        <a:pt x="67" y="319"/>
                        <a:pt x="67" y="319"/>
                      </a:cubicBezTo>
                      <a:cubicBezTo>
                        <a:pt x="73" y="509"/>
                        <a:pt x="73" y="509"/>
                        <a:pt x="73" y="509"/>
                      </a:cubicBezTo>
                      <a:cubicBezTo>
                        <a:pt x="79" y="509"/>
                        <a:pt x="79" y="509"/>
                        <a:pt x="79" y="509"/>
                      </a:cubicBezTo>
                      <a:cubicBezTo>
                        <a:pt x="74" y="513"/>
                        <a:pt x="70" y="519"/>
                        <a:pt x="70" y="526"/>
                      </a:cubicBezTo>
                      <a:cubicBezTo>
                        <a:pt x="111" y="526"/>
                        <a:pt x="111" y="526"/>
                        <a:pt x="111" y="526"/>
                      </a:cubicBezTo>
                      <a:cubicBezTo>
                        <a:pt x="111" y="519"/>
                        <a:pt x="108" y="513"/>
                        <a:pt x="102" y="509"/>
                      </a:cubicBezTo>
                      <a:cubicBezTo>
                        <a:pt x="108" y="509"/>
                        <a:pt x="108" y="509"/>
                        <a:pt x="108" y="509"/>
                      </a:cubicBezTo>
                      <a:cubicBezTo>
                        <a:pt x="115" y="319"/>
                        <a:pt x="115" y="319"/>
                        <a:pt x="115" y="319"/>
                      </a:cubicBezTo>
                      <a:cubicBezTo>
                        <a:pt x="117" y="319"/>
                        <a:pt x="117" y="319"/>
                        <a:pt x="117" y="319"/>
                      </a:cubicBezTo>
                      <a:cubicBezTo>
                        <a:pt x="123" y="509"/>
                        <a:pt x="123" y="509"/>
                        <a:pt x="123" y="509"/>
                      </a:cubicBezTo>
                      <a:cubicBezTo>
                        <a:pt x="129" y="509"/>
                        <a:pt x="129" y="509"/>
                        <a:pt x="129" y="509"/>
                      </a:cubicBezTo>
                      <a:cubicBezTo>
                        <a:pt x="124" y="513"/>
                        <a:pt x="120" y="519"/>
                        <a:pt x="120" y="526"/>
                      </a:cubicBezTo>
                      <a:cubicBezTo>
                        <a:pt x="161" y="526"/>
                        <a:pt x="161" y="526"/>
                        <a:pt x="161" y="526"/>
                      </a:cubicBezTo>
                      <a:cubicBezTo>
                        <a:pt x="161" y="519"/>
                        <a:pt x="158" y="513"/>
                        <a:pt x="153" y="509"/>
                      </a:cubicBezTo>
                      <a:cubicBezTo>
                        <a:pt x="158" y="509"/>
                        <a:pt x="158" y="509"/>
                        <a:pt x="158" y="509"/>
                      </a:cubicBezTo>
                      <a:cubicBezTo>
                        <a:pt x="165" y="319"/>
                        <a:pt x="165" y="319"/>
                        <a:pt x="165" y="319"/>
                      </a:cubicBezTo>
                      <a:cubicBezTo>
                        <a:pt x="182" y="319"/>
                        <a:pt x="182" y="319"/>
                        <a:pt x="182" y="319"/>
                      </a:cubicBezTo>
                      <a:cubicBezTo>
                        <a:pt x="182" y="173"/>
                        <a:pt x="182" y="173"/>
                        <a:pt x="182" y="173"/>
                      </a:cubicBezTo>
                      <a:cubicBezTo>
                        <a:pt x="193" y="206"/>
                        <a:pt x="200" y="240"/>
                        <a:pt x="204" y="276"/>
                      </a:cubicBezTo>
                      <a:cubicBezTo>
                        <a:pt x="208" y="276"/>
                        <a:pt x="208" y="276"/>
                        <a:pt x="208" y="276"/>
                      </a:cubicBezTo>
                      <a:cubicBezTo>
                        <a:pt x="208" y="289"/>
                        <a:pt x="208" y="289"/>
                        <a:pt x="208" y="289"/>
                      </a:cubicBezTo>
                      <a:cubicBezTo>
                        <a:pt x="208" y="295"/>
                        <a:pt x="212" y="299"/>
                        <a:pt x="218" y="299"/>
                      </a:cubicBezTo>
                      <a:cubicBezTo>
                        <a:pt x="224" y="299"/>
                        <a:pt x="229" y="295"/>
                        <a:pt x="229" y="289"/>
                      </a:cubicBezTo>
                      <a:cubicBezTo>
                        <a:pt x="229" y="276"/>
                        <a:pt x="229" y="276"/>
                        <a:pt x="229" y="276"/>
                      </a:cubicBezTo>
                      <a:cubicBezTo>
                        <a:pt x="233" y="276"/>
                        <a:pt x="233" y="276"/>
                        <a:pt x="233" y="276"/>
                      </a:cubicBezTo>
                      <a:cubicBezTo>
                        <a:pt x="227" y="212"/>
                        <a:pt x="210" y="154"/>
                        <a:pt x="183" y="95"/>
                      </a:cubicBezTo>
                      <a:close/>
                    </a:path>
                  </a:pathLst>
                </a:custGeom>
                <a:solidFill>
                  <a:srgbClr val="FFFFFF">
                    <a:lumMod val="85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40" name="Freeform 539"/>
                <p:cNvSpPr>
                  <a:spLocks/>
                </p:cNvSpPr>
                <p:nvPr/>
              </p:nvSpPr>
              <p:spPr bwMode="auto">
                <a:xfrm>
                  <a:off x="6093744" y="3132935"/>
                  <a:ext cx="761136" cy="2268032"/>
                </a:xfrm>
                <a:custGeom>
                  <a:avLst/>
                  <a:gdLst>
                    <a:gd name="T0" fmla="*/ 137 w 167"/>
                    <a:gd name="T1" fmla="*/ 101 h 498"/>
                    <a:gd name="T2" fmla="*/ 99 w 167"/>
                    <a:gd name="T3" fmla="*/ 97 h 498"/>
                    <a:gd name="T4" fmla="*/ 95 w 167"/>
                    <a:gd name="T5" fmla="*/ 93 h 498"/>
                    <a:gd name="T6" fmla="*/ 125 w 167"/>
                    <a:gd name="T7" fmla="*/ 79 h 498"/>
                    <a:gd name="T8" fmla="*/ 113 w 167"/>
                    <a:gd name="T9" fmla="*/ 73 h 498"/>
                    <a:gd name="T10" fmla="*/ 118 w 167"/>
                    <a:gd name="T11" fmla="*/ 58 h 498"/>
                    <a:gd name="T12" fmla="*/ 118 w 167"/>
                    <a:gd name="T13" fmla="*/ 57 h 498"/>
                    <a:gd name="T14" fmla="*/ 102 w 167"/>
                    <a:gd name="T15" fmla="*/ 14 h 498"/>
                    <a:gd name="T16" fmla="*/ 48 w 167"/>
                    <a:gd name="T17" fmla="*/ 38 h 498"/>
                    <a:gd name="T18" fmla="*/ 52 w 167"/>
                    <a:gd name="T19" fmla="*/ 57 h 498"/>
                    <a:gd name="T20" fmla="*/ 50 w 167"/>
                    <a:gd name="T21" fmla="*/ 73 h 498"/>
                    <a:gd name="T22" fmla="*/ 58 w 167"/>
                    <a:gd name="T23" fmla="*/ 92 h 498"/>
                    <a:gd name="T24" fmla="*/ 73 w 167"/>
                    <a:gd name="T25" fmla="*/ 97 h 498"/>
                    <a:gd name="T26" fmla="*/ 30 w 167"/>
                    <a:gd name="T27" fmla="*/ 101 h 498"/>
                    <a:gd name="T28" fmla="*/ 30 w 167"/>
                    <a:gd name="T29" fmla="*/ 101 h 498"/>
                    <a:gd name="T30" fmla="*/ 3 w 167"/>
                    <a:gd name="T31" fmla="*/ 229 h 498"/>
                    <a:gd name="T32" fmla="*/ 11 w 167"/>
                    <a:gd name="T33" fmla="*/ 246 h 498"/>
                    <a:gd name="T34" fmla="*/ 18 w 167"/>
                    <a:gd name="T35" fmla="*/ 229 h 498"/>
                    <a:gd name="T36" fmla="*/ 33 w 167"/>
                    <a:gd name="T37" fmla="*/ 154 h 498"/>
                    <a:gd name="T38" fmla="*/ 39 w 167"/>
                    <a:gd name="T39" fmla="*/ 376 h 498"/>
                    <a:gd name="T40" fmla="*/ 57 w 167"/>
                    <a:gd name="T41" fmla="*/ 490 h 498"/>
                    <a:gd name="T42" fmla="*/ 57 w 167"/>
                    <a:gd name="T43" fmla="*/ 498 h 498"/>
                    <a:gd name="T44" fmla="*/ 82 w 167"/>
                    <a:gd name="T45" fmla="*/ 498 h 498"/>
                    <a:gd name="T46" fmla="*/ 82 w 167"/>
                    <a:gd name="T47" fmla="*/ 376 h 498"/>
                    <a:gd name="T48" fmla="*/ 91 w 167"/>
                    <a:gd name="T49" fmla="*/ 490 h 498"/>
                    <a:gd name="T50" fmla="*/ 92 w 167"/>
                    <a:gd name="T51" fmla="*/ 498 h 498"/>
                    <a:gd name="T52" fmla="*/ 116 w 167"/>
                    <a:gd name="T53" fmla="*/ 498 h 498"/>
                    <a:gd name="T54" fmla="*/ 116 w 167"/>
                    <a:gd name="T55" fmla="*/ 376 h 498"/>
                    <a:gd name="T56" fmla="*/ 129 w 167"/>
                    <a:gd name="T57" fmla="*/ 262 h 498"/>
                    <a:gd name="T58" fmla="*/ 146 w 167"/>
                    <a:gd name="T59" fmla="*/ 229 h 498"/>
                    <a:gd name="T60" fmla="*/ 149 w 167"/>
                    <a:gd name="T61" fmla="*/ 238 h 498"/>
                    <a:gd name="T62" fmla="*/ 164 w 167"/>
                    <a:gd name="T63" fmla="*/ 238 h 498"/>
                    <a:gd name="T64" fmla="*/ 167 w 167"/>
                    <a:gd name="T65" fmla="*/ 229 h 4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67" h="498">
                      <a:moveTo>
                        <a:pt x="137" y="101"/>
                      </a:moveTo>
                      <a:cubicBezTo>
                        <a:pt x="137" y="101"/>
                        <a:pt x="137" y="101"/>
                        <a:pt x="137" y="101"/>
                      </a:cubicBezTo>
                      <a:cubicBezTo>
                        <a:pt x="99" y="97"/>
                        <a:pt x="99" y="97"/>
                        <a:pt x="99" y="97"/>
                      </a:cubicBezTo>
                      <a:cubicBezTo>
                        <a:pt x="99" y="97"/>
                        <a:pt x="99" y="97"/>
                        <a:pt x="99" y="97"/>
                      </a:cubicBezTo>
                      <a:cubicBezTo>
                        <a:pt x="95" y="97"/>
                        <a:pt x="95" y="97"/>
                        <a:pt x="95" y="97"/>
                      </a:cubicBezTo>
                      <a:cubicBezTo>
                        <a:pt x="95" y="93"/>
                        <a:pt x="95" y="93"/>
                        <a:pt x="95" y="93"/>
                      </a:cubicBezTo>
                      <a:cubicBezTo>
                        <a:pt x="100" y="93"/>
                        <a:pt x="105" y="93"/>
                        <a:pt x="112" y="92"/>
                      </a:cubicBezTo>
                      <a:cubicBezTo>
                        <a:pt x="123" y="90"/>
                        <a:pt x="124" y="83"/>
                        <a:pt x="125" y="79"/>
                      </a:cubicBezTo>
                      <a:cubicBezTo>
                        <a:pt x="125" y="75"/>
                        <a:pt x="122" y="68"/>
                        <a:pt x="120" y="73"/>
                      </a:cubicBezTo>
                      <a:cubicBezTo>
                        <a:pt x="119" y="79"/>
                        <a:pt x="114" y="77"/>
                        <a:pt x="113" y="73"/>
                      </a:cubicBezTo>
                      <a:cubicBezTo>
                        <a:pt x="112" y="71"/>
                        <a:pt x="114" y="66"/>
                        <a:pt x="116" y="62"/>
                      </a:cubicBezTo>
                      <a:cubicBezTo>
                        <a:pt x="116" y="60"/>
                        <a:pt x="117" y="59"/>
                        <a:pt x="118" y="58"/>
                      </a:cubicBezTo>
                      <a:cubicBezTo>
                        <a:pt x="118" y="57"/>
                        <a:pt x="118" y="57"/>
                        <a:pt x="118" y="57"/>
                      </a:cubicBezTo>
                      <a:cubicBezTo>
                        <a:pt x="118" y="57"/>
                        <a:pt x="118" y="57"/>
                        <a:pt x="118" y="57"/>
                      </a:cubicBezTo>
                      <a:cubicBezTo>
                        <a:pt x="119" y="53"/>
                        <a:pt x="120" y="49"/>
                        <a:pt x="120" y="44"/>
                      </a:cubicBezTo>
                      <a:cubicBezTo>
                        <a:pt x="120" y="30"/>
                        <a:pt x="113" y="18"/>
                        <a:pt x="102" y="14"/>
                      </a:cubicBezTo>
                      <a:cubicBezTo>
                        <a:pt x="97" y="5"/>
                        <a:pt x="88" y="0"/>
                        <a:pt x="79" y="0"/>
                      </a:cubicBezTo>
                      <a:cubicBezTo>
                        <a:pt x="62" y="0"/>
                        <a:pt x="48" y="17"/>
                        <a:pt x="48" y="38"/>
                      </a:cubicBezTo>
                      <a:cubicBezTo>
                        <a:pt x="48" y="45"/>
                        <a:pt x="50" y="52"/>
                        <a:pt x="52" y="57"/>
                      </a:cubicBezTo>
                      <a:cubicBezTo>
                        <a:pt x="52" y="57"/>
                        <a:pt x="52" y="57"/>
                        <a:pt x="52" y="57"/>
                      </a:cubicBezTo>
                      <a:cubicBezTo>
                        <a:pt x="52" y="57"/>
                        <a:pt x="59" y="70"/>
                        <a:pt x="57" y="73"/>
                      </a:cubicBezTo>
                      <a:cubicBezTo>
                        <a:pt x="56" y="77"/>
                        <a:pt x="51" y="79"/>
                        <a:pt x="50" y="73"/>
                      </a:cubicBezTo>
                      <a:cubicBezTo>
                        <a:pt x="48" y="68"/>
                        <a:pt x="45" y="75"/>
                        <a:pt x="45" y="79"/>
                      </a:cubicBezTo>
                      <a:cubicBezTo>
                        <a:pt x="46" y="83"/>
                        <a:pt x="47" y="90"/>
                        <a:pt x="58" y="92"/>
                      </a:cubicBezTo>
                      <a:cubicBezTo>
                        <a:pt x="64" y="92"/>
                        <a:pt x="68" y="93"/>
                        <a:pt x="72" y="93"/>
                      </a:cubicBezTo>
                      <a:cubicBezTo>
                        <a:pt x="73" y="97"/>
                        <a:pt x="73" y="97"/>
                        <a:pt x="73" y="97"/>
                      </a:cubicBezTo>
                      <a:cubicBezTo>
                        <a:pt x="69" y="97"/>
                        <a:pt x="69" y="97"/>
                        <a:pt x="69" y="97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10" y="142"/>
                        <a:pt x="4" y="183"/>
                        <a:pt x="0" y="229"/>
                      </a:cubicBezTo>
                      <a:cubicBezTo>
                        <a:pt x="3" y="229"/>
                        <a:pt x="3" y="229"/>
                        <a:pt x="3" y="229"/>
                      </a:cubicBezTo>
                      <a:cubicBezTo>
                        <a:pt x="3" y="238"/>
                        <a:pt x="3" y="238"/>
                        <a:pt x="3" y="238"/>
                      </a:cubicBezTo>
                      <a:cubicBezTo>
                        <a:pt x="3" y="242"/>
                        <a:pt x="6" y="246"/>
                        <a:pt x="11" y="246"/>
                      </a:cubicBezTo>
                      <a:cubicBezTo>
                        <a:pt x="15" y="246"/>
                        <a:pt x="18" y="242"/>
                        <a:pt x="18" y="238"/>
                      </a:cubicBezTo>
                      <a:cubicBezTo>
                        <a:pt x="18" y="229"/>
                        <a:pt x="18" y="229"/>
                        <a:pt x="18" y="229"/>
                      </a:cubicBezTo>
                      <a:cubicBezTo>
                        <a:pt x="21" y="229"/>
                        <a:pt x="21" y="229"/>
                        <a:pt x="21" y="229"/>
                      </a:cubicBezTo>
                      <a:cubicBezTo>
                        <a:pt x="24" y="203"/>
                        <a:pt x="27" y="178"/>
                        <a:pt x="33" y="154"/>
                      </a:cubicBezTo>
                      <a:cubicBezTo>
                        <a:pt x="39" y="262"/>
                        <a:pt x="39" y="262"/>
                        <a:pt x="39" y="262"/>
                      </a:cubicBezTo>
                      <a:cubicBezTo>
                        <a:pt x="39" y="376"/>
                        <a:pt x="39" y="376"/>
                        <a:pt x="39" y="376"/>
                      </a:cubicBezTo>
                      <a:cubicBezTo>
                        <a:pt x="54" y="376"/>
                        <a:pt x="54" y="376"/>
                        <a:pt x="54" y="376"/>
                      </a:cubicBezTo>
                      <a:cubicBezTo>
                        <a:pt x="57" y="490"/>
                        <a:pt x="57" y="490"/>
                        <a:pt x="57" y="490"/>
                      </a:cubicBezTo>
                      <a:cubicBezTo>
                        <a:pt x="56" y="492"/>
                        <a:pt x="55" y="495"/>
                        <a:pt x="55" y="498"/>
                      </a:cubicBezTo>
                      <a:cubicBezTo>
                        <a:pt x="57" y="498"/>
                        <a:pt x="57" y="498"/>
                        <a:pt x="57" y="498"/>
                      </a:cubicBezTo>
                      <a:cubicBezTo>
                        <a:pt x="79" y="498"/>
                        <a:pt x="79" y="498"/>
                        <a:pt x="79" y="498"/>
                      </a:cubicBezTo>
                      <a:cubicBezTo>
                        <a:pt x="82" y="498"/>
                        <a:pt x="82" y="498"/>
                        <a:pt x="82" y="498"/>
                      </a:cubicBezTo>
                      <a:cubicBezTo>
                        <a:pt x="82" y="495"/>
                        <a:pt x="81" y="492"/>
                        <a:pt x="79" y="490"/>
                      </a:cubicBezTo>
                      <a:cubicBezTo>
                        <a:pt x="82" y="376"/>
                        <a:pt x="82" y="376"/>
                        <a:pt x="82" y="376"/>
                      </a:cubicBezTo>
                      <a:cubicBezTo>
                        <a:pt x="89" y="376"/>
                        <a:pt x="89" y="376"/>
                        <a:pt x="89" y="376"/>
                      </a:cubicBezTo>
                      <a:cubicBezTo>
                        <a:pt x="91" y="490"/>
                        <a:pt x="91" y="490"/>
                        <a:pt x="91" y="490"/>
                      </a:cubicBezTo>
                      <a:cubicBezTo>
                        <a:pt x="90" y="492"/>
                        <a:pt x="89" y="495"/>
                        <a:pt x="89" y="498"/>
                      </a:cubicBezTo>
                      <a:cubicBezTo>
                        <a:pt x="92" y="498"/>
                        <a:pt x="92" y="498"/>
                        <a:pt x="92" y="498"/>
                      </a:cubicBezTo>
                      <a:cubicBezTo>
                        <a:pt x="113" y="498"/>
                        <a:pt x="113" y="498"/>
                        <a:pt x="113" y="498"/>
                      </a:cubicBezTo>
                      <a:cubicBezTo>
                        <a:pt x="116" y="498"/>
                        <a:pt x="116" y="498"/>
                        <a:pt x="116" y="498"/>
                      </a:cubicBezTo>
                      <a:cubicBezTo>
                        <a:pt x="116" y="495"/>
                        <a:pt x="115" y="492"/>
                        <a:pt x="113" y="490"/>
                      </a:cubicBezTo>
                      <a:cubicBezTo>
                        <a:pt x="116" y="376"/>
                        <a:pt x="116" y="376"/>
                        <a:pt x="116" y="376"/>
                      </a:cubicBezTo>
                      <a:cubicBezTo>
                        <a:pt x="129" y="376"/>
                        <a:pt x="129" y="376"/>
                        <a:pt x="129" y="376"/>
                      </a:cubicBezTo>
                      <a:cubicBezTo>
                        <a:pt x="129" y="262"/>
                        <a:pt x="129" y="262"/>
                        <a:pt x="129" y="262"/>
                      </a:cubicBezTo>
                      <a:cubicBezTo>
                        <a:pt x="134" y="155"/>
                        <a:pt x="134" y="155"/>
                        <a:pt x="134" y="155"/>
                      </a:cubicBezTo>
                      <a:cubicBezTo>
                        <a:pt x="140" y="179"/>
                        <a:pt x="143" y="203"/>
                        <a:pt x="146" y="229"/>
                      </a:cubicBezTo>
                      <a:cubicBezTo>
                        <a:pt x="149" y="229"/>
                        <a:pt x="149" y="229"/>
                        <a:pt x="149" y="229"/>
                      </a:cubicBezTo>
                      <a:cubicBezTo>
                        <a:pt x="149" y="238"/>
                        <a:pt x="149" y="238"/>
                        <a:pt x="149" y="238"/>
                      </a:cubicBezTo>
                      <a:cubicBezTo>
                        <a:pt x="149" y="242"/>
                        <a:pt x="152" y="246"/>
                        <a:pt x="156" y="246"/>
                      </a:cubicBezTo>
                      <a:cubicBezTo>
                        <a:pt x="160" y="246"/>
                        <a:pt x="164" y="242"/>
                        <a:pt x="164" y="238"/>
                      </a:cubicBezTo>
                      <a:cubicBezTo>
                        <a:pt x="164" y="229"/>
                        <a:pt x="164" y="229"/>
                        <a:pt x="164" y="229"/>
                      </a:cubicBezTo>
                      <a:cubicBezTo>
                        <a:pt x="167" y="229"/>
                        <a:pt x="167" y="229"/>
                        <a:pt x="167" y="229"/>
                      </a:cubicBezTo>
                      <a:cubicBezTo>
                        <a:pt x="162" y="183"/>
                        <a:pt x="156" y="142"/>
                        <a:pt x="137" y="101"/>
                      </a:cubicBezTo>
                      <a:close/>
                    </a:path>
                  </a:pathLst>
                </a:custGeom>
                <a:solidFill>
                  <a:srgbClr val="FFFFFF">
                    <a:lumMod val="85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41" name="Freeform 540"/>
                <p:cNvSpPr>
                  <a:spLocks/>
                </p:cNvSpPr>
                <p:nvPr/>
              </p:nvSpPr>
              <p:spPr bwMode="auto">
                <a:xfrm>
                  <a:off x="8292581" y="3132935"/>
                  <a:ext cx="759215" cy="2268032"/>
                </a:xfrm>
                <a:custGeom>
                  <a:avLst/>
                  <a:gdLst>
                    <a:gd name="T0" fmla="*/ 137 w 167"/>
                    <a:gd name="T1" fmla="*/ 101 h 498"/>
                    <a:gd name="T2" fmla="*/ 99 w 167"/>
                    <a:gd name="T3" fmla="*/ 97 h 498"/>
                    <a:gd name="T4" fmla="*/ 95 w 167"/>
                    <a:gd name="T5" fmla="*/ 93 h 498"/>
                    <a:gd name="T6" fmla="*/ 125 w 167"/>
                    <a:gd name="T7" fmla="*/ 79 h 498"/>
                    <a:gd name="T8" fmla="*/ 113 w 167"/>
                    <a:gd name="T9" fmla="*/ 73 h 498"/>
                    <a:gd name="T10" fmla="*/ 118 w 167"/>
                    <a:gd name="T11" fmla="*/ 58 h 498"/>
                    <a:gd name="T12" fmla="*/ 118 w 167"/>
                    <a:gd name="T13" fmla="*/ 57 h 498"/>
                    <a:gd name="T14" fmla="*/ 102 w 167"/>
                    <a:gd name="T15" fmla="*/ 14 h 498"/>
                    <a:gd name="T16" fmla="*/ 48 w 167"/>
                    <a:gd name="T17" fmla="*/ 38 h 498"/>
                    <a:gd name="T18" fmla="*/ 52 w 167"/>
                    <a:gd name="T19" fmla="*/ 57 h 498"/>
                    <a:gd name="T20" fmla="*/ 50 w 167"/>
                    <a:gd name="T21" fmla="*/ 73 h 498"/>
                    <a:gd name="T22" fmla="*/ 58 w 167"/>
                    <a:gd name="T23" fmla="*/ 92 h 498"/>
                    <a:gd name="T24" fmla="*/ 73 w 167"/>
                    <a:gd name="T25" fmla="*/ 97 h 498"/>
                    <a:gd name="T26" fmla="*/ 31 w 167"/>
                    <a:gd name="T27" fmla="*/ 101 h 498"/>
                    <a:gd name="T28" fmla="*/ 30 w 167"/>
                    <a:gd name="T29" fmla="*/ 101 h 498"/>
                    <a:gd name="T30" fmla="*/ 3 w 167"/>
                    <a:gd name="T31" fmla="*/ 229 h 498"/>
                    <a:gd name="T32" fmla="*/ 11 w 167"/>
                    <a:gd name="T33" fmla="*/ 246 h 498"/>
                    <a:gd name="T34" fmla="*/ 18 w 167"/>
                    <a:gd name="T35" fmla="*/ 229 h 498"/>
                    <a:gd name="T36" fmla="*/ 33 w 167"/>
                    <a:gd name="T37" fmla="*/ 154 h 498"/>
                    <a:gd name="T38" fmla="*/ 39 w 167"/>
                    <a:gd name="T39" fmla="*/ 376 h 498"/>
                    <a:gd name="T40" fmla="*/ 57 w 167"/>
                    <a:gd name="T41" fmla="*/ 490 h 498"/>
                    <a:gd name="T42" fmla="*/ 58 w 167"/>
                    <a:gd name="T43" fmla="*/ 498 h 498"/>
                    <a:gd name="T44" fmla="*/ 82 w 167"/>
                    <a:gd name="T45" fmla="*/ 498 h 498"/>
                    <a:gd name="T46" fmla="*/ 82 w 167"/>
                    <a:gd name="T47" fmla="*/ 376 h 498"/>
                    <a:gd name="T48" fmla="*/ 92 w 167"/>
                    <a:gd name="T49" fmla="*/ 490 h 498"/>
                    <a:gd name="T50" fmla="*/ 92 w 167"/>
                    <a:gd name="T51" fmla="*/ 498 h 498"/>
                    <a:gd name="T52" fmla="*/ 116 w 167"/>
                    <a:gd name="T53" fmla="*/ 498 h 498"/>
                    <a:gd name="T54" fmla="*/ 117 w 167"/>
                    <a:gd name="T55" fmla="*/ 376 h 498"/>
                    <a:gd name="T56" fmla="*/ 129 w 167"/>
                    <a:gd name="T57" fmla="*/ 262 h 498"/>
                    <a:gd name="T58" fmla="*/ 146 w 167"/>
                    <a:gd name="T59" fmla="*/ 229 h 498"/>
                    <a:gd name="T60" fmla="*/ 149 w 167"/>
                    <a:gd name="T61" fmla="*/ 238 h 498"/>
                    <a:gd name="T62" fmla="*/ 164 w 167"/>
                    <a:gd name="T63" fmla="*/ 238 h 498"/>
                    <a:gd name="T64" fmla="*/ 167 w 167"/>
                    <a:gd name="T65" fmla="*/ 229 h 4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67" h="498">
                      <a:moveTo>
                        <a:pt x="137" y="101"/>
                      </a:moveTo>
                      <a:cubicBezTo>
                        <a:pt x="137" y="101"/>
                        <a:pt x="137" y="101"/>
                        <a:pt x="137" y="101"/>
                      </a:cubicBezTo>
                      <a:cubicBezTo>
                        <a:pt x="99" y="97"/>
                        <a:pt x="99" y="97"/>
                        <a:pt x="99" y="97"/>
                      </a:cubicBezTo>
                      <a:cubicBezTo>
                        <a:pt x="99" y="97"/>
                        <a:pt x="99" y="97"/>
                        <a:pt x="99" y="97"/>
                      </a:cubicBezTo>
                      <a:cubicBezTo>
                        <a:pt x="95" y="97"/>
                        <a:pt x="95" y="97"/>
                        <a:pt x="95" y="97"/>
                      </a:cubicBezTo>
                      <a:cubicBezTo>
                        <a:pt x="95" y="93"/>
                        <a:pt x="95" y="93"/>
                        <a:pt x="95" y="93"/>
                      </a:cubicBezTo>
                      <a:cubicBezTo>
                        <a:pt x="100" y="93"/>
                        <a:pt x="105" y="93"/>
                        <a:pt x="112" y="92"/>
                      </a:cubicBezTo>
                      <a:cubicBezTo>
                        <a:pt x="123" y="90"/>
                        <a:pt x="124" y="83"/>
                        <a:pt x="125" y="79"/>
                      </a:cubicBezTo>
                      <a:cubicBezTo>
                        <a:pt x="125" y="75"/>
                        <a:pt x="122" y="68"/>
                        <a:pt x="121" y="73"/>
                      </a:cubicBezTo>
                      <a:cubicBezTo>
                        <a:pt x="119" y="79"/>
                        <a:pt x="114" y="77"/>
                        <a:pt x="113" y="73"/>
                      </a:cubicBezTo>
                      <a:cubicBezTo>
                        <a:pt x="112" y="71"/>
                        <a:pt x="114" y="66"/>
                        <a:pt x="116" y="62"/>
                      </a:cubicBezTo>
                      <a:cubicBezTo>
                        <a:pt x="117" y="60"/>
                        <a:pt x="117" y="59"/>
                        <a:pt x="118" y="58"/>
                      </a:cubicBezTo>
                      <a:cubicBezTo>
                        <a:pt x="118" y="57"/>
                        <a:pt x="118" y="57"/>
                        <a:pt x="118" y="57"/>
                      </a:cubicBezTo>
                      <a:cubicBezTo>
                        <a:pt x="118" y="57"/>
                        <a:pt x="118" y="57"/>
                        <a:pt x="118" y="57"/>
                      </a:cubicBezTo>
                      <a:cubicBezTo>
                        <a:pt x="119" y="53"/>
                        <a:pt x="120" y="49"/>
                        <a:pt x="120" y="44"/>
                      </a:cubicBezTo>
                      <a:cubicBezTo>
                        <a:pt x="120" y="30"/>
                        <a:pt x="113" y="18"/>
                        <a:pt x="102" y="14"/>
                      </a:cubicBezTo>
                      <a:cubicBezTo>
                        <a:pt x="97" y="5"/>
                        <a:pt x="88" y="0"/>
                        <a:pt x="79" y="0"/>
                      </a:cubicBezTo>
                      <a:cubicBezTo>
                        <a:pt x="62" y="0"/>
                        <a:pt x="48" y="17"/>
                        <a:pt x="48" y="38"/>
                      </a:cubicBezTo>
                      <a:cubicBezTo>
                        <a:pt x="48" y="45"/>
                        <a:pt x="50" y="52"/>
                        <a:pt x="52" y="57"/>
                      </a:cubicBezTo>
                      <a:cubicBezTo>
                        <a:pt x="52" y="57"/>
                        <a:pt x="52" y="57"/>
                        <a:pt x="52" y="57"/>
                      </a:cubicBezTo>
                      <a:cubicBezTo>
                        <a:pt x="52" y="57"/>
                        <a:pt x="59" y="70"/>
                        <a:pt x="57" y="73"/>
                      </a:cubicBezTo>
                      <a:cubicBezTo>
                        <a:pt x="56" y="77"/>
                        <a:pt x="52" y="79"/>
                        <a:pt x="50" y="73"/>
                      </a:cubicBezTo>
                      <a:cubicBezTo>
                        <a:pt x="48" y="68"/>
                        <a:pt x="45" y="75"/>
                        <a:pt x="45" y="79"/>
                      </a:cubicBezTo>
                      <a:cubicBezTo>
                        <a:pt x="46" y="83"/>
                        <a:pt x="47" y="90"/>
                        <a:pt x="58" y="92"/>
                      </a:cubicBezTo>
                      <a:cubicBezTo>
                        <a:pt x="64" y="92"/>
                        <a:pt x="68" y="93"/>
                        <a:pt x="72" y="93"/>
                      </a:cubicBezTo>
                      <a:cubicBezTo>
                        <a:pt x="73" y="97"/>
                        <a:pt x="73" y="97"/>
                        <a:pt x="73" y="97"/>
                      </a:cubicBezTo>
                      <a:cubicBezTo>
                        <a:pt x="69" y="97"/>
                        <a:pt x="69" y="97"/>
                        <a:pt x="69" y="97"/>
                      </a:cubicBezTo>
                      <a:cubicBezTo>
                        <a:pt x="31" y="101"/>
                        <a:pt x="31" y="101"/>
                        <a:pt x="31" y="101"/>
                      </a:cubicBezTo>
                      <a:cubicBezTo>
                        <a:pt x="31" y="101"/>
                        <a:pt x="31" y="101"/>
                        <a:pt x="31" y="101"/>
                      </a:cubicBezTo>
                      <a:cubicBezTo>
                        <a:pt x="31" y="101"/>
                        <a:pt x="30" y="101"/>
                        <a:pt x="30" y="101"/>
                      </a:cubicBezTo>
                      <a:cubicBezTo>
                        <a:pt x="11" y="142"/>
                        <a:pt x="5" y="183"/>
                        <a:pt x="0" y="229"/>
                      </a:cubicBezTo>
                      <a:cubicBezTo>
                        <a:pt x="3" y="229"/>
                        <a:pt x="3" y="229"/>
                        <a:pt x="3" y="229"/>
                      </a:cubicBezTo>
                      <a:cubicBezTo>
                        <a:pt x="3" y="238"/>
                        <a:pt x="3" y="238"/>
                        <a:pt x="3" y="238"/>
                      </a:cubicBezTo>
                      <a:cubicBezTo>
                        <a:pt x="3" y="242"/>
                        <a:pt x="6" y="246"/>
                        <a:pt x="11" y="246"/>
                      </a:cubicBezTo>
                      <a:cubicBezTo>
                        <a:pt x="15" y="246"/>
                        <a:pt x="18" y="242"/>
                        <a:pt x="18" y="238"/>
                      </a:cubicBezTo>
                      <a:cubicBezTo>
                        <a:pt x="18" y="229"/>
                        <a:pt x="18" y="229"/>
                        <a:pt x="18" y="229"/>
                      </a:cubicBezTo>
                      <a:cubicBezTo>
                        <a:pt x="21" y="229"/>
                        <a:pt x="21" y="229"/>
                        <a:pt x="21" y="229"/>
                      </a:cubicBezTo>
                      <a:cubicBezTo>
                        <a:pt x="24" y="203"/>
                        <a:pt x="27" y="178"/>
                        <a:pt x="33" y="154"/>
                      </a:cubicBezTo>
                      <a:cubicBezTo>
                        <a:pt x="39" y="262"/>
                        <a:pt x="39" y="262"/>
                        <a:pt x="39" y="262"/>
                      </a:cubicBezTo>
                      <a:cubicBezTo>
                        <a:pt x="39" y="376"/>
                        <a:pt x="39" y="376"/>
                        <a:pt x="39" y="376"/>
                      </a:cubicBezTo>
                      <a:cubicBezTo>
                        <a:pt x="55" y="376"/>
                        <a:pt x="55" y="376"/>
                        <a:pt x="55" y="376"/>
                      </a:cubicBezTo>
                      <a:cubicBezTo>
                        <a:pt x="57" y="490"/>
                        <a:pt x="57" y="490"/>
                        <a:pt x="57" y="490"/>
                      </a:cubicBezTo>
                      <a:cubicBezTo>
                        <a:pt x="56" y="492"/>
                        <a:pt x="55" y="495"/>
                        <a:pt x="55" y="498"/>
                      </a:cubicBezTo>
                      <a:cubicBezTo>
                        <a:pt x="58" y="498"/>
                        <a:pt x="58" y="498"/>
                        <a:pt x="58" y="498"/>
                      </a:cubicBezTo>
                      <a:cubicBezTo>
                        <a:pt x="79" y="498"/>
                        <a:pt x="79" y="498"/>
                        <a:pt x="79" y="498"/>
                      </a:cubicBezTo>
                      <a:cubicBezTo>
                        <a:pt x="82" y="498"/>
                        <a:pt x="82" y="498"/>
                        <a:pt x="82" y="498"/>
                      </a:cubicBezTo>
                      <a:cubicBezTo>
                        <a:pt x="82" y="495"/>
                        <a:pt x="81" y="492"/>
                        <a:pt x="79" y="490"/>
                      </a:cubicBezTo>
                      <a:cubicBezTo>
                        <a:pt x="82" y="376"/>
                        <a:pt x="82" y="376"/>
                        <a:pt x="82" y="376"/>
                      </a:cubicBezTo>
                      <a:cubicBezTo>
                        <a:pt x="89" y="376"/>
                        <a:pt x="89" y="376"/>
                        <a:pt x="89" y="376"/>
                      </a:cubicBezTo>
                      <a:cubicBezTo>
                        <a:pt x="92" y="490"/>
                        <a:pt x="92" y="490"/>
                        <a:pt x="92" y="490"/>
                      </a:cubicBezTo>
                      <a:cubicBezTo>
                        <a:pt x="90" y="492"/>
                        <a:pt x="89" y="495"/>
                        <a:pt x="89" y="498"/>
                      </a:cubicBezTo>
                      <a:cubicBezTo>
                        <a:pt x="92" y="498"/>
                        <a:pt x="92" y="498"/>
                        <a:pt x="92" y="498"/>
                      </a:cubicBezTo>
                      <a:cubicBezTo>
                        <a:pt x="113" y="498"/>
                        <a:pt x="113" y="498"/>
                        <a:pt x="113" y="498"/>
                      </a:cubicBezTo>
                      <a:cubicBezTo>
                        <a:pt x="116" y="498"/>
                        <a:pt x="116" y="498"/>
                        <a:pt x="116" y="498"/>
                      </a:cubicBezTo>
                      <a:cubicBezTo>
                        <a:pt x="116" y="495"/>
                        <a:pt x="115" y="492"/>
                        <a:pt x="114" y="490"/>
                      </a:cubicBezTo>
                      <a:cubicBezTo>
                        <a:pt x="117" y="376"/>
                        <a:pt x="117" y="376"/>
                        <a:pt x="117" y="376"/>
                      </a:cubicBezTo>
                      <a:cubicBezTo>
                        <a:pt x="129" y="376"/>
                        <a:pt x="129" y="376"/>
                        <a:pt x="129" y="376"/>
                      </a:cubicBezTo>
                      <a:cubicBezTo>
                        <a:pt x="129" y="262"/>
                        <a:pt x="129" y="262"/>
                        <a:pt x="129" y="262"/>
                      </a:cubicBezTo>
                      <a:cubicBezTo>
                        <a:pt x="134" y="155"/>
                        <a:pt x="134" y="155"/>
                        <a:pt x="134" y="155"/>
                      </a:cubicBezTo>
                      <a:cubicBezTo>
                        <a:pt x="140" y="179"/>
                        <a:pt x="144" y="203"/>
                        <a:pt x="146" y="229"/>
                      </a:cubicBezTo>
                      <a:cubicBezTo>
                        <a:pt x="149" y="229"/>
                        <a:pt x="149" y="229"/>
                        <a:pt x="149" y="229"/>
                      </a:cubicBezTo>
                      <a:cubicBezTo>
                        <a:pt x="149" y="238"/>
                        <a:pt x="149" y="238"/>
                        <a:pt x="149" y="238"/>
                      </a:cubicBezTo>
                      <a:cubicBezTo>
                        <a:pt x="149" y="242"/>
                        <a:pt x="152" y="246"/>
                        <a:pt x="156" y="246"/>
                      </a:cubicBezTo>
                      <a:cubicBezTo>
                        <a:pt x="161" y="246"/>
                        <a:pt x="164" y="242"/>
                        <a:pt x="164" y="238"/>
                      </a:cubicBezTo>
                      <a:cubicBezTo>
                        <a:pt x="164" y="229"/>
                        <a:pt x="164" y="229"/>
                        <a:pt x="164" y="229"/>
                      </a:cubicBezTo>
                      <a:cubicBezTo>
                        <a:pt x="167" y="229"/>
                        <a:pt x="167" y="229"/>
                        <a:pt x="167" y="229"/>
                      </a:cubicBezTo>
                      <a:cubicBezTo>
                        <a:pt x="162" y="183"/>
                        <a:pt x="157" y="142"/>
                        <a:pt x="137" y="101"/>
                      </a:cubicBezTo>
                      <a:close/>
                    </a:path>
                  </a:pathLst>
                </a:custGeom>
                <a:solidFill>
                  <a:srgbClr val="FFFFFF">
                    <a:lumMod val="85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42" name="Freeform 541"/>
                <p:cNvSpPr>
                  <a:spLocks/>
                </p:cNvSpPr>
                <p:nvPr/>
              </p:nvSpPr>
              <p:spPr bwMode="auto">
                <a:xfrm>
                  <a:off x="7064385" y="3098337"/>
                  <a:ext cx="1059056" cy="2302629"/>
                </a:xfrm>
                <a:custGeom>
                  <a:avLst/>
                  <a:gdLst>
                    <a:gd name="T0" fmla="*/ 183 w 233"/>
                    <a:gd name="T1" fmla="*/ 95 h 506"/>
                    <a:gd name="T2" fmla="*/ 182 w 233"/>
                    <a:gd name="T3" fmla="*/ 95 h 506"/>
                    <a:gd name="T4" fmla="*/ 182 w 233"/>
                    <a:gd name="T5" fmla="*/ 95 h 506"/>
                    <a:gd name="T6" fmla="*/ 132 w 233"/>
                    <a:gd name="T7" fmla="*/ 91 h 506"/>
                    <a:gd name="T8" fmla="*/ 132 w 233"/>
                    <a:gd name="T9" fmla="*/ 91 h 506"/>
                    <a:gd name="T10" fmla="*/ 132 w 233"/>
                    <a:gd name="T11" fmla="*/ 91 h 506"/>
                    <a:gd name="T12" fmla="*/ 132 w 233"/>
                    <a:gd name="T13" fmla="*/ 91 h 506"/>
                    <a:gd name="T14" fmla="*/ 132 w 233"/>
                    <a:gd name="T15" fmla="*/ 83 h 506"/>
                    <a:gd name="T16" fmla="*/ 143 w 233"/>
                    <a:gd name="T17" fmla="*/ 70 h 506"/>
                    <a:gd name="T18" fmla="*/ 143 w 233"/>
                    <a:gd name="T19" fmla="*/ 59 h 506"/>
                    <a:gd name="T20" fmla="*/ 148 w 233"/>
                    <a:gd name="T21" fmla="*/ 54 h 506"/>
                    <a:gd name="T22" fmla="*/ 148 w 233"/>
                    <a:gd name="T23" fmla="*/ 44 h 506"/>
                    <a:gd name="T24" fmla="*/ 145 w 233"/>
                    <a:gd name="T25" fmla="*/ 40 h 506"/>
                    <a:gd name="T26" fmla="*/ 151 w 233"/>
                    <a:gd name="T27" fmla="*/ 26 h 506"/>
                    <a:gd name="T28" fmla="*/ 132 w 233"/>
                    <a:gd name="T29" fmla="*/ 7 h 506"/>
                    <a:gd name="T30" fmla="*/ 131 w 233"/>
                    <a:gd name="T31" fmla="*/ 7 h 506"/>
                    <a:gd name="T32" fmla="*/ 110 w 233"/>
                    <a:gd name="T33" fmla="*/ 0 h 506"/>
                    <a:gd name="T34" fmla="*/ 81 w 233"/>
                    <a:gd name="T35" fmla="*/ 25 h 506"/>
                    <a:gd name="T36" fmla="*/ 87 w 233"/>
                    <a:gd name="T37" fmla="*/ 39 h 506"/>
                    <a:gd name="T38" fmla="*/ 83 w 233"/>
                    <a:gd name="T39" fmla="*/ 44 h 506"/>
                    <a:gd name="T40" fmla="*/ 83 w 233"/>
                    <a:gd name="T41" fmla="*/ 54 h 506"/>
                    <a:gd name="T42" fmla="*/ 88 w 233"/>
                    <a:gd name="T43" fmla="*/ 59 h 506"/>
                    <a:gd name="T44" fmla="*/ 88 w 233"/>
                    <a:gd name="T45" fmla="*/ 70 h 506"/>
                    <a:gd name="T46" fmla="*/ 99 w 233"/>
                    <a:gd name="T47" fmla="*/ 83 h 506"/>
                    <a:gd name="T48" fmla="*/ 99 w 233"/>
                    <a:gd name="T49" fmla="*/ 91 h 506"/>
                    <a:gd name="T50" fmla="*/ 49 w 233"/>
                    <a:gd name="T51" fmla="*/ 95 h 506"/>
                    <a:gd name="T52" fmla="*/ 49 w 233"/>
                    <a:gd name="T53" fmla="*/ 97 h 506"/>
                    <a:gd name="T54" fmla="*/ 0 w 233"/>
                    <a:gd name="T55" fmla="*/ 276 h 506"/>
                    <a:gd name="T56" fmla="*/ 3 w 233"/>
                    <a:gd name="T57" fmla="*/ 276 h 506"/>
                    <a:gd name="T58" fmla="*/ 3 w 233"/>
                    <a:gd name="T59" fmla="*/ 289 h 506"/>
                    <a:gd name="T60" fmla="*/ 14 w 233"/>
                    <a:gd name="T61" fmla="*/ 299 h 506"/>
                    <a:gd name="T62" fmla="*/ 25 w 233"/>
                    <a:gd name="T63" fmla="*/ 289 h 506"/>
                    <a:gd name="T64" fmla="*/ 25 w 233"/>
                    <a:gd name="T65" fmla="*/ 276 h 506"/>
                    <a:gd name="T66" fmla="*/ 28 w 233"/>
                    <a:gd name="T67" fmla="*/ 276 h 506"/>
                    <a:gd name="T68" fmla="*/ 49 w 233"/>
                    <a:gd name="T69" fmla="*/ 176 h 506"/>
                    <a:gd name="T70" fmla="*/ 49 w 233"/>
                    <a:gd name="T71" fmla="*/ 318 h 506"/>
                    <a:gd name="T72" fmla="*/ 67 w 233"/>
                    <a:gd name="T73" fmla="*/ 318 h 506"/>
                    <a:gd name="T74" fmla="*/ 73 w 233"/>
                    <a:gd name="T75" fmla="*/ 489 h 506"/>
                    <a:gd name="T76" fmla="*/ 79 w 233"/>
                    <a:gd name="T77" fmla="*/ 489 h 506"/>
                    <a:gd name="T78" fmla="*/ 70 w 233"/>
                    <a:gd name="T79" fmla="*/ 506 h 506"/>
                    <a:gd name="T80" fmla="*/ 111 w 233"/>
                    <a:gd name="T81" fmla="*/ 506 h 506"/>
                    <a:gd name="T82" fmla="*/ 102 w 233"/>
                    <a:gd name="T83" fmla="*/ 489 h 506"/>
                    <a:gd name="T84" fmla="*/ 108 w 233"/>
                    <a:gd name="T85" fmla="*/ 489 h 506"/>
                    <a:gd name="T86" fmla="*/ 115 w 233"/>
                    <a:gd name="T87" fmla="*/ 318 h 506"/>
                    <a:gd name="T88" fmla="*/ 117 w 233"/>
                    <a:gd name="T89" fmla="*/ 318 h 506"/>
                    <a:gd name="T90" fmla="*/ 123 w 233"/>
                    <a:gd name="T91" fmla="*/ 489 h 506"/>
                    <a:gd name="T92" fmla="*/ 129 w 233"/>
                    <a:gd name="T93" fmla="*/ 489 h 506"/>
                    <a:gd name="T94" fmla="*/ 120 w 233"/>
                    <a:gd name="T95" fmla="*/ 506 h 506"/>
                    <a:gd name="T96" fmla="*/ 161 w 233"/>
                    <a:gd name="T97" fmla="*/ 506 h 506"/>
                    <a:gd name="T98" fmla="*/ 153 w 233"/>
                    <a:gd name="T99" fmla="*/ 489 h 506"/>
                    <a:gd name="T100" fmla="*/ 158 w 233"/>
                    <a:gd name="T101" fmla="*/ 489 h 506"/>
                    <a:gd name="T102" fmla="*/ 165 w 233"/>
                    <a:gd name="T103" fmla="*/ 318 h 506"/>
                    <a:gd name="T104" fmla="*/ 182 w 233"/>
                    <a:gd name="T105" fmla="*/ 318 h 506"/>
                    <a:gd name="T106" fmla="*/ 182 w 233"/>
                    <a:gd name="T107" fmla="*/ 173 h 506"/>
                    <a:gd name="T108" fmla="*/ 204 w 233"/>
                    <a:gd name="T109" fmla="*/ 276 h 506"/>
                    <a:gd name="T110" fmla="*/ 208 w 233"/>
                    <a:gd name="T111" fmla="*/ 276 h 506"/>
                    <a:gd name="T112" fmla="*/ 208 w 233"/>
                    <a:gd name="T113" fmla="*/ 289 h 506"/>
                    <a:gd name="T114" fmla="*/ 218 w 233"/>
                    <a:gd name="T115" fmla="*/ 299 h 506"/>
                    <a:gd name="T116" fmla="*/ 229 w 233"/>
                    <a:gd name="T117" fmla="*/ 289 h 506"/>
                    <a:gd name="T118" fmla="*/ 229 w 233"/>
                    <a:gd name="T119" fmla="*/ 276 h 506"/>
                    <a:gd name="T120" fmla="*/ 233 w 233"/>
                    <a:gd name="T121" fmla="*/ 276 h 506"/>
                    <a:gd name="T122" fmla="*/ 183 w 233"/>
                    <a:gd name="T123" fmla="*/ 95 h 5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233" h="506">
                      <a:moveTo>
                        <a:pt x="183" y="95"/>
                      </a:moveTo>
                      <a:cubicBezTo>
                        <a:pt x="182" y="95"/>
                        <a:pt x="182" y="95"/>
                        <a:pt x="182" y="95"/>
                      </a:cubicBezTo>
                      <a:cubicBezTo>
                        <a:pt x="182" y="95"/>
                        <a:pt x="182" y="95"/>
                        <a:pt x="182" y="95"/>
                      </a:cubicBezTo>
                      <a:cubicBezTo>
                        <a:pt x="132" y="91"/>
                        <a:pt x="132" y="91"/>
                        <a:pt x="132" y="91"/>
                      </a:cubicBezTo>
                      <a:cubicBezTo>
                        <a:pt x="132" y="91"/>
                        <a:pt x="132" y="91"/>
                        <a:pt x="132" y="91"/>
                      </a:cubicBezTo>
                      <a:cubicBezTo>
                        <a:pt x="132" y="91"/>
                        <a:pt x="132" y="91"/>
                        <a:pt x="132" y="91"/>
                      </a:cubicBezTo>
                      <a:cubicBezTo>
                        <a:pt x="132" y="91"/>
                        <a:pt x="132" y="91"/>
                        <a:pt x="132" y="91"/>
                      </a:cubicBezTo>
                      <a:cubicBezTo>
                        <a:pt x="132" y="83"/>
                        <a:pt x="132" y="83"/>
                        <a:pt x="132" y="83"/>
                      </a:cubicBezTo>
                      <a:cubicBezTo>
                        <a:pt x="138" y="82"/>
                        <a:pt x="143" y="76"/>
                        <a:pt x="143" y="70"/>
                      </a:cubicBezTo>
                      <a:cubicBezTo>
                        <a:pt x="143" y="59"/>
                        <a:pt x="143" y="59"/>
                        <a:pt x="143" y="59"/>
                      </a:cubicBezTo>
                      <a:cubicBezTo>
                        <a:pt x="146" y="59"/>
                        <a:pt x="148" y="57"/>
                        <a:pt x="148" y="54"/>
                      </a:cubicBezTo>
                      <a:cubicBezTo>
                        <a:pt x="148" y="44"/>
                        <a:pt x="148" y="44"/>
                        <a:pt x="148" y="44"/>
                      </a:cubicBezTo>
                      <a:cubicBezTo>
                        <a:pt x="148" y="42"/>
                        <a:pt x="146" y="40"/>
                        <a:pt x="145" y="40"/>
                      </a:cubicBezTo>
                      <a:cubicBezTo>
                        <a:pt x="148" y="36"/>
                        <a:pt x="151" y="31"/>
                        <a:pt x="151" y="26"/>
                      </a:cubicBezTo>
                      <a:cubicBezTo>
                        <a:pt x="151" y="16"/>
                        <a:pt x="142" y="7"/>
                        <a:pt x="132" y="7"/>
                      </a:cubicBezTo>
                      <a:cubicBezTo>
                        <a:pt x="131" y="7"/>
                        <a:pt x="131" y="7"/>
                        <a:pt x="131" y="7"/>
                      </a:cubicBezTo>
                      <a:cubicBezTo>
                        <a:pt x="126" y="3"/>
                        <a:pt x="118" y="0"/>
                        <a:pt x="110" y="0"/>
                      </a:cubicBezTo>
                      <a:cubicBezTo>
                        <a:pt x="94" y="0"/>
                        <a:pt x="81" y="11"/>
                        <a:pt x="81" y="25"/>
                      </a:cubicBezTo>
                      <a:cubicBezTo>
                        <a:pt x="81" y="30"/>
                        <a:pt x="83" y="35"/>
                        <a:pt x="87" y="39"/>
                      </a:cubicBezTo>
                      <a:cubicBezTo>
                        <a:pt x="85" y="40"/>
                        <a:pt x="83" y="42"/>
                        <a:pt x="83" y="44"/>
                      </a:cubicBezTo>
                      <a:cubicBezTo>
                        <a:pt x="83" y="54"/>
                        <a:pt x="83" y="54"/>
                        <a:pt x="83" y="54"/>
                      </a:cubicBezTo>
                      <a:cubicBezTo>
                        <a:pt x="83" y="57"/>
                        <a:pt x="85" y="59"/>
                        <a:pt x="88" y="59"/>
                      </a:cubicBezTo>
                      <a:cubicBezTo>
                        <a:pt x="88" y="70"/>
                        <a:pt x="88" y="70"/>
                        <a:pt x="88" y="70"/>
                      </a:cubicBezTo>
                      <a:cubicBezTo>
                        <a:pt x="88" y="77"/>
                        <a:pt x="93" y="82"/>
                        <a:pt x="99" y="83"/>
                      </a:cubicBezTo>
                      <a:cubicBezTo>
                        <a:pt x="99" y="91"/>
                        <a:pt x="99" y="91"/>
                        <a:pt x="99" y="91"/>
                      </a:cubicBezTo>
                      <a:cubicBezTo>
                        <a:pt x="49" y="95"/>
                        <a:pt x="49" y="95"/>
                        <a:pt x="49" y="95"/>
                      </a:cubicBezTo>
                      <a:cubicBezTo>
                        <a:pt x="49" y="97"/>
                        <a:pt x="49" y="97"/>
                        <a:pt x="49" y="97"/>
                      </a:cubicBezTo>
                      <a:cubicBezTo>
                        <a:pt x="23" y="155"/>
                        <a:pt x="6" y="213"/>
                        <a:pt x="0" y="276"/>
                      </a:cubicBezTo>
                      <a:cubicBezTo>
                        <a:pt x="3" y="276"/>
                        <a:pt x="3" y="276"/>
                        <a:pt x="3" y="276"/>
                      </a:cubicBezTo>
                      <a:cubicBezTo>
                        <a:pt x="3" y="289"/>
                        <a:pt x="3" y="289"/>
                        <a:pt x="3" y="289"/>
                      </a:cubicBezTo>
                      <a:cubicBezTo>
                        <a:pt x="3" y="295"/>
                        <a:pt x="8" y="299"/>
                        <a:pt x="14" y="299"/>
                      </a:cubicBezTo>
                      <a:cubicBezTo>
                        <a:pt x="20" y="299"/>
                        <a:pt x="25" y="295"/>
                        <a:pt x="25" y="289"/>
                      </a:cubicBezTo>
                      <a:cubicBezTo>
                        <a:pt x="25" y="276"/>
                        <a:pt x="25" y="276"/>
                        <a:pt x="25" y="276"/>
                      </a:cubicBezTo>
                      <a:cubicBezTo>
                        <a:pt x="28" y="276"/>
                        <a:pt x="28" y="276"/>
                        <a:pt x="28" y="276"/>
                      </a:cubicBezTo>
                      <a:cubicBezTo>
                        <a:pt x="32" y="241"/>
                        <a:pt x="39" y="208"/>
                        <a:pt x="49" y="176"/>
                      </a:cubicBezTo>
                      <a:cubicBezTo>
                        <a:pt x="49" y="318"/>
                        <a:pt x="49" y="318"/>
                        <a:pt x="49" y="318"/>
                      </a:cubicBezTo>
                      <a:cubicBezTo>
                        <a:pt x="67" y="318"/>
                        <a:pt x="67" y="318"/>
                        <a:pt x="67" y="318"/>
                      </a:cubicBezTo>
                      <a:cubicBezTo>
                        <a:pt x="73" y="489"/>
                        <a:pt x="73" y="489"/>
                        <a:pt x="73" y="489"/>
                      </a:cubicBezTo>
                      <a:cubicBezTo>
                        <a:pt x="79" y="489"/>
                        <a:pt x="79" y="489"/>
                        <a:pt x="79" y="489"/>
                      </a:cubicBezTo>
                      <a:cubicBezTo>
                        <a:pt x="74" y="493"/>
                        <a:pt x="70" y="499"/>
                        <a:pt x="70" y="506"/>
                      </a:cubicBezTo>
                      <a:cubicBezTo>
                        <a:pt x="111" y="506"/>
                        <a:pt x="111" y="506"/>
                        <a:pt x="111" y="506"/>
                      </a:cubicBezTo>
                      <a:cubicBezTo>
                        <a:pt x="111" y="499"/>
                        <a:pt x="108" y="493"/>
                        <a:pt x="102" y="489"/>
                      </a:cubicBezTo>
                      <a:cubicBezTo>
                        <a:pt x="108" y="489"/>
                        <a:pt x="108" y="489"/>
                        <a:pt x="108" y="489"/>
                      </a:cubicBezTo>
                      <a:cubicBezTo>
                        <a:pt x="115" y="318"/>
                        <a:pt x="115" y="318"/>
                        <a:pt x="115" y="318"/>
                      </a:cubicBezTo>
                      <a:cubicBezTo>
                        <a:pt x="117" y="318"/>
                        <a:pt x="117" y="318"/>
                        <a:pt x="117" y="318"/>
                      </a:cubicBezTo>
                      <a:cubicBezTo>
                        <a:pt x="123" y="489"/>
                        <a:pt x="123" y="489"/>
                        <a:pt x="123" y="489"/>
                      </a:cubicBezTo>
                      <a:cubicBezTo>
                        <a:pt x="129" y="489"/>
                        <a:pt x="129" y="489"/>
                        <a:pt x="129" y="489"/>
                      </a:cubicBezTo>
                      <a:cubicBezTo>
                        <a:pt x="124" y="493"/>
                        <a:pt x="120" y="499"/>
                        <a:pt x="120" y="506"/>
                      </a:cubicBezTo>
                      <a:cubicBezTo>
                        <a:pt x="161" y="506"/>
                        <a:pt x="161" y="506"/>
                        <a:pt x="161" y="506"/>
                      </a:cubicBezTo>
                      <a:cubicBezTo>
                        <a:pt x="161" y="499"/>
                        <a:pt x="158" y="493"/>
                        <a:pt x="153" y="489"/>
                      </a:cubicBezTo>
                      <a:cubicBezTo>
                        <a:pt x="158" y="489"/>
                        <a:pt x="158" y="489"/>
                        <a:pt x="158" y="489"/>
                      </a:cubicBezTo>
                      <a:cubicBezTo>
                        <a:pt x="165" y="318"/>
                        <a:pt x="165" y="318"/>
                        <a:pt x="165" y="318"/>
                      </a:cubicBezTo>
                      <a:cubicBezTo>
                        <a:pt x="182" y="318"/>
                        <a:pt x="182" y="318"/>
                        <a:pt x="182" y="318"/>
                      </a:cubicBezTo>
                      <a:cubicBezTo>
                        <a:pt x="182" y="173"/>
                        <a:pt x="182" y="173"/>
                        <a:pt x="182" y="173"/>
                      </a:cubicBezTo>
                      <a:cubicBezTo>
                        <a:pt x="193" y="206"/>
                        <a:pt x="200" y="240"/>
                        <a:pt x="204" y="276"/>
                      </a:cubicBezTo>
                      <a:cubicBezTo>
                        <a:pt x="208" y="276"/>
                        <a:pt x="208" y="276"/>
                        <a:pt x="208" y="276"/>
                      </a:cubicBezTo>
                      <a:cubicBezTo>
                        <a:pt x="208" y="289"/>
                        <a:pt x="208" y="289"/>
                        <a:pt x="208" y="289"/>
                      </a:cubicBezTo>
                      <a:cubicBezTo>
                        <a:pt x="208" y="295"/>
                        <a:pt x="212" y="299"/>
                        <a:pt x="218" y="299"/>
                      </a:cubicBezTo>
                      <a:cubicBezTo>
                        <a:pt x="224" y="299"/>
                        <a:pt x="229" y="295"/>
                        <a:pt x="229" y="289"/>
                      </a:cubicBezTo>
                      <a:cubicBezTo>
                        <a:pt x="229" y="276"/>
                        <a:pt x="229" y="276"/>
                        <a:pt x="229" y="276"/>
                      </a:cubicBezTo>
                      <a:cubicBezTo>
                        <a:pt x="233" y="276"/>
                        <a:pt x="233" y="276"/>
                        <a:pt x="233" y="276"/>
                      </a:cubicBezTo>
                      <a:cubicBezTo>
                        <a:pt x="227" y="212"/>
                        <a:pt x="210" y="153"/>
                        <a:pt x="183" y="95"/>
                      </a:cubicBezTo>
                      <a:close/>
                    </a:path>
                  </a:pathLst>
                </a:custGeom>
                <a:solidFill>
                  <a:srgbClr val="FFFFFF">
                    <a:lumMod val="85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grpSp>
              <p:nvGrpSpPr>
                <p:cNvPr id="543" name="Group 542"/>
                <p:cNvGrpSpPr/>
                <p:nvPr/>
              </p:nvGrpSpPr>
              <p:grpSpPr>
                <a:xfrm>
                  <a:off x="5501749" y="2623589"/>
                  <a:ext cx="1037915" cy="2786987"/>
                  <a:chOff x="5501749" y="2623589"/>
                  <a:chExt cx="1037915" cy="2786987"/>
                </a:xfrm>
              </p:grpSpPr>
              <p:sp>
                <p:nvSpPr>
                  <p:cNvPr id="604" name="Rectangle 603"/>
                  <p:cNvSpPr>
                    <a:spLocks noChangeArrowheads="1"/>
                  </p:cNvSpPr>
                  <p:nvPr/>
                </p:nvSpPr>
                <p:spPr bwMode="auto">
                  <a:xfrm>
                    <a:off x="5930370" y="3132935"/>
                    <a:ext cx="182596" cy="538177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05" name="Freeform 604"/>
                  <p:cNvSpPr>
                    <a:spLocks/>
                  </p:cNvSpPr>
                  <p:nvPr/>
                </p:nvSpPr>
                <p:spPr bwMode="auto">
                  <a:xfrm>
                    <a:off x="5780449" y="5297175"/>
                    <a:ext cx="226803" cy="113401"/>
                  </a:xfrm>
                  <a:custGeom>
                    <a:avLst/>
                    <a:gdLst>
                      <a:gd name="T0" fmla="*/ 25 w 50"/>
                      <a:gd name="T1" fmla="*/ 0 h 25"/>
                      <a:gd name="T2" fmla="*/ 0 w 50"/>
                      <a:gd name="T3" fmla="*/ 25 h 25"/>
                      <a:gd name="T4" fmla="*/ 50 w 50"/>
                      <a:gd name="T5" fmla="*/ 25 h 25"/>
                      <a:gd name="T6" fmla="*/ 25 w 50"/>
                      <a:gd name="T7" fmla="*/ 0 h 2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50" h="25">
                        <a:moveTo>
                          <a:pt x="25" y="0"/>
                        </a:moveTo>
                        <a:cubicBezTo>
                          <a:pt x="11" y="0"/>
                          <a:pt x="0" y="11"/>
                          <a:pt x="0" y="25"/>
                        </a:cubicBezTo>
                        <a:cubicBezTo>
                          <a:pt x="50" y="25"/>
                          <a:pt x="50" y="25"/>
                          <a:pt x="50" y="25"/>
                        </a:cubicBezTo>
                        <a:cubicBezTo>
                          <a:pt x="50" y="11"/>
                          <a:pt x="39" y="0"/>
                          <a:pt x="25" y="0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06" name="Freeform 605"/>
                  <p:cNvSpPr>
                    <a:spLocks/>
                  </p:cNvSpPr>
                  <p:nvPr/>
                </p:nvSpPr>
                <p:spPr bwMode="auto">
                  <a:xfrm>
                    <a:off x="6030317" y="5297175"/>
                    <a:ext cx="226803" cy="113401"/>
                  </a:xfrm>
                  <a:custGeom>
                    <a:avLst/>
                    <a:gdLst>
                      <a:gd name="T0" fmla="*/ 25 w 50"/>
                      <a:gd name="T1" fmla="*/ 0 h 25"/>
                      <a:gd name="T2" fmla="*/ 0 w 50"/>
                      <a:gd name="T3" fmla="*/ 25 h 25"/>
                      <a:gd name="T4" fmla="*/ 50 w 50"/>
                      <a:gd name="T5" fmla="*/ 25 h 25"/>
                      <a:gd name="T6" fmla="*/ 25 w 50"/>
                      <a:gd name="T7" fmla="*/ 0 h 2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50" h="25">
                        <a:moveTo>
                          <a:pt x="25" y="0"/>
                        </a:moveTo>
                        <a:cubicBezTo>
                          <a:pt x="11" y="0"/>
                          <a:pt x="0" y="11"/>
                          <a:pt x="0" y="25"/>
                        </a:cubicBezTo>
                        <a:cubicBezTo>
                          <a:pt x="50" y="25"/>
                          <a:pt x="50" y="25"/>
                          <a:pt x="50" y="25"/>
                        </a:cubicBezTo>
                        <a:cubicBezTo>
                          <a:pt x="50" y="11"/>
                          <a:pt x="39" y="0"/>
                          <a:pt x="25" y="0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07" name="Freeform 606"/>
                  <p:cNvSpPr>
                    <a:spLocks/>
                  </p:cNvSpPr>
                  <p:nvPr/>
                </p:nvSpPr>
                <p:spPr bwMode="auto">
                  <a:xfrm>
                    <a:off x="5861175" y="2669718"/>
                    <a:ext cx="351738" cy="422853"/>
                  </a:xfrm>
                  <a:custGeom>
                    <a:avLst/>
                    <a:gdLst>
                      <a:gd name="T0" fmla="*/ 69 w 77"/>
                      <a:gd name="T1" fmla="*/ 53 h 93"/>
                      <a:gd name="T2" fmla="*/ 27 w 77"/>
                      <a:gd name="T3" fmla="*/ 87 h 93"/>
                      <a:gd name="T4" fmla="*/ 7 w 77"/>
                      <a:gd name="T5" fmla="*/ 36 h 93"/>
                      <a:gd name="T6" fmla="*/ 54 w 77"/>
                      <a:gd name="T7" fmla="*/ 6 h 93"/>
                      <a:gd name="T8" fmla="*/ 69 w 77"/>
                      <a:gd name="T9" fmla="*/ 53 h 9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7" h="93">
                        <a:moveTo>
                          <a:pt x="69" y="53"/>
                        </a:moveTo>
                        <a:cubicBezTo>
                          <a:pt x="62" y="75"/>
                          <a:pt x="45" y="93"/>
                          <a:pt x="27" y="87"/>
                        </a:cubicBezTo>
                        <a:cubicBezTo>
                          <a:pt x="9" y="81"/>
                          <a:pt x="0" y="58"/>
                          <a:pt x="7" y="36"/>
                        </a:cubicBezTo>
                        <a:cubicBezTo>
                          <a:pt x="15" y="14"/>
                          <a:pt x="35" y="0"/>
                          <a:pt x="54" y="6"/>
                        </a:cubicBezTo>
                        <a:cubicBezTo>
                          <a:pt x="72" y="12"/>
                          <a:pt x="77" y="31"/>
                          <a:pt x="69" y="53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08" name="Freeform 607"/>
                  <p:cNvSpPr>
                    <a:spLocks/>
                  </p:cNvSpPr>
                  <p:nvPr/>
                </p:nvSpPr>
                <p:spPr bwMode="auto">
                  <a:xfrm>
                    <a:off x="5816967" y="2623589"/>
                    <a:ext cx="345971" cy="395945"/>
                  </a:xfrm>
                  <a:custGeom>
                    <a:avLst/>
                    <a:gdLst>
                      <a:gd name="T0" fmla="*/ 65 w 76"/>
                      <a:gd name="T1" fmla="*/ 28 h 87"/>
                      <a:gd name="T2" fmla="*/ 58 w 76"/>
                      <a:gd name="T3" fmla="*/ 78 h 87"/>
                      <a:gd name="T4" fmla="*/ 11 w 76"/>
                      <a:gd name="T5" fmla="*/ 60 h 87"/>
                      <a:gd name="T6" fmla="*/ 17 w 76"/>
                      <a:gd name="T7" fmla="*/ 9 h 87"/>
                      <a:gd name="T8" fmla="*/ 65 w 76"/>
                      <a:gd name="T9" fmla="*/ 28 h 8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6" h="87">
                        <a:moveTo>
                          <a:pt x="65" y="28"/>
                        </a:moveTo>
                        <a:cubicBezTo>
                          <a:pt x="76" y="47"/>
                          <a:pt x="73" y="69"/>
                          <a:pt x="58" y="78"/>
                        </a:cubicBezTo>
                        <a:cubicBezTo>
                          <a:pt x="43" y="87"/>
                          <a:pt x="22" y="79"/>
                          <a:pt x="11" y="60"/>
                        </a:cubicBezTo>
                        <a:cubicBezTo>
                          <a:pt x="0" y="40"/>
                          <a:pt x="3" y="18"/>
                          <a:pt x="17" y="9"/>
                        </a:cubicBezTo>
                        <a:cubicBezTo>
                          <a:pt x="32" y="0"/>
                          <a:pt x="53" y="9"/>
                          <a:pt x="65" y="28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09" name="Freeform 608"/>
                  <p:cNvSpPr>
                    <a:spLocks/>
                  </p:cNvSpPr>
                  <p:nvPr/>
                </p:nvSpPr>
                <p:spPr bwMode="auto">
                  <a:xfrm>
                    <a:off x="5930370" y="2988781"/>
                    <a:ext cx="182596" cy="190283"/>
                  </a:xfrm>
                  <a:custGeom>
                    <a:avLst/>
                    <a:gdLst>
                      <a:gd name="T0" fmla="*/ 95 w 95"/>
                      <a:gd name="T1" fmla="*/ 75 h 99"/>
                      <a:gd name="T2" fmla="*/ 47 w 95"/>
                      <a:gd name="T3" fmla="*/ 99 h 99"/>
                      <a:gd name="T4" fmla="*/ 0 w 95"/>
                      <a:gd name="T5" fmla="*/ 75 h 99"/>
                      <a:gd name="T6" fmla="*/ 0 w 95"/>
                      <a:gd name="T7" fmla="*/ 0 h 99"/>
                      <a:gd name="T8" fmla="*/ 95 w 95"/>
                      <a:gd name="T9" fmla="*/ 0 h 99"/>
                      <a:gd name="T10" fmla="*/ 95 w 95"/>
                      <a:gd name="T11" fmla="*/ 75 h 9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95" h="99">
                        <a:moveTo>
                          <a:pt x="95" y="75"/>
                        </a:moveTo>
                        <a:lnTo>
                          <a:pt x="47" y="99"/>
                        </a:lnTo>
                        <a:lnTo>
                          <a:pt x="0" y="75"/>
                        </a:lnTo>
                        <a:lnTo>
                          <a:pt x="0" y="0"/>
                        </a:lnTo>
                        <a:lnTo>
                          <a:pt x="95" y="0"/>
                        </a:lnTo>
                        <a:lnTo>
                          <a:pt x="95" y="75"/>
                        </a:lnTo>
                        <a:close/>
                      </a:path>
                    </a:pathLst>
                  </a:custGeom>
                  <a:solidFill>
                    <a:srgbClr val="FFB9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10" name="Freeform 609"/>
                  <p:cNvSpPr>
                    <a:spLocks/>
                  </p:cNvSpPr>
                  <p:nvPr/>
                </p:nvSpPr>
                <p:spPr bwMode="auto">
                  <a:xfrm>
                    <a:off x="5501749" y="3188675"/>
                    <a:ext cx="388256" cy="991783"/>
                  </a:xfrm>
                  <a:custGeom>
                    <a:avLst/>
                    <a:gdLst>
                      <a:gd name="T0" fmla="*/ 85 w 85"/>
                      <a:gd name="T1" fmla="*/ 9 h 218"/>
                      <a:gd name="T2" fmla="*/ 51 w 85"/>
                      <a:gd name="T3" fmla="*/ 0 h 218"/>
                      <a:gd name="T4" fmla="*/ 0 w 85"/>
                      <a:gd name="T5" fmla="*/ 218 h 218"/>
                      <a:gd name="T6" fmla="*/ 35 w 85"/>
                      <a:gd name="T7" fmla="*/ 218 h 218"/>
                      <a:gd name="T8" fmla="*/ 85 w 85"/>
                      <a:gd name="T9" fmla="*/ 9 h 21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85" h="218">
                        <a:moveTo>
                          <a:pt x="85" y="9"/>
                        </a:moveTo>
                        <a:cubicBezTo>
                          <a:pt x="74" y="6"/>
                          <a:pt x="62" y="3"/>
                          <a:pt x="51" y="0"/>
                        </a:cubicBezTo>
                        <a:cubicBezTo>
                          <a:pt x="19" y="71"/>
                          <a:pt x="8" y="141"/>
                          <a:pt x="0" y="218"/>
                        </a:cubicBezTo>
                        <a:cubicBezTo>
                          <a:pt x="35" y="218"/>
                          <a:pt x="35" y="218"/>
                          <a:pt x="35" y="218"/>
                        </a:cubicBezTo>
                        <a:cubicBezTo>
                          <a:pt x="43" y="144"/>
                          <a:pt x="53" y="77"/>
                          <a:pt x="85" y="9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11" name="Freeform 610"/>
                  <p:cNvSpPr>
                    <a:spLocks/>
                  </p:cNvSpPr>
                  <p:nvPr/>
                </p:nvSpPr>
                <p:spPr bwMode="auto">
                  <a:xfrm>
                    <a:off x="6157173" y="3188675"/>
                    <a:ext cx="382491" cy="991783"/>
                  </a:xfrm>
                  <a:custGeom>
                    <a:avLst/>
                    <a:gdLst>
                      <a:gd name="T0" fmla="*/ 0 w 84"/>
                      <a:gd name="T1" fmla="*/ 9 h 218"/>
                      <a:gd name="T2" fmla="*/ 33 w 84"/>
                      <a:gd name="T3" fmla="*/ 0 h 218"/>
                      <a:gd name="T4" fmla="*/ 84 w 84"/>
                      <a:gd name="T5" fmla="*/ 218 h 218"/>
                      <a:gd name="T6" fmla="*/ 50 w 84"/>
                      <a:gd name="T7" fmla="*/ 218 h 218"/>
                      <a:gd name="T8" fmla="*/ 0 w 84"/>
                      <a:gd name="T9" fmla="*/ 9 h 21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84" h="218">
                        <a:moveTo>
                          <a:pt x="0" y="9"/>
                        </a:moveTo>
                        <a:cubicBezTo>
                          <a:pt x="11" y="6"/>
                          <a:pt x="22" y="3"/>
                          <a:pt x="33" y="0"/>
                        </a:cubicBezTo>
                        <a:cubicBezTo>
                          <a:pt x="66" y="71"/>
                          <a:pt x="77" y="141"/>
                          <a:pt x="84" y="218"/>
                        </a:cubicBezTo>
                        <a:cubicBezTo>
                          <a:pt x="50" y="218"/>
                          <a:pt x="50" y="218"/>
                          <a:pt x="50" y="218"/>
                        </a:cubicBezTo>
                        <a:cubicBezTo>
                          <a:pt x="42" y="144"/>
                          <a:pt x="31" y="77"/>
                          <a:pt x="0" y="9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12" name="Freeform 611"/>
                  <p:cNvSpPr>
                    <a:spLocks/>
                  </p:cNvSpPr>
                  <p:nvPr/>
                </p:nvSpPr>
                <p:spPr bwMode="auto">
                  <a:xfrm>
                    <a:off x="5784293" y="4272717"/>
                    <a:ext cx="226803" cy="1047523"/>
                  </a:xfrm>
                  <a:custGeom>
                    <a:avLst/>
                    <a:gdLst>
                      <a:gd name="T0" fmla="*/ 100 w 118"/>
                      <a:gd name="T1" fmla="*/ 545 h 545"/>
                      <a:gd name="T2" fmla="*/ 14 w 118"/>
                      <a:gd name="T3" fmla="*/ 545 h 545"/>
                      <a:gd name="T4" fmla="*/ 0 w 118"/>
                      <a:gd name="T5" fmla="*/ 0 h 545"/>
                      <a:gd name="T6" fmla="*/ 118 w 118"/>
                      <a:gd name="T7" fmla="*/ 0 h 545"/>
                      <a:gd name="T8" fmla="*/ 100 w 118"/>
                      <a:gd name="T9" fmla="*/ 545 h 54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8" h="545">
                        <a:moveTo>
                          <a:pt x="100" y="545"/>
                        </a:moveTo>
                        <a:lnTo>
                          <a:pt x="14" y="545"/>
                        </a:lnTo>
                        <a:lnTo>
                          <a:pt x="0" y="0"/>
                        </a:lnTo>
                        <a:lnTo>
                          <a:pt x="118" y="0"/>
                        </a:lnTo>
                        <a:lnTo>
                          <a:pt x="100" y="545"/>
                        </a:lnTo>
                        <a:close/>
                      </a:path>
                    </a:pathLst>
                  </a:custGeom>
                  <a:solidFill>
                    <a:srgbClr val="EB3C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13" name="Freeform 612"/>
                  <p:cNvSpPr>
                    <a:spLocks/>
                  </p:cNvSpPr>
                  <p:nvPr/>
                </p:nvSpPr>
                <p:spPr bwMode="auto">
                  <a:xfrm>
                    <a:off x="6020706" y="4272717"/>
                    <a:ext cx="232570" cy="1047523"/>
                  </a:xfrm>
                  <a:custGeom>
                    <a:avLst/>
                    <a:gdLst>
                      <a:gd name="T0" fmla="*/ 107 w 121"/>
                      <a:gd name="T1" fmla="*/ 545 h 545"/>
                      <a:gd name="T2" fmla="*/ 22 w 121"/>
                      <a:gd name="T3" fmla="*/ 545 h 545"/>
                      <a:gd name="T4" fmla="*/ 0 w 121"/>
                      <a:gd name="T5" fmla="*/ 0 h 545"/>
                      <a:gd name="T6" fmla="*/ 121 w 121"/>
                      <a:gd name="T7" fmla="*/ 0 h 545"/>
                      <a:gd name="T8" fmla="*/ 107 w 121"/>
                      <a:gd name="T9" fmla="*/ 545 h 54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21" h="545">
                        <a:moveTo>
                          <a:pt x="107" y="545"/>
                        </a:moveTo>
                        <a:lnTo>
                          <a:pt x="22" y="545"/>
                        </a:lnTo>
                        <a:lnTo>
                          <a:pt x="0" y="0"/>
                        </a:lnTo>
                        <a:lnTo>
                          <a:pt x="121" y="0"/>
                        </a:lnTo>
                        <a:lnTo>
                          <a:pt x="107" y="545"/>
                        </a:lnTo>
                        <a:close/>
                      </a:path>
                    </a:pathLst>
                  </a:custGeom>
                  <a:solidFill>
                    <a:srgbClr val="EB3C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14" name="Freeform 613"/>
                  <p:cNvSpPr>
                    <a:spLocks/>
                  </p:cNvSpPr>
                  <p:nvPr/>
                </p:nvSpPr>
                <p:spPr bwMode="auto">
                  <a:xfrm>
                    <a:off x="5524814" y="4180458"/>
                    <a:ext cx="113402" cy="128777"/>
                  </a:xfrm>
                  <a:custGeom>
                    <a:avLst/>
                    <a:gdLst>
                      <a:gd name="T0" fmla="*/ 0 w 25"/>
                      <a:gd name="T1" fmla="*/ 0 h 28"/>
                      <a:gd name="T2" fmla="*/ 0 w 25"/>
                      <a:gd name="T3" fmla="*/ 15 h 28"/>
                      <a:gd name="T4" fmla="*/ 13 w 25"/>
                      <a:gd name="T5" fmla="*/ 28 h 28"/>
                      <a:gd name="T6" fmla="*/ 25 w 25"/>
                      <a:gd name="T7" fmla="*/ 15 h 28"/>
                      <a:gd name="T8" fmla="*/ 25 w 25"/>
                      <a:gd name="T9" fmla="*/ 0 h 28"/>
                      <a:gd name="T10" fmla="*/ 0 w 25"/>
                      <a:gd name="T11" fmla="*/ 0 h 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25" h="28">
                        <a:moveTo>
                          <a:pt x="0" y="0"/>
                        </a:moveTo>
                        <a:cubicBezTo>
                          <a:pt x="0" y="15"/>
                          <a:pt x="0" y="15"/>
                          <a:pt x="0" y="15"/>
                        </a:cubicBezTo>
                        <a:cubicBezTo>
                          <a:pt x="0" y="22"/>
                          <a:pt x="6" y="28"/>
                          <a:pt x="13" y="28"/>
                        </a:cubicBezTo>
                        <a:cubicBezTo>
                          <a:pt x="20" y="28"/>
                          <a:pt x="25" y="22"/>
                          <a:pt x="25" y="15"/>
                        </a:cubicBezTo>
                        <a:cubicBezTo>
                          <a:pt x="25" y="0"/>
                          <a:pt x="25" y="0"/>
                          <a:pt x="25" y="0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FB9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15" name="Freeform 614"/>
                  <p:cNvSpPr>
                    <a:spLocks/>
                  </p:cNvSpPr>
                  <p:nvPr/>
                </p:nvSpPr>
                <p:spPr bwMode="auto">
                  <a:xfrm>
                    <a:off x="6403196" y="4180458"/>
                    <a:ext cx="119168" cy="128777"/>
                  </a:xfrm>
                  <a:custGeom>
                    <a:avLst/>
                    <a:gdLst>
                      <a:gd name="T0" fmla="*/ 0 w 26"/>
                      <a:gd name="T1" fmla="*/ 0 h 28"/>
                      <a:gd name="T2" fmla="*/ 0 w 26"/>
                      <a:gd name="T3" fmla="*/ 15 h 28"/>
                      <a:gd name="T4" fmla="*/ 13 w 26"/>
                      <a:gd name="T5" fmla="*/ 28 h 28"/>
                      <a:gd name="T6" fmla="*/ 26 w 26"/>
                      <a:gd name="T7" fmla="*/ 15 h 28"/>
                      <a:gd name="T8" fmla="*/ 26 w 26"/>
                      <a:gd name="T9" fmla="*/ 0 h 28"/>
                      <a:gd name="T10" fmla="*/ 0 w 26"/>
                      <a:gd name="T11" fmla="*/ 0 h 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26" h="28">
                        <a:moveTo>
                          <a:pt x="0" y="0"/>
                        </a:moveTo>
                        <a:cubicBezTo>
                          <a:pt x="0" y="15"/>
                          <a:pt x="0" y="15"/>
                          <a:pt x="0" y="15"/>
                        </a:cubicBezTo>
                        <a:cubicBezTo>
                          <a:pt x="0" y="22"/>
                          <a:pt x="6" y="28"/>
                          <a:pt x="13" y="28"/>
                        </a:cubicBezTo>
                        <a:cubicBezTo>
                          <a:pt x="20" y="28"/>
                          <a:pt x="26" y="22"/>
                          <a:pt x="26" y="15"/>
                        </a:cubicBezTo>
                        <a:cubicBezTo>
                          <a:pt x="26" y="0"/>
                          <a:pt x="26" y="0"/>
                          <a:pt x="26" y="0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FB9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16" name="Freeform 615"/>
                  <p:cNvSpPr>
                    <a:spLocks/>
                  </p:cNvSpPr>
                  <p:nvPr/>
                </p:nvSpPr>
                <p:spPr bwMode="auto">
                  <a:xfrm>
                    <a:off x="5730475" y="3132935"/>
                    <a:ext cx="576618" cy="1139781"/>
                  </a:xfrm>
                  <a:custGeom>
                    <a:avLst/>
                    <a:gdLst>
                      <a:gd name="T0" fmla="*/ 199 w 300"/>
                      <a:gd name="T1" fmla="*/ 0 h 593"/>
                      <a:gd name="T2" fmla="*/ 151 w 300"/>
                      <a:gd name="T3" fmla="*/ 370 h 593"/>
                      <a:gd name="T4" fmla="*/ 104 w 300"/>
                      <a:gd name="T5" fmla="*/ 0 h 593"/>
                      <a:gd name="T6" fmla="*/ 0 w 300"/>
                      <a:gd name="T7" fmla="*/ 29 h 593"/>
                      <a:gd name="T8" fmla="*/ 7 w 300"/>
                      <a:gd name="T9" fmla="*/ 593 h 593"/>
                      <a:gd name="T10" fmla="*/ 296 w 300"/>
                      <a:gd name="T11" fmla="*/ 593 h 593"/>
                      <a:gd name="T12" fmla="*/ 300 w 300"/>
                      <a:gd name="T13" fmla="*/ 29 h 593"/>
                      <a:gd name="T14" fmla="*/ 199 w 300"/>
                      <a:gd name="T15" fmla="*/ 0 h 59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300" h="593">
                        <a:moveTo>
                          <a:pt x="199" y="0"/>
                        </a:moveTo>
                        <a:lnTo>
                          <a:pt x="151" y="370"/>
                        </a:lnTo>
                        <a:lnTo>
                          <a:pt x="104" y="0"/>
                        </a:lnTo>
                        <a:lnTo>
                          <a:pt x="0" y="29"/>
                        </a:lnTo>
                        <a:lnTo>
                          <a:pt x="7" y="593"/>
                        </a:lnTo>
                        <a:lnTo>
                          <a:pt x="296" y="593"/>
                        </a:lnTo>
                        <a:lnTo>
                          <a:pt x="300" y="29"/>
                        </a:lnTo>
                        <a:lnTo>
                          <a:pt x="199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17" name="Freeform 616"/>
                  <p:cNvSpPr>
                    <a:spLocks/>
                  </p:cNvSpPr>
                  <p:nvPr/>
                </p:nvSpPr>
                <p:spPr bwMode="auto">
                  <a:xfrm>
                    <a:off x="6166782" y="2810028"/>
                    <a:ext cx="0" cy="5766"/>
                  </a:xfrm>
                  <a:custGeom>
                    <a:avLst/>
                    <a:gdLst>
                      <a:gd name="T0" fmla="*/ 1 h 1"/>
                      <a:gd name="T1" fmla="*/ 0 h 1"/>
                      <a:gd name="T2" fmla="*/ 1 h 1"/>
                    </a:gdLst>
                    <a:ahLst/>
                    <a:cxnLst>
                      <a:cxn ang="0">
                        <a:pos x="0" y="T0"/>
                      </a:cxn>
                      <a:cxn ang="0">
                        <a:pos x="0" y="T1"/>
                      </a:cxn>
                      <a:cxn ang="0">
                        <a:pos x="0" y="T2"/>
                      </a:cxn>
                    </a:cxnLst>
                    <a:rect l="0" t="0" r="r" b="b"/>
                    <a:pathLst>
                      <a:path h="1">
                        <a:moveTo>
                          <a:pt x="0" y="1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0"/>
                          <a:pt x="0" y="0"/>
                          <a:pt x="0" y="1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18" name="Freeform 617"/>
                  <p:cNvSpPr>
                    <a:spLocks/>
                  </p:cNvSpPr>
                  <p:nvPr/>
                </p:nvSpPr>
                <p:spPr bwMode="auto">
                  <a:xfrm>
                    <a:off x="6166782" y="2806184"/>
                    <a:ext cx="0" cy="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19" name="Freeform 618"/>
                  <p:cNvSpPr>
                    <a:spLocks/>
                  </p:cNvSpPr>
                  <p:nvPr/>
                </p:nvSpPr>
                <p:spPr bwMode="auto">
                  <a:xfrm>
                    <a:off x="6157173" y="2792730"/>
                    <a:ext cx="0" cy="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20" name="Freeform 619"/>
                  <p:cNvSpPr>
                    <a:spLocks/>
                  </p:cNvSpPr>
                  <p:nvPr/>
                </p:nvSpPr>
                <p:spPr bwMode="auto">
                  <a:xfrm>
                    <a:off x="6162938" y="2796575"/>
                    <a:ext cx="0" cy="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21" name="Freeform 620"/>
                  <p:cNvSpPr>
                    <a:spLocks/>
                  </p:cNvSpPr>
                  <p:nvPr/>
                </p:nvSpPr>
                <p:spPr bwMode="auto">
                  <a:xfrm>
                    <a:off x="5874629" y="2792730"/>
                    <a:ext cx="0" cy="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22" name="Freeform 621"/>
                  <p:cNvSpPr>
                    <a:spLocks/>
                  </p:cNvSpPr>
                  <p:nvPr/>
                </p:nvSpPr>
                <p:spPr bwMode="auto">
                  <a:xfrm>
                    <a:off x="6166782" y="2815795"/>
                    <a:ext cx="0" cy="3844"/>
                  </a:xfrm>
                  <a:custGeom>
                    <a:avLst/>
                    <a:gdLst>
                      <a:gd name="T0" fmla="*/ 1 h 1"/>
                      <a:gd name="T1" fmla="*/ 0 h 1"/>
                      <a:gd name="T2" fmla="*/ 1 h 1"/>
                    </a:gdLst>
                    <a:ahLst/>
                    <a:cxnLst>
                      <a:cxn ang="0">
                        <a:pos x="0" y="T0"/>
                      </a:cxn>
                      <a:cxn ang="0">
                        <a:pos x="0" y="T1"/>
                      </a:cxn>
                      <a:cxn ang="0">
                        <a:pos x="0" y="T2"/>
                      </a:cxn>
                    </a:cxnLst>
                    <a:rect l="0" t="0" r="r" b="b"/>
                    <a:pathLst>
                      <a:path h="1">
                        <a:moveTo>
                          <a:pt x="0" y="1"/>
                        </a:moveTo>
                        <a:cubicBezTo>
                          <a:pt x="0" y="1"/>
                          <a:pt x="0" y="0"/>
                          <a:pt x="0" y="0"/>
                        </a:cubicBezTo>
                        <a:cubicBezTo>
                          <a:pt x="0" y="0"/>
                          <a:pt x="0" y="1"/>
                          <a:pt x="0" y="1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23" name="Freeform 622"/>
                  <p:cNvSpPr>
                    <a:spLocks/>
                  </p:cNvSpPr>
                  <p:nvPr/>
                </p:nvSpPr>
                <p:spPr bwMode="auto">
                  <a:xfrm>
                    <a:off x="6166782" y="2823483"/>
                    <a:ext cx="0" cy="5766"/>
                  </a:xfrm>
                  <a:custGeom>
                    <a:avLst/>
                    <a:gdLst>
                      <a:gd name="T0" fmla="*/ 1 h 1"/>
                      <a:gd name="T1" fmla="*/ 0 h 1"/>
                      <a:gd name="T2" fmla="*/ 1 h 1"/>
                    </a:gdLst>
                    <a:ahLst/>
                    <a:cxnLst>
                      <a:cxn ang="0">
                        <a:pos x="0" y="T0"/>
                      </a:cxn>
                      <a:cxn ang="0">
                        <a:pos x="0" y="T1"/>
                      </a:cxn>
                      <a:cxn ang="0">
                        <a:pos x="0" y="T2"/>
                      </a:cxn>
                    </a:cxnLst>
                    <a:rect l="0" t="0" r="r" b="b"/>
                    <a:pathLst>
                      <a:path h="1">
                        <a:moveTo>
                          <a:pt x="0" y="1"/>
                        </a:moveTo>
                        <a:cubicBezTo>
                          <a:pt x="0" y="1"/>
                          <a:pt x="0" y="0"/>
                          <a:pt x="0" y="0"/>
                        </a:cubicBezTo>
                        <a:cubicBezTo>
                          <a:pt x="0" y="0"/>
                          <a:pt x="0" y="1"/>
                          <a:pt x="0" y="1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24" name="Rectangle 623"/>
                  <p:cNvSpPr>
                    <a:spLocks noChangeArrowheads="1"/>
                  </p:cNvSpPr>
                  <p:nvPr/>
                </p:nvSpPr>
                <p:spPr bwMode="auto">
                  <a:xfrm>
                    <a:off x="6153329" y="2786964"/>
                    <a:ext cx="1923" cy="1921"/>
                  </a:xfrm>
                  <a:prstGeom prst="rect">
                    <a:avLst/>
                  </a:pr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25" name="Freeform 624"/>
                  <p:cNvSpPr>
                    <a:spLocks/>
                  </p:cNvSpPr>
                  <p:nvPr/>
                </p:nvSpPr>
                <p:spPr bwMode="auto">
                  <a:xfrm>
                    <a:off x="5866941" y="2819639"/>
                    <a:ext cx="0" cy="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26" name="Freeform 625"/>
                  <p:cNvSpPr>
                    <a:spLocks/>
                  </p:cNvSpPr>
                  <p:nvPr/>
                </p:nvSpPr>
                <p:spPr bwMode="auto">
                  <a:xfrm>
                    <a:off x="5870785" y="2806184"/>
                    <a:ext cx="0" cy="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27" name="Freeform 626"/>
                  <p:cNvSpPr>
                    <a:spLocks/>
                  </p:cNvSpPr>
                  <p:nvPr/>
                </p:nvSpPr>
                <p:spPr bwMode="auto">
                  <a:xfrm>
                    <a:off x="5870785" y="2796575"/>
                    <a:ext cx="0" cy="5766"/>
                  </a:xfrm>
                  <a:custGeom>
                    <a:avLst/>
                    <a:gdLst>
                      <a:gd name="T0" fmla="*/ 0 h 1"/>
                      <a:gd name="T1" fmla="*/ 1 h 1"/>
                      <a:gd name="T2" fmla="*/ 0 h 1"/>
                    </a:gdLst>
                    <a:ahLst/>
                    <a:cxnLst>
                      <a:cxn ang="0">
                        <a:pos x="0" y="T0"/>
                      </a:cxn>
                      <a:cxn ang="0">
                        <a:pos x="0" y="T1"/>
                      </a:cxn>
                      <a:cxn ang="0">
                        <a:pos x="0" y="T2"/>
                      </a:cxn>
                    </a:cxnLst>
                    <a:rect l="0" t="0" r="r" b="b"/>
                    <a:pathLst>
                      <a:path h="1">
                        <a:moveTo>
                          <a:pt x="0" y="0"/>
                        </a:moveTo>
                        <a:cubicBezTo>
                          <a:pt x="0" y="1"/>
                          <a:pt x="0" y="1"/>
                          <a:pt x="0" y="1"/>
                        </a:cubicBezTo>
                        <a:cubicBezTo>
                          <a:pt x="0" y="1"/>
                          <a:pt x="0" y="1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28" name="Freeform 627"/>
                  <p:cNvSpPr>
                    <a:spLocks/>
                  </p:cNvSpPr>
                  <p:nvPr/>
                </p:nvSpPr>
                <p:spPr bwMode="auto">
                  <a:xfrm>
                    <a:off x="5866941" y="2810028"/>
                    <a:ext cx="0" cy="5766"/>
                  </a:xfrm>
                  <a:custGeom>
                    <a:avLst/>
                    <a:gdLst>
                      <a:gd name="T0" fmla="*/ 0 h 1"/>
                      <a:gd name="T1" fmla="*/ 1 h 1"/>
                      <a:gd name="T2" fmla="*/ 0 h 1"/>
                    </a:gdLst>
                    <a:ahLst/>
                    <a:cxnLst>
                      <a:cxn ang="0">
                        <a:pos x="0" y="T0"/>
                      </a:cxn>
                      <a:cxn ang="0">
                        <a:pos x="0" y="T1"/>
                      </a:cxn>
                      <a:cxn ang="0">
                        <a:pos x="0" y="T2"/>
                      </a:cxn>
                    </a:cxnLst>
                    <a:rect l="0" t="0" r="r" b="b"/>
                    <a:pathLst>
                      <a:path h="1">
                        <a:moveTo>
                          <a:pt x="0" y="0"/>
                        </a:moveTo>
                        <a:cubicBezTo>
                          <a:pt x="0" y="0"/>
                          <a:pt x="0" y="1"/>
                          <a:pt x="0" y="1"/>
                        </a:cubicBezTo>
                        <a:cubicBezTo>
                          <a:pt x="0" y="1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29" name="Freeform 628"/>
                  <p:cNvSpPr>
                    <a:spLocks/>
                  </p:cNvSpPr>
                  <p:nvPr/>
                </p:nvSpPr>
                <p:spPr bwMode="auto">
                  <a:xfrm>
                    <a:off x="5840032" y="2773510"/>
                    <a:ext cx="353659" cy="319062"/>
                  </a:xfrm>
                  <a:custGeom>
                    <a:avLst/>
                    <a:gdLst>
                      <a:gd name="T0" fmla="*/ 74 w 78"/>
                      <a:gd name="T1" fmla="*/ 17 h 70"/>
                      <a:gd name="T2" fmla="*/ 72 w 78"/>
                      <a:gd name="T3" fmla="*/ 17 h 70"/>
                      <a:gd name="T4" fmla="*/ 72 w 78"/>
                      <a:gd name="T5" fmla="*/ 12 h 70"/>
                      <a:gd name="T6" fmla="*/ 72 w 78"/>
                      <a:gd name="T7" fmla="*/ 11 h 70"/>
                      <a:gd name="T8" fmla="*/ 72 w 78"/>
                      <a:gd name="T9" fmla="*/ 10 h 70"/>
                      <a:gd name="T10" fmla="*/ 72 w 78"/>
                      <a:gd name="T11" fmla="*/ 9 h 70"/>
                      <a:gd name="T12" fmla="*/ 72 w 78"/>
                      <a:gd name="T13" fmla="*/ 9 h 70"/>
                      <a:gd name="T14" fmla="*/ 72 w 78"/>
                      <a:gd name="T15" fmla="*/ 8 h 70"/>
                      <a:gd name="T16" fmla="*/ 72 w 78"/>
                      <a:gd name="T17" fmla="*/ 7 h 70"/>
                      <a:gd name="T18" fmla="*/ 72 w 78"/>
                      <a:gd name="T19" fmla="*/ 7 h 70"/>
                      <a:gd name="T20" fmla="*/ 71 w 78"/>
                      <a:gd name="T21" fmla="*/ 5 h 70"/>
                      <a:gd name="T22" fmla="*/ 71 w 78"/>
                      <a:gd name="T23" fmla="*/ 5 h 70"/>
                      <a:gd name="T24" fmla="*/ 70 w 78"/>
                      <a:gd name="T25" fmla="*/ 4 h 70"/>
                      <a:gd name="T26" fmla="*/ 70 w 78"/>
                      <a:gd name="T27" fmla="*/ 4 h 70"/>
                      <a:gd name="T28" fmla="*/ 69 w 78"/>
                      <a:gd name="T29" fmla="*/ 3 h 70"/>
                      <a:gd name="T30" fmla="*/ 69 w 78"/>
                      <a:gd name="T31" fmla="*/ 3 h 70"/>
                      <a:gd name="T32" fmla="*/ 63 w 78"/>
                      <a:gd name="T33" fmla="*/ 3 h 70"/>
                      <a:gd name="T34" fmla="*/ 52 w 78"/>
                      <a:gd name="T35" fmla="*/ 1 h 70"/>
                      <a:gd name="T36" fmla="*/ 32 w 78"/>
                      <a:gd name="T37" fmla="*/ 3 h 70"/>
                      <a:gd name="T38" fmla="*/ 11 w 78"/>
                      <a:gd name="T39" fmla="*/ 0 h 70"/>
                      <a:gd name="T40" fmla="*/ 8 w 78"/>
                      <a:gd name="T41" fmla="*/ 4 h 70"/>
                      <a:gd name="T42" fmla="*/ 8 w 78"/>
                      <a:gd name="T43" fmla="*/ 4 h 70"/>
                      <a:gd name="T44" fmla="*/ 7 w 78"/>
                      <a:gd name="T45" fmla="*/ 5 h 70"/>
                      <a:gd name="T46" fmla="*/ 7 w 78"/>
                      <a:gd name="T47" fmla="*/ 6 h 70"/>
                      <a:gd name="T48" fmla="*/ 7 w 78"/>
                      <a:gd name="T49" fmla="*/ 7 h 70"/>
                      <a:gd name="T50" fmla="*/ 7 w 78"/>
                      <a:gd name="T51" fmla="*/ 7 h 70"/>
                      <a:gd name="T52" fmla="*/ 6 w 78"/>
                      <a:gd name="T53" fmla="*/ 8 h 70"/>
                      <a:gd name="T54" fmla="*/ 6 w 78"/>
                      <a:gd name="T55" fmla="*/ 9 h 70"/>
                      <a:gd name="T56" fmla="*/ 6 w 78"/>
                      <a:gd name="T57" fmla="*/ 10 h 70"/>
                      <a:gd name="T58" fmla="*/ 6 w 78"/>
                      <a:gd name="T59" fmla="*/ 10 h 70"/>
                      <a:gd name="T60" fmla="*/ 6 w 78"/>
                      <a:gd name="T61" fmla="*/ 12 h 70"/>
                      <a:gd name="T62" fmla="*/ 6 w 78"/>
                      <a:gd name="T63" fmla="*/ 17 h 70"/>
                      <a:gd name="T64" fmla="*/ 5 w 78"/>
                      <a:gd name="T65" fmla="*/ 17 h 70"/>
                      <a:gd name="T66" fmla="*/ 0 w 78"/>
                      <a:gd name="T67" fmla="*/ 22 h 70"/>
                      <a:gd name="T68" fmla="*/ 0 w 78"/>
                      <a:gd name="T69" fmla="*/ 35 h 70"/>
                      <a:gd name="T70" fmla="*/ 6 w 78"/>
                      <a:gd name="T71" fmla="*/ 40 h 70"/>
                      <a:gd name="T72" fmla="*/ 24 w 78"/>
                      <a:gd name="T73" fmla="*/ 70 h 70"/>
                      <a:gd name="T74" fmla="*/ 54 w 78"/>
                      <a:gd name="T75" fmla="*/ 70 h 70"/>
                      <a:gd name="T76" fmla="*/ 72 w 78"/>
                      <a:gd name="T77" fmla="*/ 40 h 70"/>
                      <a:gd name="T78" fmla="*/ 78 w 78"/>
                      <a:gd name="T79" fmla="*/ 35 h 70"/>
                      <a:gd name="T80" fmla="*/ 78 w 78"/>
                      <a:gd name="T81" fmla="*/ 22 h 70"/>
                      <a:gd name="T82" fmla="*/ 74 w 78"/>
                      <a:gd name="T83" fmla="*/ 17 h 7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</a:cxnLst>
                    <a:rect l="0" t="0" r="r" b="b"/>
                    <a:pathLst>
                      <a:path w="78" h="70">
                        <a:moveTo>
                          <a:pt x="74" y="17"/>
                        </a:moveTo>
                        <a:cubicBezTo>
                          <a:pt x="74" y="17"/>
                          <a:pt x="73" y="17"/>
                          <a:pt x="72" y="17"/>
                        </a:cubicBezTo>
                        <a:cubicBezTo>
                          <a:pt x="72" y="12"/>
                          <a:pt x="72" y="12"/>
                          <a:pt x="72" y="12"/>
                        </a:cubicBezTo>
                        <a:cubicBezTo>
                          <a:pt x="72" y="12"/>
                          <a:pt x="72" y="11"/>
                          <a:pt x="72" y="11"/>
                        </a:cubicBezTo>
                        <a:cubicBezTo>
                          <a:pt x="72" y="10"/>
                          <a:pt x="72" y="10"/>
                          <a:pt x="72" y="10"/>
                        </a:cubicBezTo>
                        <a:cubicBezTo>
                          <a:pt x="72" y="10"/>
                          <a:pt x="72" y="9"/>
                          <a:pt x="72" y="9"/>
                        </a:cubicBezTo>
                        <a:cubicBezTo>
                          <a:pt x="72" y="9"/>
                          <a:pt x="72" y="9"/>
                          <a:pt x="72" y="9"/>
                        </a:cubicBezTo>
                        <a:cubicBezTo>
                          <a:pt x="72" y="8"/>
                          <a:pt x="72" y="8"/>
                          <a:pt x="72" y="8"/>
                        </a:cubicBezTo>
                        <a:cubicBezTo>
                          <a:pt x="72" y="8"/>
                          <a:pt x="72" y="7"/>
                          <a:pt x="72" y="7"/>
                        </a:cubicBezTo>
                        <a:cubicBezTo>
                          <a:pt x="72" y="7"/>
                          <a:pt x="72" y="7"/>
                          <a:pt x="72" y="7"/>
                        </a:cubicBezTo>
                        <a:cubicBezTo>
                          <a:pt x="71" y="6"/>
                          <a:pt x="71" y="6"/>
                          <a:pt x="71" y="5"/>
                        </a:cubicBezTo>
                        <a:cubicBezTo>
                          <a:pt x="71" y="5"/>
                          <a:pt x="71" y="5"/>
                          <a:pt x="71" y="5"/>
                        </a:cubicBezTo>
                        <a:cubicBezTo>
                          <a:pt x="71" y="4"/>
                          <a:pt x="70" y="4"/>
                          <a:pt x="70" y="4"/>
                        </a:cubicBezTo>
                        <a:cubicBezTo>
                          <a:pt x="70" y="4"/>
                          <a:pt x="70" y="4"/>
                          <a:pt x="70" y="4"/>
                        </a:cubicBezTo>
                        <a:cubicBezTo>
                          <a:pt x="70" y="3"/>
                          <a:pt x="70" y="3"/>
                          <a:pt x="69" y="3"/>
                        </a:cubicBezTo>
                        <a:cubicBezTo>
                          <a:pt x="69" y="3"/>
                          <a:pt x="69" y="3"/>
                          <a:pt x="69" y="3"/>
                        </a:cubicBezTo>
                        <a:cubicBezTo>
                          <a:pt x="68" y="3"/>
                          <a:pt x="66" y="3"/>
                          <a:pt x="63" y="3"/>
                        </a:cubicBezTo>
                        <a:cubicBezTo>
                          <a:pt x="59" y="3"/>
                          <a:pt x="55" y="2"/>
                          <a:pt x="52" y="1"/>
                        </a:cubicBezTo>
                        <a:cubicBezTo>
                          <a:pt x="47" y="2"/>
                          <a:pt x="40" y="3"/>
                          <a:pt x="32" y="3"/>
                        </a:cubicBezTo>
                        <a:cubicBezTo>
                          <a:pt x="24" y="3"/>
                          <a:pt x="16" y="2"/>
                          <a:pt x="11" y="0"/>
                        </a:cubicBezTo>
                        <a:cubicBezTo>
                          <a:pt x="10" y="1"/>
                          <a:pt x="9" y="3"/>
                          <a:pt x="8" y="4"/>
                        </a:cubicBezTo>
                        <a:cubicBezTo>
                          <a:pt x="8" y="4"/>
                          <a:pt x="8" y="4"/>
                          <a:pt x="8" y="4"/>
                        </a:cubicBezTo>
                        <a:cubicBezTo>
                          <a:pt x="8" y="5"/>
                          <a:pt x="8" y="5"/>
                          <a:pt x="7" y="5"/>
                        </a:cubicBezTo>
                        <a:cubicBezTo>
                          <a:pt x="7" y="6"/>
                          <a:pt x="7" y="6"/>
                          <a:pt x="7" y="6"/>
                        </a:cubicBezTo>
                        <a:cubicBezTo>
                          <a:pt x="7" y="6"/>
                          <a:pt x="7" y="6"/>
                          <a:pt x="7" y="7"/>
                        </a:cubicBezTo>
                        <a:cubicBezTo>
                          <a:pt x="7" y="7"/>
                          <a:pt x="7" y="7"/>
                          <a:pt x="7" y="7"/>
                        </a:cubicBezTo>
                        <a:cubicBezTo>
                          <a:pt x="7" y="8"/>
                          <a:pt x="6" y="8"/>
                          <a:pt x="6" y="8"/>
                        </a:cubicBezTo>
                        <a:cubicBezTo>
                          <a:pt x="6" y="8"/>
                          <a:pt x="6" y="9"/>
                          <a:pt x="6" y="9"/>
                        </a:cubicBezTo>
                        <a:cubicBezTo>
                          <a:pt x="6" y="9"/>
                          <a:pt x="6" y="10"/>
                          <a:pt x="6" y="10"/>
                        </a:cubicBezTo>
                        <a:cubicBezTo>
                          <a:pt x="6" y="10"/>
                          <a:pt x="6" y="10"/>
                          <a:pt x="6" y="10"/>
                        </a:cubicBezTo>
                        <a:cubicBezTo>
                          <a:pt x="6" y="11"/>
                          <a:pt x="6" y="11"/>
                          <a:pt x="6" y="12"/>
                        </a:cubicBezTo>
                        <a:cubicBezTo>
                          <a:pt x="6" y="17"/>
                          <a:pt x="6" y="17"/>
                          <a:pt x="6" y="17"/>
                        </a:cubicBezTo>
                        <a:cubicBezTo>
                          <a:pt x="6" y="17"/>
                          <a:pt x="5" y="17"/>
                          <a:pt x="5" y="17"/>
                        </a:cubicBezTo>
                        <a:cubicBezTo>
                          <a:pt x="2" y="17"/>
                          <a:pt x="0" y="20"/>
                          <a:pt x="0" y="22"/>
                        </a:cubicBezTo>
                        <a:cubicBezTo>
                          <a:pt x="0" y="35"/>
                          <a:pt x="0" y="35"/>
                          <a:pt x="0" y="35"/>
                        </a:cubicBezTo>
                        <a:cubicBezTo>
                          <a:pt x="0" y="38"/>
                          <a:pt x="3" y="40"/>
                          <a:pt x="6" y="40"/>
                        </a:cubicBezTo>
                        <a:cubicBezTo>
                          <a:pt x="6" y="40"/>
                          <a:pt x="16" y="70"/>
                          <a:pt x="24" y="70"/>
                        </a:cubicBezTo>
                        <a:cubicBezTo>
                          <a:pt x="54" y="70"/>
                          <a:pt x="54" y="70"/>
                          <a:pt x="54" y="70"/>
                        </a:cubicBezTo>
                        <a:cubicBezTo>
                          <a:pt x="63" y="70"/>
                          <a:pt x="72" y="40"/>
                          <a:pt x="72" y="40"/>
                        </a:cubicBezTo>
                        <a:cubicBezTo>
                          <a:pt x="76" y="40"/>
                          <a:pt x="78" y="38"/>
                          <a:pt x="78" y="35"/>
                        </a:cubicBezTo>
                        <a:cubicBezTo>
                          <a:pt x="78" y="22"/>
                          <a:pt x="78" y="22"/>
                          <a:pt x="78" y="22"/>
                        </a:cubicBezTo>
                        <a:cubicBezTo>
                          <a:pt x="78" y="20"/>
                          <a:pt x="77" y="18"/>
                          <a:pt x="74" y="17"/>
                        </a:cubicBezTo>
                        <a:close/>
                      </a:path>
                    </a:pathLst>
                  </a:custGeom>
                  <a:solidFill>
                    <a:srgbClr val="FFB9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30" name="Freeform 629"/>
                  <p:cNvSpPr>
                    <a:spLocks noEditPoints="1"/>
                  </p:cNvSpPr>
                  <p:nvPr/>
                </p:nvSpPr>
                <p:spPr bwMode="auto">
                  <a:xfrm>
                    <a:off x="5870785" y="2836937"/>
                    <a:ext cx="305608" cy="101869"/>
                  </a:xfrm>
                  <a:custGeom>
                    <a:avLst/>
                    <a:gdLst>
                      <a:gd name="T0" fmla="*/ 66 w 67"/>
                      <a:gd name="T1" fmla="*/ 2 h 22"/>
                      <a:gd name="T2" fmla="*/ 49 w 67"/>
                      <a:gd name="T3" fmla="*/ 1 h 22"/>
                      <a:gd name="T4" fmla="*/ 33 w 67"/>
                      <a:gd name="T5" fmla="*/ 5 h 22"/>
                      <a:gd name="T6" fmla="*/ 17 w 67"/>
                      <a:gd name="T7" fmla="*/ 1 h 22"/>
                      <a:gd name="T8" fmla="*/ 0 w 67"/>
                      <a:gd name="T9" fmla="*/ 2 h 22"/>
                      <a:gd name="T10" fmla="*/ 0 w 67"/>
                      <a:gd name="T11" fmla="*/ 4 h 22"/>
                      <a:gd name="T12" fmla="*/ 2 w 67"/>
                      <a:gd name="T13" fmla="*/ 7 h 22"/>
                      <a:gd name="T14" fmla="*/ 4 w 67"/>
                      <a:gd name="T15" fmla="*/ 12 h 22"/>
                      <a:gd name="T16" fmla="*/ 20 w 67"/>
                      <a:gd name="T17" fmla="*/ 21 h 22"/>
                      <a:gd name="T18" fmla="*/ 31 w 67"/>
                      <a:gd name="T19" fmla="*/ 9 h 22"/>
                      <a:gd name="T20" fmla="*/ 33 w 67"/>
                      <a:gd name="T21" fmla="*/ 8 h 22"/>
                      <a:gd name="T22" fmla="*/ 36 w 67"/>
                      <a:gd name="T23" fmla="*/ 9 h 22"/>
                      <a:gd name="T24" fmla="*/ 47 w 67"/>
                      <a:gd name="T25" fmla="*/ 21 h 22"/>
                      <a:gd name="T26" fmla="*/ 62 w 67"/>
                      <a:gd name="T27" fmla="*/ 12 h 22"/>
                      <a:gd name="T28" fmla="*/ 64 w 67"/>
                      <a:gd name="T29" fmla="*/ 7 h 22"/>
                      <a:gd name="T30" fmla="*/ 66 w 67"/>
                      <a:gd name="T31" fmla="*/ 4 h 22"/>
                      <a:gd name="T32" fmla="*/ 66 w 67"/>
                      <a:gd name="T33" fmla="*/ 2 h 22"/>
                      <a:gd name="T34" fmla="*/ 25 w 67"/>
                      <a:gd name="T35" fmla="*/ 16 h 22"/>
                      <a:gd name="T36" fmla="*/ 13 w 67"/>
                      <a:gd name="T37" fmla="*/ 19 h 22"/>
                      <a:gd name="T38" fmla="*/ 6 w 67"/>
                      <a:gd name="T39" fmla="*/ 8 h 22"/>
                      <a:gd name="T40" fmla="*/ 18 w 67"/>
                      <a:gd name="T41" fmla="*/ 3 h 22"/>
                      <a:gd name="T42" fmla="*/ 26 w 67"/>
                      <a:gd name="T43" fmla="*/ 5 h 22"/>
                      <a:gd name="T44" fmla="*/ 25 w 67"/>
                      <a:gd name="T45" fmla="*/ 16 h 22"/>
                      <a:gd name="T46" fmla="*/ 53 w 67"/>
                      <a:gd name="T47" fmla="*/ 19 h 22"/>
                      <a:gd name="T48" fmla="*/ 41 w 67"/>
                      <a:gd name="T49" fmla="*/ 16 h 22"/>
                      <a:gd name="T50" fmla="*/ 41 w 67"/>
                      <a:gd name="T51" fmla="*/ 5 h 22"/>
                      <a:gd name="T52" fmla="*/ 49 w 67"/>
                      <a:gd name="T53" fmla="*/ 3 h 22"/>
                      <a:gd name="T54" fmla="*/ 61 w 67"/>
                      <a:gd name="T55" fmla="*/ 8 h 22"/>
                      <a:gd name="T56" fmla="*/ 53 w 67"/>
                      <a:gd name="T57" fmla="*/ 19 h 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</a:cxnLst>
                    <a:rect l="0" t="0" r="r" b="b"/>
                    <a:pathLst>
                      <a:path w="67" h="22">
                        <a:moveTo>
                          <a:pt x="66" y="2"/>
                        </a:moveTo>
                        <a:cubicBezTo>
                          <a:pt x="66" y="2"/>
                          <a:pt x="56" y="0"/>
                          <a:pt x="49" y="1"/>
                        </a:cubicBezTo>
                        <a:cubicBezTo>
                          <a:pt x="42" y="2"/>
                          <a:pt x="37" y="5"/>
                          <a:pt x="33" y="5"/>
                        </a:cubicBezTo>
                        <a:cubicBezTo>
                          <a:pt x="30" y="5"/>
                          <a:pt x="24" y="2"/>
                          <a:pt x="17" y="1"/>
                        </a:cubicBezTo>
                        <a:cubicBezTo>
                          <a:pt x="10" y="0"/>
                          <a:pt x="0" y="2"/>
                          <a:pt x="0" y="2"/>
                        </a:cubicBezTo>
                        <a:cubicBezTo>
                          <a:pt x="0" y="2"/>
                          <a:pt x="0" y="3"/>
                          <a:pt x="0" y="4"/>
                        </a:cubicBezTo>
                        <a:cubicBezTo>
                          <a:pt x="1" y="5"/>
                          <a:pt x="1" y="6"/>
                          <a:pt x="2" y="7"/>
                        </a:cubicBezTo>
                        <a:cubicBezTo>
                          <a:pt x="4" y="8"/>
                          <a:pt x="4" y="12"/>
                          <a:pt x="4" y="12"/>
                        </a:cubicBezTo>
                        <a:cubicBezTo>
                          <a:pt x="6" y="20"/>
                          <a:pt x="12" y="22"/>
                          <a:pt x="20" y="21"/>
                        </a:cubicBezTo>
                        <a:cubicBezTo>
                          <a:pt x="28" y="19"/>
                          <a:pt x="30" y="11"/>
                          <a:pt x="31" y="9"/>
                        </a:cubicBezTo>
                        <a:cubicBezTo>
                          <a:pt x="32" y="8"/>
                          <a:pt x="33" y="8"/>
                          <a:pt x="33" y="8"/>
                        </a:cubicBezTo>
                        <a:cubicBezTo>
                          <a:pt x="33" y="8"/>
                          <a:pt x="35" y="8"/>
                          <a:pt x="36" y="9"/>
                        </a:cubicBezTo>
                        <a:cubicBezTo>
                          <a:pt x="37" y="11"/>
                          <a:pt x="39" y="19"/>
                          <a:pt x="47" y="21"/>
                        </a:cubicBezTo>
                        <a:cubicBezTo>
                          <a:pt x="55" y="22"/>
                          <a:pt x="61" y="20"/>
                          <a:pt x="62" y="12"/>
                        </a:cubicBezTo>
                        <a:cubicBezTo>
                          <a:pt x="62" y="12"/>
                          <a:pt x="62" y="8"/>
                          <a:pt x="64" y="7"/>
                        </a:cubicBezTo>
                        <a:cubicBezTo>
                          <a:pt x="66" y="6"/>
                          <a:pt x="66" y="5"/>
                          <a:pt x="66" y="4"/>
                        </a:cubicBezTo>
                        <a:cubicBezTo>
                          <a:pt x="66" y="3"/>
                          <a:pt x="67" y="2"/>
                          <a:pt x="66" y="2"/>
                        </a:cubicBezTo>
                        <a:close/>
                        <a:moveTo>
                          <a:pt x="25" y="16"/>
                        </a:moveTo>
                        <a:cubicBezTo>
                          <a:pt x="23" y="19"/>
                          <a:pt x="19" y="20"/>
                          <a:pt x="13" y="19"/>
                        </a:cubicBezTo>
                        <a:cubicBezTo>
                          <a:pt x="8" y="18"/>
                          <a:pt x="6" y="14"/>
                          <a:pt x="6" y="8"/>
                        </a:cubicBezTo>
                        <a:cubicBezTo>
                          <a:pt x="6" y="1"/>
                          <a:pt x="18" y="3"/>
                          <a:pt x="18" y="3"/>
                        </a:cubicBezTo>
                        <a:cubicBezTo>
                          <a:pt x="22" y="4"/>
                          <a:pt x="22" y="4"/>
                          <a:pt x="26" y="5"/>
                        </a:cubicBezTo>
                        <a:cubicBezTo>
                          <a:pt x="30" y="6"/>
                          <a:pt x="27" y="13"/>
                          <a:pt x="25" y="16"/>
                        </a:cubicBezTo>
                        <a:close/>
                        <a:moveTo>
                          <a:pt x="53" y="19"/>
                        </a:moveTo>
                        <a:cubicBezTo>
                          <a:pt x="48" y="20"/>
                          <a:pt x="44" y="19"/>
                          <a:pt x="41" y="16"/>
                        </a:cubicBezTo>
                        <a:cubicBezTo>
                          <a:pt x="39" y="13"/>
                          <a:pt x="37" y="6"/>
                          <a:pt x="41" y="5"/>
                        </a:cubicBezTo>
                        <a:cubicBezTo>
                          <a:pt x="44" y="4"/>
                          <a:pt x="44" y="4"/>
                          <a:pt x="49" y="3"/>
                        </a:cubicBezTo>
                        <a:cubicBezTo>
                          <a:pt x="49" y="3"/>
                          <a:pt x="61" y="1"/>
                          <a:pt x="61" y="8"/>
                        </a:cubicBezTo>
                        <a:cubicBezTo>
                          <a:pt x="61" y="14"/>
                          <a:pt x="59" y="18"/>
                          <a:pt x="53" y="19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31" name="Oval 630"/>
                  <p:cNvSpPr>
                    <a:spLocks noChangeArrowheads="1"/>
                  </p:cNvSpPr>
                  <p:nvPr/>
                </p:nvSpPr>
                <p:spPr bwMode="auto">
                  <a:xfrm>
                    <a:off x="5874629" y="2852314"/>
                    <a:ext cx="9611" cy="7688"/>
                  </a:xfrm>
                  <a:prstGeom prst="ellipse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32" name="Oval 631"/>
                  <p:cNvSpPr>
                    <a:spLocks noChangeArrowheads="1"/>
                  </p:cNvSpPr>
                  <p:nvPr/>
                </p:nvSpPr>
                <p:spPr bwMode="auto">
                  <a:xfrm>
                    <a:off x="6157173" y="2852314"/>
                    <a:ext cx="9611" cy="7688"/>
                  </a:xfrm>
                  <a:prstGeom prst="ellipse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544" name="Group 543"/>
                <p:cNvGrpSpPr/>
                <p:nvPr/>
              </p:nvGrpSpPr>
              <p:grpSpPr>
                <a:xfrm>
                  <a:off x="7690977" y="2669718"/>
                  <a:ext cx="914901" cy="2731249"/>
                  <a:chOff x="7690977" y="2669718"/>
                  <a:chExt cx="914901" cy="2731249"/>
                </a:xfrm>
              </p:grpSpPr>
              <p:sp>
                <p:nvSpPr>
                  <p:cNvPr id="577" name="Freeform 576"/>
                  <p:cNvSpPr>
                    <a:spLocks/>
                  </p:cNvSpPr>
                  <p:nvPr/>
                </p:nvSpPr>
                <p:spPr bwMode="auto">
                  <a:xfrm>
                    <a:off x="7937001" y="2669718"/>
                    <a:ext cx="442074" cy="509346"/>
                  </a:xfrm>
                  <a:custGeom>
                    <a:avLst/>
                    <a:gdLst>
                      <a:gd name="T0" fmla="*/ 91 w 97"/>
                      <a:gd name="T1" fmla="*/ 88 h 112"/>
                      <a:gd name="T2" fmla="*/ 82 w 97"/>
                      <a:gd name="T3" fmla="*/ 88 h 112"/>
                      <a:gd name="T4" fmla="*/ 85 w 97"/>
                      <a:gd name="T5" fmla="*/ 74 h 112"/>
                      <a:gd name="T6" fmla="*/ 88 w 97"/>
                      <a:gd name="T7" fmla="*/ 69 h 112"/>
                      <a:gd name="T8" fmla="*/ 88 w 97"/>
                      <a:gd name="T9" fmla="*/ 69 h 112"/>
                      <a:gd name="T10" fmla="*/ 88 w 97"/>
                      <a:gd name="T11" fmla="*/ 69 h 112"/>
                      <a:gd name="T12" fmla="*/ 91 w 97"/>
                      <a:gd name="T13" fmla="*/ 53 h 112"/>
                      <a:gd name="T14" fmla="*/ 69 w 97"/>
                      <a:gd name="T15" fmla="*/ 17 h 112"/>
                      <a:gd name="T16" fmla="*/ 40 w 97"/>
                      <a:gd name="T17" fmla="*/ 0 h 112"/>
                      <a:gd name="T18" fmla="*/ 4 w 97"/>
                      <a:gd name="T19" fmla="*/ 46 h 112"/>
                      <a:gd name="T20" fmla="*/ 9 w 97"/>
                      <a:gd name="T21" fmla="*/ 69 h 112"/>
                      <a:gd name="T22" fmla="*/ 9 w 97"/>
                      <a:gd name="T23" fmla="*/ 69 h 112"/>
                      <a:gd name="T24" fmla="*/ 15 w 97"/>
                      <a:gd name="T25" fmla="*/ 88 h 112"/>
                      <a:gd name="T26" fmla="*/ 6 w 97"/>
                      <a:gd name="T27" fmla="*/ 88 h 112"/>
                      <a:gd name="T28" fmla="*/ 0 w 97"/>
                      <a:gd name="T29" fmla="*/ 95 h 112"/>
                      <a:gd name="T30" fmla="*/ 16 w 97"/>
                      <a:gd name="T31" fmla="*/ 110 h 112"/>
                      <a:gd name="T32" fmla="*/ 42 w 97"/>
                      <a:gd name="T33" fmla="*/ 112 h 112"/>
                      <a:gd name="T34" fmla="*/ 44 w 97"/>
                      <a:gd name="T35" fmla="*/ 112 h 112"/>
                      <a:gd name="T36" fmla="*/ 44 w 97"/>
                      <a:gd name="T37" fmla="*/ 112 h 112"/>
                      <a:gd name="T38" fmla="*/ 47 w 97"/>
                      <a:gd name="T39" fmla="*/ 112 h 112"/>
                      <a:gd name="T40" fmla="*/ 48 w 97"/>
                      <a:gd name="T41" fmla="*/ 112 h 112"/>
                      <a:gd name="T42" fmla="*/ 49 w 97"/>
                      <a:gd name="T43" fmla="*/ 112 h 112"/>
                      <a:gd name="T44" fmla="*/ 53 w 97"/>
                      <a:gd name="T45" fmla="*/ 112 h 112"/>
                      <a:gd name="T46" fmla="*/ 53 w 97"/>
                      <a:gd name="T47" fmla="*/ 112 h 112"/>
                      <a:gd name="T48" fmla="*/ 54 w 97"/>
                      <a:gd name="T49" fmla="*/ 112 h 112"/>
                      <a:gd name="T50" fmla="*/ 81 w 97"/>
                      <a:gd name="T51" fmla="*/ 110 h 112"/>
                      <a:gd name="T52" fmla="*/ 96 w 97"/>
                      <a:gd name="T53" fmla="*/ 95 h 112"/>
                      <a:gd name="T54" fmla="*/ 91 w 97"/>
                      <a:gd name="T55" fmla="*/ 88 h 11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</a:cxnLst>
                    <a:rect l="0" t="0" r="r" b="b"/>
                    <a:pathLst>
                      <a:path w="97" h="112">
                        <a:moveTo>
                          <a:pt x="91" y="88"/>
                        </a:moveTo>
                        <a:cubicBezTo>
                          <a:pt x="89" y="95"/>
                          <a:pt x="83" y="93"/>
                          <a:pt x="82" y="88"/>
                        </a:cubicBezTo>
                        <a:cubicBezTo>
                          <a:pt x="81" y="86"/>
                          <a:pt x="83" y="79"/>
                          <a:pt x="85" y="74"/>
                        </a:cubicBezTo>
                        <a:cubicBezTo>
                          <a:pt x="86" y="73"/>
                          <a:pt x="87" y="71"/>
                          <a:pt x="88" y="69"/>
                        </a:cubicBezTo>
                        <a:cubicBezTo>
                          <a:pt x="88" y="69"/>
                          <a:pt x="88" y="69"/>
                          <a:pt x="88" y="69"/>
                        </a:cubicBezTo>
                        <a:cubicBezTo>
                          <a:pt x="88" y="69"/>
                          <a:pt x="88" y="69"/>
                          <a:pt x="88" y="69"/>
                        </a:cubicBezTo>
                        <a:cubicBezTo>
                          <a:pt x="90" y="64"/>
                          <a:pt x="91" y="59"/>
                          <a:pt x="91" y="53"/>
                        </a:cubicBezTo>
                        <a:cubicBezTo>
                          <a:pt x="91" y="36"/>
                          <a:pt x="82" y="22"/>
                          <a:pt x="69" y="17"/>
                        </a:cubicBezTo>
                        <a:cubicBezTo>
                          <a:pt x="62" y="7"/>
                          <a:pt x="52" y="0"/>
                          <a:pt x="40" y="0"/>
                        </a:cubicBezTo>
                        <a:cubicBezTo>
                          <a:pt x="20" y="0"/>
                          <a:pt x="4" y="20"/>
                          <a:pt x="4" y="46"/>
                        </a:cubicBezTo>
                        <a:cubicBezTo>
                          <a:pt x="4" y="54"/>
                          <a:pt x="6" y="62"/>
                          <a:pt x="9" y="69"/>
                        </a:cubicBezTo>
                        <a:cubicBezTo>
                          <a:pt x="9" y="69"/>
                          <a:pt x="9" y="69"/>
                          <a:pt x="9" y="69"/>
                        </a:cubicBezTo>
                        <a:cubicBezTo>
                          <a:pt x="9" y="69"/>
                          <a:pt x="17" y="84"/>
                          <a:pt x="15" y="88"/>
                        </a:cubicBezTo>
                        <a:cubicBezTo>
                          <a:pt x="13" y="93"/>
                          <a:pt x="8" y="95"/>
                          <a:pt x="6" y="88"/>
                        </a:cubicBezTo>
                        <a:cubicBezTo>
                          <a:pt x="3" y="82"/>
                          <a:pt x="0" y="90"/>
                          <a:pt x="0" y="95"/>
                        </a:cubicBezTo>
                        <a:cubicBezTo>
                          <a:pt x="1" y="101"/>
                          <a:pt x="2" y="108"/>
                          <a:pt x="16" y="110"/>
                        </a:cubicBezTo>
                        <a:cubicBezTo>
                          <a:pt x="27" y="112"/>
                          <a:pt x="33" y="112"/>
                          <a:pt x="42" y="112"/>
                        </a:cubicBezTo>
                        <a:cubicBezTo>
                          <a:pt x="43" y="112"/>
                          <a:pt x="44" y="112"/>
                          <a:pt x="44" y="112"/>
                        </a:cubicBezTo>
                        <a:cubicBezTo>
                          <a:pt x="44" y="112"/>
                          <a:pt x="44" y="112"/>
                          <a:pt x="44" y="112"/>
                        </a:cubicBezTo>
                        <a:cubicBezTo>
                          <a:pt x="45" y="112"/>
                          <a:pt x="46" y="112"/>
                          <a:pt x="47" y="112"/>
                        </a:cubicBezTo>
                        <a:cubicBezTo>
                          <a:pt x="48" y="112"/>
                          <a:pt x="48" y="112"/>
                          <a:pt x="48" y="112"/>
                        </a:cubicBezTo>
                        <a:cubicBezTo>
                          <a:pt x="49" y="112"/>
                          <a:pt x="49" y="112"/>
                          <a:pt x="49" y="112"/>
                        </a:cubicBezTo>
                        <a:cubicBezTo>
                          <a:pt x="50" y="112"/>
                          <a:pt x="51" y="112"/>
                          <a:pt x="53" y="112"/>
                        </a:cubicBezTo>
                        <a:cubicBezTo>
                          <a:pt x="53" y="112"/>
                          <a:pt x="53" y="112"/>
                          <a:pt x="53" y="112"/>
                        </a:cubicBezTo>
                        <a:cubicBezTo>
                          <a:pt x="53" y="112"/>
                          <a:pt x="54" y="112"/>
                          <a:pt x="54" y="112"/>
                        </a:cubicBezTo>
                        <a:cubicBezTo>
                          <a:pt x="63" y="112"/>
                          <a:pt x="69" y="112"/>
                          <a:pt x="81" y="110"/>
                        </a:cubicBezTo>
                        <a:cubicBezTo>
                          <a:pt x="94" y="108"/>
                          <a:pt x="96" y="101"/>
                          <a:pt x="96" y="95"/>
                        </a:cubicBezTo>
                        <a:cubicBezTo>
                          <a:pt x="97" y="90"/>
                          <a:pt x="93" y="82"/>
                          <a:pt x="91" y="88"/>
                        </a:cubicBezTo>
                        <a:close/>
                      </a:path>
                    </a:pathLst>
                  </a:cu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78" name="Freeform 577"/>
                  <p:cNvSpPr>
                    <a:spLocks/>
                  </p:cNvSpPr>
                  <p:nvPr/>
                </p:nvSpPr>
                <p:spPr bwMode="auto">
                  <a:xfrm>
                    <a:off x="8332945" y="3219428"/>
                    <a:ext cx="272933" cy="707318"/>
                  </a:xfrm>
                  <a:custGeom>
                    <a:avLst/>
                    <a:gdLst>
                      <a:gd name="T0" fmla="*/ 0 w 60"/>
                      <a:gd name="T1" fmla="*/ 7 h 155"/>
                      <a:gd name="T2" fmla="*/ 24 w 60"/>
                      <a:gd name="T3" fmla="*/ 0 h 155"/>
                      <a:gd name="T4" fmla="*/ 60 w 60"/>
                      <a:gd name="T5" fmla="*/ 155 h 155"/>
                      <a:gd name="T6" fmla="*/ 35 w 60"/>
                      <a:gd name="T7" fmla="*/ 155 h 155"/>
                      <a:gd name="T8" fmla="*/ 0 w 60"/>
                      <a:gd name="T9" fmla="*/ 7 h 15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60" h="155">
                        <a:moveTo>
                          <a:pt x="0" y="7"/>
                        </a:moveTo>
                        <a:cubicBezTo>
                          <a:pt x="8" y="5"/>
                          <a:pt x="16" y="3"/>
                          <a:pt x="24" y="0"/>
                        </a:cubicBezTo>
                        <a:cubicBezTo>
                          <a:pt x="47" y="51"/>
                          <a:pt x="54" y="100"/>
                          <a:pt x="60" y="155"/>
                        </a:cubicBezTo>
                        <a:cubicBezTo>
                          <a:pt x="35" y="155"/>
                          <a:pt x="35" y="155"/>
                          <a:pt x="35" y="155"/>
                        </a:cubicBezTo>
                        <a:cubicBezTo>
                          <a:pt x="29" y="102"/>
                          <a:pt x="23" y="55"/>
                          <a:pt x="0" y="7"/>
                        </a:cubicBezTo>
                        <a:close/>
                      </a:path>
                    </a:pathLst>
                  </a:custGeom>
                  <a:solidFill>
                    <a:srgbClr val="96969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79" name="Freeform 578"/>
                  <p:cNvSpPr>
                    <a:spLocks/>
                  </p:cNvSpPr>
                  <p:nvPr/>
                </p:nvSpPr>
                <p:spPr bwMode="auto">
                  <a:xfrm>
                    <a:off x="7983130" y="4555260"/>
                    <a:ext cx="163376" cy="845707"/>
                  </a:xfrm>
                  <a:custGeom>
                    <a:avLst/>
                    <a:gdLst>
                      <a:gd name="T0" fmla="*/ 73 w 85"/>
                      <a:gd name="T1" fmla="*/ 440 h 440"/>
                      <a:gd name="T2" fmla="*/ 12 w 85"/>
                      <a:gd name="T3" fmla="*/ 440 h 440"/>
                      <a:gd name="T4" fmla="*/ 0 w 85"/>
                      <a:gd name="T5" fmla="*/ 0 h 440"/>
                      <a:gd name="T6" fmla="*/ 85 w 85"/>
                      <a:gd name="T7" fmla="*/ 0 h 440"/>
                      <a:gd name="T8" fmla="*/ 73 w 85"/>
                      <a:gd name="T9" fmla="*/ 440 h 44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85" h="440">
                        <a:moveTo>
                          <a:pt x="73" y="440"/>
                        </a:moveTo>
                        <a:lnTo>
                          <a:pt x="12" y="440"/>
                        </a:lnTo>
                        <a:lnTo>
                          <a:pt x="0" y="0"/>
                        </a:lnTo>
                        <a:lnTo>
                          <a:pt x="85" y="0"/>
                        </a:lnTo>
                        <a:lnTo>
                          <a:pt x="73" y="440"/>
                        </a:lnTo>
                        <a:close/>
                      </a:path>
                    </a:pathLst>
                  </a:custGeom>
                  <a:solidFill>
                    <a:srgbClr val="FFB9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80" name="Freeform 579"/>
                  <p:cNvSpPr>
                    <a:spLocks/>
                  </p:cNvSpPr>
                  <p:nvPr/>
                </p:nvSpPr>
                <p:spPr bwMode="auto">
                  <a:xfrm>
                    <a:off x="7992740" y="5327928"/>
                    <a:ext cx="149921" cy="73038"/>
                  </a:xfrm>
                  <a:custGeom>
                    <a:avLst/>
                    <a:gdLst>
                      <a:gd name="T0" fmla="*/ 16 w 33"/>
                      <a:gd name="T1" fmla="*/ 0 h 16"/>
                      <a:gd name="T2" fmla="*/ 0 w 33"/>
                      <a:gd name="T3" fmla="*/ 16 h 16"/>
                      <a:gd name="T4" fmla="*/ 33 w 33"/>
                      <a:gd name="T5" fmla="*/ 16 h 16"/>
                      <a:gd name="T6" fmla="*/ 16 w 33"/>
                      <a:gd name="T7" fmla="*/ 0 h 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33" h="16">
                        <a:moveTo>
                          <a:pt x="16" y="0"/>
                        </a:moveTo>
                        <a:cubicBezTo>
                          <a:pt x="7" y="0"/>
                          <a:pt x="0" y="7"/>
                          <a:pt x="0" y="16"/>
                        </a:cubicBezTo>
                        <a:cubicBezTo>
                          <a:pt x="33" y="16"/>
                          <a:pt x="33" y="16"/>
                          <a:pt x="33" y="16"/>
                        </a:cubicBezTo>
                        <a:cubicBezTo>
                          <a:pt x="33" y="7"/>
                          <a:pt x="25" y="0"/>
                          <a:pt x="16" y="0"/>
                        </a:cubicBezTo>
                        <a:close/>
                      </a:path>
                    </a:pathLst>
                  </a:custGeom>
                  <a:solidFill>
                    <a:srgbClr val="68217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81" name="Freeform 580"/>
                  <p:cNvSpPr>
                    <a:spLocks/>
                  </p:cNvSpPr>
                  <p:nvPr/>
                </p:nvSpPr>
                <p:spPr bwMode="auto">
                  <a:xfrm>
                    <a:off x="8173414" y="4555260"/>
                    <a:ext cx="159532" cy="845707"/>
                  </a:xfrm>
                  <a:custGeom>
                    <a:avLst/>
                    <a:gdLst>
                      <a:gd name="T0" fmla="*/ 10 w 83"/>
                      <a:gd name="T1" fmla="*/ 440 h 440"/>
                      <a:gd name="T2" fmla="*/ 71 w 83"/>
                      <a:gd name="T3" fmla="*/ 440 h 440"/>
                      <a:gd name="T4" fmla="*/ 83 w 83"/>
                      <a:gd name="T5" fmla="*/ 0 h 440"/>
                      <a:gd name="T6" fmla="*/ 0 w 83"/>
                      <a:gd name="T7" fmla="*/ 0 h 440"/>
                      <a:gd name="T8" fmla="*/ 10 w 83"/>
                      <a:gd name="T9" fmla="*/ 440 h 44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83" h="440">
                        <a:moveTo>
                          <a:pt x="10" y="440"/>
                        </a:moveTo>
                        <a:lnTo>
                          <a:pt x="71" y="440"/>
                        </a:lnTo>
                        <a:lnTo>
                          <a:pt x="83" y="0"/>
                        </a:lnTo>
                        <a:lnTo>
                          <a:pt x="0" y="0"/>
                        </a:lnTo>
                        <a:lnTo>
                          <a:pt x="10" y="440"/>
                        </a:lnTo>
                        <a:close/>
                      </a:path>
                    </a:pathLst>
                  </a:custGeom>
                  <a:solidFill>
                    <a:srgbClr val="FFB9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82" name="Freeform 581"/>
                  <p:cNvSpPr>
                    <a:spLocks/>
                  </p:cNvSpPr>
                  <p:nvPr/>
                </p:nvSpPr>
                <p:spPr bwMode="auto">
                  <a:xfrm>
                    <a:off x="8179180" y="5327928"/>
                    <a:ext cx="149921" cy="73038"/>
                  </a:xfrm>
                  <a:custGeom>
                    <a:avLst/>
                    <a:gdLst>
                      <a:gd name="T0" fmla="*/ 16 w 33"/>
                      <a:gd name="T1" fmla="*/ 0 h 16"/>
                      <a:gd name="T2" fmla="*/ 33 w 33"/>
                      <a:gd name="T3" fmla="*/ 16 h 16"/>
                      <a:gd name="T4" fmla="*/ 0 w 33"/>
                      <a:gd name="T5" fmla="*/ 16 h 16"/>
                      <a:gd name="T6" fmla="*/ 16 w 33"/>
                      <a:gd name="T7" fmla="*/ 0 h 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33" h="16">
                        <a:moveTo>
                          <a:pt x="16" y="0"/>
                        </a:moveTo>
                        <a:cubicBezTo>
                          <a:pt x="25" y="0"/>
                          <a:pt x="33" y="7"/>
                          <a:pt x="33" y="16"/>
                        </a:cubicBezTo>
                        <a:cubicBezTo>
                          <a:pt x="0" y="16"/>
                          <a:pt x="0" y="16"/>
                          <a:pt x="0" y="16"/>
                        </a:cubicBezTo>
                        <a:cubicBezTo>
                          <a:pt x="0" y="7"/>
                          <a:pt x="7" y="0"/>
                          <a:pt x="16" y="0"/>
                        </a:cubicBezTo>
                        <a:close/>
                      </a:path>
                    </a:pathLst>
                  </a:custGeom>
                  <a:solidFill>
                    <a:srgbClr val="68217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83" name="Freeform 582"/>
                  <p:cNvSpPr>
                    <a:spLocks/>
                  </p:cNvSpPr>
                  <p:nvPr/>
                </p:nvSpPr>
                <p:spPr bwMode="auto">
                  <a:xfrm>
                    <a:off x="8505931" y="3926746"/>
                    <a:ext cx="82649" cy="90336"/>
                  </a:xfrm>
                  <a:custGeom>
                    <a:avLst/>
                    <a:gdLst>
                      <a:gd name="T0" fmla="*/ 0 w 18"/>
                      <a:gd name="T1" fmla="*/ 0 h 20"/>
                      <a:gd name="T2" fmla="*/ 0 w 18"/>
                      <a:gd name="T3" fmla="*/ 11 h 20"/>
                      <a:gd name="T4" fmla="*/ 9 w 18"/>
                      <a:gd name="T5" fmla="*/ 20 h 20"/>
                      <a:gd name="T6" fmla="*/ 18 w 18"/>
                      <a:gd name="T7" fmla="*/ 11 h 20"/>
                      <a:gd name="T8" fmla="*/ 18 w 18"/>
                      <a:gd name="T9" fmla="*/ 0 h 20"/>
                      <a:gd name="T10" fmla="*/ 0 w 18"/>
                      <a:gd name="T11" fmla="*/ 0 h 2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8" h="20">
                        <a:moveTo>
                          <a:pt x="0" y="0"/>
                        </a:moveTo>
                        <a:cubicBezTo>
                          <a:pt x="0" y="11"/>
                          <a:pt x="0" y="11"/>
                          <a:pt x="0" y="11"/>
                        </a:cubicBezTo>
                        <a:cubicBezTo>
                          <a:pt x="0" y="16"/>
                          <a:pt x="4" y="20"/>
                          <a:pt x="9" y="20"/>
                        </a:cubicBezTo>
                        <a:cubicBezTo>
                          <a:pt x="14" y="20"/>
                          <a:pt x="18" y="16"/>
                          <a:pt x="18" y="11"/>
                        </a:cubicBezTo>
                        <a:cubicBezTo>
                          <a:pt x="18" y="0"/>
                          <a:pt x="18" y="0"/>
                          <a:pt x="18" y="0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FB9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84" name="Freeform 583"/>
                  <p:cNvSpPr>
                    <a:spLocks/>
                  </p:cNvSpPr>
                  <p:nvPr/>
                </p:nvSpPr>
                <p:spPr bwMode="auto">
                  <a:xfrm>
                    <a:off x="7690977" y="3219428"/>
                    <a:ext cx="278699" cy="707318"/>
                  </a:xfrm>
                  <a:custGeom>
                    <a:avLst/>
                    <a:gdLst>
                      <a:gd name="T0" fmla="*/ 61 w 61"/>
                      <a:gd name="T1" fmla="*/ 7 h 155"/>
                      <a:gd name="T2" fmla="*/ 36 w 61"/>
                      <a:gd name="T3" fmla="*/ 0 h 155"/>
                      <a:gd name="T4" fmla="*/ 0 w 61"/>
                      <a:gd name="T5" fmla="*/ 155 h 155"/>
                      <a:gd name="T6" fmla="*/ 25 w 61"/>
                      <a:gd name="T7" fmla="*/ 155 h 155"/>
                      <a:gd name="T8" fmla="*/ 61 w 61"/>
                      <a:gd name="T9" fmla="*/ 7 h 15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61" h="155">
                        <a:moveTo>
                          <a:pt x="61" y="7"/>
                        </a:moveTo>
                        <a:cubicBezTo>
                          <a:pt x="53" y="5"/>
                          <a:pt x="44" y="3"/>
                          <a:pt x="36" y="0"/>
                        </a:cubicBezTo>
                        <a:cubicBezTo>
                          <a:pt x="12" y="51"/>
                          <a:pt x="5" y="100"/>
                          <a:pt x="0" y="155"/>
                        </a:cubicBezTo>
                        <a:cubicBezTo>
                          <a:pt x="25" y="155"/>
                          <a:pt x="25" y="155"/>
                          <a:pt x="25" y="155"/>
                        </a:cubicBezTo>
                        <a:cubicBezTo>
                          <a:pt x="31" y="102"/>
                          <a:pt x="38" y="55"/>
                          <a:pt x="61" y="7"/>
                        </a:cubicBezTo>
                        <a:close/>
                      </a:path>
                    </a:pathLst>
                  </a:custGeom>
                  <a:solidFill>
                    <a:srgbClr val="96969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85" name="Freeform 584"/>
                  <p:cNvSpPr>
                    <a:spLocks/>
                  </p:cNvSpPr>
                  <p:nvPr/>
                </p:nvSpPr>
                <p:spPr bwMode="auto">
                  <a:xfrm>
                    <a:off x="7704431" y="3926746"/>
                    <a:ext cx="86493" cy="90336"/>
                  </a:xfrm>
                  <a:custGeom>
                    <a:avLst/>
                    <a:gdLst>
                      <a:gd name="T0" fmla="*/ 19 w 19"/>
                      <a:gd name="T1" fmla="*/ 0 h 20"/>
                      <a:gd name="T2" fmla="*/ 19 w 19"/>
                      <a:gd name="T3" fmla="*/ 11 h 20"/>
                      <a:gd name="T4" fmla="*/ 10 w 19"/>
                      <a:gd name="T5" fmla="*/ 20 h 20"/>
                      <a:gd name="T6" fmla="*/ 0 w 19"/>
                      <a:gd name="T7" fmla="*/ 11 h 20"/>
                      <a:gd name="T8" fmla="*/ 0 w 19"/>
                      <a:gd name="T9" fmla="*/ 0 h 20"/>
                      <a:gd name="T10" fmla="*/ 19 w 19"/>
                      <a:gd name="T11" fmla="*/ 0 h 2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9" h="20">
                        <a:moveTo>
                          <a:pt x="19" y="0"/>
                        </a:moveTo>
                        <a:cubicBezTo>
                          <a:pt x="19" y="11"/>
                          <a:pt x="19" y="11"/>
                          <a:pt x="19" y="11"/>
                        </a:cubicBezTo>
                        <a:cubicBezTo>
                          <a:pt x="19" y="16"/>
                          <a:pt x="15" y="20"/>
                          <a:pt x="10" y="20"/>
                        </a:cubicBezTo>
                        <a:cubicBezTo>
                          <a:pt x="4" y="20"/>
                          <a:pt x="0" y="16"/>
                          <a:pt x="0" y="11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lnTo>
                          <a:pt x="19" y="0"/>
                        </a:lnTo>
                        <a:close/>
                      </a:path>
                    </a:pathLst>
                  </a:custGeom>
                  <a:solidFill>
                    <a:srgbClr val="FFB9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86" name="Freeform 585"/>
                  <p:cNvSpPr>
                    <a:spLocks/>
                  </p:cNvSpPr>
                  <p:nvPr/>
                </p:nvSpPr>
                <p:spPr bwMode="auto">
                  <a:xfrm>
                    <a:off x="7860118" y="3202129"/>
                    <a:ext cx="582385" cy="901446"/>
                  </a:xfrm>
                  <a:custGeom>
                    <a:avLst/>
                    <a:gdLst>
                      <a:gd name="T0" fmla="*/ 194 w 303"/>
                      <a:gd name="T1" fmla="*/ 0 h 469"/>
                      <a:gd name="T2" fmla="*/ 151 w 303"/>
                      <a:gd name="T3" fmla="*/ 341 h 469"/>
                      <a:gd name="T4" fmla="*/ 109 w 303"/>
                      <a:gd name="T5" fmla="*/ 0 h 469"/>
                      <a:gd name="T6" fmla="*/ 0 w 303"/>
                      <a:gd name="T7" fmla="*/ 9 h 469"/>
                      <a:gd name="T8" fmla="*/ 21 w 303"/>
                      <a:gd name="T9" fmla="*/ 469 h 469"/>
                      <a:gd name="T10" fmla="*/ 279 w 303"/>
                      <a:gd name="T11" fmla="*/ 469 h 469"/>
                      <a:gd name="T12" fmla="*/ 303 w 303"/>
                      <a:gd name="T13" fmla="*/ 9 h 469"/>
                      <a:gd name="T14" fmla="*/ 194 w 303"/>
                      <a:gd name="T15" fmla="*/ 0 h 46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303" h="469">
                        <a:moveTo>
                          <a:pt x="194" y="0"/>
                        </a:moveTo>
                        <a:lnTo>
                          <a:pt x="151" y="341"/>
                        </a:lnTo>
                        <a:lnTo>
                          <a:pt x="109" y="0"/>
                        </a:lnTo>
                        <a:lnTo>
                          <a:pt x="0" y="9"/>
                        </a:lnTo>
                        <a:lnTo>
                          <a:pt x="21" y="469"/>
                        </a:lnTo>
                        <a:lnTo>
                          <a:pt x="279" y="469"/>
                        </a:lnTo>
                        <a:lnTo>
                          <a:pt x="303" y="9"/>
                        </a:lnTo>
                        <a:lnTo>
                          <a:pt x="194" y="0"/>
                        </a:lnTo>
                        <a:close/>
                      </a:path>
                    </a:pathLst>
                  </a:custGeom>
                  <a:solidFill>
                    <a:srgbClr val="ADD40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87" name="Freeform 586"/>
                  <p:cNvSpPr>
                    <a:spLocks/>
                  </p:cNvSpPr>
                  <p:nvPr/>
                </p:nvSpPr>
                <p:spPr bwMode="auto">
                  <a:xfrm>
                    <a:off x="8282972" y="2879223"/>
                    <a:ext cx="5767" cy="0"/>
                  </a:xfrm>
                  <a:custGeom>
                    <a:avLst/>
                    <a:gdLst>
                      <a:gd name="T0" fmla="*/ 1 w 1"/>
                      <a:gd name="T1" fmla="*/ 0 w 1"/>
                      <a:gd name="T2" fmla="*/ 1 w 1"/>
                    </a:gdLst>
                    <a:ahLst/>
                    <a:cxnLst>
                      <a:cxn ang="0">
                        <a:pos x="T0" y="0"/>
                      </a:cxn>
                      <a:cxn ang="0">
                        <a:pos x="T1" y="0"/>
                      </a:cxn>
                      <a:cxn ang="0">
                        <a:pos x="T2" y="0"/>
                      </a:cxn>
                    </a:cxnLst>
                    <a:rect l="0" t="0" r="r" b="b"/>
                    <a:pathLst>
                      <a:path w="1">
                        <a:moveTo>
                          <a:pt x="1" y="0"/>
                        </a:moveTo>
                        <a:cubicBezTo>
                          <a:pt x="1" y="0"/>
                          <a:pt x="0" y="0"/>
                          <a:pt x="0" y="0"/>
                        </a:cubicBezTo>
                        <a:cubicBezTo>
                          <a:pt x="0" y="0"/>
                          <a:pt x="1" y="0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88" name="Freeform 587"/>
                  <p:cNvSpPr>
                    <a:spLocks/>
                  </p:cNvSpPr>
                  <p:nvPr/>
                </p:nvSpPr>
                <p:spPr bwMode="auto">
                  <a:xfrm>
                    <a:off x="8282972" y="2873457"/>
                    <a:ext cx="0" cy="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89" name="Freeform 588"/>
                  <p:cNvSpPr>
                    <a:spLocks/>
                  </p:cNvSpPr>
                  <p:nvPr/>
                </p:nvSpPr>
                <p:spPr bwMode="auto">
                  <a:xfrm>
                    <a:off x="8279128" y="2860002"/>
                    <a:ext cx="0" cy="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90" name="Freeform 589"/>
                  <p:cNvSpPr>
                    <a:spLocks/>
                  </p:cNvSpPr>
                  <p:nvPr/>
                </p:nvSpPr>
                <p:spPr bwMode="auto">
                  <a:xfrm>
                    <a:off x="8279128" y="2865769"/>
                    <a:ext cx="0" cy="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91" name="Freeform 590"/>
                  <p:cNvSpPr>
                    <a:spLocks/>
                  </p:cNvSpPr>
                  <p:nvPr/>
                </p:nvSpPr>
                <p:spPr bwMode="auto">
                  <a:xfrm>
                    <a:off x="8013883" y="2860002"/>
                    <a:ext cx="0" cy="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92" name="Freeform 591"/>
                  <p:cNvSpPr>
                    <a:spLocks/>
                  </p:cNvSpPr>
                  <p:nvPr/>
                </p:nvSpPr>
                <p:spPr bwMode="auto">
                  <a:xfrm>
                    <a:off x="8288737" y="2883067"/>
                    <a:ext cx="0" cy="5766"/>
                  </a:xfrm>
                  <a:custGeom>
                    <a:avLst/>
                    <a:gdLst>
                      <a:gd name="T0" fmla="*/ 1 h 1"/>
                      <a:gd name="T1" fmla="*/ 0 h 1"/>
                      <a:gd name="T2" fmla="*/ 1 h 1"/>
                    </a:gdLst>
                    <a:ahLst/>
                    <a:cxnLst>
                      <a:cxn ang="0">
                        <a:pos x="0" y="T0"/>
                      </a:cxn>
                      <a:cxn ang="0">
                        <a:pos x="0" y="T1"/>
                      </a:cxn>
                      <a:cxn ang="0">
                        <a:pos x="0" y="T2"/>
                      </a:cxn>
                    </a:cxnLst>
                    <a:rect l="0" t="0" r="r" b="b"/>
                    <a:pathLst>
                      <a:path h="1">
                        <a:moveTo>
                          <a:pt x="0" y="1"/>
                        </a:moveTo>
                        <a:cubicBezTo>
                          <a:pt x="0" y="1"/>
                          <a:pt x="0" y="0"/>
                          <a:pt x="0" y="0"/>
                        </a:cubicBezTo>
                        <a:cubicBezTo>
                          <a:pt x="0" y="0"/>
                          <a:pt x="0" y="1"/>
                          <a:pt x="0" y="1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93" name="Freeform 592"/>
                  <p:cNvSpPr>
                    <a:spLocks/>
                  </p:cNvSpPr>
                  <p:nvPr/>
                </p:nvSpPr>
                <p:spPr bwMode="auto">
                  <a:xfrm>
                    <a:off x="8288737" y="2888833"/>
                    <a:ext cx="0" cy="7688"/>
                  </a:xfrm>
                  <a:custGeom>
                    <a:avLst/>
                    <a:gdLst>
                      <a:gd name="T0" fmla="*/ 2 h 2"/>
                      <a:gd name="T1" fmla="*/ 0 h 2"/>
                      <a:gd name="T2" fmla="*/ 2 h 2"/>
                    </a:gdLst>
                    <a:ahLst/>
                    <a:cxnLst>
                      <a:cxn ang="0">
                        <a:pos x="0" y="T0"/>
                      </a:cxn>
                      <a:cxn ang="0">
                        <a:pos x="0" y="T1"/>
                      </a:cxn>
                      <a:cxn ang="0">
                        <a:pos x="0" y="T2"/>
                      </a:cxn>
                    </a:cxnLst>
                    <a:rect l="0" t="0" r="r" b="b"/>
                    <a:pathLst>
                      <a:path h="2">
                        <a:moveTo>
                          <a:pt x="0" y="2"/>
                        </a:moveTo>
                        <a:cubicBezTo>
                          <a:pt x="0" y="1"/>
                          <a:pt x="0" y="1"/>
                          <a:pt x="0" y="0"/>
                        </a:cubicBezTo>
                        <a:cubicBezTo>
                          <a:pt x="0" y="1"/>
                          <a:pt x="0" y="1"/>
                          <a:pt x="0" y="2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94" name="Freeform 593"/>
                  <p:cNvSpPr>
                    <a:spLocks/>
                  </p:cNvSpPr>
                  <p:nvPr/>
                </p:nvSpPr>
                <p:spPr bwMode="auto">
                  <a:xfrm>
                    <a:off x="8273361" y="2856158"/>
                    <a:ext cx="0" cy="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95" name="Freeform 594"/>
                  <p:cNvSpPr>
                    <a:spLocks/>
                  </p:cNvSpPr>
                  <p:nvPr/>
                </p:nvSpPr>
                <p:spPr bwMode="auto">
                  <a:xfrm>
                    <a:off x="8010039" y="2888833"/>
                    <a:ext cx="0" cy="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96" name="Freeform 595"/>
                  <p:cNvSpPr>
                    <a:spLocks/>
                  </p:cNvSpPr>
                  <p:nvPr/>
                </p:nvSpPr>
                <p:spPr bwMode="auto">
                  <a:xfrm>
                    <a:off x="8010039" y="2873457"/>
                    <a:ext cx="0" cy="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97" name="Freeform 596"/>
                  <p:cNvSpPr>
                    <a:spLocks/>
                  </p:cNvSpPr>
                  <p:nvPr/>
                </p:nvSpPr>
                <p:spPr bwMode="auto">
                  <a:xfrm>
                    <a:off x="8013883" y="2869613"/>
                    <a:ext cx="0" cy="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98" name="Freeform 597"/>
                  <p:cNvSpPr>
                    <a:spLocks/>
                  </p:cNvSpPr>
                  <p:nvPr/>
                </p:nvSpPr>
                <p:spPr bwMode="auto">
                  <a:xfrm>
                    <a:off x="8010039" y="2879223"/>
                    <a:ext cx="0" cy="3844"/>
                  </a:xfrm>
                  <a:custGeom>
                    <a:avLst/>
                    <a:gdLst>
                      <a:gd name="T0" fmla="*/ 0 h 1"/>
                      <a:gd name="T1" fmla="*/ 1 h 1"/>
                      <a:gd name="T2" fmla="*/ 0 h 1"/>
                    </a:gdLst>
                    <a:ahLst/>
                    <a:cxnLst>
                      <a:cxn ang="0">
                        <a:pos x="0" y="T0"/>
                      </a:cxn>
                      <a:cxn ang="0">
                        <a:pos x="0" y="T1"/>
                      </a:cxn>
                      <a:cxn ang="0">
                        <a:pos x="0" y="T2"/>
                      </a:cxn>
                    </a:cxnLst>
                    <a:rect l="0" t="0" r="r" b="b"/>
                    <a:pathLst>
                      <a:path h="1">
                        <a:moveTo>
                          <a:pt x="0" y="0"/>
                        </a:moveTo>
                        <a:cubicBezTo>
                          <a:pt x="0" y="0"/>
                          <a:pt x="0" y="1"/>
                          <a:pt x="0" y="1"/>
                        </a:cubicBezTo>
                        <a:cubicBezTo>
                          <a:pt x="0" y="1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99" name="Freeform 598"/>
                  <p:cNvSpPr>
                    <a:spLocks/>
                  </p:cNvSpPr>
                  <p:nvPr/>
                </p:nvSpPr>
                <p:spPr bwMode="auto">
                  <a:xfrm>
                    <a:off x="7983130" y="2846548"/>
                    <a:ext cx="326750" cy="395945"/>
                  </a:xfrm>
                  <a:custGeom>
                    <a:avLst/>
                    <a:gdLst>
                      <a:gd name="T0" fmla="*/ 69 w 72"/>
                      <a:gd name="T1" fmla="*/ 15 h 87"/>
                      <a:gd name="T2" fmla="*/ 67 w 72"/>
                      <a:gd name="T3" fmla="*/ 15 h 87"/>
                      <a:gd name="T4" fmla="*/ 67 w 72"/>
                      <a:gd name="T5" fmla="*/ 11 h 87"/>
                      <a:gd name="T6" fmla="*/ 67 w 72"/>
                      <a:gd name="T7" fmla="*/ 9 h 87"/>
                      <a:gd name="T8" fmla="*/ 67 w 72"/>
                      <a:gd name="T9" fmla="*/ 9 h 87"/>
                      <a:gd name="T10" fmla="*/ 67 w 72"/>
                      <a:gd name="T11" fmla="*/ 8 h 87"/>
                      <a:gd name="T12" fmla="*/ 67 w 72"/>
                      <a:gd name="T13" fmla="*/ 7 h 87"/>
                      <a:gd name="T14" fmla="*/ 66 w 72"/>
                      <a:gd name="T15" fmla="*/ 7 h 87"/>
                      <a:gd name="T16" fmla="*/ 66 w 72"/>
                      <a:gd name="T17" fmla="*/ 6 h 87"/>
                      <a:gd name="T18" fmla="*/ 66 w 72"/>
                      <a:gd name="T19" fmla="*/ 6 h 87"/>
                      <a:gd name="T20" fmla="*/ 65 w 72"/>
                      <a:gd name="T21" fmla="*/ 4 h 87"/>
                      <a:gd name="T22" fmla="*/ 65 w 72"/>
                      <a:gd name="T23" fmla="*/ 4 h 87"/>
                      <a:gd name="T24" fmla="*/ 65 w 72"/>
                      <a:gd name="T25" fmla="*/ 3 h 87"/>
                      <a:gd name="T26" fmla="*/ 65 w 72"/>
                      <a:gd name="T27" fmla="*/ 3 h 87"/>
                      <a:gd name="T28" fmla="*/ 64 w 72"/>
                      <a:gd name="T29" fmla="*/ 2 h 87"/>
                      <a:gd name="T30" fmla="*/ 64 w 72"/>
                      <a:gd name="T31" fmla="*/ 2 h 87"/>
                      <a:gd name="T32" fmla="*/ 59 w 72"/>
                      <a:gd name="T33" fmla="*/ 3 h 87"/>
                      <a:gd name="T34" fmla="*/ 48 w 72"/>
                      <a:gd name="T35" fmla="*/ 0 h 87"/>
                      <a:gd name="T36" fmla="*/ 30 w 72"/>
                      <a:gd name="T37" fmla="*/ 3 h 87"/>
                      <a:gd name="T38" fmla="*/ 10 w 72"/>
                      <a:gd name="T39" fmla="*/ 0 h 87"/>
                      <a:gd name="T40" fmla="*/ 7 w 72"/>
                      <a:gd name="T41" fmla="*/ 3 h 87"/>
                      <a:gd name="T42" fmla="*/ 7 w 72"/>
                      <a:gd name="T43" fmla="*/ 3 h 87"/>
                      <a:gd name="T44" fmla="*/ 7 w 72"/>
                      <a:gd name="T45" fmla="*/ 5 h 87"/>
                      <a:gd name="T46" fmla="*/ 7 w 72"/>
                      <a:gd name="T47" fmla="*/ 5 h 87"/>
                      <a:gd name="T48" fmla="*/ 6 w 72"/>
                      <a:gd name="T49" fmla="*/ 6 h 87"/>
                      <a:gd name="T50" fmla="*/ 6 w 72"/>
                      <a:gd name="T51" fmla="*/ 6 h 87"/>
                      <a:gd name="T52" fmla="*/ 6 w 72"/>
                      <a:gd name="T53" fmla="*/ 7 h 87"/>
                      <a:gd name="T54" fmla="*/ 6 w 72"/>
                      <a:gd name="T55" fmla="*/ 8 h 87"/>
                      <a:gd name="T56" fmla="*/ 6 w 72"/>
                      <a:gd name="T57" fmla="*/ 9 h 87"/>
                      <a:gd name="T58" fmla="*/ 6 w 72"/>
                      <a:gd name="T59" fmla="*/ 9 h 87"/>
                      <a:gd name="T60" fmla="*/ 6 w 72"/>
                      <a:gd name="T61" fmla="*/ 11 h 87"/>
                      <a:gd name="T62" fmla="*/ 6 w 72"/>
                      <a:gd name="T63" fmla="*/ 15 h 87"/>
                      <a:gd name="T64" fmla="*/ 5 w 72"/>
                      <a:gd name="T65" fmla="*/ 15 h 87"/>
                      <a:gd name="T66" fmla="*/ 0 w 72"/>
                      <a:gd name="T67" fmla="*/ 20 h 87"/>
                      <a:gd name="T68" fmla="*/ 0 w 72"/>
                      <a:gd name="T69" fmla="*/ 32 h 87"/>
                      <a:gd name="T70" fmla="*/ 6 w 72"/>
                      <a:gd name="T71" fmla="*/ 37 h 87"/>
                      <a:gd name="T72" fmla="*/ 10 w 72"/>
                      <a:gd name="T73" fmla="*/ 49 h 87"/>
                      <a:gd name="T74" fmla="*/ 22 w 72"/>
                      <a:gd name="T75" fmla="*/ 64 h 87"/>
                      <a:gd name="T76" fmla="*/ 24 w 72"/>
                      <a:gd name="T77" fmla="*/ 78 h 87"/>
                      <a:gd name="T78" fmla="*/ 37 w 72"/>
                      <a:gd name="T79" fmla="*/ 87 h 87"/>
                      <a:gd name="T80" fmla="*/ 50 w 72"/>
                      <a:gd name="T81" fmla="*/ 78 h 87"/>
                      <a:gd name="T82" fmla="*/ 52 w 72"/>
                      <a:gd name="T83" fmla="*/ 63 h 87"/>
                      <a:gd name="T84" fmla="*/ 62 w 72"/>
                      <a:gd name="T85" fmla="*/ 49 h 87"/>
                      <a:gd name="T86" fmla="*/ 67 w 72"/>
                      <a:gd name="T87" fmla="*/ 37 h 87"/>
                      <a:gd name="T88" fmla="*/ 72 w 72"/>
                      <a:gd name="T89" fmla="*/ 32 h 87"/>
                      <a:gd name="T90" fmla="*/ 72 w 72"/>
                      <a:gd name="T91" fmla="*/ 20 h 87"/>
                      <a:gd name="T92" fmla="*/ 69 w 72"/>
                      <a:gd name="T93" fmla="*/ 15 h 8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</a:cxnLst>
                    <a:rect l="0" t="0" r="r" b="b"/>
                    <a:pathLst>
                      <a:path w="72" h="87">
                        <a:moveTo>
                          <a:pt x="69" y="15"/>
                        </a:moveTo>
                        <a:cubicBezTo>
                          <a:pt x="68" y="15"/>
                          <a:pt x="68" y="15"/>
                          <a:pt x="67" y="15"/>
                        </a:cubicBezTo>
                        <a:cubicBezTo>
                          <a:pt x="67" y="11"/>
                          <a:pt x="67" y="11"/>
                          <a:pt x="67" y="11"/>
                        </a:cubicBezTo>
                        <a:cubicBezTo>
                          <a:pt x="67" y="10"/>
                          <a:pt x="67" y="10"/>
                          <a:pt x="67" y="9"/>
                        </a:cubicBezTo>
                        <a:cubicBezTo>
                          <a:pt x="67" y="9"/>
                          <a:pt x="67" y="9"/>
                          <a:pt x="67" y="9"/>
                        </a:cubicBezTo>
                        <a:cubicBezTo>
                          <a:pt x="67" y="9"/>
                          <a:pt x="67" y="8"/>
                          <a:pt x="67" y="8"/>
                        </a:cubicBezTo>
                        <a:cubicBezTo>
                          <a:pt x="67" y="8"/>
                          <a:pt x="67" y="8"/>
                          <a:pt x="67" y="7"/>
                        </a:cubicBezTo>
                        <a:cubicBezTo>
                          <a:pt x="67" y="7"/>
                          <a:pt x="66" y="7"/>
                          <a:pt x="66" y="7"/>
                        </a:cubicBezTo>
                        <a:cubicBezTo>
                          <a:pt x="66" y="7"/>
                          <a:pt x="66" y="6"/>
                          <a:pt x="66" y="6"/>
                        </a:cubicBezTo>
                        <a:cubicBezTo>
                          <a:pt x="66" y="6"/>
                          <a:pt x="66" y="6"/>
                          <a:pt x="66" y="6"/>
                        </a:cubicBezTo>
                        <a:cubicBezTo>
                          <a:pt x="66" y="5"/>
                          <a:pt x="66" y="5"/>
                          <a:pt x="65" y="4"/>
                        </a:cubicBezTo>
                        <a:cubicBezTo>
                          <a:pt x="65" y="4"/>
                          <a:pt x="65" y="4"/>
                          <a:pt x="65" y="4"/>
                        </a:cubicBezTo>
                        <a:cubicBezTo>
                          <a:pt x="65" y="4"/>
                          <a:pt x="65" y="3"/>
                          <a:pt x="65" y="3"/>
                        </a:cubicBezTo>
                        <a:cubicBezTo>
                          <a:pt x="65" y="3"/>
                          <a:pt x="65" y="3"/>
                          <a:pt x="65" y="3"/>
                        </a:cubicBezTo>
                        <a:cubicBezTo>
                          <a:pt x="65" y="3"/>
                          <a:pt x="64" y="2"/>
                          <a:pt x="64" y="2"/>
                        </a:cubicBezTo>
                        <a:cubicBezTo>
                          <a:pt x="64" y="2"/>
                          <a:pt x="64" y="2"/>
                          <a:pt x="64" y="2"/>
                        </a:cubicBezTo>
                        <a:cubicBezTo>
                          <a:pt x="62" y="2"/>
                          <a:pt x="61" y="3"/>
                          <a:pt x="59" y="3"/>
                        </a:cubicBezTo>
                        <a:cubicBezTo>
                          <a:pt x="54" y="3"/>
                          <a:pt x="51" y="2"/>
                          <a:pt x="48" y="0"/>
                        </a:cubicBezTo>
                        <a:cubicBezTo>
                          <a:pt x="44" y="2"/>
                          <a:pt x="37" y="3"/>
                          <a:pt x="30" y="3"/>
                        </a:cubicBezTo>
                        <a:cubicBezTo>
                          <a:pt x="22" y="3"/>
                          <a:pt x="15" y="2"/>
                          <a:pt x="10" y="0"/>
                        </a:cubicBezTo>
                        <a:cubicBezTo>
                          <a:pt x="9" y="1"/>
                          <a:pt x="8" y="2"/>
                          <a:pt x="7" y="3"/>
                        </a:cubicBezTo>
                        <a:cubicBezTo>
                          <a:pt x="7" y="3"/>
                          <a:pt x="7" y="3"/>
                          <a:pt x="7" y="3"/>
                        </a:cubicBezTo>
                        <a:cubicBezTo>
                          <a:pt x="7" y="4"/>
                          <a:pt x="7" y="4"/>
                          <a:pt x="7" y="5"/>
                        </a:cubicBezTo>
                        <a:cubicBezTo>
                          <a:pt x="7" y="5"/>
                          <a:pt x="7" y="5"/>
                          <a:pt x="7" y="5"/>
                        </a:cubicBezTo>
                        <a:cubicBezTo>
                          <a:pt x="7" y="5"/>
                          <a:pt x="6" y="6"/>
                          <a:pt x="6" y="6"/>
                        </a:cubicBezTo>
                        <a:cubicBezTo>
                          <a:pt x="6" y="6"/>
                          <a:pt x="6" y="6"/>
                          <a:pt x="6" y="6"/>
                        </a:cubicBezTo>
                        <a:cubicBezTo>
                          <a:pt x="6" y="7"/>
                          <a:pt x="6" y="7"/>
                          <a:pt x="6" y="7"/>
                        </a:cubicBezTo>
                        <a:cubicBezTo>
                          <a:pt x="6" y="7"/>
                          <a:pt x="6" y="8"/>
                          <a:pt x="6" y="8"/>
                        </a:cubicBezTo>
                        <a:cubicBezTo>
                          <a:pt x="6" y="8"/>
                          <a:pt x="6" y="8"/>
                          <a:pt x="6" y="9"/>
                        </a:cubicBezTo>
                        <a:cubicBezTo>
                          <a:pt x="6" y="9"/>
                          <a:pt x="6" y="9"/>
                          <a:pt x="6" y="9"/>
                        </a:cubicBezTo>
                        <a:cubicBezTo>
                          <a:pt x="6" y="10"/>
                          <a:pt x="6" y="10"/>
                          <a:pt x="6" y="11"/>
                        </a:cubicBezTo>
                        <a:cubicBezTo>
                          <a:pt x="6" y="15"/>
                          <a:pt x="6" y="15"/>
                          <a:pt x="6" y="15"/>
                        </a:cubicBezTo>
                        <a:cubicBezTo>
                          <a:pt x="5" y="15"/>
                          <a:pt x="5" y="15"/>
                          <a:pt x="5" y="15"/>
                        </a:cubicBezTo>
                        <a:cubicBezTo>
                          <a:pt x="2" y="16"/>
                          <a:pt x="0" y="18"/>
                          <a:pt x="0" y="20"/>
                        </a:cubicBezTo>
                        <a:cubicBezTo>
                          <a:pt x="0" y="32"/>
                          <a:pt x="0" y="32"/>
                          <a:pt x="0" y="32"/>
                        </a:cubicBezTo>
                        <a:cubicBezTo>
                          <a:pt x="0" y="34"/>
                          <a:pt x="3" y="37"/>
                          <a:pt x="6" y="37"/>
                        </a:cubicBezTo>
                        <a:cubicBezTo>
                          <a:pt x="10" y="49"/>
                          <a:pt x="10" y="49"/>
                          <a:pt x="10" y="49"/>
                        </a:cubicBezTo>
                        <a:cubicBezTo>
                          <a:pt x="13" y="57"/>
                          <a:pt x="16" y="62"/>
                          <a:pt x="22" y="64"/>
                        </a:cubicBezTo>
                        <a:cubicBezTo>
                          <a:pt x="24" y="78"/>
                          <a:pt x="24" y="78"/>
                          <a:pt x="24" y="78"/>
                        </a:cubicBezTo>
                        <a:cubicBezTo>
                          <a:pt x="37" y="87"/>
                          <a:pt x="37" y="87"/>
                          <a:pt x="37" y="87"/>
                        </a:cubicBezTo>
                        <a:cubicBezTo>
                          <a:pt x="50" y="78"/>
                          <a:pt x="50" y="78"/>
                          <a:pt x="50" y="78"/>
                        </a:cubicBezTo>
                        <a:cubicBezTo>
                          <a:pt x="52" y="63"/>
                          <a:pt x="52" y="63"/>
                          <a:pt x="52" y="63"/>
                        </a:cubicBezTo>
                        <a:cubicBezTo>
                          <a:pt x="57" y="62"/>
                          <a:pt x="59" y="57"/>
                          <a:pt x="62" y="49"/>
                        </a:cubicBezTo>
                        <a:cubicBezTo>
                          <a:pt x="67" y="37"/>
                          <a:pt x="67" y="37"/>
                          <a:pt x="67" y="37"/>
                        </a:cubicBezTo>
                        <a:cubicBezTo>
                          <a:pt x="70" y="37"/>
                          <a:pt x="72" y="34"/>
                          <a:pt x="72" y="32"/>
                        </a:cubicBezTo>
                        <a:cubicBezTo>
                          <a:pt x="72" y="20"/>
                          <a:pt x="72" y="20"/>
                          <a:pt x="72" y="20"/>
                        </a:cubicBezTo>
                        <a:cubicBezTo>
                          <a:pt x="72" y="18"/>
                          <a:pt x="71" y="16"/>
                          <a:pt x="69" y="15"/>
                        </a:cubicBezTo>
                        <a:close/>
                      </a:path>
                    </a:pathLst>
                  </a:custGeom>
                  <a:solidFill>
                    <a:srgbClr val="FFB9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00" name="Freeform 599"/>
                  <p:cNvSpPr>
                    <a:spLocks/>
                  </p:cNvSpPr>
                  <p:nvPr/>
                </p:nvSpPr>
                <p:spPr bwMode="auto">
                  <a:xfrm>
                    <a:off x="7900481" y="4103576"/>
                    <a:ext cx="495892" cy="542021"/>
                  </a:xfrm>
                  <a:custGeom>
                    <a:avLst/>
                    <a:gdLst>
                      <a:gd name="T0" fmla="*/ 247 w 258"/>
                      <a:gd name="T1" fmla="*/ 282 h 282"/>
                      <a:gd name="T2" fmla="*/ 12 w 258"/>
                      <a:gd name="T3" fmla="*/ 282 h 282"/>
                      <a:gd name="T4" fmla="*/ 0 w 258"/>
                      <a:gd name="T5" fmla="*/ 0 h 282"/>
                      <a:gd name="T6" fmla="*/ 258 w 258"/>
                      <a:gd name="T7" fmla="*/ 0 h 282"/>
                      <a:gd name="T8" fmla="*/ 247 w 258"/>
                      <a:gd name="T9" fmla="*/ 282 h 28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58" h="282">
                        <a:moveTo>
                          <a:pt x="247" y="282"/>
                        </a:moveTo>
                        <a:lnTo>
                          <a:pt x="12" y="282"/>
                        </a:lnTo>
                        <a:lnTo>
                          <a:pt x="0" y="0"/>
                        </a:lnTo>
                        <a:lnTo>
                          <a:pt x="258" y="0"/>
                        </a:lnTo>
                        <a:lnTo>
                          <a:pt x="247" y="282"/>
                        </a:lnTo>
                        <a:close/>
                      </a:path>
                    </a:pathLst>
                  </a:cu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01" name="Freeform 600"/>
                  <p:cNvSpPr>
                    <a:spLocks noEditPoints="1"/>
                  </p:cNvSpPr>
                  <p:nvPr/>
                </p:nvSpPr>
                <p:spPr bwMode="auto">
                  <a:xfrm>
                    <a:off x="7996584" y="2906131"/>
                    <a:ext cx="305608" cy="96103"/>
                  </a:xfrm>
                  <a:custGeom>
                    <a:avLst/>
                    <a:gdLst>
                      <a:gd name="T0" fmla="*/ 66 w 67"/>
                      <a:gd name="T1" fmla="*/ 1 h 21"/>
                      <a:gd name="T2" fmla="*/ 50 w 67"/>
                      <a:gd name="T3" fmla="*/ 0 h 21"/>
                      <a:gd name="T4" fmla="*/ 34 w 67"/>
                      <a:gd name="T5" fmla="*/ 4 h 21"/>
                      <a:gd name="T6" fmla="*/ 18 w 67"/>
                      <a:gd name="T7" fmla="*/ 0 h 21"/>
                      <a:gd name="T8" fmla="*/ 1 w 67"/>
                      <a:gd name="T9" fmla="*/ 1 h 21"/>
                      <a:gd name="T10" fmla="*/ 1 w 67"/>
                      <a:gd name="T11" fmla="*/ 3 h 21"/>
                      <a:gd name="T12" fmla="*/ 3 w 67"/>
                      <a:gd name="T13" fmla="*/ 6 h 21"/>
                      <a:gd name="T14" fmla="*/ 5 w 67"/>
                      <a:gd name="T15" fmla="*/ 11 h 21"/>
                      <a:gd name="T16" fmla="*/ 20 w 67"/>
                      <a:gd name="T17" fmla="*/ 20 h 21"/>
                      <a:gd name="T18" fmla="*/ 31 w 67"/>
                      <a:gd name="T19" fmla="*/ 8 h 21"/>
                      <a:gd name="T20" fmla="*/ 34 w 67"/>
                      <a:gd name="T21" fmla="*/ 7 h 21"/>
                      <a:gd name="T22" fmla="*/ 36 w 67"/>
                      <a:gd name="T23" fmla="*/ 8 h 21"/>
                      <a:gd name="T24" fmla="*/ 47 w 67"/>
                      <a:gd name="T25" fmla="*/ 20 h 21"/>
                      <a:gd name="T26" fmla="*/ 62 w 67"/>
                      <a:gd name="T27" fmla="*/ 11 h 21"/>
                      <a:gd name="T28" fmla="*/ 64 w 67"/>
                      <a:gd name="T29" fmla="*/ 6 h 21"/>
                      <a:gd name="T30" fmla="*/ 66 w 67"/>
                      <a:gd name="T31" fmla="*/ 3 h 21"/>
                      <a:gd name="T32" fmla="*/ 66 w 67"/>
                      <a:gd name="T33" fmla="*/ 1 h 21"/>
                      <a:gd name="T34" fmla="*/ 26 w 67"/>
                      <a:gd name="T35" fmla="*/ 15 h 21"/>
                      <a:gd name="T36" fmla="*/ 14 w 67"/>
                      <a:gd name="T37" fmla="*/ 18 h 21"/>
                      <a:gd name="T38" fmla="*/ 6 w 67"/>
                      <a:gd name="T39" fmla="*/ 7 h 21"/>
                      <a:gd name="T40" fmla="*/ 18 w 67"/>
                      <a:gd name="T41" fmla="*/ 2 h 21"/>
                      <a:gd name="T42" fmla="*/ 26 w 67"/>
                      <a:gd name="T43" fmla="*/ 4 h 21"/>
                      <a:gd name="T44" fmla="*/ 26 w 67"/>
                      <a:gd name="T45" fmla="*/ 15 h 21"/>
                      <a:gd name="T46" fmla="*/ 54 w 67"/>
                      <a:gd name="T47" fmla="*/ 18 h 21"/>
                      <a:gd name="T48" fmla="*/ 42 w 67"/>
                      <a:gd name="T49" fmla="*/ 15 h 21"/>
                      <a:gd name="T50" fmla="*/ 41 w 67"/>
                      <a:gd name="T51" fmla="*/ 4 h 21"/>
                      <a:gd name="T52" fmla="*/ 49 w 67"/>
                      <a:gd name="T53" fmla="*/ 2 h 21"/>
                      <a:gd name="T54" fmla="*/ 61 w 67"/>
                      <a:gd name="T55" fmla="*/ 7 h 21"/>
                      <a:gd name="T56" fmla="*/ 54 w 67"/>
                      <a:gd name="T57" fmla="*/ 18 h 2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</a:cxnLst>
                    <a:rect l="0" t="0" r="r" b="b"/>
                    <a:pathLst>
                      <a:path w="67" h="21">
                        <a:moveTo>
                          <a:pt x="66" y="1"/>
                        </a:moveTo>
                        <a:cubicBezTo>
                          <a:pt x="66" y="1"/>
                          <a:pt x="57" y="0"/>
                          <a:pt x="50" y="0"/>
                        </a:cubicBezTo>
                        <a:cubicBezTo>
                          <a:pt x="43" y="1"/>
                          <a:pt x="37" y="4"/>
                          <a:pt x="34" y="4"/>
                        </a:cubicBezTo>
                        <a:cubicBezTo>
                          <a:pt x="30" y="4"/>
                          <a:pt x="25" y="1"/>
                          <a:pt x="18" y="0"/>
                        </a:cubicBezTo>
                        <a:cubicBezTo>
                          <a:pt x="11" y="0"/>
                          <a:pt x="1" y="1"/>
                          <a:pt x="1" y="1"/>
                        </a:cubicBezTo>
                        <a:cubicBezTo>
                          <a:pt x="0" y="1"/>
                          <a:pt x="0" y="2"/>
                          <a:pt x="1" y="3"/>
                        </a:cubicBezTo>
                        <a:cubicBezTo>
                          <a:pt x="1" y="5"/>
                          <a:pt x="1" y="5"/>
                          <a:pt x="3" y="6"/>
                        </a:cubicBezTo>
                        <a:cubicBezTo>
                          <a:pt x="4" y="7"/>
                          <a:pt x="5" y="11"/>
                          <a:pt x="5" y="11"/>
                        </a:cubicBezTo>
                        <a:cubicBezTo>
                          <a:pt x="6" y="19"/>
                          <a:pt x="12" y="21"/>
                          <a:pt x="20" y="20"/>
                        </a:cubicBezTo>
                        <a:cubicBezTo>
                          <a:pt x="28" y="19"/>
                          <a:pt x="30" y="10"/>
                          <a:pt x="31" y="8"/>
                        </a:cubicBezTo>
                        <a:cubicBezTo>
                          <a:pt x="32" y="7"/>
                          <a:pt x="34" y="7"/>
                          <a:pt x="34" y="7"/>
                        </a:cubicBezTo>
                        <a:cubicBezTo>
                          <a:pt x="34" y="7"/>
                          <a:pt x="35" y="7"/>
                          <a:pt x="36" y="8"/>
                        </a:cubicBezTo>
                        <a:cubicBezTo>
                          <a:pt x="37" y="10"/>
                          <a:pt x="39" y="19"/>
                          <a:pt x="47" y="20"/>
                        </a:cubicBezTo>
                        <a:cubicBezTo>
                          <a:pt x="55" y="21"/>
                          <a:pt x="61" y="19"/>
                          <a:pt x="62" y="11"/>
                        </a:cubicBezTo>
                        <a:cubicBezTo>
                          <a:pt x="62" y="11"/>
                          <a:pt x="63" y="7"/>
                          <a:pt x="64" y="6"/>
                        </a:cubicBezTo>
                        <a:cubicBezTo>
                          <a:pt x="66" y="5"/>
                          <a:pt x="66" y="5"/>
                          <a:pt x="66" y="3"/>
                        </a:cubicBezTo>
                        <a:cubicBezTo>
                          <a:pt x="67" y="2"/>
                          <a:pt x="67" y="1"/>
                          <a:pt x="66" y="1"/>
                        </a:cubicBezTo>
                        <a:close/>
                        <a:moveTo>
                          <a:pt x="26" y="15"/>
                        </a:moveTo>
                        <a:cubicBezTo>
                          <a:pt x="23" y="18"/>
                          <a:pt x="19" y="19"/>
                          <a:pt x="14" y="18"/>
                        </a:cubicBezTo>
                        <a:cubicBezTo>
                          <a:pt x="8" y="18"/>
                          <a:pt x="6" y="14"/>
                          <a:pt x="6" y="7"/>
                        </a:cubicBezTo>
                        <a:cubicBezTo>
                          <a:pt x="6" y="0"/>
                          <a:pt x="18" y="2"/>
                          <a:pt x="18" y="2"/>
                        </a:cubicBezTo>
                        <a:cubicBezTo>
                          <a:pt x="23" y="3"/>
                          <a:pt x="23" y="3"/>
                          <a:pt x="26" y="4"/>
                        </a:cubicBezTo>
                        <a:cubicBezTo>
                          <a:pt x="30" y="5"/>
                          <a:pt x="28" y="12"/>
                          <a:pt x="26" y="15"/>
                        </a:cubicBezTo>
                        <a:close/>
                        <a:moveTo>
                          <a:pt x="54" y="18"/>
                        </a:moveTo>
                        <a:cubicBezTo>
                          <a:pt x="48" y="19"/>
                          <a:pt x="44" y="18"/>
                          <a:pt x="42" y="15"/>
                        </a:cubicBezTo>
                        <a:cubicBezTo>
                          <a:pt x="40" y="12"/>
                          <a:pt x="37" y="5"/>
                          <a:pt x="41" y="4"/>
                        </a:cubicBezTo>
                        <a:cubicBezTo>
                          <a:pt x="45" y="3"/>
                          <a:pt x="45" y="3"/>
                          <a:pt x="49" y="2"/>
                        </a:cubicBezTo>
                        <a:cubicBezTo>
                          <a:pt x="49" y="2"/>
                          <a:pt x="61" y="0"/>
                          <a:pt x="61" y="7"/>
                        </a:cubicBezTo>
                        <a:cubicBezTo>
                          <a:pt x="61" y="14"/>
                          <a:pt x="59" y="18"/>
                          <a:pt x="54" y="18"/>
                        </a:cubicBezTo>
                        <a:close/>
                      </a:path>
                    </a:pathLst>
                  </a:cu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02" name="Oval 601"/>
                  <p:cNvSpPr>
                    <a:spLocks noChangeArrowheads="1"/>
                  </p:cNvSpPr>
                  <p:nvPr/>
                </p:nvSpPr>
                <p:spPr bwMode="auto">
                  <a:xfrm>
                    <a:off x="8006195" y="2915742"/>
                    <a:ext cx="7688" cy="7688"/>
                  </a:xfrm>
                  <a:prstGeom prst="ellipse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03" name="Oval 602"/>
                  <p:cNvSpPr>
                    <a:spLocks noChangeArrowheads="1"/>
                  </p:cNvSpPr>
                  <p:nvPr/>
                </p:nvSpPr>
                <p:spPr bwMode="auto">
                  <a:xfrm>
                    <a:off x="8282972" y="2915742"/>
                    <a:ext cx="9611" cy="7688"/>
                  </a:xfrm>
                  <a:prstGeom prst="ellipse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545" name="Group 544"/>
                <p:cNvGrpSpPr/>
                <p:nvPr/>
              </p:nvGrpSpPr>
              <p:grpSpPr>
                <a:xfrm>
                  <a:off x="6608856" y="2527486"/>
                  <a:ext cx="1037913" cy="2879247"/>
                  <a:chOff x="6608856" y="2527486"/>
                  <a:chExt cx="1037913" cy="2879247"/>
                </a:xfrm>
              </p:grpSpPr>
              <p:sp>
                <p:nvSpPr>
                  <p:cNvPr id="546" name="Freeform 545"/>
                  <p:cNvSpPr>
                    <a:spLocks/>
                  </p:cNvSpPr>
                  <p:nvPr/>
                </p:nvSpPr>
                <p:spPr bwMode="auto">
                  <a:xfrm>
                    <a:off x="7012489" y="3025299"/>
                    <a:ext cx="222959" cy="240257"/>
                  </a:xfrm>
                  <a:custGeom>
                    <a:avLst/>
                    <a:gdLst>
                      <a:gd name="T0" fmla="*/ 0 w 116"/>
                      <a:gd name="T1" fmla="*/ 11 h 125"/>
                      <a:gd name="T2" fmla="*/ 12 w 116"/>
                      <a:gd name="T3" fmla="*/ 0 h 125"/>
                      <a:gd name="T4" fmla="*/ 105 w 116"/>
                      <a:gd name="T5" fmla="*/ 0 h 125"/>
                      <a:gd name="T6" fmla="*/ 116 w 116"/>
                      <a:gd name="T7" fmla="*/ 11 h 125"/>
                      <a:gd name="T8" fmla="*/ 86 w 116"/>
                      <a:gd name="T9" fmla="*/ 116 h 125"/>
                      <a:gd name="T10" fmla="*/ 43 w 116"/>
                      <a:gd name="T11" fmla="*/ 125 h 125"/>
                      <a:gd name="T12" fmla="*/ 8 w 116"/>
                      <a:gd name="T13" fmla="*/ 75 h 125"/>
                      <a:gd name="T14" fmla="*/ 0 w 116"/>
                      <a:gd name="T15" fmla="*/ 11 h 12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16" h="125">
                        <a:moveTo>
                          <a:pt x="0" y="11"/>
                        </a:moveTo>
                        <a:lnTo>
                          <a:pt x="12" y="0"/>
                        </a:lnTo>
                        <a:lnTo>
                          <a:pt x="105" y="0"/>
                        </a:lnTo>
                        <a:lnTo>
                          <a:pt x="116" y="11"/>
                        </a:lnTo>
                        <a:lnTo>
                          <a:pt x="86" y="116"/>
                        </a:lnTo>
                        <a:lnTo>
                          <a:pt x="43" y="125"/>
                        </a:lnTo>
                        <a:lnTo>
                          <a:pt x="8" y="75"/>
                        </a:lnTo>
                        <a:lnTo>
                          <a:pt x="0" y="11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47" name="Freeform 546"/>
                  <p:cNvSpPr>
                    <a:spLocks/>
                  </p:cNvSpPr>
                  <p:nvPr/>
                </p:nvSpPr>
                <p:spPr bwMode="auto">
                  <a:xfrm>
                    <a:off x="6885633" y="5291409"/>
                    <a:ext cx="222959" cy="115324"/>
                  </a:xfrm>
                  <a:custGeom>
                    <a:avLst/>
                    <a:gdLst>
                      <a:gd name="T0" fmla="*/ 24 w 49"/>
                      <a:gd name="T1" fmla="*/ 0 h 25"/>
                      <a:gd name="T2" fmla="*/ 0 w 49"/>
                      <a:gd name="T3" fmla="*/ 25 h 25"/>
                      <a:gd name="T4" fmla="*/ 49 w 49"/>
                      <a:gd name="T5" fmla="*/ 25 h 25"/>
                      <a:gd name="T6" fmla="*/ 24 w 49"/>
                      <a:gd name="T7" fmla="*/ 0 h 2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9" h="25">
                        <a:moveTo>
                          <a:pt x="24" y="0"/>
                        </a:moveTo>
                        <a:cubicBezTo>
                          <a:pt x="11" y="0"/>
                          <a:pt x="0" y="11"/>
                          <a:pt x="0" y="25"/>
                        </a:cubicBezTo>
                        <a:cubicBezTo>
                          <a:pt x="49" y="25"/>
                          <a:pt x="49" y="25"/>
                          <a:pt x="49" y="25"/>
                        </a:cubicBezTo>
                        <a:cubicBezTo>
                          <a:pt x="49" y="11"/>
                          <a:pt x="38" y="0"/>
                          <a:pt x="24" y="0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48" name="Freeform 547"/>
                  <p:cNvSpPr>
                    <a:spLocks/>
                  </p:cNvSpPr>
                  <p:nvPr/>
                </p:nvSpPr>
                <p:spPr bwMode="auto">
                  <a:xfrm>
                    <a:off x="6854880" y="4086277"/>
                    <a:ext cx="286388" cy="1228196"/>
                  </a:xfrm>
                  <a:custGeom>
                    <a:avLst/>
                    <a:gdLst>
                      <a:gd name="T0" fmla="*/ 116 w 149"/>
                      <a:gd name="T1" fmla="*/ 639 h 639"/>
                      <a:gd name="T2" fmla="*/ 28 w 149"/>
                      <a:gd name="T3" fmla="*/ 639 h 639"/>
                      <a:gd name="T4" fmla="*/ 0 w 149"/>
                      <a:gd name="T5" fmla="*/ 0 h 639"/>
                      <a:gd name="T6" fmla="*/ 149 w 149"/>
                      <a:gd name="T7" fmla="*/ 0 h 639"/>
                      <a:gd name="T8" fmla="*/ 116 w 149"/>
                      <a:gd name="T9" fmla="*/ 639 h 63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49" h="639">
                        <a:moveTo>
                          <a:pt x="116" y="639"/>
                        </a:moveTo>
                        <a:lnTo>
                          <a:pt x="28" y="639"/>
                        </a:lnTo>
                        <a:lnTo>
                          <a:pt x="0" y="0"/>
                        </a:lnTo>
                        <a:lnTo>
                          <a:pt x="149" y="0"/>
                        </a:lnTo>
                        <a:lnTo>
                          <a:pt x="116" y="639"/>
                        </a:lnTo>
                        <a:close/>
                      </a:path>
                    </a:pathLst>
                  </a:custGeom>
                  <a:solidFill>
                    <a:srgbClr val="AB008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49" name="Freeform 548"/>
                  <p:cNvSpPr>
                    <a:spLocks/>
                  </p:cNvSpPr>
                  <p:nvPr/>
                </p:nvSpPr>
                <p:spPr bwMode="auto">
                  <a:xfrm>
                    <a:off x="7104748" y="4086277"/>
                    <a:ext cx="286388" cy="1228196"/>
                  </a:xfrm>
                  <a:custGeom>
                    <a:avLst/>
                    <a:gdLst>
                      <a:gd name="T0" fmla="*/ 121 w 149"/>
                      <a:gd name="T1" fmla="*/ 639 h 639"/>
                      <a:gd name="T2" fmla="*/ 33 w 149"/>
                      <a:gd name="T3" fmla="*/ 639 h 639"/>
                      <a:gd name="T4" fmla="*/ 0 w 149"/>
                      <a:gd name="T5" fmla="*/ 0 h 639"/>
                      <a:gd name="T6" fmla="*/ 149 w 149"/>
                      <a:gd name="T7" fmla="*/ 0 h 639"/>
                      <a:gd name="T8" fmla="*/ 121 w 149"/>
                      <a:gd name="T9" fmla="*/ 639 h 63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49" h="639">
                        <a:moveTo>
                          <a:pt x="121" y="639"/>
                        </a:moveTo>
                        <a:lnTo>
                          <a:pt x="33" y="639"/>
                        </a:lnTo>
                        <a:lnTo>
                          <a:pt x="0" y="0"/>
                        </a:lnTo>
                        <a:lnTo>
                          <a:pt x="149" y="0"/>
                        </a:lnTo>
                        <a:lnTo>
                          <a:pt x="121" y="639"/>
                        </a:lnTo>
                        <a:close/>
                      </a:path>
                    </a:pathLst>
                  </a:custGeom>
                  <a:solidFill>
                    <a:srgbClr val="AB008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50" name="Freeform 549"/>
                  <p:cNvSpPr>
                    <a:spLocks/>
                  </p:cNvSpPr>
                  <p:nvPr/>
                </p:nvSpPr>
                <p:spPr bwMode="auto">
                  <a:xfrm>
                    <a:off x="7145112" y="5291409"/>
                    <a:ext cx="222959" cy="115324"/>
                  </a:xfrm>
                  <a:custGeom>
                    <a:avLst/>
                    <a:gdLst>
                      <a:gd name="T0" fmla="*/ 25 w 49"/>
                      <a:gd name="T1" fmla="*/ 0 h 25"/>
                      <a:gd name="T2" fmla="*/ 0 w 49"/>
                      <a:gd name="T3" fmla="*/ 25 h 25"/>
                      <a:gd name="T4" fmla="*/ 49 w 49"/>
                      <a:gd name="T5" fmla="*/ 25 h 25"/>
                      <a:gd name="T6" fmla="*/ 25 w 49"/>
                      <a:gd name="T7" fmla="*/ 0 h 2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9" h="25">
                        <a:moveTo>
                          <a:pt x="25" y="0"/>
                        </a:moveTo>
                        <a:cubicBezTo>
                          <a:pt x="11" y="0"/>
                          <a:pt x="0" y="11"/>
                          <a:pt x="0" y="25"/>
                        </a:cubicBezTo>
                        <a:cubicBezTo>
                          <a:pt x="49" y="25"/>
                          <a:pt x="49" y="25"/>
                          <a:pt x="49" y="25"/>
                        </a:cubicBezTo>
                        <a:cubicBezTo>
                          <a:pt x="49" y="11"/>
                          <a:pt x="38" y="0"/>
                          <a:pt x="25" y="0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51" name="Freeform 550"/>
                  <p:cNvSpPr>
                    <a:spLocks/>
                  </p:cNvSpPr>
                  <p:nvPr/>
                </p:nvSpPr>
                <p:spPr bwMode="auto">
                  <a:xfrm>
                    <a:off x="6991347" y="3052208"/>
                    <a:ext cx="276777" cy="751525"/>
                  </a:xfrm>
                  <a:custGeom>
                    <a:avLst/>
                    <a:gdLst>
                      <a:gd name="T0" fmla="*/ 144 w 144"/>
                      <a:gd name="T1" fmla="*/ 83 h 391"/>
                      <a:gd name="T2" fmla="*/ 73 w 144"/>
                      <a:gd name="T3" fmla="*/ 0 h 391"/>
                      <a:gd name="T4" fmla="*/ 0 w 144"/>
                      <a:gd name="T5" fmla="*/ 76 h 391"/>
                      <a:gd name="T6" fmla="*/ 54 w 144"/>
                      <a:gd name="T7" fmla="*/ 360 h 391"/>
                      <a:gd name="T8" fmla="*/ 68 w 144"/>
                      <a:gd name="T9" fmla="*/ 391 h 391"/>
                      <a:gd name="T10" fmla="*/ 85 w 144"/>
                      <a:gd name="T11" fmla="*/ 360 h 391"/>
                      <a:gd name="T12" fmla="*/ 144 w 144"/>
                      <a:gd name="T13" fmla="*/ 83 h 39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44" h="391">
                        <a:moveTo>
                          <a:pt x="144" y="83"/>
                        </a:moveTo>
                        <a:lnTo>
                          <a:pt x="73" y="0"/>
                        </a:lnTo>
                        <a:lnTo>
                          <a:pt x="0" y="76"/>
                        </a:lnTo>
                        <a:lnTo>
                          <a:pt x="54" y="360"/>
                        </a:lnTo>
                        <a:lnTo>
                          <a:pt x="68" y="391"/>
                        </a:lnTo>
                        <a:lnTo>
                          <a:pt x="85" y="360"/>
                        </a:lnTo>
                        <a:lnTo>
                          <a:pt x="144" y="83"/>
                        </a:lnTo>
                        <a:close/>
                      </a:path>
                    </a:pathLst>
                  </a:cu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52" name="Freeform 551"/>
                  <p:cNvSpPr>
                    <a:spLocks/>
                  </p:cNvSpPr>
                  <p:nvPr/>
                </p:nvSpPr>
                <p:spPr bwMode="auto">
                  <a:xfrm>
                    <a:off x="6962516" y="2546707"/>
                    <a:ext cx="351738" cy="442074"/>
                  </a:xfrm>
                  <a:custGeom>
                    <a:avLst/>
                    <a:gdLst>
                      <a:gd name="T0" fmla="*/ 68 w 77"/>
                      <a:gd name="T1" fmla="*/ 59 h 97"/>
                      <a:gd name="T2" fmla="*/ 28 w 77"/>
                      <a:gd name="T3" fmla="*/ 90 h 97"/>
                      <a:gd name="T4" fmla="*/ 8 w 77"/>
                      <a:gd name="T5" fmla="*/ 39 h 97"/>
                      <a:gd name="T6" fmla="*/ 57 w 77"/>
                      <a:gd name="T7" fmla="*/ 6 h 97"/>
                      <a:gd name="T8" fmla="*/ 68 w 77"/>
                      <a:gd name="T9" fmla="*/ 59 h 9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7" h="97">
                        <a:moveTo>
                          <a:pt x="68" y="59"/>
                        </a:moveTo>
                        <a:cubicBezTo>
                          <a:pt x="54" y="97"/>
                          <a:pt x="46" y="96"/>
                          <a:pt x="28" y="90"/>
                        </a:cubicBezTo>
                        <a:cubicBezTo>
                          <a:pt x="9" y="84"/>
                          <a:pt x="0" y="61"/>
                          <a:pt x="8" y="39"/>
                        </a:cubicBezTo>
                        <a:cubicBezTo>
                          <a:pt x="15" y="17"/>
                          <a:pt x="39" y="0"/>
                          <a:pt x="57" y="6"/>
                        </a:cubicBezTo>
                        <a:cubicBezTo>
                          <a:pt x="76" y="12"/>
                          <a:pt x="77" y="37"/>
                          <a:pt x="68" y="59"/>
                        </a:cubicBezTo>
                        <a:close/>
                      </a:path>
                    </a:pathLst>
                  </a:cu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53" name="Freeform 552"/>
                  <p:cNvSpPr>
                    <a:spLocks/>
                  </p:cNvSpPr>
                  <p:nvPr/>
                </p:nvSpPr>
                <p:spPr bwMode="auto">
                  <a:xfrm>
                    <a:off x="6899088" y="2527486"/>
                    <a:ext cx="392100" cy="482437"/>
                  </a:xfrm>
                  <a:custGeom>
                    <a:avLst/>
                    <a:gdLst>
                      <a:gd name="T0" fmla="*/ 74 w 86"/>
                      <a:gd name="T1" fmla="*/ 22 h 106"/>
                      <a:gd name="T2" fmla="*/ 62 w 86"/>
                      <a:gd name="T3" fmla="*/ 90 h 106"/>
                      <a:gd name="T4" fmla="*/ 25 w 86"/>
                      <a:gd name="T5" fmla="*/ 87 h 106"/>
                      <a:gd name="T6" fmla="*/ 25 w 86"/>
                      <a:gd name="T7" fmla="*/ 8 h 106"/>
                      <a:gd name="T8" fmla="*/ 74 w 86"/>
                      <a:gd name="T9" fmla="*/ 22 h 10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86" h="106">
                        <a:moveTo>
                          <a:pt x="74" y="22"/>
                        </a:moveTo>
                        <a:cubicBezTo>
                          <a:pt x="86" y="41"/>
                          <a:pt x="77" y="81"/>
                          <a:pt x="62" y="90"/>
                        </a:cubicBezTo>
                        <a:cubicBezTo>
                          <a:pt x="48" y="98"/>
                          <a:pt x="36" y="106"/>
                          <a:pt x="25" y="87"/>
                        </a:cubicBezTo>
                        <a:cubicBezTo>
                          <a:pt x="14" y="68"/>
                          <a:pt x="0" y="19"/>
                          <a:pt x="25" y="8"/>
                        </a:cubicBezTo>
                        <a:cubicBezTo>
                          <a:pt x="40" y="0"/>
                          <a:pt x="63" y="3"/>
                          <a:pt x="74" y="22"/>
                        </a:cubicBezTo>
                        <a:close/>
                      </a:path>
                    </a:pathLst>
                  </a:cu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54" name="Freeform 553"/>
                  <p:cNvSpPr>
                    <a:spLocks/>
                  </p:cNvSpPr>
                  <p:nvPr/>
                </p:nvSpPr>
                <p:spPr bwMode="auto">
                  <a:xfrm>
                    <a:off x="7035554" y="2883067"/>
                    <a:ext cx="178752" cy="215271"/>
                  </a:xfrm>
                  <a:custGeom>
                    <a:avLst/>
                    <a:gdLst>
                      <a:gd name="T0" fmla="*/ 93 w 93"/>
                      <a:gd name="T1" fmla="*/ 74 h 112"/>
                      <a:gd name="T2" fmla="*/ 45 w 93"/>
                      <a:gd name="T3" fmla="*/ 112 h 112"/>
                      <a:gd name="T4" fmla="*/ 0 w 93"/>
                      <a:gd name="T5" fmla="*/ 74 h 112"/>
                      <a:gd name="T6" fmla="*/ 0 w 93"/>
                      <a:gd name="T7" fmla="*/ 0 h 112"/>
                      <a:gd name="T8" fmla="*/ 93 w 93"/>
                      <a:gd name="T9" fmla="*/ 0 h 112"/>
                      <a:gd name="T10" fmla="*/ 93 w 93"/>
                      <a:gd name="T11" fmla="*/ 74 h 11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93" h="112">
                        <a:moveTo>
                          <a:pt x="93" y="74"/>
                        </a:moveTo>
                        <a:lnTo>
                          <a:pt x="45" y="112"/>
                        </a:lnTo>
                        <a:lnTo>
                          <a:pt x="0" y="74"/>
                        </a:lnTo>
                        <a:lnTo>
                          <a:pt x="0" y="0"/>
                        </a:lnTo>
                        <a:lnTo>
                          <a:pt x="93" y="0"/>
                        </a:lnTo>
                        <a:lnTo>
                          <a:pt x="93" y="74"/>
                        </a:lnTo>
                        <a:close/>
                      </a:path>
                    </a:pathLst>
                  </a:custGeom>
                  <a:solidFill>
                    <a:srgbClr val="FFB9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55" name="Freeform 554"/>
                  <p:cNvSpPr>
                    <a:spLocks/>
                  </p:cNvSpPr>
                  <p:nvPr/>
                </p:nvSpPr>
                <p:spPr bwMode="auto">
                  <a:xfrm>
                    <a:off x="6608856" y="3079117"/>
                    <a:ext cx="382491" cy="991783"/>
                  </a:xfrm>
                  <a:custGeom>
                    <a:avLst/>
                    <a:gdLst>
                      <a:gd name="T0" fmla="*/ 84 w 84"/>
                      <a:gd name="T1" fmla="*/ 9 h 218"/>
                      <a:gd name="T2" fmla="*/ 51 w 84"/>
                      <a:gd name="T3" fmla="*/ 0 h 218"/>
                      <a:gd name="T4" fmla="*/ 0 w 84"/>
                      <a:gd name="T5" fmla="*/ 218 h 218"/>
                      <a:gd name="T6" fmla="*/ 34 w 84"/>
                      <a:gd name="T7" fmla="*/ 218 h 218"/>
                      <a:gd name="T8" fmla="*/ 84 w 84"/>
                      <a:gd name="T9" fmla="*/ 9 h 21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84" h="218">
                        <a:moveTo>
                          <a:pt x="84" y="9"/>
                        </a:moveTo>
                        <a:cubicBezTo>
                          <a:pt x="73" y="6"/>
                          <a:pt x="62" y="3"/>
                          <a:pt x="51" y="0"/>
                        </a:cubicBezTo>
                        <a:cubicBezTo>
                          <a:pt x="18" y="71"/>
                          <a:pt x="7" y="141"/>
                          <a:pt x="0" y="218"/>
                        </a:cubicBezTo>
                        <a:cubicBezTo>
                          <a:pt x="34" y="218"/>
                          <a:pt x="34" y="218"/>
                          <a:pt x="34" y="218"/>
                        </a:cubicBezTo>
                        <a:cubicBezTo>
                          <a:pt x="42" y="144"/>
                          <a:pt x="53" y="77"/>
                          <a:pt x="84" y="9"/>
                        </a:cubicBezTo>
                        <a:close/>
                      </a:path>
                    </a:pathLst>
                  </a:cu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56" name="Freeform 555"/>
                  <p:cNvSpPr>
                    <a:spLocks/>
                  </p:cNvSpPr>
                  <p:nvPr/>
                </p:nvSpPr>
                <p:spPr bwMode="auto">
                  <a:xfrm>
                    <a:off x="7258513" y="3079117"/>
                    <a:ext cx="388256" cy="991783"/>
                  </a:xfrm>
                  <a:custGeom>
                    <a:avLst/>
                    <a:gdLst>
                      <a:gd name="T0" fmla="*/ 0 w 85"/>
                      <a:gd name="T1" fmla="*/ 9 h 218"/>
                      <a:gd name="T2" fmla="*/ 34 w 85"/>
                      <a:gd name="T3" fmla="*/ 0 h 218"/>
                      <a:gd name="T4" fmla="*/ 85 w 85"/>
                      <a:gd name="T5" fmla="*/ 218 h 218"/>
                      <a:gd name="T6" fmla="*/ 50 w 85"/>
                      <a:gd name="T7" fmla="*/ 218 h 218"/>
                      <a:gd name="T8" fmla="*/ 0 w 85"/>
                      <a:gd name="T9" fmla="*/ 9 h 21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85" h="218">
                        <a:moveTo>
                          <a:pt x="0" y="9"/>
                        </a:moveTo>
                        <a:cubicBezTo>
                          <a:pt x="12" y="6"/>
                          <a:pt x="23" y="3"/>
                          <a:pt x="34" y="0"/>
                        </a:cubicBezTo>
                        <a:cubicBezTo>
                          <a:pt x="67" y="71"/>
                          <a:pt x="77" y="141"/>
                          <a:pt x="85" y="218"/>
                        </a:cubicBezTo>
                        <a:cubicBezTo>
                          <a:pt x="50" y="218"/>
                          <a:pt x="50" y="218"/>
                          <a:pt x="50" y="218"/>
                        </a:cubicBezTo>
                        <a:cubicBezTo>
                          <a:pt x="42" y="144"/>
                          <a:pt x="32" y="77"/>
                          <a:pt x="0" y="9"/>
                        </a:cubicBezTo>
                        <a:close/>
                      </a:path>
                    </a:pathLst>
                  </a:cu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57" name="Freeform 556"/>
                  <p:cNvSpPr>
                    <a:spLocks/>
                  </p:cNvSpPr>
                  <p:nvPr/>
                </p:nvSpPr>
                <p:spPr bwMode="auto">
                  <a:xfrm>
                    <a:off x="6626156" y="4070900"/>
                    <a:ext cx="119168" cy="128777"/>
                  </a:xfrm>
                  <a:custGeom>
                    <a:avLst/>
                    <a:gdLst>
                      <a:gd name="T0" fmla="*/ 0 w 26"/>
                      <a:gd name="T1" fmla="*/ 0 h 28"/>
                      <a:gd name="T2" fmla="*/ 0 w 26"/>
                      <a:gd name="T3" fmla="*/ 16 h 28"/>
                      <a:gd name="T4" fmla="*/ 13 w 26"/>
                      <a:gd name="T5" fmla="*/ 28 h 28"/>
                      <a:gd name="T6" fmla="*/ 26 w 26"/>
                      <a:gd name="T7" fmla="*/ 16 h 28"/>
                      <a:gd name="T8" fmla="*/ 26 w 26"/>
                      <a:gd name="T9" fmla="*/ 0 h 28"/>
                      <a:gd name="T10" fmla="*/ 0 w 26"/>
                      <a:gd name="T11" fmla="*/ 0 h 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26" h="28">
                        <a:moveTo>
                          <a:pt x="0" y="0"/>
                        </a:moveTo>
                        <a:cubicBezTo>
                          <a:pt x="0" y="16"/>
                          <a:pt x="0" y="16"/>
                          <a:pt x="0" y="16"/>
                        </a:cubicBezTo>
                        <a:cubicBezTo>
                          <a:pt x="0" y="23"/>
                          <a:pt x="6" y="28"/>
                          <a:pt x="13" y="28"/>
                        </a:cubicBezTo>
                        <a:cubicBezTo>
                          <a:pt x="20" y="28"/>
                          <a:pt x="26" y="23"/>
                          <a:pt x="26" y="16"/>
                        </a:cubicBezTo>
                        <a:cubicBezTo>
                          <a:pt x="26" y="0"/>
                          <a:pt x="26" y="0"/>
                          <a:pt x="26" y="0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FB9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58" name="Freeform 557"/>
                  <p:cNvSpPr>
                    <a:spLocks/>
                  </p:cNvSpPr>
                  <p:nvPr/>
                </p:nvSpPr>
                <p:spPr bwMode="auto">
                  <a:xfrm>
                    <a:off x="7510303" y="4070900"/>
                    <a:ext cx="113402" cy="128777"/>
                  </a:xfrm>
                  <a:custGeom>
                    <a:avLst/>
                    <a:gdLst>
                      <a:gd name="T0" fmla="*/ 0 w 25"/>
                      <a:gd name="T1" fmla="*/ 0 h 28"/>
                      <a:gd name="T2" fmla="*/ 0 w 25"/>
                      <a:gd name="T3" fmla="*/ 16 h 28"/>
                      <a:gd name="T4" fmla="*/ 12 w 25"/>
                      <a:gd name="T5" fmla="*/ 28 h 28"/>
                      <a:gd name="T6" fmla="*/ 25 w 25"/>
                      <a:gd name="T7" fmla="*/ 16 h 28"/>
                      <a:gd name="T8" fmla="*/ 25 w 25"/>
                      <a:gd name="T9" fmla="*/ 0 h 28"/>
                      <a:gd name="T10" fmla="*/ 0 w 25"/>
                      <a:gd name="T11" fmla="*/ 0 h 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25" h="28">
                        <a:moveTo>
                          <a:pt x="0" y="0"/>
                        </a:moveTo>
                        <a:cubicBezTo>
                          <a:pt x="0" y="16"/>
                          <a:pt x="0" y="16"/>
                          <a:pt x="0" y="16"/>
                        </a:cubicBezTo>
                        <a:cubicBezTo>
                          <a:pt x="0" y="23"/>
                          <a:pt x="5" y="28"/>
                          <a:pt x="12" y="28"/>
                        </a:cubicBezTo>
                        <a:cubicBezTo>
                          <a:pt x="19" y="28"/>
                          <a:pt x="25" y="23"/>
                          <a:pt x="25" y="16"/>
                        </a:cubicBezTo>
                        <a:cubicBezTo>
                          <a:pt x="25" y="0"/>
                          <a:pt x="25" y="0"/>
                          <a:pt x="25" y="0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FB9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59" name="Freeform 558"/>
                  <p:cNvSpPr>
                    <a:spLocks/>
                  </p:cNvSpPr>
                  <p:nvPr/>
                </p:nvSpPr>
                <p:spPr bwMode="auto">
                  <a:xfrm>
                    <a:off x="6835660" y="3046442"/>
                    <a:ext cx="578541" cy="1007160"/>
                  </a:xfrm>
                  <a:custGeom>
                    <a:avLst/>
                    <a:gdLst>
                      <a:gd name="T0" fmla="*/ 208 w 301"/>
                      <a:gd name="T1" fmla="*/ 0 h 524"/>
                      <a:gd name="T2" fmla="*/ 149 w 301"/>
                      <a:gd name="T3" fmla="*/ 100 h 524"/>
                      <a:gd name="T4" fmla="*/ 92 w 301"/>
                      <a:gd name="T5" fmla="*/ 0 h 524"/>
                      <a:gd name="T6" fmla="*/ 0 w 301"/>
                      <a:gd name="T7" fmla="*/ 17 h 524"/>
                      <a:gd name="T8" fmla="*/ 5 w 301"/>
                      <a:gd name="T9" fmla="*/ 524 h 524"/>
                      <a:gd name="T10" fmla="*/ 294 w 301"/>
                      <a:gd name="T11" fmla="*/ 524 h 524"/>
                      <a:gd name="T12" fmla="*/ 301 w 301"/>
                      <a:gd name="T13" fmla="*/ 17 h 524"/>
                      <a:gd name="T14" fmla="*/ 208 w 301"/>
                      <a:gd name="T15" fmla="*/ 0 h 52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301" h="524">
                        <a:moveTo>
                          <a:pt x="208" y="0"/>
                        </a:moveTo>
                        <a:lnTo>
                          <a:pt x="149" y="100"/>
                        </a:lnTo>
                        <a:lnTo>
                          <a:pt x="92" y="0"/>
                        </a:lnTo>
                        <a:lnTo>
                          <a:pt x="0" y="17"/>
                        </a:lnTo>
                        <a:lnTo>
                          <a:pt x="5" y="524"/>
                        </a:lnTo>
                        <a:lnTo>
                          <a:pt x="294" y="524"/>
                        </a:lnTo>
                        <a:lnTo>
                          <a:pt x="301" y="17"/>
                        </a:lnTo>
                        <a:lnTo>
                          <a:pt x="208" y="0"/>
                        </a:lnTo>
                        <a:close/>
                      </a:path>
                    </a:pathLst>
                  </a:cu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60" name="Freeform 559"/>
                  <p:cNvSpPr>
                    <a:spLocks/>
                  </p:cNvSpPr>
                  <p:nvPr/>
                </p:nvSpPr>
                <p:spPr bwMode="auto">
                  <a:xfrm>
                    <a:off x="7268124" y="2700471"/>
                    <a:ext cx="3844" cy="5766"/>
                  </a:xfrm>
                  <a:custGeom>
                    <a:avLst/>
                    <a:gdLst>
                      <a:gd name="T0" fmla="*/ 1 w 1"/>
                      <a:gd name="T1" fmla="*/ 1 h 1"/>
                      <a:gd name="T2" fmla="*/ 0 w 1"/>
                      <a:gd name="T3" fmla="*/ 0 h 1"/>
                      <a:gd name="T4" fmla="*/ 1 w 1"/>
                      <a:gd name="T5" fmla="*/ 1 h 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1" h="1">
                        <a:moveTo>
                          <a:pt x="1" y="1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0"/>
                          <a:pt x="0" y="0"/>
                          <a:pt x="1" y="1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61" name="Freeform 560"/>
                  <p:cNvSpPr>
                    <a:spLocks/>
                  </p:cNvSpPr>
                  <p:nvPr/>
                </p:nvSpPr>
                <p:spPr bwMode="auto">
                  <a:xfrm>
                    <a:off x="7268124" y="2696627"/>
                    <a:ext cx="0" cy="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62" name="Freeform 561"/>
                  <p:cNvSpPr>
                    <a:spLocks/>
                  </p:cNvSpPr>
                  <p:nvPr/>
                </p:nvSpPr>
                <p:spPr bwMode="auto">
                  <a:xfrm>
                    <a:off x="7258513" y="2683172"/>
                    <a:ext cx="5767" cy="0"/>
                  </a:xfrm>
                  <a:custGeom>
                    <a:avLst/>
                    <a:gdLst>
                      <a:gd name="T0" fmla="*/ 1 w 1"/>
                      <a:gd name="T1" fmla="*/ 0 w 1"/>
                      <a:gd name="T2" fmla="*/ 1 w 1"/>
                    </a:gdLst>
                    <a:ahLst/>
                    <a:cxnLst>
                      <a:cxn ang="0">
                        <a:pos x="T0" y="0"/>
                      </a:cxn>
                      <a:cxn ang="0">
                        <a:pos x="T1" y="0"/>
                      </a:cxn>
                      <a:cxn ang="0">
                        <a:pos x="T2" y="0"/>
                      </a:cxn>
                    </a:cxnLst>
                    <a:rect l="0" t="0" r="r" b="b"/>
                    <a:pathLst>
                      <a:path w="1">
                        <a:moveTo>
                          <a:pt x="1" y="0"/>
                        </a:moveTo>
                        <a:cubicBezTo>
                          <a:pt x="1" y="0"/>
                          <a:pt x="1" y="0"/>
                          <a:pt x="0" y="0"/>
                        </a:cubicBezTo>
                        <a:cubicBezTo>
                          <a:pt x="1" y="0"/>
                          <a:pt x="1" y="0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63" name="Freeform 562"/>
                  <p:cNvSpPr>
                    <a:spLocks/>
                  </p:cNvSpPr>
                  <p:nvPr/>
                </p:nvSpPr>
                <p:spPr bwMode="auto">
                  <a:xfrm>
                    <a:off x="7264280" y="2687016"/>
                    <a:ext cx="0" cy="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64" name="Freeform 563"/>
                  <p:cNvSpPr>
                    <a:spLocks/>
                  </p:cNvSpPr>
                  <p:nvPr/>
                </p:nvSpPr>
                <p:spPr bwMode="auto">
                  <a:xfrm>
                    <a:off x="6977892" y="2683172"/>
                    <a:ext cx="0" cy="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65" name="Freeform 564"/>
                  <p:cNvSpPr>
                    <a:spLocks/>
                  </p:cNvSpPr>
                  <p:nvPr/>
                </p:nvSpPr>
                <p:spPr bwMode="auto">
                  <a:xfrm>
                    <a:off x="7271968" y="2706237"/>
                    <a:ext cx="0" cy="3844"/>
                  </a:xfrm>
                  <a:custGeom>
                    <a:avLst/>
                    <a:gdLst>
                      <a:gd name="T0" fmla="*/ 1 h 1"/>
                      <a:gd name="T1" fmla="*/ 0 h 1"/>
                      <a:gd name="T2" fmla="*/ 1 h 1"/>
                    </a:gdLst>
                    <a:ahLst/>
                    <a:cxnLst>
                      <a:cxn ang="0">
                        <a:pos x="0" y="T0"/>
                      </a:cxn>
                      <a:cxn ang="0">
                        <a:pos x="0" y="T1"/>
                      </a:cxn>
                      <a:cxn ang="0">
                        <a:pos x="0" y="T2"/>
                      </a:cxn>
                    </a:cxnLst>
                    <a:rect l="0" t="0" r="r" b="b"/>
                    <a:pathLst>
                      <a:path h="1">
                        <a:moveTo>
                          <a:pt x="0" y="1"/>
                        </a:moveTo>
                        <a:cubicBezTo>
                          <a:pt x="0" y="1"/>
                          <a:pt x="0" y="0"/>
                          <a:pt x="0" y="0"/>
                        </a:cubicBezTo>
                        <a:cubicBezTo>
                          <a:pt x="0" y="0"/>
                          <a:pt x="0" y="1"/>
                          <a:pt x="0" y="1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66" name="Freeform 565"/>
                  <p:cNvSpPr>
                    <a:spLocks/>
                  </p:cNvSpPr>
                  <p:nvPr/>
                </p:nvSpPr>
                <p:spPr bwMode="auto">
                  <a:xfrm>
                    <a:off x="7271968" y="2715848"/>
                    <a:ext cx="0" cy="3844"/>
                  </a:xfrm>
                  <a:custGeom>
                    <a:avLst/>
                    <a:gdLst>
                      <a:gd name="T0" fmla="*/ 1 h 1"/>
                      <a:gd name="T1" fmla="*/ 0 h 1"/>
                      <a:gd name="T2" fmla="*/ 1 h 1"/>
                    </a:gdLst>
                    <a:ahLst/>
                    <a:cxnLst>
                      <a:cxn ang="0">
                        <a:pos x="0" y="T0"/>
                      </a:cxn>
                      <a:cxn ang="0">
                        <a:pos x="0" y="T1"/>
                      </a:cxn>
                      <a:cxn ang="0">
                        <a:pos x="0" y="T2"/>
                      </a:cxn>
                    </a:cxnLst>
                    <a:rect l="0" t="0" r="r" b="b"/>
                    <a:pathLst>
                      <a:path h="1">
                        <a:moveTo>
                          <a:pt x="0" y="1"/>
                        </a:moveTo>
                        <a:cubicBezTo>
                          <a:pt x="0" y="1"/>
                          <a:pt x="0" y="0"/>
                          <a:pt x="0" y="0"/>
                        </a:cubicBezTo>
                        <a:cubicBezTo>
                          <a:pt x="0" y="0"/>
                          <a:pt x="0" y="1"/>
                          <a:pt x="0" y="1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67" name="Rectangle 566"/>
                  <p:cNvSpPr>
                    <a:spLocks noChangeArrowheads="1"/>
                  </p:cNvSpPr>
                  <p:nvPr/>
                </p:nvSpPr>
                <p:spPr bwMode="auto">
                  <a:xfrm>
                    <a:off x="7258513" y="2679328"/>
                    <a:ext cx="1923" cy="1921"/>
                  </a:xfrm>
                  <a:prstGeom prst="rect">
                    <a:avLst/>
                  </a:pr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68" name="Freeform 567"/>
                  <p:cNvSpPr>
                    <a:spLocks/>
                  </p:cNvSpPr>
                  <p:nvPr/>
                </p:nvSpPr>
                <p:spPr bwMode="auto">
                  <a:xfrm>
                    <a:off x="6968282" y="2710081"/>
                    <a:ext cx="3844" cy="0"/>
                  </a:xfrm>
                  <a:custGeom>
                    <a:avLst/>
                    <a:gdLst>
                      <a:gd name="T0" fmla="*/ 1 w 1"/>
                      <a:gd name="T1" fmla="*/ 0 w 1"/>
                      <a:gd name="T2" fmla="*/ 1 w 1"/>
                    </a:gdLst>
                    <a:ahLst/>
                    <a:cxnLst>
                      <a:cxn ang="0">
                        <a:pos x="T0" y="0"/>
                      </a:cxn>
                      <a:cxn ang="0">
                        <a:pos x="T1" y="0"/>
                      </a:cxn>
                      <a:cxn ang="0">
                        <a:pos x="T2" y="0"/>
                      </a:cxn>
                    </a:cxnLst>
                    <a:rect l="0" t="0" r="r" b="b"/>
                    <a:pathLst>
                      <a:path w="1">
                        <a:moveTo>
                          <a:pt x="1" y="0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0"/>
                          <a:pt x="0" y="0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69" name="Freeform 568"/>
                  <p:cNvSpPr>
                    <a:spLocks/>
                  </p:cNvSpPr>
                  <p:nvPr/>
                </p:nvSpPr>
                <p:spPr bwMode="auto">
                  <a:xfrm>
                    <a:off x="6972126" y="2696627"/>
                    <a:ext cx="0" cy="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70" name="Freeform 569"/>
                  <p:cNvSpPr>
                    <a:spLocks/>
                  </p:cNvSpPr>
                  <p:nvPr/>
                </p:nvSpPr>
                <p:spPr bwMode="auto">
                  <a:xfrm>
                    <a:off x="6977892" y="2692783"/>
                    <a:ext cx="0" cy="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71" name="Freeform 570"/>
                  <p:cNvSpPr>
                    <a:spLocks/>
                  </p:cNvSpPr>
                  <p:nvPr/>
                </p:nvSpPr>
                <p:spPr bwMode="auto">
                  <a:xfrm>
                    <a:off x="6972126" y="2700471"/>
                    <a:ext cx="0" cy="5766"/>
                  </a:xfrm>
                  <a:custGeom>
                    <a:avLst/>
                    <a:gdLst>
                      <a:gd name="T0" fmla="*/ 0 h 1"/>
                      <a:gd name="T1" fmla="*/ 1 h 1"/>
                      <a:gd name="T2" fmla="*/ 0 h 1"/>
                    </a:gdLst>
                    <a:ahLst/>
                    <a:cxnLst>
                      <a:cxn ang="0">
                        <a:pos x="0" y="T0"/>
                      </a:cxn>
                      <a:cxn ang="0">
                        <a:pos x="0" y="T1"/>
                      </a:cxn>
                      <a:cxn ang="0">
                        <a:pos x="0" y="T2"/>
                      </a:cxn>
                    </a:cxnLst>
                    <a:rect l="0" t="0" r="r" b="b"/>
                    <a:pathLst>
                      <a:path h="1">
                        <a:moveTo>
                          <a:pt x="0" y="0"/>
                        </a:moveTo>
                        <a:cubicBezTo>
                          <a:pt x="0" y="1"/>
                          <a:pt x="0" y="1"/>
                          <a:pt x="0" y="1"/>
                        </a:cubicBezTo>
                        <a:cubicBezTo>
                          <a:pt x="0" y="1"/>
                          <a:pt x="0" y="1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72" name="Freeform 571"/>
                  <p:cNvSpPr>
                    <a:spLocks/>
                  </p:cNvSpPr>
                  <p:nvPr/>
                </p:nvSpPr>
                <p:spPr bwMode="auto">
                  <a:xfrm>
                    <a:off x="6945218" y="2663952"/>
                    <a:ext cx="355582" cy="319062"/>
                  </a:xfrm>
                  <a:custGeom>
                    <a:avLst/>
                    <a:gdLst>
                      <a:gd name="T0" fmla="*/ 74 w 78"/>
                      <a:gd name="T1" fmla="*/ 17 h 70"/>
                      <a:gd name="T2" fmla="*/ 72 w 78"/>
                      <a:gd name="T3" fmla="*/ 17 h 70"/>
                      <a:gd name="T4" fmla="*/ 72 w 78"/>
                      <a:gd name="T5" fmla="*/ 12 h 70"/>
                      <a:gd name="T6" fmla="*/ 72 w 78"/>
                      <a:gd name="T7" fmla="*/ 11 h 70"/>
                      <a:gd name="T8" fmla="*/ 72 w 78"/>
                      <a:gd name="T9" fmla="*/ 10 h 70"/>
                      <a:gd name="T10" fmla="*/ 72 w 78"/>
                      <a:gd name="T11" fmla="*/ 9 h 70"/>
                      <a:gd name="T12" fmla="*/ 72 w 78"/>
                      <a:gd name="T13" fmla="*/ 9 h 70"/>
                      <a:gd name="T14" fmla="*/ 71 w 78"/>
                      <a:gd name="T15" fmla="*/ 8 h 70"/>
                      <a:gd name="T16" fmla="*/ 71 w 78"/>
                      <a:gd name="T17" fmla="*/ 7 h 70"/>
                      <a:gd name="T18" fmla="*/ 71 w 78"/>
                      <a:gd name="T19" fmla="*/ 7 h 70"/>
                      <a:gd name="T20" fmla="*/ 70 w 78"/>
                      <a:gd name="T21" fmla="*/ 5 h 70"/>
                      <a:gd name="T22" fmla="*/ 70 w 78"/>
                      <a:gd name="T23" fmla="*/ 5 h 70"/>
                      <a:gd name="T24" fmla="*/ 70 w 78"/>
                      <a:gd name="T25" fmla="*/ 4 h 70"/>
                      <a:gd name="T26" fmla="*/ 69 w 78"/>
                      <a:gd name="T27" fmla="*/ 4 h 70"/>
                      <a:gd name="T28" fmla="*/ 69 w 78"/>
                      <a:gd name="T29" fmla="*/ 3 h 70"/>
                      <a:gd name="T30" fmla="*/ 69 w 78"/>
                      <a:gd name="T31" fmla="*/ 3 h 70"/>
                      <a:gd name="T32" fmla="*/ 63 w 78"/>
                      <a:gd name="T33" fmla="*/ 3 h 70"/>
                      <a:gd name="T34" fmla="*/ 52 w 78"/>
                      <a:gd name="T35" fmla="*/ 1 h 70"/>
                      <a:gd name="T36" fmla="*/ 32 w 78"/>
                      <a:gd name="T37" fmla="*/ 3 h 70"/>
                      <a:gd name="T38" fmla="*/ 10 w 78"/>
                      <a:gd name="T39" fmla="*/ 0 h 70"/>
                      <a:gd name="T40" fmla="*/ 7 w 78"/>
                      <a:gd name="T41" fmla="*/ 4 h 70"/>
                      <a:gd name="T42" fmla="*/ 7 w 78"/>
                      <a:gd name="T43" fmla="*/ 4 h 70"/>
                      <a:gd name="T44" fmla="*/ 7 w 78"/>
                      <a:gd name="T45" fmla="*/ 6 h 70"/>
                      <a:gd name="T46" fmla="*/ 7 w 78"/>
                      <a:gd name="T47" fmla="*/ 6 h 70"/>
                      <a:gd name="T48" fmla="*/ 6 w 78"/>
                      <a:gd name="T49" fmla="*/ 7 h 70"/>
                      <a:gd name="T50" fmla="*/ 6 w 78"/>
                      <a:gd name="T51" fmla="*/ 7 h 70"/>
                      <a:gd name="T52" fmla="*/ 6 w 78"/>
                      <a:gd name="T53" fmla="*/ 8 h 70"/>
                      <a:gd name="T54" fmla="*/ 6 w 78"/>
                      <a:gd name="T55" fmla="*/ 9 h 70"/>
                      <a:gd name="T56" fmla="*/ 6 w 78"/>
                      <a:gd name="T57" fmla="*/ 10 h 70"/>
                      <a:gd name="T58" fmla="*/ 5 w 78"/>
                      <a:gd name="T59" fmla="*/ 10 h 70"/>
                      <a:gd name="T60" fmla="*/ 5 w 78"/>
                      <a:gd name="T61" fmla="*/ 12 h 70"/>
                      <a:gd name="T62" fmla="*/ 5 w 78"/>
                      <a:gd name="T63" fmla="*/ 17 h 70"/>
                      <a:gd name="T64" fmla="*/ 4 w 78"/>
                      <a:gd name="T65" fmla="*/ 17 h 70"/>
                      <a:gd name="T66" fmla="*/ 0 w 78"/>
                      <a:gd name="T67" fmla="*/ 23 h 70"/>
                      <a:gd name="T68" fmla="*/ 0 w 78"/>
                      <a:gd name="T69" fmla="*/ 35 h 70"/>
                      <a:gd name="T70" fmla="*/ 5 w 78"/>
                      <a:gd name="T71" fmla="*/ 40 h 70"/>
                      <a:gd name="T72" fmla="*/ 24 w 78"/>
                      <a:gd name="T73" fmla="*/ 70 h 70"/>
                      <a:gd name="T74" fmla="*/ 53 w 78"/>
                      <a:gd name="T75" fmla="*/ 70 h 70"/>
                      <a:gd name="T76" fmla="*/ 72 w 78"/>
                      <a:gd name="T77" fmla="*/ 40 h 70"/>
                      <a:gd name="T78" fmla="*/ 78 w 78"/>
                      <a:gd name="T79" fmla="*/ 35 h 70"/>
                      <a:gd name="T80" fmla="*/ 78 w 78"/>
                      <a:gd name="T81" fmla="*/ 23 h 70"/>
                      <a:gd name="T82" fmla="*/ 74 w 78"/>
                      <a:gd name="T83" fmla="*/ 17 h 7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</a:cxnLst>
                    <a:rect l="0" t="0" r="r" b="b"/>
                    <a:pathLst>
                      <a:path w="78" h="70">
                        <a:moveTo>
                          <a:pt x="74" y="17"/>
                        </a:moveTo>
                        <a:cubicBezTo>
                          <a:pt x="73" y="17"/>
                          <a:pt x="73" y="17"/>
                          <a:pt x="72" y="17"/>
                        </a:cubicBezTo>
                        <a:cubicBezTo>
                          <a:pt x="72" y="12"/>
                          <a:pt x="72" y="12"/>
                          <a:pt x="72" y="12"/>
                        </a:cubicBezTo>
                        <a:cubicBezTo>
                          <a:pt x="72" y="12"/>
                          <a:pt x="72" y="11"/>
                          <a:pt x="72" y="11"/>
                        </a:cubicBezTo>
                        <a:cubicBezTo>
                          <a:pt x="72" y="10"/>
                          <a:pt x="72" y="10"/>
                          <a:pt x="72" y="10"/>
                        </a:cubicBezTo>
                        <a:cubicBezTo>
                          <a:pt x="72" y="10"/>
                          <a:pt x="72" y="9"/>
                          <a:pt x="72" y="9"/>
                        </a:cubicBezTo>
                        <a:cubicBezTo>
                          <a:pt x="72" y="9"/>
                          <a:pt x="72" y="9"/>
                          <a:pt x="72" y="9"/>
                        </a:cubicBezTo>
                        <a:cubicBezTo>
                          <a:pt x="71" y="8"/>
                          <a:pt x="71" y="8"/>
                          <a:pt x="71" y="8"/>
                        </a:cubicBezTo>
                        <a:cubicBezTo>
                          <a:pt x="71" y="8"/>
                          <a:pt x="71" y="7"/>
                          <a:pt x="71" y="7"/>
                        </a:cubicBezTo>
                        <a:cubicBezTo>
                          <a:pt x="71" y="7"/>
                          <a:pt x="71" y="7"/>
                          <a:pt x="71" y="7"/>
                        </a:cubicBezTo>
                        <a:cubicBezTo>
                          <a:pt x="71" y="6"/>
                          <a:pt x="71" y="6"/>
                          <a:pt x="70" y="5"/>
                        </a:cubicBezTo>
                        <a:cubicBezTo>
                          <a:pt x="70" y="5"/>
                          <a:pt x="70" y="5"/>
                          <a:pt x="70" y="5"/>
                        </a:cubicBezTo>
                        <a:cubicBezTo>
                          <a:pt x="70" y="4"/>
                          <a:pt x="70" y="4"/>
                          <a:pt x="70" y="4"/>
                        </a:cubicBezTo>
                        <a:cubicBezTo>
                          <a:pt x="70" y="4"/>
                          <a:pt x="70" y="4"/>
                          <a:pt x="69" y="4"/>
                        </a:cubicBezTo>
                        <a:cubicBezTo>
                          <a:pt x="69" y="3"/>
                          <a:pt x="69" y="3"/>
                          <a:pt x="69" y="3"/>
                        </a:cubicBezTo>
                        <a:cubicBezTo>
                          <a:pt x="69" y="3"/>
                          <a:pt x="69" y="3"/>
                          <a:pt x="69" y="3"/>
                        </a:cubicBezTo>
                        <a:cubicBezTo>
                          <a:pt x="67" y="3"/>
                          <a:pt x="65" y="3"/>
                          <a:pt x="63" y="3"/>
                        </a:cubicBezTo>
                        <a:cubicBezTo>
                          <a:pt x="58" y="3"/>
                          <a:pt x="54" y="2"/>
                          <a:pt x="52" y="1"/>
                        </a:cubicBezTo>
                        <a:cubicBezTo>
                          <a:pt x="47" y="2"/>
                          <a:pt x="40" y="3"/>
                          <a:pt x="32" y="3"/>
                        </a:cubicBezTo>
                        <a:cubicBezTo>
                          <a:pt x="23" y="3"/>
                          <a:pt x="15" y="2"/>
                          <a:pt x="10" y="0"/>
                        </a:cubicBezTo>
                        <a:cubicBezTo>
                          <a:pt x="9" y="2"/>
                          <a:pt x="8" y="3"/>
                          <a:pt x="7" y="4"/>
                        </a:cubicBezTo>
                        <a:cubicBezTo>
                          <a:pt x="7" y="4"/>
                          <a:pt x="7" y="4"/>
                          <a:pt x="7" y="4"/>
                        </a:cubicBezTo>
                        <a:cubicBezTo>
                          <a:pt x="7" y="5"/>
                          <a:pt x="7" y="5"/>
                          <a:pt x="7" y="6"/>
                        </a:cubicBezTo>
                        <a:cubicBezTo>
                          <a:pt x="7" y="6"/>
                          <a:pt x="7" y="6"/>
                          <a:pt x="7" y="6"/>
                        </a:cubicBezTo>
                        <a:cubicBezTo>
                          <a:pt x="7" y="6"/>
                          <a:pt x="6" y="7"/>
                          <a:pt x="6" y="7"/>
                        </a:cubicBezTo>
                        <a:cubicBezTo>
                          <a:pt x="6" y="7"/>
                          <a:pt x="6" y="7"/>
                          <a:pt x="6" y="7"/>
                        </a:cubicBezTo>
                        <a:cubicBezTo>
                          <a:pt x="6" y="8"/>
                          <a:pt x="6" y="8"/>
                          <a:pt x="6" y="8"/>
                        </a:cubicBezTo>
                        <a:cubicBezTo>
                          <a:pt x="6" y="9"/>
                          <a:pt x="6" y="9"/>
                          <a:pt x="6" y="9"/>
                        </a:cubicBezTo>
                        <a:cubicBezTo>
                          <a:pt x="6" y="9"/>
                          <a:pt x="6" y="10"/>
                          <a:pt x="6" y="10"/>
                        </a:cubicBezTo>
                        <a:cubicBezTo>
                          <a:pt x="5" y="10"/>
                          <a:pt x="5" y="10"/>
                          <a:pt x="5" y="10"/>
                        </a:cubicBezTo>
                        <a:cubicBezTo>
                          <a:pt x="5" y="11"/>
                          <a:pt x="5" y="12"/>
                          <a:pt x="5" y="12"/>
                        </a:cubicBezTo>
                        <a:cubicBezTo>
                          <a:pt x="5" y="17"/>
                          <a:pt x="5" y="17"/>
                          <a:pt x="5" y="17"/>
                        </a:cubicBezTo>
                        <a:cubicBezTo>
                          <a:pt x="5" y="17"/>
                          <a:pt x="5" y="17"/>
                          <a:pt x="4" y="17"/>
                        </a:cubicBezTo>
                        <a:cubicBezTo>
                          <a:pt x="2" y="17"/>
                          <a:pt x="0" y="20"/>
                          <a:pt x="0" y="23"/>
                        </a:cubicBezTo>
                        <a:cubicBezTo>
                          <a:pt x="0" y="35"/>
                          <a:pt x="0" y="35"/>
                          <a:pt x="0" y="35"/>
                        </a:cubicBezTo>
                        <a:cubicBezTo>
                          <a:pt x="0" y="38"/>
                          <a:pt x="2" y="40"/>
                          <a:pt x="5" y="40"/>
                        </a:cubicBezTo>
                        <a:cubicBezTo>
                          <a:pt x="5" y="40"/>
                          <a:pt x="15" y="70"/>
                          <a:pt x="24" y="70"/>
                        </a:cubicBezTo>
                        <a:cubicBezTo>
                          <a:pt x="53" y="70"/>
                          <a:pt x="53" y="70"/>
                          <a:pt x="53" y="70"/>
                        </a:cubicBezTo>
                        <a:cubicBezTo>
                          <a:pt x="62" y="70"/>
                          <a:pt x="72" y="40"/>
                          <a:pt x="72" y="40"/>
                        </a:cubicBezTo>
                        <a:cubicBezTo>
                          <a:pt x="75" y="40"/>
                          <a:pt x="78" y="38"/>
                          <a:pt x="78" y="35"/>
                        </a:cubicBezTo>
                        <a:cubicBezTo>
                          <a:pt x="78" y="23"/>
                          <a:pt x="78" y="23"/>
                          <a:pt x="78" y="23"/>
                        </a:cubicBezTo>
                        <a:cubicBezTo>
                          <a:pt x="78" y="20"/>
                          <a:pt x="76" y="18"/>
                          <a:pt x="74" y="17"/>
                        </a:cubicBezTo>
                        <a:close/>
                      </a:path>
                    </a:pathLst>
                  </a:custGeom>
                  <a:solidFill>
                    <a:srgbClr val="FFB9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73" name="Rectangle 572"/>
                  <p:cNvSpPr>
                    <a:spLocks noChangeArrowheads="1"/>
                  </p:cNvSpPr>
                  <p:nvPr/>
                </p:nvSpPr>
                <p:spPr bwMode="auto">
                  <a:xfrm>
                    <a:off x="6845270" y="4053602"/>
                    <a:ext cx="555476" cy="36519"/>
                  </a:xfrm>
                  <a:prstGeom prst="rect">
                    <a:avLst/>
                  </a:pr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74" name="Rectangle 573"/>
                  <p:cNvSpPr>
                    <a:spLocks noChangeArrowheads="1"/>
                  </p:cNvSpPr>
                  <p:nvPr/>
                </p:nvSpPr>
                <p:spPr bwMode="auto">
                  <a:xfrm>
                    <a:off x="7072074" y="4053602"/>
                    <a:ext cx="99947" cy="36519"/>
                  </a:xfrm>
                  <a:prstGeom prst="rect">
                    <a:avLst/>
                  </a:pr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75" name="Oval 574"/>
                  <p:cNvSpPr>
                    <a:spLocks noChangeArrowheads="1"/>
                  </p:cNvSpPr>
                  <p:nvPr/>
                </p:nvSpPr>
                <p:spPr bwMode="auto">
                  <a:xfrm>
                    <a:off x="7114359" y="3129090"/>
                    <a:ext cx="17299" cy="19221"/>
                  </a:xfrm>
                  <a:prstGeom prst="ellipse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76" name="Oval 575"/>
                  <p:cNvSpPr>
                    <a:spLocks noChangeArrowheads="1"/>
                  </p:cNvSpPr>
                  <p:nvPr/>
                </p:nvSpPr>
                <p:spPr bwMode="auto">
                  <a:xfrm>
                    <a:off x="7114359" y="3192519"/>
                    <a:ext cx="17299" cy="13454"/>
                  </a:xfrm>
                  <a:prstGeom prst="ellipse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</p:grpSp>
          </p:grpSp>
        </p:grpSp>
      </p:grpSp>
      <p:grpSp>
        <p:nvGrpSpPr>
          <p:cNvPr id="14" name="Group 13"/>
          <p:cNvGrpSpPr/>
          <p:nvPr/>
        </p:nvGrpSpPr>
        <p:grpSpPr>
          <a:xfrm>
            <a:off x="6310851" y="3731671"/>
            <a:ext cx="3122758" cy="2743200"/>
            <a:chOff x="6310851" y="3731671"/>
            <a:chExt cx="3122758" cy="2743200"/>
          </a:xfrm>
        </p:grpSpPr>
        <p:sp>
          <p:nvSpPr>
            <p:cNvPr id="657" name="Rectangle 656"/>
            <p:cNvSpPr/>
            <p:nvPr/>
          </p:nvSpPr>
          <p:spPr>
            <a:xfrm>
              <a:off x="6310851" y="3731671"/>
              <a:ext cx="3122757" cy="2743200"/>
            </a:xfrm>
            <a:prstGeom prst="rect">
              <a:avLst/>
            </a:prstGeom>
            <a:solidFill>
              <a:srgbClr val="4B00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8" name="Rectangle 657"/>
            <p:cNvSpPr/>
            <p:nvPr/>
          </p:nvSpPr>
          <p:spPr>
            <a:xfrm>
              <a:off x="6932413" y="3731671"/>
              <a:ext cx="2501196" cy="2743200"/>
            </a:xfrm>
            <a:prstGeom prst="rect">
              <a:avLst/>
            </a:prstGeom>
            <a:solidFill>
              <a:srgbClr val="E9E9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6" name="Freeform 715"/>
            <p:cNvSpPr>
              <a:spLocks/>
            </p:cNvSpPr>
            <p:nvPr/>
          </p:nvSpPr>
          <p:spPr bwMode="auto">
            <a:xfrm>
              <a:off x="6740360" y="4049371"/>
              <a:ext cx="973658" cy="640005"/>
            </a:xfrm>
            <a:custGeom>
              <a:avLst/>
              <a:gdLst>
                <a:gd name="T0" fmla="*/ 132 w 157"/>
                <a:gd name="T1" fmla="*/ 45 h 103"/>
                <a:gd name="T2" fmla="*/ 132 w 157"/>
                <a:gd name="T3" fmla="*/ 43 h 103"/>
                <a:gd name="T4" fmla="*/ 88 w 157"/>
                <a:gd name="T5" fmla="*/ 0 h 103"/>
                <a:gd name="T6" fmla="*/ 52 w 157"/>
                <a:gd name="T7" fmla="*/ 19 h 103"/>
                <a:gd name="T8" fmla="*/ 41 w 157"/>
                <a:gd name="T9" fmla="*/ 16 h 103"/>
                <a:gd name="T10" fmla="*/ 27 w 157"/>
                <a:gd name="T11" fmla="*/ 20 h 103"/>
                <a:gd name="T12" fmla="*/ 15 w 157"/>
                <a:gd name="T13" fmla="*/ 40 h 103"/>
                <a:gd name="T14" fmla="*/ 0 w 157"/>
                <a:gd name="T15" fmla="*/ 69 h 103"/>
                <a:gd name="T16" fmla="*/ 30 w 157"/>
                <a:gd name="T17" fmla="*/ 103 h 103"/>
                <a:gd name="T18" fmla="*/ 34 w 157"/>
                <a:gd name="T19" fmla="*/ 103 h 103"/>
                <a:gd name="T20" fmla="*/ 37 w 157"/>
                <a:gd name="T21" fmla="*/ 103 h 103"/>
                <a:gd name="T22" fmla="*/ 108 w 157"/>
                <a:gd name="T23" fmla="*/ 103 h 103"/>
                <a:gd name="T24" fmla="*/ 109 w 157"/>
                <a:gd name="T25" fmla="*/ 103 h 103"/>
                <a:gd name="T26" fmla="*/ 111 w 157"/>
                <a:gd name="T27" fmla="*/ 103 h 103"/>
                <a:gd name="T28" fmla="*/ 116 w 157"/>
                <a:gd name="T29" fmla="*/ 103 h 103"/>
                <a:gd name="T30" fmla="*/ 128 w 157"/>
                <a:gd name="T31" fmla="*/ 103 h 103"/>
                <a:gd name="T32" fmla="*/ 157 w 157"/>
                <a:gd name="T33" fmla="*/ 74 h 103"/>
                <a:gd name="T34" fmla="*/ 132 w 157"/>
                <a:gd name="T35" fmla="*/ 4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7" h="103">
                  <a:moveTo>
                    <a:pt x="132" y="45"/>
                  </a:moveTo>
                  <a:cubicBezTo>
                    <a:pt x="132" y="44"/>
                    <a:pt x="132" y="44"/>
                    <a:pt x="132" y="43"/>
                  </a:cubicBezTo>
                  <a:cubicBezTo>
                    <a:pt x="132" y="19"/>
                    <a:pt x="112" y="0"/>
                    <a:pt x="88" y="0"/>
                  </a:cubicBezTo>
                  <a:cubicBezTo>
                    <a:pt x="73" y="0"/>
                    <a:pt x="60" y="8"/>
                    <a:pt x="52" y="19"/>
                  </a:cubicBezTo>
                  <a:cubicBezTo>
                    <a:pt x="49" y="17"/>
                    <a:pt x="45" y="16"/>
                    <a:pt x="41" y="16"/>
                  </a:cubicBezTo>
                  <a:cubicBezTo>
                    <a:pt x="35" y="16"/>
                    <a:pt x="31" y="18"/>
                    <a:pt x="27" y="20"/>
                  </a:cubicBezTo>
                  <a:cubicBezTo>
                    <a:pt x="20" y="25"/>
                    <a:pt x="16" y="32"/>
                    <a:pt x="15" y="40"/>
                  </a:cubicBezTo>
                  <a:cubicBezTo>
                    <a:pt x="6" y="46"/>
                    <a:pt x="0" y="57"/>
                    <a:pt x="0" y="69"/>
                  </a:cubicBezTo>
                  <a:cubicBezTo>
                    <a:pt x="0" y="87"/>
                    <a:pt x="13" y="101"/>
                    <a:pt x="30" y="103"/>
                  </a:cubicBezTo>
                  <a:cubicBezTo>
                    <a:pt x="31" y="103"/>
                    <a:pt x="33" y="103"/>
                    <a:pt x="34" y="103"/>
                  </a:cubicBezTo>
                  <a:cubicBezTo>
                    <a:pt x="35" y="103"/>
                    <a:pt x="36" y="103"/>
                    <a:pt x="37" y="103"/>
                  </a:cubicBezTo>
                  <a:cubicBezTo>
                    <a:pt x="53" y="103"/>
                    <a:pt x="90" y="103"/>
                    <a:pt x="108" y="103"/>
                  </a:cubicBezTo>
                  <a:cubicBezTo>
                    <a:pt x="109" y="103"/>
                    <a:pt x="109" y="103"/>
                    <a:pt x="109" y="103"/>
                  </a:cubicBezTo>
                  <a:cubicBezTo>
                    <a:pt x="111" y="103"/>
                    <a:pt x="111" y="103"/>
                    <a:pt x="111" y="103"/>
                  </a:cubicBezTo>
                  <a:cubicBezTo>
                    <a:pt x="112" y="103"/>
                    <a:pt x="115" y="103"/>
                    <a:pt x="116" y="103"/>
                  </a:cubicBezTo>
                  <a:cubicBezTo>
                    <a:pt x="128" y="103"/>
                    <a:pt x="128" y="103"/>
                    <a:pt x="128" y="103"/>
                  </a:cubicBezTo>
                  <a:cubicBezTo>
                    <a:pt x="144" y="103"/>
                    <a:pt x="157" y="90"/>
                    <a:pt x="157" y="74"/>
                  </a:cubicBezTo>
                  <a:cubicBezTo>
                    <a:pt x="157" y="59"/>
                    <a:pt x="146" y="47"/>
                    <a:pt x="132" y="45"/>
                  </a:cubicBezTo>
                  <a:close/>
                </a:path>
              </a:pathLst>
            </a:custGeom>
            <a:solidFill>
              <a:srgbClr val="00BCF2">
                <a:lumMod val="40000"/>
                <a:lumOff val="60000"/>
              </a:srgb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717" name="Group 716"/>
            <p:cNvGrpSpPr/>
            <p:nvPr/>
          </p:nvGrpSpPr>
          <p:grpSpPr>
            <a:xfrm>
              <a:off x="8327071" y="4574836"/>
              <a:ext cx="1093996" cy="1364496"/>
              <a:chOff x="-3438232" y="-1996810"/>
              <a:chExt cx="1236693" cy="1542479"/>
            </a:xfrm>
          </p:grpSpPr>
          <p:sp>
            <p:nvSpPr>
              <p:cNvPr id="827" name="Trapezoid 826"/>
              <p:cNvSpPr/>
              <p:nvPr/>
            </p:nvSpPr>
            <p:spPr bwMode="auto">
              <a:xfrm rot="16200000">
                <a:off x="-3591125" y="-1843917"/>
                <a:ext cx="1542479" cy="1236693"/>
              </a:xfrm>
              <a:prstGeom prst="trapezoid">
                <a:avLst/>
              </a:prstGeom>
              <a:solidFill>
                <a:srgbClr val="ADD40D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828" name="Trapezoid 827"/>
              <p:cNvSpPr/>
              <p:nvPr/>
            </p:nvSpPr>
            <p:spPr bwMode="auto">
              <a:xfrm rot="16200000">
                <a:off x="-3482517" y="-1759465"/>
                <a:ext cx="1284658" cy="1029983"/>
              </a:xfrm>
              <a:prstGeom prst="trapezoid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829" name="Trapezoid 828"/>
              <p:cNvSpPr/>
              <p:nvPr/>
            </p:nvSpPr>
            <p:spPr bwMode="auto">
              <a:xfrm rot="16200000">
                <a:off x="-3158999" y="-1250136"/>
                <a:ext cx="579368" cy="185978"/>
              </a:xfrm>
              <a:prstGeom prst="trapezoid">
                <a:avLst/>
              </a:prstGeom>
              <a:solidFill>
                <a:srgbClr val="DC3C00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830" name="Trapezoid 829"/>
              <p:cNvSpPr/>
              <p:nvPr/>
            </p:nvSpPr>
            <p:spPr bwMode="auto">
              <a:xfrm rot="16200000">
                <a:off x="-2999579" y="-1287916"/>
                <a:ext cx="819999" cy="179106"/>
              </a:xfrm>
              <a:prstGeom prst="trapezoid">
                <a:avLst/>
              </a:prstGeom>
              <a:solidFill>
                <a:srgbClr val="008272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831" name="Trapezoid 830"/>
              <p:cNvSpPr/>
              <p:nvPr/>
            </p:nvSpPr>
            <p:spPr bwMode="auto">
              <a:xfrm rot="16200000">
                <a:off x="-3317728" y="-1206991"/>
                <a:ext cx="384076" cy="150736"/>
              </a:xfrm>
              <a:prstGeom prst="trapezoid">
                <a:avLst/>
              </a:prstGeom>
              <a:solidFill>
                <a:srgbClr val="68217A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718" name="Group 717"/>
            <p:cNvGrpSpPr/>
            <p:nvPr/>
          </p:nvGrpSpPr>
          <p:grpSpPr>
            <a:xfrm>
              <a:off x="6412445" y="4579759"/>
              <a:ext cx="582159" cy="343453"/>
              <a:chOff x="938299" y="2418389"/>
              <a:chExt cx="1240068" cy="731596"/>
            </a:xfrm>
          </p:grpSpPr>
          <p:sp>
            <p:nvSpPr>
              <p:cNvPr id="821" name="Rectangle 820"/>
              <p:cNvSpPr/>
              <p:nvPr/>
            </p:nvSpPr>
            <p:spPr bwMode="auto">
              <a:xfrm>
                <a:off x="1005461" y="2484653"/>
                <a:ext cx="1045740" cy="605615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822" name="Group 821"/>
              <p:cNvGrpSpPr/>
              <p:nvPr/>
            </p:nvGrpSpPr>
            <p:grpSpPr>
              <a:xfrm>
                <a:off x="938299" y="2418389"/>
                <a:ext cx="1240068" cy="731596"/>
                <a:chOff x="5526195" y="527271"/>
                <a:chExt cx="1177118" cy="694459"/>
              </a:xfrm>
            </p:grpSpPr>
            <p:sp>
              <p:nvSpPr>
                <p:cNvPr id="823" name="Rectangle 79"/>
                <p:cNvSpPr/>
                <p:nvPr/>
              </p:nvSpPr>
              <p:spPr>
                <a:xfrm rot="16200000">
                  <a:off x="5767524" y="285942"/>
                  <a:ext cx="694459" cy="11771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07298" h="2385394">
                      <a:moveTo>
                        <a:pt x="703650" y="2179220"/>
                      </a:moveTo>
                      <a:cubicBezTo>
                        <a:pt x="660028" y="2179220"/>
                        <a:pt x="624666" y="2214582"/>
                        <a:pt x="624666" y="2258204"/>
                      </a:cubicBezTo>
                      <a:cubicBezTo>
                        <a:pt x="624666" y="2301826"/>
                        <a:pt x="660028" y="2337188"/>
                        <a:pt x="703650" y="2337188"/>
                      </a:cubicBezTo>
                      <a:cubicBezTo>
                        <a:pt x="747272" y="2337188"/>
                        <a:pt x="782634" y="2301826"/>
                        <a:pt x="782634" y="2258204"/>
                      </a:cubicBezTo>
                      <a:cubicBezTo>
                        <a:pt x="782634" y="2214582"/>
                        <a:pt x="747272" y="2179220"/>
                        <a:pt x="703650" y="2179220"/>
                      </a:cubicBezTo>
                      <a:close/>
                      <a:moveTo>
                        <a:pt x="177553" y="179867"/>
                      </a:moveTo>
                      <a:lnTo>
                        <a:pt x="172551" y="180877"/>
                      </a:lnTo>
                      <a:lnTo>
                        <a:pt x="165667" y="180877"/>
                      </a:lnTo>
                      <a:cubicBezTo>
                        <a:pt x="144630" y="180877"/>
                        <a:pt x="127577" y="197930"/>
                        <a:pt x="127577" y="218967"/>
                      </a:cubicBezTo>
                      <a:lnTo>
                        <a:pt x="127577" y="2097793"/>
                      </a:lnTo>
                      <a:cubicBezTo>
                        <a:pt x="127577" y="2118830"/>
                        <a:pt x="144630" y="2135883"/>
                        <a:pt x="165667" y="2135883"/>
                      </a:cubicBezTo>
                      <a:lnTo>
                        <a:pt x="1241631" y="2135883"/>
                      </a:lnTo>
                      <a:cubicBezTo>
                        <a:pt x="1262668" y="2135883"/>
                        <a:pt x="1279721" y="2118830"/>
                        <a:pt x="1279721" y="2097793"/>
                      </a:cubicBezTo>
                      <a:lnTo>
                        <a:pt x="1279721" y="218967"/>
                      </a:lnTo>
                      <a:cubicBezTo>
                        <a:pt x="1279721" y="197930"/>
                        <a:pt x="1262668" y="180877"/>
                        <a:pt x="1241631" y="180877"/>
                      </a:cubicBezTo>
                      <a:lnTo>
                        <a:pt x="1234749" y="180877"/>
                      </a:lnTo>
                      <a:cubicBezTo>
                        <a:pt x="1233161" y="179963"/>
                        <a:pt x="1231465" y="179867"/>
                        <a:pt x="1229746" y="179867"/>
                      </a:cubicBezTo>
                      <a:close/>
                      <a:moveTo>
                        <a:pt x="602415" y="56498"/>
                      </a:moveTo>
                      <a:cubicBezTo>
                        <a:pt x="588290" y="56498"/>
                        <a:pt x="576839" y="67949"/>
                        <a:pt x="576839" y="82074"/>
                      </a:cubicBezTo>
                      <a:cubicBezTo>
                        <a:pt x="576839" y="96199"/>
                        <a:pt x="588290" y="107650"/>
                        <a:pt x="602415" y="107650"/>
                      </a:cubicBezTo>
                      <a:lnTo>
                        <a:pt x="804884" y="107650"/>
                      </a:lnTo>
                      <a:cubicBezTo>
                        <a:pt x="819009" y="107650"/>
                        <a:pt x="830460" y="96199"/>
                        <a:pt x="830460" y="82074"/>
                      </a:cubicBezTo>
                      <a:cubicBezTo>
                        <a:pt x="830460" y="67949"/>
                        <a:pt x="819009" y="56498"/>
                        <a:pt x="804884" y="56498"/>
                      </a:cubicBezTo>
                      <a:close/>
                      <a:moveTo>
                        <a:pt x="76685" y="0"/>
                      </a:moveTo>
                      <a:lnTo>
                        <a:pt x="1330614" y="0"/>
                      </a:lnTo>
                      <a:cubicBezTo>
                        <a:pt x="1372966" y="0"/>
                        <a:pt x="1407298" y="34333"/>
                        <a:pt x="1407298" y="76684"/>
                      </a:cubicBezTo>
                      <a:lnTo>
                        <a:pt x="1407298" y="1757263"/>
                      </a:lnTo>
                      <a:lnTo>
                        <a:pt x="1407298" y="1766789"/>
                      </a:lnTo>
                      <a:lnTo>
                        <a:pt x="1407298" y="2308710"/>
                      </a:lnTo>
                      <a:cubicBezTo>
                        <a:pt x="1407298" y="2351061"/>
                        <a:pt x="1372966" y="2385394"/>
                        <a:pt x="1330614" y="2385394"/>
                      </a:cubicBezTo>
                      <a:lnTo>
                        <a:pt x="76685" y="2385394"/>
                      </a:lnTo>
                      <a:cubicBezTo>
                        <a:pt x="34333" y="2385394"/>
                        <a:pt x="0" y="2351061"/>
                        <a:pt x="0" y="2308710"/>
                      </a:cubicBezTo>
                      <a:lnTo>
                        <a:pt x="0" y="1766789"/>
                      </a:lnTo>
                      <a:lnTo>
                        <a:pt x="0" y="1757263"/>
                      </a:lnTo>
                      <a:lnTo>
                        <a:pt x="0" y="76684"/>
                      </a:lnTo>
                      <a:cubicBezTo>
                        <a:pt x="0" y="34333"/>
                        <a:pt x="34333" y="0"/>
                        <a:pt x="76685" y="0"/>
                      </a:cubicBezTo>
                      <a:close/>
                    </a:path>
                  </a:pathLst>
                </a:custGeom>
                <a:solidFill>
                  <a:srgbClr val="AB0086"/>
                </a:solidFill>
                <a:ln w="10795" cap="flat" cmpd="sng" algn="ctr">
                  <a:noFill/>
                  <a:prstDash val="solid"/>
                </a:ln>
                <a:effectLst/>
              </p:spPr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4" name="Rectangle 823"/>
                <p:cNvSpPr/>
                <p:nvPr/>
              </p:nvSpPr>
              <p:spPr bwMode="auto">
                <a:xfrm>
                  <a:off x="5736327" y="861495"/>
                  <a:ext cx="205914" cy="252129"/>
                </a:xfrm>
                <a:prstGeom prst="rect">
                  <a:avLst/>
                </a:prstGeom>
                <a:solidFill>
                  <a:srgbClr val="68217A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825" name="Rectangle 824"/>
                <p:cNvSpPr/>
                <p:nvPr/>
              </p:nvSpPr>
              <p:spPr bwMode="auto">
                <a:xfrm>
                  <a:off x="6268272" y="677648"/>
                  <a:ext cx="189474" cy="430031"/>
                </a:xfrm>
                <a:prstGeom prst="rect">
                  <a:avLst/>
                </a:prstGeom>
                <a:solidFill>
                  <a:srgbClr val="008272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826" name="Rectangle 825"/>
                <p:cNvSpPr/>
                <p:nvPr/>
              </p:nvSpPr>
              <p:spPr bwMode="auto">
                <a:xfrm>
                  <a:off x="6002300" y="797768"/>
                  <a:ext cx="205914" cy="309911"/>
                </a:xfrm>
                <a:prstGeom prst="rect">
                  <a:avLst/>
                </a:prstGeom>
                <a:solidFill>
                  <a:srgbClr val="DC3C00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</p:grpSp>
        <p:sp>
          <p:nvSpPr>
            <p:cNvPr id="719" name="Freeform 718"/>
            <p:cNvSpPr>
              <a:spLocks/>
            </p:cNvSpPr>
            <p:nvPr/>
          </p:nvSpPr>
          <p:spPr bwMode="auto">
            <a:xfrm>
              <a:off x="7555845" y="4242289"/>
              <a:ext cx="414248" cy="272696"/>
            </a:xfrm>
            <a:custGeom>
              <a:avLst/>
              <a:gdLst>
                <a:gd name="T0" fmla="*/ 34 w 213"/>
                <a:gd name="T1" fmla="*/ 62 h 140"/>
                <a:gd name="T2" fmla="*/ 34 w 213"/>
                <a:gd name="T3" fmla="*/ 59 h 140"/>
                <a:gd name="T4" fmla="*/ 92 w 213"/>
                <a:gd name="T5" fmla="*/ 0 h 140"/>
                <a:gd name="T6" fmla="*/ 141 w 213"/>
                <a:gd name="T7" fmla="*/ 27 h 140"/>
                <a:gd name="T8" fmla="*/ 157 w 213"/>
                <a:gd name="T9" fmla="*/ 22 h 140"/>
                <a:gd name="T10" fmla="*/ 176 w 213"/>
                <a:gd name="T11" fmla="*/ 28 h 140"/>
                <a:gd name="T12" fmla="*/ 192 w 213"/>
                <a:gd name="T13" fmla="*/ 55 h 140"/>
                <a:gd name="T14" fmla="*/ 213 w 213"/>
                <a:gd name="T15" fmla="*/ 94 h 140"/>
                <a:gd name="T16" fmla="*/ 172 w 213"/>
                <a:gd name="T17" fmla="*/ 140 h 140"/>
                <a:gd name="T18" fmla="*/ 166 w 213"/>
                <a:gd name="T19" fmla="*/ 140 h 140"/>
                <a:gd name="T20" fmla="*/ 162 w 213"/>
                <a:gd name="T21" fmla="*/ 140 h 140"/>
                <a:gd name="T22" fmla="*/ 66 w 213"/>
                <a:gd name="T23" fmla="*/ 140 h 140"/>
                <a:gd name="T24" fmla="*/ 64 w 213"/>
                <a:gd name="T25" fmla="*/ 140 h 140"/>
                <a:gd name="T26" fmla="*/ 61 w 213"/>
                <a:gd name="T27" fmla="*/ 140 h 140"/>
                <a:gd name="T28" fmla="*/ 54 w 213"/>
                <a:gd name="T29" fmla="*/ 140 h 140"/>
                <a:gd name="T30" fmla="*/ 39 w 213"/>
                <a:gd name="T31" fmla="*/ 140 h 140"/>
                <a:gd name="T32" fmla="*/ 0 w 213"/>
                <a:gd name="T33" fmla="*/ 101 h 140"/>
                <a:gd name="T34" fmla="*/ 34 w 213"/>
                <a:gd name="T35" fmla="*/ 62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3" h="140">
                  <a:moveTo>
                    <a:pt x="34" y="62"/>
                  </a:moveTo>
                  <a:cubicBezTo>
                    <a:pt x="34" y="61"/>
                    <a:pt x="34" y="60"/>
                    <a:pt x="34" y="59"/>
                  </a:cubicBezTo>
                  <a:cubicBezTo>
                    <a:pt x="34" y="27"/>
                    <a:pt x="60" y="0"/>
                    <a:pt x="92" y="0"/>
                  </a:cubicBezTo>
                  <a:cubicBezTo>
                    <a:pt x="113" y="0"/>
                    <a:pt x="131" y="11"/>
                    <a:pt x="141" y="27"/>
                  </a:cubicBezTo>
                  <a:cubicBezTo>
                    <a:pt x="146" y="24"/>
                    <a:pt x="152" y="22"/>
                    <a:pt x="157" y="22"/>
                  </a:cubicBezTo>
                  <a:cubicBezTo>
                    <a:pt x="165" y="22"/>
                    <a:pt x="171" y="24"/>
                    <a:pt x="176" y="28"/>
                  </a:cubicBezTo>
                  <a:cubicBezTo>
                    <a:pt x="185" y="34"/>
                    <a:pt x="191" y="44"/>
                    <a:pt x="192" y="55"/>
                  </a:cubicBezTo>
                  <a:cubicBezTo>
                    <a:pt x="204" y="64"/>
                    <a:pt x="213" y="78"/>
                    <a:pt x="213" y="94"/>
                  </a:cubicBezTo>
                  <a:cubicBezTo>
                    <a:pt x="213" y="118"/>
                    <a:pt x="195" y="137"/>
                    <a:pt x="172" y="140"/>
                  </a:cubicBezTo>
                  <a:cubicBezTo>
                    <a:pt x="170" y="140"/>
                    <a:pt x="168" y="140"/>
                    <a:pt x="166" y="140"/>
                  </a:cubicBezTo>
                  <a:cubicBezTo>
                    <a:pt x="165" y="140"/>
                    <a:pt x="163" y="140"/>
                    <a:pt x="162" y="140"/>
                  </a:cubicBezTo>
                  <a:cubicBezTo>
                    <a:pt x="140" y="140"/>
                    <a:pt x="90" y="140"/>
                    <a:pt x="66" y="140"/>
                  </a:cubicBezTo>
                  <a:cubicBezTo>
                    <a:pt x="65" y="140"/>
                    <a:pt x="64" y="140"/>
                    <a:pt x="64" y="140"/>
                  </a:cubicBezTo>
                  <a:cubicBezTo>
                    <a:pt x="61" y="140"/>
                    <a:pt x="61" y="140"/>
                    <a:pt x="61" y="140"/>
                  </a:cubicBezTo>
                  <a:cubicBezTo>
                    <a:pt x="60" y="140"/>
                    <a:pt x="57" y="140"/>
                    <a:pt x="54" y="140"/>
                  </a:cubicBezTo>
                  <a:cubicBezTo>
                    <a:pt x="39" y="140"/>
                    <a:pt x="39" y="140"/>
                    <a:pt x="39" y="140"/>
                  </a:cubicBezTo>
                  <a:cubicBezTo>
                    <a:pt x="17" y="139"/>
                    <a:pt x="0" y="122"/>
                    <a:pt x="0" y="101"/>
                  </a:cubicBezTo>
                  <a:cubicBezTo>
                    <a:pt x="0" y="81"/>
                    <a:pt x="14" y="64"/>
                    <a:pt x="34" y="62"/>
                  </a:cubicBezTo>
                  <a:close/>
                </a:path>
              </a:pathLst>
            </a:custGeom>
            <a:solidFill>
              <a:srgbClr val="00BCF2">
                <a:lumMod val="20000"/>
                <a:lumOff val="8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720" name="Group 719"/>
            <p:cNvGrpSpPr/>
            <p:nvPr/>
          </p:nvGrpSpPr>
          <p:grpSpPr>
            <a:xfrm rot="16200000">
              <a:off x="7899200" y="5092473"/>
              <a:ext cx="258257" cy="329223"/>
              <a:chOff x="10058671" y="4257034"/>
              <a:chExt cx="685116" cy="1036491"/>
            </a:xfrm>
          </p:grpSpPr>
          <p:sp>
            <p:nvSpPr>
              <p:cNvPr id="819" name="Freeform 818"/>
              <p:cNvSpPr/>
              <p:nvPr/>
            </p:nvSpPr>
            <p:spPr bwMode="auto">
              <a:xfrm>
                <a:off x="10094534" y="4409521"/>
                <a:ext cx="649253" cy="884004"/>
              </a:xfrm>
              <a:custGeom>
                <a:avLst/>
                <a:gdLst>
                  <a:gd name="connsiteX0" fmla="*/ 72587 w 148530"/>
                  <a:gd name="connsiteY0" fmla="*/ 202235 h 202235"/>
                  <a:gd name="connsiteX1" fmla="*/ 148530 w 148530"/>
                  <a:gd name="connsiteY1" fmla="*/ 124614 h 202235"/>
                  <a:gd name="connsiteX2" fmla="*/ 148530 w 148530"/>
                  <a:gd name="connsiteY2" fmla="*/ 77202 h 202235"/>
                  <a:gd name="connsiteX3" fmla="*/ 93985 w 148530"/>
                  <a:gd name="connsiteY3" fmla="*/ 131746 h 202235"/>
                  <a:gd name="connsiteX4" fmla="*/ 93985 w 148530"/>
                  <a:gd name="connsiteY4" fmla="*/ 0 h 202235"/>
                  <a:gd name="connsiteX5" fmla="*/ 56223 w 148530"/>
                  <a:gd name="connsiteY5" fmla="*/ 0 h 202235"/>
                  <a:gd name="connsiteX6" fmla="*/ 56223 w 148530"/>
                  <a:gd name="connsiteY6" fmla="*/ 134264 h 202235"/>
                  <a:gd name="connsiteX7" fmla="*/ 420 w 148530"/>
                  <a:gd name="connsiteY7" fmla="*/ 74684 h 202235"/>
                  <a:gd name="connsiteX8" fmla="*/ 0 w 148530"/>
                  <a:gd name="connsiteY8" fmla="*/ 121677 h 2022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8530" h="202235">
                    <a:moveTo>
                      <a:pt x="72587" y="202235"/>
                    </a:moveTo>
                    <a:lnTo>
                      <a:pt x="148530" y="124614"/>
                    </a:lnTo>
                    <a:lnTo>
                      <a:pt x="148530" y="77202"/>
                    </a:lnTo>
                    <a:lnTo>
                      <a:pt x="93985" y="131746"/>
                    </a:lnTo>
                    <a:lnTo>
                      <a:pt x="93985" y="0"/>
                    </a:lnTo>
                    <a:lnTo>
                      <a:pt x="56223" y="0"/>
                    </a:lnTo>
                    <a:lnTo>
                      <a:pt x="56223" y="134264"/>
                    </a:lnTo>
                    <a:lnTo>
                      <a:pt x="420" y="74684"/>
                    </a:lnTo>
                    <a:cubicBezTo>
                      <a:pt x="280" y="90348"/>
                      <a:pt x="140" y="106013"/>
                      <a:pt x="0" y="121677"/>
                    </a:cubicBezTo>
                    <a:close/>
                  </a:path>
                </a:pathLst>
              </a:custGeom>
              <a:solidFill>
                <a:srgbClr val="FF8C00"/>
              </a:solidFill>
              <a:ln w="10795" cap="flat" cmpd="sng" algn="ctr">
                <a:noFill/>
                <a:prstDash val="solid"/>
              </a:ln>
              <a:effectLst/>
            </p:spPr>
            <p:txBody>
              <a:bodyPr wrap="square" rtlCol="0" anchor="ctr">
                <a:noAutofit/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31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820" name="Freeform 819"/>
              <p:cNvSpPr/>
              <p:nvPr/>
            </p:nvSpPr>
            <p:spPr bwMode="auto">
              <a:xfrm>
                <a:off x="10058671" y="4257034"/>
                <a:ext cx="319354" cy="884004"/>
              </a:xfrm>
              <a:custGeom>
                <a:avLst/>
                <a:gdLst>
                  <a:gd name="connsiteX0" fmla="*/ 245761 w 319354"/>
                  <a:gd name="connsiteY0" fmla="*/ 0 h 884004"/>
                  <a:gd name="connsiteX1" fmla="*/ 319354 w 319354"/>
                  <a:gd name="connsiteY1" fmla="*/ 0 h 884004"/>
                  <a:gd name="connsiteX2" fmla="*/ 319354 w 319354"/>
                  <a:gd name="connsiteY2" fmla="*/ 881897 h 884004"/>
                  <a:gd name="connsiteX3" fmla="*/ 317292 w 319354"/>
                  <a:gd name="connsiteY3" fmla="*/ 884004 h 884004"/>
                  <a:gd name="connsiteX4" fmla="*/ 0 w 319354"/>
                  <a:gd name="connsiteY4" fmla="*/ 531871 h 884004"/>
                  <a:gd name="connsiteX5" fmla="*/ 1836 w 319354"/>
                  <a:gd name="connsiteY5" fmla="*/ 326457 h 884004"/>
                  <a:gd name="connsiteX6" fmla="*/ 245761 w 319354"/>
                  <a:gd name="connsiteY6" fmla="*/ 586891 h 8840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9354" h="884004">
                    <a:moveTo>
                      <a:pt x="245761" y="0"/>
                    </a:moveTo>
                    <a:lnTo>
                      <a:pt x="319354" y="0"/>
                    </a:lnTo>
                    <a:lnTo>
                      <a:pt x="319354" y="881897"/>
                    </a:lnTo>
                    <a:lnTo>
                      <a:pt x="317292" y="884004"/>
                    </a:lnTo>
                    <a:lnTo>
                      <a:pt x="0" y="531871"/>
                    </a:lnTo>
                    <a:cubicBezTo>
                      <a:pt x="612" y="463401"/>
                      <a:pt x="1224" y="394927"/>
                      <a:pt x="1836" y="326457"/>
                    </a:cubicBezTo>
                    <a:lnTo>
                      <a:pt x="245761" y="586891"/>
                    </a:lnTo>
                    <a:close/>
                  </a:path>
                </a:pathLst>
              </a:custGeom>
              <a:solidFill>
                <a:srgbClr val="FF8C00">
                  <a:lumMod val="60000"/>
                  <a:lumOff val="40000"/>
                </a:srgbClr>
              </a:solidFill>
              <a:ln w="10795" cap="flat" cmpd="sng" algn="ctr">
                <a:noFill/>
                <a:prstDash val="solid"/>
              </a:ln>
              <a:effectLst/>
            </p:spPr>
            <p:txBody>
              <a:bodyPr wrap="square" rtlCol="0" anchor="ctr">
                <a:noAutofit/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31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721" name="Group 720"/>
            <p:cNvGrpSpPr/>
            <p:nvPr/>
          </p:nvGrpSpPr>
          <p:grpSpPr>
            <a:xfrm>
              <a:off x="6347396" y="5146635"/>
              <a:ext cx="1705149" cy="1248191"/>
              <a:chOff x="581660" y="3112295"/>
              <a:chExt cx="3850248" cy="2818432"/>
            </a:xfrm>
          </p:grpSpPr>
          <p:sp>
            <p:nvSpPr>
              <p:cNvPr id="722" name="Oval 721"/>
              <p:cNvSpPr/>
              <p:nvPr/>
            </p:nvSpPr>
            <p:spPr bwMode="auto">
              <a:xfrm>
                <a:off x="581660" y="5236327"/>
                <a:ext cx="3850248" cy="694400"/>
              </a:xfrm>
              <a:prstGeom prst="ellipse">
                <a:avLst/>
              </a:prstGeom>
              <a:solidFill>
                <a:srgbClr val="FFFFFF">
                  <a:lumMod val="85000"/>
                </a:srgb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23" name="Oval 722"/>
              <p:cNvSpPr/>
              <p:nvPr/>
            </p:nvSpPr>
            <p:spPr bwMode="auto">
              <a:xfrm>
                <a:off x="581660" y="5154215"/>
                <a:ext cx="3850248" cy="694400"/>
              </a:xfrm>
              <a:prstGeom prst="ellipse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724" name="Group 723"/>
              <p:cNvGrpSpPr/>
              <p:nvPr/>
            </p:nvGrpSpPr>
            <p:grpSpPr>
              <a:xfrm>
                <a:off x="799737" y="3112295"/>
                <a:ext cx="3244701" cy="2378815"/>
                <a:chOff x="5119260" y="2527486"/>
                <a:chExt cx="3932536" cy="2883090"/>
              </a:xfrm>
            </p:grpSpPr>
            <p:sp>
              <p:nvSpPr>
                <p:cNvPr id="725" name="Freeform 724"/>
                <p:cNvSpPr>
                  <a:spLocks/>
                </p:cNvSpPr>
                <p:nvPr/>
              </p:nvSpPr>
              <p:spPr bwMode="auto">
                <a:xfrm>
                  <a:off x="5119260" y="3006079"/>
                  <a:ext cx="1060977" cy="2394888"/>
                </a:xfrm>
                <a:custGeom>
                  <a:avLst/>
                  <a:gdLst>
                    <a:gd name="T0" fmla="*/ 183 w 233"/>
                    <a:gd name="T1" fmla="*/ 95 h 526"/>
                    <a:gd name="T2" fmla="*/ 182 w 233"/>
                    <a:gd name="T3" fmla="*/ 95 h 526"/>
                    <a:gd name="T4" fmla="*/ 182 w 233"/>
                    <a:gd name="T5" fmla="*/ 95 h 526"/>
                    <a:gd name="T6" fmla="*/ 132 w 233"/>
                    <a:gd name="T7" fmla="*/ 91 h 526"/>
                    <a:gd name="T8" fmla="*/ 132 w 233"/>
                    <a:gd name="T9" fmla="*/ 83 h 526"/>
                    <a:gd name="T10" fmla="*/ 143 w 233"/>
                    <a:gd name="T11" fmla="*/ 70 h 526"/>
                    <a:gd name="T12" fmla="*/ 143 w 233"/>
                    <a:gd name="T13" fmla="*/ 59 h 526"/>
                    <a:gd name="T14" fmla="*/ 148 w 233"/>
                    <a:gd name="T15" fmla="*/ 54 h 526"/>
                    <a:gd name="T16" fmla="*/ 148 w 233"/>
                    <a:gd name="T17" fmla="*/ 44 h 526"/>
                    <a:gd name="T18" fmla="*/ 145 w 233"/>
                    <a:gd name="T19" fmla="*/ 40 h 526"/>
                    <a:gd name="T20" fmla="*/ 151 w 233"/>
                    <a:gd name="T21" fmla="*/ 26 h 526"/>
                    <a:gd name="T22" fmla="*/ 132 w 233"/>
                    <a:gd name="T23" fmla="*/ 7 h 526"/>
                    <a:gd name="T24" fmla="*/ 131 w 233"/>
                    <a:gd name="T25" fmla="*/ 7 h 526"/>
                    <a:gd name="T26" fmla="*/ 110 w 233"/>
                    <a:gd name="T27" fmla="*/ 0 h 526"/>
                    <a:gd name="T28" fmla="*/ 81 w 233"/>
                    <a:gd name="T29" fmla="*/ 25 h 526"/>
                    <a:gd name="T30" fmla="*/ 87 w 233"/>
                    <a:gd name="T31" fmla="*/ 39 h 526"/>
                    <a:gd name="T32" fmla="*/ 83 w 233"/>
                    <a:gd name="T33" fmla="*/ 44 h 526"/>
                    <a:gd name="T34" fmla="*/ 83 w 233"/>
                    <a:gd name="T35" fmla="*/ 54 h 526"/>
                    <a:gd name="T36" fmla="*/ 88 w 233"/>
                    <a:gd name="T37" fmla="*/ 59 h 526"/>
                    <a:gd name="T38" fmla="*/ 88 w 233"/>
                    <a:gd name="T39" fmla="*/ 70 h 526"/>
                    <a:gd name="T40" fmla="*/ 99 w 233"/>
                    <a:gd name="T41" fmla="*/ 83 h 526"/>
                    <a:gd name="T42" fmla="*/ 99 w 233"/>
                    <a:gd name="T43" fmla="*/ 91 h 526"/>
                    <a:gd name="T44" fmla="*/ 49 w 233"/>
                    <a:gd name="T45" fmla="*/ 95 h 526"/>
                    <a:gd name="T46" fmla="*/ 49 w 233"/>
                    <a:gd name="T47" fmla="*/ 97 h 526"/>
                    <a:gd name="T48" fmla="*/ 0 w 233"/>
                    <a:gd name="T49" fmla="*/ 276 h 526"/>
                    <a:gd name="T50" fmla="*/ 3 w 233"/>
                    <a:gd name="T51" fmla="*/ 276 h 526"/>
                    <a:gd name="T52" fmla="*/ 3 w 233"/>
                    <a:gd name="T53" fmla="*/ 289 h 526"/>
                    <a:gd name="T54" fmla="*/ 14 w 233"/>
                    <a:gd name="T55" fmla="*/ 299 h 526"/>
                    <a:gd name="T56" fmla="*/ 25 w 233"/>
                    <a:gd name="T57" fmla="*/ 289 h 526"/>
                    <a:gd name="T58" fmla="*/ 25 w 233"/>
                    <a:gd name="T59" fmla="*/ 276 h 526"/>
                    <a:gd name="T60" fmla="*/ 28 w 233"/>
                    <a:gd name="T61" fmla="*/ 276 h 526"/>
                    <a:gd name="T62" fmla="*/ 49 w 233"/>
                    <a:gd name="T63" fmla="*/ 176 h 526"/>
                    <a:gd name="T64" fmla="*/ 49 w 233"/>
                    <a:gd name="T65" fmla="*/ 319 h 526"/>
                    <a:gd name="T66" fmla="*/ 67 w 233"/>
                    <a:gd name="T67" fmla="*/ 319 h 526"/>
                    <a:gd name="T68" fmla="*/ 73 w 233"/>
                    <a:gd name="T69" fmla="*/ 509 h 526"/>
                    <a:gd name="T70" fmla="*/ 79 w 233"/>
                    <a:gd name="T71" fmla="*/ 509 h 526"/>
                    <a:gd name="T72" fmla="*/ 70 w 233"/>
                    <a:gd name="T73" fmla="*/ 526 h 526"/>
                    <a:gd name="T74" fmla="*/ 111 w 233"/>
                    <a:gd name="T75" fmla="*/ 526 h 526"/>
                    <a:gd name="T76" fmla="*/ 102 w 233"/>
                    <a:gd name="T77" fmla="*/ 509 h 526"/>
                    <a:gd name="T78" fmla="*/ 108 w 233"/>
                    <a:gd name="T79" fmla="*/ 509 h 526"/>
                    <a:gd name="T80" fmla="*/ 115 w 233"/>
                    <a:gd name="T81" fmla="*/ 319 h 526"/>
                    <a:gd name="T82" fmla="*/ 117 w 233"/>
                    <a:gd name="T83" fmla="*/ 319 h 526"/>
                    <a:gd name="T84" fmla="*/ 123 w 233"/>
                    <a:gd name="T85" fmla="*/ 509 h 526"/>
                    <a:gd name="T86" fmla="*/ 129 w 233"/>
                    <a:gd name="T87" fmla="*/ 509 h 526"/>
                    <a:gd name="T88" fmla="*/ 120 w 233"/>
                    <a:gd name="T89" fmla="*/ 526 h 526"/>
                    <a:gd name="T90" fmla="*/ 161 w 233"/>
                    <a:gd name="T91" fmla="*/ 526 h 526"/>
                    <a:gd name="T92" fmla="*/ 153 w 233"/>
                    <a:gd name="T93" fmla="*/ 509 h 526"/>
                    <a:gd name="T94" fmla="*/ 158 w 233"/>
                    <a:gd name="T95" fmla="*/ 509 h 526"/>
                    <a:gd name="T96" fmla="*/ 165 w 233"/>
                    <a:gd name="T97" fmla="*/ 319 h 526"/>
                    <a:gd name="T98" fmla="*/ 182 w 233"/>
                    <a:gd name="T99" fmla="*/ 319 h 526"/>
                    <a:gd name="T100" fmla="*/ 182 w 233"/>
                    <a:gd name="T101" fmla="*/ 173 h 526"/>
                    <a:gd name="T102" fmla="*/ 204 w 233"/>
                    <a:gd name="T103" fmla="*/ 276 h 526"/>
                    <a:gd name="T104" fmla="*/ 208 w 233"/>
                    <a:gd name="T105" fmla="*/ 276 h 526"/>
                    <a:gd name="T106" fmla="*/ 208 w 233"/>
                    <a:gd name="T107" fmla="*/ 289 h 526"/>
                    <a:gd name="T108" fmla="*/ 218 w 233"/>
                    <a:gd name="T109" fmla="*/ 299 h 526"/>
                    <a:gd name="T110" fmla="*/ 229 w 233"/>
                    <a:gd name="T111" fmla="*/ 289 h 526"/>
                    <a:gd name="T112" fmla="*/ 229 w 233"/>
                    <a:gd name="T113" fmla="*/ 276 h 526"/>
                    <a:gd name="T114" fmla="*/ 233 w 233"/>
                    <a:gd name="T115" fmla="*/ 276 h 526"/>
                    <a:gd name="T116" fmla="*/ 183 w 233"/>
                    <a:gd name="T117" fmla="*/ 95 h 5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33" h="526">
                      <a:moveTo>
                        <a:pt x="183" y="95"/>
                      </a:moveTo>
                      <a:cubicBezTo>
                        <a:pt x="182" y="95"/>
                        <a:pt x="182" y="95"/>
                        <a:pt x="182" y="95"/>
                      </a:cubicBezTo>
                      <a:cubicBezTo>
                        <a:pt x="182" y="95"/>
                        <a:pt x="182" y="95"/>
                        <a:pt x="182" y="95"/>
                      </a:cubicBezTo>
                      <a:cubicBezTo>
                        <a:pt x="132" y="91"/>
                        <a:pt x="132" y="91"/>
                        <a:pt x="132" y="91"/>
                      </a:cubicBezTo>
                      <a:cubicBezTo>
                        <a:pt x="132" y="83"/>
                        <a:pt x="132" y="83"/>
                        <a:pt x="132" y="83"/>
                      </a:cubicBezTo>
                      <a:cubicBezTo>
                        <a:pt x="138" y="82"/>
                        <a:pt x="143" y="77"/>
                        <a:pt x="143" y="70"/>
                      </a:cubicBezTo>
                      <a:cubicBezTo>
                        <a:pt x="143" y="59"/>
                        <a:pt x="143" y="59"/>
                        <a:pt x="143" y="59"/>
                      </a:cubicBezTo>
                      <a:cubicBezTo>
                        <a:pt x="146" y="59"/>
                        <a:pt x="148" y="57"/>
                        <a:pt x="148" y="54"/>
                      </a:cubicBezTo>
                      <a:cubicBezTo>
                        <a:pt x="148" y="44"/>
                        <a:pt x="148" y="44"/>
                        <a:pt x="148" y="44"/>
                      </a:cubicBezTo>
                      <a:cubicBezTo>
                        <a:pt x="148" y="42"/>
                        <a:pt x="146" y="40"/>
                        <a:pt x="145" y="40"/>
                      </a:cubicBezTo>
                      <a:cubicBezTo>
                        <a:pt x="148" y="36"/>
                        <a:pt x="151" y="31"/>
                        <a:pt x="151" y="26"/>
                      </a:cubicBezTo>
                      <a:cubicBezTo>
                        <a:pt x="151" y="16"/>
                        <a:pt x="142" y="7"/>
                        <a:pt x="132" y="7"/>
                      </a:cubicBezTo>
                      <a:cubicBezTo>
                        <a:pt x="131" y="7"/>
                        <a:pt x="131" y="7"/>
                        <a:pt x="131" y="7"/>
                      </a:cubicBezTo>
                      <a:cubicBezTo>
                        <a:pt x="126" y="3"/>
                        <a:pt x="118" y="0"/>
                        <a:pt x="110" y="0"/>
                      </a:cubicBezTo>
                      <a:cubicBezTo>
                        <a:pt x="94" y="0"/>
                        <a:pt x="81" y="11"/>
                        <a:pt x="81" y="25"/>
                      </a:cubicBezTo>
                      <a:cubicBezTo>
                        <a:pt x="81" y="30"/>
                        <a:pt x="83" y="35"/>
                        <a:pt x="87" y="39"/>
                      </a:cubicBezTo>
                      <a:cubicBezTo>
                        <a:pt x="85" y="40"/>
                        <a:pt x="83" y="42"/>
                        <a:pt x="83" y="44"/>
                      </a:cubicBezTo>
                      <a:cubicBezTo>
                        <a:pt x="83" y="54"/>
                        <a:pt x="83" y="54"/>
                        <a:pt x="83" y="54"/>
                      </a:cubicBezTo>
                      <a:cubicBezTo>
                        <a:pt x="83" y="57"/>
                        <a:pt x="85" y="59"/>
                        <a:pt x="88" y="59"/>
                      </a:cubicBezTo>
                      <a:cubicBezTo>
                        <a:pt x="88" y="70"/>
                        <a:pt x="88" y="70"/>
                        <a:pt x="88" y="70"/>
                      </a:cubicBezTo>
                      <a:cubicBezTo>
                        <a:pt x="88" y="77"/>
                        <a:pt x="93" y="83"/>
                        <a:pt x="99" y="83"/>
                      </a:cubicBezTo>
                      <a:cubicBezTo>
                        <a:pt x="99" y="91"/>
                        <a:pt x="99" y="91"/>
                        <a:pt x="99" y="91"/>
                      </a:cubicBezTo>
                      <a:cubicBezTo>
                        <a:pt x="49" y="95"/>
                        <a:pt x="49" y="95"/>
                        <a:pt x="49" y="95"/>
                      </a:cubicBezTo>
                      <a:cubicBezTo>
                        <a:pt x="49" y="97"/>
                        <a:pt x="49" y="97"/>
                        <a:pt x="49" y="97"/>
                      </a:cubicBezTo>
                      <a:cubicBezTo>
                        <a:pt x="23" y="155"/>
                        <a:pt x="6" y="213"/>
                        <a:pt x="0" y="276"/>
                      </a:cubicBezTo>
                      <a:cubicBezTo>
                        <a:pt x="3" y="276"/>
                        <a:pt x="3" y="276"/>
                        <a:pt x="3" y="276"/>
                      </a:cubicBezTo>
                      <a:cubicBezTo>
                        <a:pt x="3" y="289"/>
                        <a:pt x="3" y="289"/>
                        <a:pt x="3" y="289"/>
                      </a:cubicBezTo>
                      <a:cubicBezTo>
                        <a:pt x="3" y="295"/>
                        <a:pt x="8" y="299"/>
                        <a:pt x="14" y="299"/>
                      </a:cubicBezTo>
                      <a:cubicBezTo>
                        <a:pt x="20" y="299"/>
                        <a:pt x="25" y="295"/>
                        <a:pt x="25" y="289"/>
                      </a:cubicBezTo>
                      <a:cubicBezTo>
                        <a:pt x="25" y="276"/>
                        <a:pt x="25" y="276"/>
                        <a:pt x="25" y="276"/>
                      </a:cubicBezTo>
                      <a:cubicBezTo>
                        <a:pt x="28" y="276"/>
                        <a:pt x="28" y="276"/>
                        <a:pt x="28" y="276"/>
                      </a:cubicBezTo>
                      <a:cubicBezTo>
                        <a:pt x="32" y="241"/>
                        <a:pt x="39" y="208"/>
                        <a:pt x="49" y="176"/>
                      </a:cubicBezTo>
                      <a:cubicBezTo>
                        <a:pt x="49" y="319"/>
                        <a:pt x="49" y="319"/>
                        <a:pt x="49" y="319"/>
                      </a:cubicBezTo>
                      <a:cubicBezTo>
                        <a:pt x="67" y="319"/>
                        <a:pt x="67" y="319"/>
                        <a:pt x="67" y="319"/>
                      </a:cubicBezTo>
                      <a:cubicBezTo>
                        <a:pt x="73" y="509"/>
                        <a:pt x="73" y="509"/>
                        <a:pt x="73" y="509"/>
                      </a:cubicBezTo>
                      <a:cubicBezTo>
                        <a:pt x="79" y="509"/>
                        <a:pt x="79" y="509"/>
                        <a:pt x="79" y="509"/>
                      </a:cubicBezTo>
                      <a:cubicBezTo>
                        <a:pt x="74" y="513"/>
                        <a:pt x="70" y="519"/>
                        <a:pt x="70" y="526"/>
                      </a:cubicBezTo>
                      <a:cubicBezTo>
                        <a:pt x="111" y="526"/>
                        <a:pt x="111" y="526"/>
                        <a:pt x="111" y="526"/>
                      </a:cubicBezTo>
                      <a:cubicBezTo>
                        <a:pt x="111" y="519"/>
                        <a:pt x="108" y="513"/>
                        <a:pt x="102" y="509"/>
                      </a:cubicBezTo>
                      <a:cubicBezTo>
                        <a:pt x="108" y="509"/>
                        <a:pt x="108" y="509"/>
                        <a:pt x="108" y="509"/>
                      </a:cubicBezTo>
                      <a:cubicBezTo>
                        <a:pt x="115" y="319"/>
                        <a:pt x="115" y="319"/>
                        <a:pt x="115" y="319"/>
                      </a:cubicBezTo>
                      <a:cubicBezTo>
                        <a:pt x="117" y="319"/>
                        <a:pt x="117" y="319"/>
                        <a:pt x="117" y="319"/>
                      </a:cubicBezTo>
                      <a:cubicBezTo>
                        <a:pt x="123" y="509"/>
                        <a:pt x="123" y="509"/>
                        <a:pt x="123" y="509"/>
                      </a:cubicBezTo>
                      <a:cubicBezTo>
                        <a:pt x="129" y="509"/>
                        <a:pt x="129" y="509"/>
                        <a:pt x="129" y="509"/>
                      </a:cubicBezTo>
                      <a:cubicBezTo>
                        <a:pt x="124" y="513"/>
                        <a:pt x="120" y="519"/>
                        <a:pt x="120" y="526"/>
                      </a:cubicBezTo>
                      <a:cubicBezTo>
                        <a:pt x="161" y="526"/>
                        <a:pt x="161" y="526"/>
                        <a:pt x="161" y="526"/>
                      </a:cubicBezTo>
                      <a:cubicBezTo>
                        <a:pt x="161" y="519"/>
                        <a:pt x="158" y="513"/>
                        <a:pt x="153" y="509"/>
                      </a:cubicBezTo>
                      <a:cubicBezTo>
                        <a:pt x="158" y="509"/>
                        <a:pt x="158" y="509"/>
                        <a:pt x="158" y="509"/>
                      </a:cubicBezTo>
                      <a:cubicBezTo>
                        <a:pt x="165" y="319"/>
                        <a:pt x="165" y="319"/>
                        <a:pt x="165" y="319"/>
                      </a:cubicBezTo>
                      <a:cubicBezTo>
                        <a:pt x="182" y="319"/>
                        <a:pt x="182" y="319"/>
                        <a:pt x="182" y="319"/>
                      </a:cubicBezTo>
                      <a:cubicBezTo>
                        <a:pt x="182" y="173"/>
                        <a:pt x="182" y="173"/>
                        <a:pt x="182" y="173"/>
                      </a:cubicBezTo>
                      <a:cubicBezTo>
                        <a:pt x="193" y="206"/>
                        <a:pt x="200" y="240"/>
                        <a:pt x="204" y="276"/>
                      </a:cubicBezTo>
                      <a:cubicBezTo>
                        <a:pt x="208" y="276"/>
                        <a:pt x="208" y="276"/>
                        <a:pt x="208" y="276"/>
                      </a:cubicBezTo>
                      <a:cubicBezTo>
                        <a:pt x="208" y="289"/>
                        <a:pt x="208" y="289"/>
                        <a:pt x="208" y="289"/>
                      </a:cubicBezTo>
                      <a:cubicBezTo>
                        <a:pt x="208" y="295"/>
                        <a:pt x="212" y="299"/>
                        <a:pt x="218" y="299"/>
                      </a:cubicBezTo>
                      <a:cubicBezTo>
                        <a:pt x="224" y="299"/>
                        <a:pt x="229" y="295"/>
                        <a:pt x="229" y="289"/>
                      </a:cubicBezTo>
                      <a:cubicBezTo>
                        <a:pt x="229" y="276"/>
                        <a:pt x="229" y="276"/>
                        <a:pt x="229" y="276"/>
                      </a:cubicBezTo>
                      <a:cubicBezTo>
                        <a:pt x="233" y="276"/>
                        <a:pt x="233" y="276"/>
                        <a:pt x="233" y="276"/>
                      </a:cubicBezTo>
                      <a:cubicBezTo>
                        <a:pt x="227" y="212"/>
                        <a:pt x="210" y="154"/>
                        <a:pt x="183" y="95"/>
                      </a:cubicBezTo>
                      <a:close/>
                    </a:path>
                  </a:pathLst>
                </a:custGeom>
                <a:solidFill>
                  <a:srgbClr val="FFFFFF">
                    <a:lumMod val="85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6" name="Freeform 725"/>
                <p:cNvSpPr>
                  <a:spLocks/>
                </p:cNvSpPr>
                <p:nvPr/>
              </p:nvSpPr>
              <p:spPr bwMode="auto">
                <a:xfrm>
                  <a:off x="6093744" y="3132935"/>
                  <a:ext cx="761136" cy="2268032"/>
                </a:xfrm>
                <a:custGeom>
                  <a:avLst/>
                  <a:gdLst>
                    <a:gd name="T0" fmla="*/ 137 w 167"/>
                    <a:gd name="T1" fmla="*/ 101 h 498"/>
                    <a:gd name="T2" fmla="*/ 99 w 167"/>
                    <a:gd name="T3" fmla="*/ 97 h 498"/>
                    <a:gd name="T4" fmla="*/ 95 w 167"/>
                    <a:gd name="T5" fmla="*/ 93 h 498"/>
                    <a:gd name="T6" fmla="*/ 125 w 167"/>
                    <a:gd name="T7" fmla="*/ 79 h 498"/>
                    <a:gd name="T8" fmla="*/ 113 w 167"/>
                    <a:gd name="T9" fmla="*/ 73 h 498"/>
                    <a:gd name="T10" fmla="*/ 118 w 167"/>
                    <a:gd name="T11" fmla="*/ 58 h 498"/>
                    <a:gd name="T12" fmla="*/ 118 w 167"/>
                    <a:gd name="T13" fmla="*/ 57 h 498"/>
                    <a:gd name="T14" fmla="*/ 102 w 167"/>
                    <a:gd name="T15" fmla="*/ 14 h 498"/>
                    <a:gd name="T16" fmla="*/ 48 w 167"/>
                    <a:gd name="T17" fmla="*/ 38 h 498"/>
                    <a:gd name="T18" fmla="*/ 52 w 167"/>
                    <a:gd name="T19" fmla="*/ 57 h 498"/>
                    <a:gd name="T20" fmla="*/ 50 w 167"/>
                    <a:gd name="T21" fmla="*/ 73 h 498"/>
                    <a:gd name="T22" fmla="*/ 58 w 167"/>
                    <a:gd name="T23" fmla="*/ 92 h 498"/>
                    <a:gd name="T24" fmla="*/ 73 w 167"/>
                    <a:gd name="T25" fmla="*/ 97 h 498"/>
                    <a:gd name="T26" fmla="*/ 30 w 167"/>
                    <a:gd name="T27" fmla="*/ 101 h 498"/>
                    <a:gd name="T28" fmla="*/ 30 w 167"/>
                    <a:gd name="T29" fmla="*/ 101 h 498"/>
                    <a:gd name="T30" fmla="*/ 3 w 167"/>
                    <a:gd name="T31" fmla="*/ 229 h 498"/>
                    <a:gd name="T32" fmla="*/ 11 w 167"/>
                    <a:gd name="T33" fmla="*/ 246 h 498"/>
                    <a:gd name="T34" fmla="*/ 18 w 167"/>
                    <a:gd name="T35" fmla="*/ 229 h 498"/>
                    <a:gd name="T36" fmla="*/ 33 w 167"/>
                    <a:gd name="T37" fmla="*/ 154 h 498"/>
                    <a:gd name="T38" fmla="*/ 39 w 167"/>
                    <a:gd name="T39" fmla="*/ 376 h 498"/>
                    <a:gd name="T40" fmla="*/ 57 w 167"/>
                    <a:gd name="T41" fmla="*/ 490 h 498"/>
                    <a:gd name="T42" fmla="*/ 57 w 167"/>
                    <a:gd name="T43" fmla="*/ 498 h 498"/>
                    <a:gd name="T44" fmla="*/ 82 w 167"/>
                    <a:gd name="T45" fmla="*/ 498 h 498"/>
                    <a:gd name="T46" fmla="*/ 82 w 167"/>
                    <a:gd name="T47" fmla="*/ 376 h 498"/>
                    <a:gd name="T48" fmla="*/ 91 w 167"/>
                    <a:gd name="T49" fmla="*/ 490 h 498"/>
                    <a:gd name="T50" fmla="*/ 92 w 167"/>
                    <a:gd name="T51" fmla="*/ 498 h 498"/>
                    <a:gd name="T52" fmla="*/ 116 w 167"/>
                    <a:gd name="T53" fmla="*/ 498 h 498"/>
                    <a:gd name="T54" fmla="*/ 116 w 167"/>
                    <a:gd name="T55" fmla="*/ 376 h 498"/>
                    <a:gd name="T56" fmla="*/ 129 w 167"/>
                    <a:gd name="T57" fmla="*/ 262 h 498"/>
                    <a:gd name="T58" fmla="*/ 146 w 167"/>
                    <a:gd name="T59" fmla="*/ 229 h 498"/>
                    <a:gd name="T60" fmla="*/ 149 w 167"/>
                    <a:gd name="T61" fmla="*/ 238 h 498"/>
                    <a:gd name="T62" fmla="*/ 164 w 167"/>
                    <a:gd name="T63" fmla="*/ 238 h 498"/>
                    <a:gd name="T64" fmla="*/ 167 w 167"/>
                    <a:gd name="T65" fmla="*/ 229 h 4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67" h="498">
                      <a:moveTo>
                        <a:pt x="137" y="101"/>
                      </a:moveTo>
                      <a:cubicBezTo>
                        <a:pt x="137" y="101"/>
                        <a:pt x="137" y="101"/>
                        <a:pt x="137" y="101"/>
                      </a:cubicBezTo>
                      <a:cubicBezTo>
                        <a:pt x="99" y="97"/>
                        <a:pt x="99" y="97"/>
                        <a:pt x="99" y="97"/>
                      </a:cubicBezTo>
                      <a:cubicBezTo>
                        <a:pt x="99" y="97"/>
                        <a:pt x="99" y="97"/>
                        <a:pt x="99" y="97"/>
                      </a:cubicBezTo>
                      <a:cubicBezTo>
                        <a:pt x="95" y="97"/>
                        <a:pt x="95" y="97"/>
                        <a:pt x="95" y="97"/>
                      </a:cubicBezTo>
                      <a:cubicBezTo>
                        <a:pt x="95" y="93"/>
                        <a:pt x="95" y="93"/>
                        <a:pt x="95" y="93"/>
                      </a:cubicBezTo>
                      <a:cubicBezTo>
                        <a:pt x="100" y="93"/>
                        <a:pt x="105" y="93"/>
                        <a:pt x="112" y="92"/>
                      </a:cubicBezTo>
                      <a:cubicBezTo>
                        <a:pt x="123" y="90"/>
                        <a:pt x="124" y="83"/>
                        <a:pt x="125" y="79"/>
                      </a:cubicBezTo>
                      <a:cubicBezTo>
                        <a:pt x="125" y="75"/>
                        <a:pt x="122" y="68"/>
                        <a:pt x="120" y="73"/>
                      </a:cubicBezTo>
                      <a:cubicBezTo>
                        <a:pt x="119" y="79"/>
                        <a:pt x="114" y="77"/>
                        <a:pt x="113" y="73"/>
                      </a:cubicBezTo>
                      <a:cubicBezTo>
                        <a:pt x="112" y="71"/>
                        <a:pt x="114" y="66"/>
                        <a:pt x="116" y="62"/>
                      </a:cubicBezTo>
                      <a:cubicBezTo>
                        <a:pt x="116" y="60"/>
                        <a:pt x="117" y="59"/>
                        <a:pt x="118" y="58"/>
                      </a:cubicBezTo>
                      <a:cubicBezTo>
                        <a:pt x="118" y="57"/>
                        <a:pt x="118" y="57"/>
                        <a:pt x="118" y="57"/>
                      </a:cubicBezTo>
                      <a:cubicBezTo>
                        <a:pt x="118" y="57"/>
                        <a:pt x="118" y="57"/>
                        <a:pt x="118" y="57"/>
                      </a:cubicBezTo>
                      <a:cubicBezTo>
                        <a:pt x="119" y="53"/>
                        <a:pt x="120" y="49"/>
                        <a:pt x="120" y="44"/>
                      </a:cubicBezTo>
                      <a:cubicBezTo>
                        <a:pt x="120" y="30"/>
                        <a:pt x="113" y="18"/>
                        <a:pt x="102" y="14"/>
                      </a:cubicBezTo>
                      <a:cubicBezTo>
                        <a:pt x="97" y="5"/>
                        <a:pt x="88" y="0"/>
                        <a:pt x="79" y="0"/>
                      </a:cubicBezTo>
                      <a:cubicBezTo>
                        <a:pt x="62" y="0"/>
                        <a:pt x="48" y="17"/>
                        <a:pt x="48" y="38"/>
                      </a:cubicBezTo>
                      <a:cubicBezTo>
                        <a:pt x="48" y="45"/>
                        <a:pt x="50" y="52"/>
                        <a:pt x="52" y="57"/>
                      </a:cubicBezTo>
                      <a:cubicBezTo>
                        <a:pt x="52" y="57"/>
                        <a:pt x="52" y="57"/>
                        <a:pt x="52" y="57"/>
                      </a:cubicBezTo>
                      <a:cubicBezTo>
                        <a:pt x="52" y="57"/>
                        <a:pt x="59" y="70"/>
                        <a:pt x="57" y="73"/>
                      </a:cubicBezTo>
                      <a:cubicBezTo>
                        <a:pt x="56" y="77"/>
                        <a:pt x="51" y="79"/>
                        <a:pt x="50" y="73"/>
                      </a:cubicBezTo>
                      <a:cubicBezTo>
                        <a:pt x="48" y="68"/>
                        <a:pt x="45" y="75"/>
                        <a:pt x="45" y="79"/>
                      </a:cubicBezTo>
                      <a:cubicBezTo>
                        <a:pt x="46" y="83"/>
                        <a:pt x="47" y="90"/>
                        <a:pt x="58" y="92"/>
                      </a:cubicBezTo>
                      <a:cubicBezTo>
                        <a:pt x="64" y="92"/>
                        <a:pt x="68" y="93"/>
                        <a:pt x="72" y="93"/>
                      </a:cubicBezTo>
                      <a:cubicBezTo>
                        <a:pt x="73" y="97"/>
                        <a:pt x="73" y="97"/>
                        <a:pt x="73" y="97"/>
                      </a:cubicBezTo>
                      <a:cubicBezTo>
                        <a:pt x="69" y="97"/>
                        <a:pt x="69" y="97"/>
                        <a:pt x="69" y="97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10" y="142"/>
                        <a:pt x="4" y="183"/>
                        <a:pt x="0" y="229"/>
                      </a:cubicBezTo>
                      <a:cubicBezTo>
                        <a:pt x="3" y="229"/>
                        <a:pt x="3" y="229"/>
                        <a:pt x="3" y="229"/>
                      </a:cubicBezTo>
                      <a:cubicBezTo>
                        <a:pt x="3" y="238"/>
                        <a:pt x="3" y="238"/>
                        <a:pt x="3" y="238"/>
                      </a:cubicBezTo>
                      <a:cubicBezTo>
                        <a:pt x="3" y="242"/>
                        <a:pt x="6" y="246"/>
                        <a:pt x="11" y="246"/>
                      </a:cubicBezTo>
                      <a:cubicBezTo>
                        <a:pt x="15" y="246"/>
                        <a:pt x="18" y="242"/>
                        <a:pt x="18" y="238"/>
                      </a:cubicBezTo>
                      <a:cubicBezTo>
                        <a:pt x="18" y="229"/>
                        <a:pt x="18" y="229"/>
                        <a:pt x="18" y="229"/>
                      </a:cubicBezTo>
                      <a:cubicBezTo>
                        <a:pt x="21" y="229"/>
                        <a:pt x="21" y="229"/>
                        <a:pt x="21" y="229"/>
                      </a:cubicBezTo>
                      <a:cubicBezTo>
                        <a:pt x="24" y="203"/>
                        <a:pt x="27" y="178"/>
                        <a:pt x="33" y="154"/>
                      </a:cubicBezTo>
                      <a:cubicBezTo>
                        <a:pt x="39" y="262"/>
                        <a:pt x="39" y="262"/>
                        <a:pt x="39" y="262"/>
                      </a:cubicBezTo>
                      <a:cubicBezTo>
                        <a:pt x="39" y="376"/>
                        <a:pt x="39" y="376"/>
                        <a:pt x="39" y="376"/>
                      </a:cubicBezTo>
                      <a:cubicBezTo>
                        <a:pt x="54" y="376"/>
                        <a:pt x="54" y="376"/>
                        <a:pt x="54" y="376"/>
                      </a:cubicBezTo>
                      <a:cubicBezTo>
                        <a:pt x="57" y="490"/>
                        <a:pt x="57" y="490"/>
                        <a:pt x="57" y="490"/>
                      </a:cubicBezTo>
                      <a:cubicBezTo>
                        <a:pt x="56" y="492"/>
                        <a:pt x="55" y="495"/>
                        <a:pt x="55" y="498"/>
                      </a:cubicBezTo>
                      <a:cubicBezTo>
                        <a:pt x="57" y="498"/>
                        <a:pt x="57" y="498"/>
                        <a:pt x="57" y="498"/>
                      </a:cubicBezTo>
                      <a:cubicBezTo>
                        <a:pt x="79" y="498"/>
                        <a:pt x="79" y="498"/>
                        <a:pt x="79" y="498"/>
                      </a:cubicBezTo>
                      <a:cubicBezTo>
                        <a:pt x="82" y="498"/>
                        <a:pt x="82" y="498"/>
                        <a:pt x="82" y="498"/>
                      </a:cubicBezTo>
                      <a:cubicBezTo>
                        <a:pt x="82" y="495"/>
                        <a:pt x="81" y="492"/>
                        <a:pt x="79" y="490"/>
                      </a:cubicBezTo>
                      <a:cubicBezTo>
                        <a:pt x="82" y="376"/>
                        <a:pt x="82" y="376"/>
                        <a:pt x="82" y="376"/>
                      </a:cubicBezTo>
                      <a:cubicBezTo>
                        <a:pt x="89" y="376"/>
                        <a:pt x="89" y="376"/>
                        <a:pt x="89" y="376"/>
                      </a:cubicBezTo>
                      <a:cubicBezTo>
                        <a:pt x="91" y="490"/>
                        <a:pt x="91" y="490"/>
                        <a:pt x="91" y="490"/>
                      </a:cubicBezTo>
                      <a:cubicBezTo>
                        <a:pt x="90" y="492"/>
                        <a:pt x="89" y="495"/>
                        <a:pt x="89" y="498"/>
                      </a:cubicBezTo>
                      <a:cubicBezTo>
                        <a:pt x="92" y="498"/>
                        <a:pt x="92" y="498"/>
                        <a:pt x="92" y="498"/>
                      </a:cubicBezTo>
                      <a:cubicBezTo>
                        <a:pt x="113" y="498"/>
                        <a:pt x="113" y="498"/>
                        <a:pt x="113" y="498"/>
                      </a:cubicBezTo>
                      <a:cubicBezTo>
                        <a:pt x="116" y="498"/>
                        <a:pt x="116" y="498"/>
                        <a:pt x="116" y="498"/>
                      </a:cubicBezTo>
                      <a:cubicBezTo>
                        <a:pt x="116" y="495"/>
                        <a:pt x="115" y="492"/>
                        <a:pt x="113" y="490"/>
                      </a:cubicBezTo>
                      <a:cubicBezTo>
                        <a:pt x="116" y="376"/>
                        <a:pt x="116" y="376"/>
                        <a:pt x="116" y="376"/>
                      </a:cubicBezTo>
                      <a:cubicBezTo>
                        <a:pt x="129" y="376"/>
                        <a:pt x="129" y="376"/>
                        <a:pt x="129" y="376"/>
                      </a:cubicBezTo>
                      <a:cubicBezTo>
                        <a:pt x="129" y="262"/>
                        <a:pt x="129" y="262"/>
                        <a:pt x="129" y="262"/>
                      </a:cubicBezTo>
                      <a:cubicBezTo>
                        <a:pt x="134" y="155"/>
                        <a:pt x="134" y="155"/>
                        <a:pt x="134" y="155"/>
                      </a:cubicBezTo>
                      <a:cubicBezTo>
                        <a:pt x="140" y="179"/>
                        <a:pt x="143" y="203"/>
                        <a:pt x="146" y="229"/>
                      </a:cubicBezTo>
                      <a:cubicBezTo>
                        <a:pt x="149" y="229"/>
                        <a:pt x="149" y="229"/>
                        <a:pt x="149" y="229"/>
                      </a:cubicBezTo>
                      <a:cubicBezTo>
                        <a:pt x="149" y="238"/>
                        <a:pt x="149" y="238"/>
                        <a:pt x="149" y="238"/>
                      </a:cubicBezTo>
                      <a:cubicBezTo>
                        <a:pt x="149" y="242"/>
                        <a:pt x="152" y="246"/>
                        <a:pt x="156" y="246"/>
                      </a:cubicBezTo>
                      <a:cubicBezTo>
                        <a:pt x="160" y="246"/>
                        <a:pt x="164" y="242"/>
                        <a:pt x="164" y="238"/>
                      </a:cubicBezTo>
                      <a:cubicBezTo>
                        <a:pt x="164" y="229"/>
                        <a:pt x="164" y="229"/>
                        <a:pt x="164" y="229"/>
                      </a:cubicBezTo>
                      <a:cubicBezTo>
                        <a:pt x="167" y="229"/>
                        <a:pt x="167" y="229"/>
                        <a:pt x="167" y="229"/>
                      </a:cubicBezTo>
                      <a:cubicBezTo>
                        <a:pt x="162" y="183"/>
                        <a:pt x="156" y="142"/>
                        <a:pt x="137" y="101"/>
                      </a:cubicBezTo>
                      <a:close/>
                    </a:path>
                  </a:pathLst>
                </a:custGeom>
                <a:solidFill>
                  <a:srgbClr val="FFFFFF">
                    <a:lumMod val="85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7" name="Freeform 726"/>
                <p:cNvSpPr>
                  <a:spLocks/>
                </p:cNvSpPr>
                <p:nvPr/>
              </p:nvSpPr>
              <p:spPr bwMode="auto">
                <a:xfrm>
                  <a:off x="8292581" y="3132935"/>
                  <a:ext cx="759215" cy="2268032"/>
                </a:xfrm>
                <a:custGeom>
                  <a:avLst/>
                  <a:gdLst>
                    <a:gd name="T0" fmla="*/ 137 w 167"/>
                    <a:gd name="T1" fmla="*/ 101 h 498"/>
                    <a:gd name="T2" fmla="*/ 99 w 167"/>
                    <a:gd name="T3" fmla="*/ 97 h 498"/>
                    <a:gd name="T4" fmla="*/ 95 w 167"/>
                    <a:gd name="T5" fmla="*/ 93 h 498"/>
                    <a:gd name="T6" fmla="*/ 125 w 167"/>
                    <a:gd name="T7" fmla="*/ 79 h 498"/>
                    <a:gd name="T8" fmla="*/ 113 w 167"/>
                    <a:gd name="T9" fmla="*/ 73 h 498"/>
                    <a:gd name="T10" fmla="*/ 118 w 167"/>
                    <a:gd name="T11" fmla="*/ 58 h 498"/>
                    <a:gd name="T12" fmla="*/ 118 w 167"/>
                    <a:gd name="T13" fmla="*/ 57 h 498"/>
                    <a:gd name="T14" fmla="*/ 102 w 167"/>
                    <a:gd name="T15" fmla="*/ 14 h 498"/>
                    <a:gd name="T16" fmla="*/ 48 w 167"/>
                    <a:gd name="T17" fmla="*/ 38 h 498"/>
                    <a:gd name="T18" fmla="*/ 52 w 167"/>
                    <a:gd name="T19" fmla="*/ 57 h 498"/>
                    <a:gd name="T20" fmla="*/ 50 w 167"/>
                    <a:gd name="T21" fmla="*/ 73 h 498"/>
                    <a:gd name="T22" fmla="*/ 58 w 167"/>
                    <a:gd name="T23" fmla="*/ 92 h 498"/>
                    <a:gd name="T24" fmla="*/ 73 w 167"/>
                    <a:gd name="T25" fmla="*/ 97 h 498"/>
                    <a:gd name="T26" fmla="*/ 31 w 167"/>
                    <a:gd name="T27" fmla="*/ 101 h 498"/>
                    <a:gd name="T28" fmla="*/ 30 w 167"/>
                    <a:gd name="T29" fmla="*/ 101 h 498"/>
                    <a:gd name="T30" fmla="*/ 3 w 167"/>
                    <a:gd name="T31" fmla="*/ 229 h 498"/>
                    <a:gd name="T32" fmla="*/ 11 w 167"/>
                    <a:gd name="T33" fmla="*/ 246 h 498"/>
                    <a:gd name="T34" fmla="*/ 18 w 167"/>
                    <a:gd name="T35" fmla="*/ 229 h 498"/>
                    <a:gd name="T36" fmla="*/ 33 w 167"/>
                    <a:gd name="T37" fmla="*/ 154 h 498"/>
                    <a:gd name="T38" fmla="*/ 39 w 167"/>
                    <a:gd name="T39" fmla="*/ 376 h 498"/>
                    <a:gd name="T40" fmla="*/ 57 w 167"/>
                    <a:gd name="T41" fmla="*/ 490 h 498"/>
                    <a:gd name="T42" fmla="*/ 58 w 167"/>
                    <a:gd name="T43" fmla="*/ 498 h 498"/>
                    <a:gd name="T44" fmla="*/ 82 w 167"/>
                    <a:gd name="T45" fmla="*/ 498 h 498"/>
                    <a:gd name="T46" fmla="*/ 82 w 167"/>
                    <a:gd name="T47" fmla="*/ 376 h 498"/>
                    <a:gd name="T48" fmla="*/ 92 w 167"/>
                    <a:gd name="T49" fmla="*/ 490 h 498"/>
                    <a:gd name="T50" fmla="*/ 92 w 167"/>
                    <a:gd name="T51" fmla="*/ 498 h 498"/>
                    <a:gd name="T52" fmla="*/ 116 w 167"/>
                    <a:gd name="T53" fmla="*/ 498 h 498"/>
                    <a:gd name="T54" fmla="*/ 117 w 167"/>
                    <a:gd name="T55" fmla="*/ 376 h 498"/>
                    <a:gd name="T56" fmla="*/ 129 w 167"/>
                    <a:gd name="T57" fmla="*/ 262 h 498"/>
                    <a:gd name="T58" fmla="*/ 146 w 167"/>
                    <a:gd name="T59" fmla="*/ 229 h 498"/>
                    <a:gd name="T60" fmla="*/ 149 w 167"/>
                    <a:gd name="T61" fmla="*/ 238 h 498"/>
                    <a:gd name="T62" fmla="*/ 164 w 167"/>
                    <a:gd name="T63" fmla="*/ 238 h 498"/>
                    <a:gd name="T64" fmla="*/ 167 w 167"/>
                    <a:gd name="T65" fmla="*/ 229 h 4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67" h="498">
                      <a:moveTo>
                        <a:pt x="137" y="101"/>
                      </a:moveTo>
                      <a:cubicBezTo>
                        <a:pt x="137" y="101"/>
                        <a:pt x="137" y="101"/>
                        <a:pt x="137" y="101"/>
                      </a:cubicBezTo>
                      <a:cubicBezTo>
                        <a:pt x="99" y="97"/>
                        <a:pt x="99" y="97"/>
                        <a:pt x="99" y="97"/>
                      </a:cubicBezTo>
                      <a:cubicBezTo>
                        <a:pt x="99" y="97"/>
                        <a:pt x="99" y="97"/>
                        <a:pt x="99" y="97"/>
                      </a:cubicBezTo>
                      <a:cubicBezTo>
                        <a:pt x="95" y="97"/>
                        <a:pt x="95" y="97"/>
                        <a:pt x="95" y="97"/>
                      </a:cubicBezTo>
                      <a:cubicBezTo>
                        <a:pt x="95" y="93"/>
                        <a:pt x="95" y="93"/>
                        <a:pt x="95" y="93"/>
                      </a:cubicBezTo>
                      <a:cubicBezTo>
                        <a:pt x="100" y="93"/>
                        <a:pt x="105" y="93"/>
                        <a:pt x="112" y="92"/>
                      </a:cubicBezTo>
                      <a:cubicBezTo>
                        <a:pt x="123" y="90"/>
                        <a:pt x="124" y="83"/>
                        <a:pt x="125" y="79"/>
                      </a:cubicBezTo>
                      <a:cubicBezTo>
                        <a:pt x="125" y="75"/>
                        <a:pt x="122" y="68"/>
                        <a:pt x="121" y="73"/>
                      </a:cubicBezTo>
                      <a:cubicBezTo>
                        <a:pt x="119" y="79"/>
                        <a:pt x="114" y="77"/>
                        <a:pt x="113" y="73"/>
                      </a:cubicBezTo>
                      <a:cubicBezTo>
                        <a:pt x="112" y="71"/>
                        <a:pt x="114" y="66"/>
                        <a:pt x="116" y="62"/>
                      </a:cubicBezTo>
                      <a:cubicBezTo>
                        <a:pt x="117" y="60"/>
                        <a:pt x="117" y="59"/>
                        <a:pt x="118" y="58"/>
                      </a:cubicBezTo>
                      <a:cubicBezTo>
                        <a:pt x="118" y="57"/>
                        <a:pt x="118" y="57"/>
                        <a:pt x="118" y="57"/>
                      </a:cubicBezTo>
                      <a:cubicBezTo>
                        <a:pt x="118" y="57"/>
                        <a:pt x="118" y="57"/>
                        <a:pt x="118" y="57"/>
                      </a:cubicBezTo>
                      <a:cubicBezTo>
                        <a:pt x="119" y="53"/>
                        <a:pt x="120" y="49"/>
                        <a:pt x="120" y="44"/>
                      </a:cubicBezTo>
                      <a:cubicBezTo>
                        <a:pt x="120" y="30"/>
                        <a:pt x="113" y="18"/>
                        <a:pt x="102" y="14"/>
                      </a:cubicBezTo>
                      <a:cubicBezTo>
                        <a:pt x="97" y="5"/>
                        <a:pt x="88" y="0"/>
                        <a:pt x="79" y="0"/>
                      </a:cubicBezTo>
                      <a:cubicBezTo>
                        <a:pt x="62" y="0"/>
                        <a:pt x="48" y="17"/>
                        <a:pt x="48" y="38"/>
                      </a:cubicBezTo>
                      <a:cubicBezTo>
                        <a:pt x="48" y="45"/>
                        <a:pt x="50" y="52"/>
                        <a:pt x="52" y="57"/>
                      </a:cubicBezTo>
                      <a:cubicBezTo>
                        <a:pt x="52" y="57"/>
                        <a:pt x="52" y="57"/>
                        <a:pt x="52" y="57"/>
                      </a:cubicBezTo>
                      <a:cubicBezTo>
                        <a:pt x="52" y="57"/>
                        <a:pt x="59" y="70"/>
                        <a:pt x="57" y="73"/>
                      </a:cubicBezTo>
                      <a:cubicBezTo>
                        <a:pt x="56" y="77"/>
                        <a:pt x="52" y="79"/>
                        <a:pt x="50" y="73"/>
                      </a:cubicBezTo>
                      <a:cubicBezTo>
                        <a:pt x="48" y="68"/>
                        <a:pt x="45" y="75"/>
                        <a:pt x="45" y="79"/>
                      </a:cubicBezTo>
                      <a:cubicBezTo>
                        <a:pt x="46" y="83"/>
                        <a:pt x="47" y="90"/>
                        <a:pt x="58" y="92"/>
                      </a:cubicBezTo>
                      <a:cubicBezTo>
                        <a:pt x="64" y="92"/>
                        <a:pt x="68" y="93"/>
                        <a:pt x="72" y="93"/>
                      </a:cubicBezTo>
                      <a:cubicBezTo>
                        <a:pt x="73" y="97"/>
                        <a:pt x="73" y="97"/>
                        <a:pt x="73" y="97"/>
                      </a:cubicBezTo>
                      <a:cubicBezTo>
                        <a:pt x="69" y="97"/>
                        <a:pt x="69" y="97"/>
                        <a:pt x="69" y="97"/>
                      </a:cubicBezTo>
                      <a:cubicBezTo>
                        <a:pt x="31" y="101"/>
                        <a:pt x="31" y="101"/>
                        <a:pt x="31" y="101"/>
                      </a:cubicBezTo>
                      <a:cubicBezTo>
                        <a:pt x="31" y="101"/>
                        <a:pt x="31" y="101"/>
                        <a:pt x="31" y="101"/>
                      </a:cubicBezTo>
                      <a:cubicBezTo>
                        <a:pt x="31" y="101"/>
                        <a:pt x="30" y="101"/>
                        <a:pt x="30" y="101"/>
                      </a:cubicBezTo>
                      <a:cubicBezTo>
                        <a:pt x="11" y="142"/>
                        <a:pt x="5" y="183"/>
                        <a:pt x="0" y="229"/>
                      </a:cubicBezTo>
                      <a:cubicBezTo>
                        <a:pt x="3" y="229"/>
                        <a:pt x="3" y="229"/>
                        <a:pt x="3" y="229"/>
                      </a:cubicBezTo>
                      <a:cubicBezTo>
                        <a:pt x="3" y="238"/>
                        <a:pt x="3" y="238"/>
                        <a:pt x="3" y="238"/>
                      </a:cubicBezTo>
                      <a:cubicBezTo>
                        <a:pt x="3" y="242"/>
                        <a:pt x="6" y="246"/>
                        <a:pt x="11" y="246"/>
                      </a:cubicBezTo>
                      <a:cubicBezTo>
                        <a:pt x="15" y="246"/>
                        <a:pt x="18" y="242"/>
                        <a:pt x="18" y="238"/>
                      </a:cubicBezTo>
                      <a:cubicBezTo>
                        <a:pt x="18" y="229"/>
                        <a:pt x="18" y="229"/>
                        <a:pt x="18" y="229"/>
                      </a:cubicBezTo>
                      <a:cubicBezTo>
                        <a:pt x="21" y="229"/>
                        <a:pt x="21" y="229"/>
                        <a:pt x="21" y="229"/>
                      </a:cubicBezTo>
                      <a:cubicBezTo>
                        <a:pt x="24" y="203"/>
                        <a:pt x="27" y="178"/>
                        <a:pt x="33" y="154"/>
                      </a:cubicBezTo>
                      <a:cubicBezTo>
                        <a:pt x="39" y="262"/>
                        <a:pt x="39" y="262"/>
                        <a:pt x="39" y="262"/>
                      </a:cubicBezTo>
                      <a:cubicBezTo>
                        <a:pt x="39" y="376"/>
                        <a:pt x="39" y="376"/>
                        <a:pt x="39" y="376"/>
                      </a:cubicBezTo>
                      <a:cubicBezTo>
                        <a:pt x="55" y="376"/>
                        <a:pt x="55" y="376"/>
                        <a:pt x="55" y="376"/>
                      </a:cubicBezTo>
                      <a:cubicBezTo>
                        <a:pt x="57" y="490"/>
                        <a:pt x="57" y="490"/>
                        <a:pt x="57" y="490"/>
                      </a:cubicBezTo>
                      <a:cubicBezTo>
                        <a:pt x="56" y="492"/>
                        <a:pt x="55" y="495"/>
                        <a:pt x="55" y="498"/>
                      </a:cubicBezTo>
                      <a:cubicBezTo>
                        <a:pt x="58" y="498"/>
                        <a:pt x="58" y="498"/>
                        <a:pt x="58" y="498"/>
                      </a:cubicBezTo>
                      <a:cubicBezTo>
                        <a:pt x="79" y="498"/>
                        <a:pt x="79" y="498"/>
                        <a:pt x="79" y="498"/>
                      </a:cubicBezTo>
                      <a:cubicBezTo>
                        <a:pt x="82" y="498"/>
                        <a:pt x="82" y="498"/>
                        <a:pt x="82" y="498"/>
                      </a:cubicBezTo>
                      <a:cubicBezTo>
                        <a:pt x="82" y="495"/>
                        <a:pt x="81" y="492"/>
                        <a:pt x="79" y="490"/>
                      </a:cubicBezTo>
                      <a:cubicBezTo>
                        <a:pt x="82" y="376"/>
                        <a:pt x="82" y="376"/>
                        <a:pt x="82" y="376"/>
                      </a:cubicBezTo>
                      <a:cubicBezTo>
                        <a:pt x="89" y="376"/>
                        <a:pt x="89" y="376"/>
                        <a:pt x="89" y="376"/>
                      </a:cubicBezTo>
                      <a:cubicBezTo>
                        <a:pt x="92" y="490"/>
                        <a:pt x="92" y="490"/>
                        <a:pt x="92" y="490"/>
                      </a:cubicBezTo>
                      <a:cubicBezTo>
                        <a:pt x="90" y="492"/>
                        <a:pt x="89" y="495"/>
                        <a:pt x="89" y="498"/>
                      </a:cubicBezTo>
                      <a:cubicBezTo>
                        <a:pt x="92" y="498"/>
                        <a:pt x="92" y="498"/>
                        <a:pt x="92" y="498"/>
                      </a:cubicBezTo>
                      <a:cubicBezTo>
                        <a:pt x="113" y="498"/>
                        <a:pt x="113" y="498"/>
                        <a:pt x="113" y="498"/>
                      </a:cubicBezTo>
                      <a:cubicBezTo>
                        <a:pt x="116" y="498"/>
                        <a:pt x="116" y="498"/>
                        <a:pt x="116" y="498"/>
                      </a:cubicBezTo>
                      <a:cubicBezTo>
                        <a:pt x="116" y="495"/>
                        <a:pt x="115" y="492"/>
                        <a:pt x="114" y="490"/>
                      </a:cubicBezTo>
                      <a:cubicBezTo>
                        <a:pt x="117" y="376"/>
                        <a:pt x="117" y="376"/>
                        <a:pt x="117" y="376"/>
                      </a:cubicBezTo>
                      <a:cubicBezTo>
                        <a:pt x="129" y="376"/>
                        <a:pt x="129" y="376"/>
                        <a:pt x="129" y="376"/>
                      </a:cubicBezTo>
                      <a:cubicBezTo>
                        <a:pt x="129" y="262"/>
                        <a:pt x="129" y="262"/>
                        <a:pt x="129" y="262"/>
                      </a:cubicBezTo>
                      <a:cubicBezTo>
                        <a:pt x="134" y="155"/>
                        <a:pt x="134" y="155"/>
                        <a:pt x="134" y="155"/>
                      </a:cubicBezTo>
                      <a:cubicBezTo>
                        <a:pt x="140" y="179"/>
                        <a:pt x="144" y="203"/>
                        <a:pt x="146" y="229"/>
                      </a:cubicBezTo>
                      <a:cubicBezTo>
                        <a:pt x="149" y="229"/>
                        <a:pt x="149" y="229"/>
                        <a:pt x="149" y="229"/>
                      </a:cubicBezTo>
                      <a:cubicBezTo>
                        <a:pt x="149" y="238"/>
                        <a:pt x="149" y="238"/>
                        <a:pt x="149" y="238"/>
                      </a:cubicBezTo>
                      <a:cubicBezTo>
                        <a:pt x="149" y="242"/>
                        <a:pt x="152" y="246"/>
                        <a:pt x="156" y="246"/>
                      </a:cubicBezTo>
                      <a:cubicBezTo>
                        <a:pt x="161" y="246"/>
                        <a:pt x="164" y="242"/>
                        <a:pt x="164" y="238"/>
                      </a:cubicBezTo>
                      <a:cubicBezTo>
                        <a:pt x="164" y="229"/>
                        <a:pt x="164" y="229"/>
                        <a:pt x="164" y="229"/>
                      </a:cubicBezTo>
                      <a:cubicBezTo>
                        <a:pt x="167" y="229"/>
                        <a:pt x="167" y="229"/>
                        <a:pt x="167" y="229"/>
                      </a:cubicBezTo>
                      <a:cubicBezTo>
                        <a:pt x="162" y="183"/>
                        <a:pt x="157" y="142"/>
                        <a:pt x="137" y="101"/>
                      </a:cubicBezTo>
                      <a:close/>
                    </a:path>
                  </a:pathLst>
                </a:custGeom>
                <a:solidFill>
                  <a:srgbClr val="FFFFFF">
                    <a:lumMod val="85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8" name="Freeform 727"/>
                <p:cNvSpPr>
                  <a:spLocks/>
                </p:cNvSpPr>
                <p:nvPr/>
              </p:nvSpPr>
              <p:spPr bwMode="auto">
                <a:xfrm>
                  <a:off x="7064385" y="3098337"/>
                  <a:ext cx="1059056" cy="2302629"/>
                </a:xfrm>
                <a:custGeom>
                  <a:avLst/>
                  <a:gdLst>
                    <a:gd name="T0" fmla="*/ 183 w 233"/>
                    <a:gd name="T1" fmla="*/ 95 h 506"/>
                    <a:gd name="T2" fmla="*/ 182 w 233"/>
                    <a:gd name="T3" fmla="*/ 95 h 506"/>
                    <a:gd name="T4" fmla="*/ 182 w 233"/>
                    <a:gd name="T5" fmla="*/ 95 h 506"/>
                    <a:gd name="T6" fmla="*/ 132 w 233"/>
                    <a:gd name="T7" fmla="*/ 91 h 506"/>
                    <a:gd name="T8" fmla="*/ 132 w 233"/>
                    <a:gd name="T9" fmla="*/ 91 h 506"/>
                    <a:gd name="T10" fmla="*/ 132 w 233"/>
                    <a:gd name="T11" fmla="*/ 91 h 506"/>
                    <a:gd name="T12" fmla="*/ 132 w 233"/>
                    <a:gd name="T13" fmla="*/ 91 h 506"/>
                    <a:gd name="T14" fmla="*/ 132 w 233"/>
                    <a:gd name="T15" fmla="*/ 83 h 506"/>
                    <a:gd name="T16" fmla="*/ 143 w 233"/>
                    <a:gd name="T17" fmla="*/ 70 h 506"/>
                    <a:gd name="T18" fmla="*/ 143 w 233"/>
                    <a:gd name="T19" fmla="*/ 59 h 506"/>
                    <a:gd name="T20" fmla="*/ 148 w 233"/>
                    <a:gd name="T21" fmla="*/ 54 h 506"/>
                    <a:gd name="T22" fmla="*/ 148 w 233"/>
                    <a:gd name="T23" fmla="*/ 44 h 506"/>
                    <a:gd name="T24" fmla="*/ 145 w 233"/>
                    <a:gd name="T25" fmla="*/ 40 h 506"/>
                    <a:gd name="T26" fmla="*/ 151 w 233"/>
                    <a:gd name="T27" fmla="*/ 26 h 506"/>
                    <a:gd name="T28" fmla="*/ 132 w 233"/>
                    <a:gd name="T29" fmla="*/ 7 h 506"/>
                    <a:gd name="T30" fmla="*/ 131 w 233"/>
                    <a:gd name="T31" fmla="*/ 7 h 506"/>
                    <a:gd name="T32" fmla="*/ 110 w 233"/>
                    <a:gd name="T33" fmla="*/ 0 h 506"/>
                    <a:gd name="T34" fmla="*/ 81 w 233"/>
                    <a:gd name="T35" fmla="*/ 25 h 506"/>
                    <a:gd name="T36" fmla="*/ 87 w 233"/>
                    <a:gd name="T37" fmla="*/ 39 h 506"/>
                    <a:gd name="T38" fmla="*/ 83 w 233"/>
                    <a:gd name="T39" fmla="*/ 44 h 506"/>
                    <a:gd name="T40" fmla="*/ 83 w 233"/>
                    <a:gd name="T41" fmla="*/ 54 h 506"/>
                    <a:gd name="T42" fmla="*/ 88 w 233"/>
                    <a:gd name="T43" fmla="*/ 59 h 506"/>
                    <a:gd name="T44" fmla="*/ 88 w 233"/>
                    <a:gd name="T45" fmla="*/ 70 h 506"/>
                    <a:gd name="T46" fmla="*/ 99 w 233"/>
                    <a:gd name="T47" fmla="*/ 83 h 506"/>
                    <a:gd name="T48" fmla="*/ 99 w 233"/>
                    <a:gd name="T49" fmla="*/ 91 h 506"/>
                    <a:gd name="T50" fmla="*/ 49 w 233"/>
                    <a:gd name="T51" fmla="*/ 95 h 506"/>
                    <a:gd name="T52" fmla="*/ 49 w 233"/>
                    <a:gd name="T53" fmla="*/ 97 h 506"/>
                    <a:gd name="T54" fmla="*/ 0 w 233"/>
                    <a:gd name="T55" fmla="*/ 276 h 506"/>
                    <a:gd name="T56" fmla="*/ 3 w 233"/>
                    <a:gd name="T57" fmla="*/ 276 h 506"/>
                    <a:gd name="T58" fmla="*/ 3 w 233"/>
                    <a:gd name="T59" fmla="*/ 289 h 506"/>
                    <a:gd name="T60" fmla="*/ 14 w 233"/>
                    <a:gd name="T61" fmla="*/ 299 h 506"/>
                    <a:gd name="T62" fmla="*/ 25 w 233"/>
                    <a:gd name="T63" fmla="*/ 289 h 506"/>
                    <a:gd name="T64" fmla="*/ 25 w 233"/>
                    <a:gd name="T65" fmla="*/ 276 h 506"/>
                    <a:gd name="T66" fmla="*/ 28 w 233"/>
                    <a:gd name="T67" fmla="*/ 276 h 506"/>
                    <a:gd name="T68" fmla="*/ 49 w 233"/>
                    <a:gd name="T69" fmla="*/ 176 h 506"/>
                    <a:gd name="T70" fmla="*/ 49 w 233"/>
                    <a:gd name="T71" fmla="*/ 318 h 506"/>
                    <a:gd name="T72" fmla="*/ 67 w 233"/>
                    <a:gd name="T73" fmla="*/ 318 h 506"/>
                    <a:gd name="T74" fmla="*/ 73 w 233"/>
                    <a:gd name="T75" fmla="*/ 489 h 506"/>
                    <a:gd name="T76" fmla="*/ 79 w 233"/>
                    <a:gd name="T77" fmla="*/ 489 h 506"/>
                    <a:gd name="T78" fmla="*/ 70 w 233"/>
                    <a:gd name="T79" fmla="*/ 506 h 506"/>
                    <a:gd name="T80" fmla="*/ 111 w 233"/>
                    <a:gd name="T81" fmla="*/ 506 h 506"/>
                    <a:gd name="T82" fmla="*/ 102 w 233"/>
                    <a:gd name="T83" fmla="*/ 489 h 506"/>
                    <a:gd name="T84" fmla="*/ 108 w 233"/>
                    <a:gd name="T85" fmla="*/ 489 h 506"/>
                    <a:gd name="T86" fmla="*/ 115 w 233"/>
                    <a:gd name="T87" fmla="*/ 318 h 506"/>
                    <a:gd name="T88" fmla="*/ 117 w 233"/>
                    <a:gd name="T89" fmla="*/ 318 h 506"/>
                    <a:gd name="T90" fmla="*/ 123 w 233"/>
                    <a:gd name="T91" fmla="*/ 489 h 506"/>
                    <a:gd name="T92" fmla="*/ 129 w 233"/>
                    <a:gd name="T93" fmla="*/ 489 h 506"/>
                    <a:gd name="T94" fmla="*/ 120 w 233"/>
                    <a:gd name="T95" fmla="*/ 506 h 506"/>
                    <a:gd name="T96" fmla="*/ 161 w 233"/>
                    <a:gd name="T97" fmla="*/ 506 h 506"/>
                    <a:gd name="T98" fmla="*/ 153 w 233"/>
                    <a:gd name="T99" fmla="*/ 489 h 506"/>
                    <a:gd name="T100" fmla="*/ 158 w 233"/>
                    <a:gd name="T101" fmla="*/ 489 h 506"/>
                    <a:gd name="T102" fmla="*/ 165 w 233"/>
                    <a:gd name="T103" fmla="*/ 318 h 506"/>
                    <a:gd name="T104" fmla="*/ 182 w 233"/>
                    <a:gd name="T105" fmla="*/ 318 h 506"/>
                    <a:gd name="T106" fmla="*/ 182 w 233"/>
                    <a:gd name="T107" fmla="*/ 173 h 506"/>
                    <a:gd name="T108" fmla="*/ 204 w 233"/>
                    <a:gd name="T109" fmla="*/ 276 h 506"/>
                    <a:gd name="T110" fmla="*/ 208 w 233"/>
                    <a:gd name="T111" fmla="*/ 276 h 506"/>
                    <a:gd name="T112" fmla="*/ 208 w 233"/>
                    <a:gd name="T113" fmla="*/ 289 h 506"/>
                    <a:gd name="T114" fmla="*/ 218 w 233"/>
                    <a:gd name="T115" fmla="*/ 299 h 506"/>
                    <a:gd name="T116" fmla="*/ 229 w 233"/>
                    <a:gd name="T117" fmla="*/ 289 h 506"/>
                    <a:gd name="T118" fmla="*/ 229 w 233"/>
                    <a:gd name="T119" fmla="*/ 276 h 506"/>
                    <a:gd name="T120" fmla="*/ 233 w 233"/>
                    <a:gd name="T121" fmla="*/ 276 h 506"/>
                    <a:gd name="T122" fmla="*/ 183 w 233"/>
                    <a:gd name="T123" fmla="*/ 95 h 5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233" h="506">
                      <a:moveTo>
                        <a:pt x="183" y="95"/>
                      </a:moveTo>
                      <a:cubicBezTo>
                        <a:pt x="182" y="95"/>
                        <a:pt x="182" y="95"/>
                        <a:pt x="182" y="95"/>
                      </a:cubicBezTo>
                      <a:cubicBezTo>
                        <a:pt x="182" y="95"/>
                        <a:pt x="182" y="95"/>
                        <a:pt x="182" y="95"/>
                      </a:cubicBezTo>
                      <a:cubicBezTo>
                        <a:pt x="132" y="91"/>
                        <a:pt x="132" y="91"/>
                        <a:pt x="132" y="91"/>
                      </a:cubicBezTo>
                      <a:cubicBezTo>
                        <a:pt x="132" y="91"/>
                        <a:pt x="132" y="91"/>
                        <a:pt x="132" y="91"/>
                      </a:cubicBezTo>
                      <a:cubicBezTo>
                        <a:pt x="132" y="91"/>
                        <a:pt x="132" y="91"/>
                        <a:pt x="132" y="91"/>
                      </a:cubicBezTo>
                      <a:cubicBezTo>
                        <a:pt x="132" y="91"/>
                        <a:pt x="132" y="91"/>
                        <a:pt x="132" y="91"/>
                      </a:cubicBezTo>
                      <a:cubicBezTo>
                        <a:pt x="132" y="83"/>
                        <a:pt x="132" y="83"/>
                        <a:pt x="132" y="83"/>
                      </a:cubicBezTo>
                      <a:cubicBezTo>
                        <a:pt x="138" y="82"/>
                        <a:pt x="143" y="76"/>
                        <a:pt x="143" y="70"/>
                      </a:cubicBezTo>
                      <a:cubicBezTo>
                        <a:pt x="143" y="59"/>
                        <a:pt x="143" y="59"/>
                        <a:pt x="143" y="59"/>
                      </a:cubicBezTo>
                      <a:cubicBezTo>
                        <a:pt x="146" y="59"/>
                        <a:pt x="148" y="57"/>
                        <a:pt x="148" y="54"/>
                      </a:cubicBezTo>
                      <a:cubicBezTo>
                        <a:pt x="148" y="44"/>
                        <a:pt x="148" y="44"/>
                        <a:pt x="148" y="44"/>
                      </a:cubicBezTo>
                      <a:cubicBezTo>
                        <a:pt x="148" y="42"/>
                        <a:pt x="146" y="40"/>
                        <a:pt x="145" y="40"/>
                      </a:cubicBezTo>
                      <a:cubicBezTo>
                        <a:pt x="148" y="36"/>
                        <a:pt x="151" y="31"/>
                        <a:pt x="151" y="26"/>
                      </a:cubicBezTo>
                      <a:cubicBezTo>
                        <a:pt x="151" y="16"/>
                        <a:pt x="142" y="7"/>
                        <a:pt x="132" y="7"/>
                      </a:cubicBezTo>
                      <a:cubicBezTo>
                        <a:pt x="131" y="7"/>
                        <a:pt x="131" y="7"/>
                        <a:pt x="131" y="7"/>
                      </a:cubicBezTo>
                      <a:cubicBezTo>
                        <a:pt x="126" y="3"/>
                        <a:pt x="118" y="0"/>
                        <a:pt x="110" y="0"/>
                      </a:cubicBezTo>
                      <a:cubicBezTo>
                        <a:pt x="94" y="0"/>
                        <a:pt x="81" y="11"/>
                        <a:pt x="81" y="25"/>
                      </a:cubicBezTo>
                      <a:cubicBezTo>
                        <a:pt x="81" y="30"/>
                        <a:pt x="83" y="35"/>
                        <a:pt x="87" y="39"/>
                      </a:cubicBezTo>
                      <a:cubicBezTo>
                        <a:pt x="85" y="40"/>
                        <a:pt x="83" y="42"/>
                        <a:pt x="83" y="44"/>
                      </a:cubicBezTo>
                      <a:cubicBezTo>
                        <a:pt x="83" y="54"/>
                        <a:pt x="83" y="54"/>
                        <a:pt x="83" y="54"/>
                      </a:cubicBezTo>
                      <a:cubicBezTo>
                        <a:pt x="83" y="57"/>
                        <a:pt x="85" y="59"/>
                        <a:pt x="88" y="59"/>
                      </a:cubicBezTo>
                      <a:cubicBezTo>
                        <a:pt x="88" y="70"/>
                        <a:pt x="88" y="70"/>
                        <a:pt x="88" y="70"/>
                      </a:cubicBezTo>
                      <a:cubicBezTo>
                        <a:pt x="88" y="77"/>
                        <a:pt x="93" y="82"/>
                        <a:pt x="99" y="83"/>
                      </a:cubicBezTo>
                      <a:cubicBezTo>
                        <a:pt x="99" y="91"/>
                        <a:pt x="99" y="91"/>
                        <a:pt x="99" y="91"/>
                      </a:cubicBezTo>
                      <a:cubicBezTo>
                        <a:pt x="49" y="95"/>
                        <a:pt x="49" y="95"/>
                        <a:pt x="49" y="95"/>
                      </a:cubicBezTo>
                      <a:cubicBezTo>
                        <a:pt x="49" y="97"/>
                        <a:pt x="49" y="97"/>
                        <a:pt x="49" y="97"/>
                      </a:cubicBezTo>
                      <a:cubicBezTo>
                        <a:pt x="23" y="155"/>
                        <a:pt x="6" y="213"/>
                        <a:pt x="0" y="276"/>
                      </a:cubicBezTo>
                      <a:cubicBezTo>
                        <a:pt x="3" y="276"/>
                        <a:pt x="3" y="276"/>
                        <a:pt x="3" y="276"/>
                      </a:cubicBezTo>
                      <a:cubicBezTo>
                        <a:pt x="3" y="289"/>
                        <a:pt x="3" y="289"/>
                        <a:pt x="3" y="289"/>
                      </a:cubicBezTo>
                      <a:cubicBezTo>
                        <a:pt x="3" y="295"/>
                        <a:pt x="8" y="299"/>
                        <a:pt x="14" y="299"/>
                      </a:cubicBezTo>
                      <a:cubicBezTo>
                        <a:pt x="20" y="299"/>
                        <a:pt x="25" y="295"/>
                        <a:pt x="25" y="289"/>
                      </a:cubicBezTo>
                      <a:cubicBezTo>
                        <a:pt x="25" y="276"/>
                        <a:pt x="25" y="276"/>
                        <a:pt x="25" y="276"/>
                      </a:cubicBezTo>
                      <a:cubicBezTo>
                        <a:pt x="28" y="276"/>
                        <a:pt x="28" y="276"/>
                        <a:pt x="28" y="276"/>
                      </a:cubicBezTo>
                      <a:cubicBezTo>
                        <a:pt x="32" y="241"/>
                        <a:pt x="39" y="208"/>
                        <a:pt x="49" y="176"/>
                      </a:cubicBezTo>
                      <a:cubicBezTo>
                        <a:pt x="49" y="318"/>
                        <a:pt x="49" y="318"/>
                        <a:pt x="49" y="318"/>
                      </a:cubicBezTo>
                      <a:cubicBezTo>
                        <a:pt x="67" y="318"/>
                        <a:pt x="67" y="318"/>
                        <a:pt x="67" y="318"/>
                      </a:cubicBezTo>
                      <a:cubicBezTo>
                        <a:pt x="73" y="489"/>
                        <a:pt x="73" y="489"/>
                        <a:pt x="73" y="489"/>
                      </a:cubicBezTo>
                      <a:cubicBezTo>
                        <a:pt x="79" y="489"/>
                        <a:pt x="79" y="489"/>
                        <a:pt x="79" y="489"/>
                      </a:cubicBezTo>
                      <a:cubicBezTo>
                        <a:pt x="74" y="493"/>
                        <a:pt x="70" y="499"/>
                        <a:pt x="70" y="506"/>
                      </a:cubicBezTo>
                      <a:cubicBezTo>
                        <a:pt x="111" y="506"/>
                        <a:pt x="111" y="506"/>
                        <a:pt x="111" y="506"/>
                      </a:cubicBezTo>
                      <a:cubicBezTo>
                        <a:pt x="111" y="499"/>
                        <a:pt x="108" y="493"/>
                        <a:pt x="102" y="489"/>
                      </a:cubicBezTo>
                      <a:cubicBezTo>
                        <a:pt x="108" y="489"/>
                        <a:pt x="108" y="489"/>
                        <a:pt x="108" y="489"/>
                      </a:cubicBezTo>
                      <a:cubicBezTo>
                        <a:pt x="115" y="318"/>
                        <a:pt x="115" y="318"/>
                        <a:pt x="115" y="318"/>
                      </a:cubicBezTo>
                      <a:cubicBezTo>
                        <a:pt x="117" y="318"/>
                        <a:pt x="117" y="318"/>
                        <a:pt x="117" y="318"/>
                      </a:cubicBezTo>
                      <a:cubicBezTo>
                        <a:pt x="123" y="489"/>
                        <a:pt x="123" y="489"/>
                        <a:pt x="123" y="489"/>
                      </a:cubicBezTo>
                      <a:cubicBezTo>
                        <a:pt x="129" y="489"/>
                        <a:pt x="129" y="489"/>
                        <a:pt x="129" y="489"/>
                      </a:cubicBezTo>
                      <a:cubicBezTo>
                        <a:pt x="124" y="493"/>
                        <a:pt x="120" y="499"/>
                        <a:pt x="120" y="506"/>
                      </a:cubicBezTo>
                      <a:cubicBezTo>
                        <a:pt x="161" y="506"/>
                        <a:pt x="161" y="506"/>
                        <a:pt x="161" y="506"/>
                      </a:cubicBezTo>
                      <a:cubicBezTo>
                        <a:pt x="161" y="499"/>
                        <a:pt x="158" y="493"/>
                        <a:pt x="153" y="489"/>
                      </a:cubicBezTo>
                      <a:cubicBezTo>
                        <a:pt x="158" y="489"/>
                        <a:pt x="158" y="489"/>
                        <a:pt x="158" y="489"/>
                      </a:cubicBezTo>
                      <a:cubicBezTo>
                        <a:pt x="165" y="318"/>
                        <a:pt x="165" y="318"/>
                        <a:pt x="165" y="318"/>
                      </a:cubicBezTo>
                      <a:cubicBezTo>
                        <a:pt x="182" y="318"/>
                        <a:pt x="182" y="318"/>
                        <a:pt x="182" y="318"/>
                      </a:cubicBezTo>
                      <a:cubicBezTo>
                        <a:pt x="182" y="173"/>
                        <a:pt x="182" y="173"/>
                        <a:pt x="182" y="173"/>
                      </a:cubicBezTo>
                      <a:cubicBezTo>
                        <a:pt x="193" y="206"/>
                        <a:pt x="200" y="240"/>
                        <a:pt x="204" y="276"/>
                      </a:cubicBezTo>
                      <a:cubicBezTo>
                        <a:pt x="208" y="276"/>
                        <a:pt x="208" y="276"/>
                        <a:pt x="208" y="276"/>
                      </a:cubicBezTo>
                      <a:cubicBezTo>
                        <a:pt x="208" y="289"/>
                        <a:pt x="208" y="289"/>
                        <a:pt x="208" y="289"/>
                      </a:cubicBezTo>
                      <a:cubicBezTo>
                        <a:pt x="208" y="295"/>
                        <a:pt x="212" y="299"/>
                        <a:pt x="218" y="299"/>
                      </a:cubicBezTo>
                      <a:cubicBezTo>
                        <a:pt x="224" y="299"/>
                        <a:pt x="229" y="295"/>
                        <a:pt x="229" y="289"/>
                      </a:cubicBezTo>
                      <a:cubicBezTo>
                        <a:pt x="229" y="276"/>
                        <a:pt x="229" y="276"/>
                        <a:pt x="229" y="276"/>
                      </a:cubicBezTo>
                      <a:cubicBezTo>
                        <a:pt x="233" y="276"/>
                        <a:pt x="233" y="276"/>
                        <a:pt x="233" y="276"/>
                      </a:cubicBezTo>
                      <a:cubicBezTo>
                        <a:pt x="227" y="212"/>
                        <a:pt x="210" y="153"/>
                        <a:pt x="183" y="95"/>
                      </a:cubicBezTo>
                      <a:close/>
                    </a:path>
                  </a:pathLst>
                </a:custGeom>
                <a:solidFill>
                  <a:srgbClr val="FFFFFF">
                    <a:lumMod val="85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grpSp>
              <p:nvGrpSpPr>
                <p:cNvPr id="729" name="Group 728"/>
                <p:cNvGrpSpPr/>
                <p:nvPr/>
              </p:nvGrpSpPr>
              <p:grpSpPr>
                <a:xfrm>
                  <a:off x="5501749" y="2623589"/>
                  <a:ext cx="1037915" cy="2786987"/>
                  <a:chOff x="5501749" y="2623589"/>
                  <a:chExt cx="1037915" cy="2786987"/>
                </a:xfrm>
              </p:grpSpPr>
              <p:sp>
                <p:nvSpPr>
                  <p:cNvPr id="790" name="Rectangle 789"/>
                  <p:cNvSpPr>
                    <a:spLocks noChangeArrowheads="1"/>
                  </p:cNvSpPr>
                  <p:nvPr/>
                </p:nvSpPr>
                <p:spPr bwMode="auto">
                  <a:xfrm>
                    <a:off x="5930370" y="3132935"/>
                    <a:ext cx="182596" cy="538177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91" name="Freeform 790"/>
                  <p:cNvSpPr>
                    <a:spLocks/>
                  </p:cNvSpPr>
                  <p:nvPr/>
                </p:nvSpPr>
                <p:spPr bwMode="auto">
                  <a:xfrm>
                    <a:off x="5780449" y="5297175"/>
                    <a:ext cx="226803" cy="113401"/>
                  </a:xfrm>
                  <a:custGeom>
                    <a:avLst/>
                    <a:gdLst>
                      <a:gd name="T0" fmla="*/ 25 w 50"/>
                      <a:gd name="T1" fmla="*/ 0 h 25"/>
                      <a:gd name="T2" fmla="*/ 0 w 50"/>
                      <a:gd name="T3" fmla="*/ 25 h 25"/>
                      <a:gd name="T4" fmla="*/ 50 w 50"/>
                      <a:gd name="T5" fmla="*/ 25 h 25"/>
                      <a:gd name="T6" fmla="*/ 25 w 50"/>
                      <a:gd name="T7" fmla="*/ 0 h 2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50" h="25">
                        <a:moveTo>
                          <a:pt x="25" y="0"/>
                        </a:moveTo>
                        <a:cubicBezTo>
                          <a:pt x="11" y="0"/>
                          <a:pt x="0" y="11"/>
                          <a:pt x="0" y="25"/>
                        </a:cubicBezTo>
                        <a:cubicBezTo>
                          <a:pt x="50" y="25"/>
                          <a:pt x="50" y="25"/>
                          <a:pt x="50" y="25"/>
                        </a:cubicBezTo>
                        <a:cubicBezTo>
                          <a:pt x="50" y="11"/>
                          <a:pt x="39" y="0"/>
                          <a:pt x="25" y="0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92" name="Freeform 791"/>
                  <p:cNvSpPr>
                    <a:spLocks/>
                  </p:cNvSpPr>
                  <p:nvPr/>
                </p:nvSpPr>
                <p:spPr bwMode="auto">
                  <a:xfrm>
                    <a:off x="6030317" y="5297175"/>
                    <a:ext cx="226803" cy="113401"/>
                  </a:xfrm>
                  <a:custGeom>
                    <a:avLst/>
                    <a:gdLst>
                      <a:gd name="T0" fmla="*/ 25 w 50"/>
                      <a:gd name="T1" fmla="*/ 0 h 25"/>
                      <a:gd name="T2" fmla="*/ 0 w 50"/>
                      <a:gd name="T3" fmla="*/ 25 h 25"/>
                      <a:gd name="T4" fmla="*/ 50 w 50"/>
                      <a:gd name="T5" fmla="*/ 25 h 25"/>
                      <a:gd name="T6" fmla="*/ 25 w 50"/>
                      <a:gd name="T7" fmla="*/ 0 h 2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50" h="25">
                        <a:moveTo>
                          <a:pt x="25" y="0"/>
                        </a:moveTo>
                        <a:cubicBezTo>
                          <a:pt x="11" y="0"/>
                          <a:pt x="0" y="11"/>
                          <a:pt x="0" y="25"/>
                        </a:cubicBezTo>
                        <a:cubicBezTo>
                          <a:pt x="50" y="25"/>
                          <a:pt x="50" y="25"/>
                          <a:pt x="50" y="25"/>
                        </a:cubicBezTo>
                        <a:cubicBezTo>
                          <a:pt x="50" y="11"/>
                          <a:pt x="39" y="0"/>
                          <a:pt x="25" y="0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93" name="Freeform 792"/>
                  <p:cNvSpPr>
                    <a:spLocks/>
                  </p:cNvSpPr>
                  <p:nvPr/>
                </p:nvSpPr>
                <p:spPr bwMode="auto">
                  <a:xfrm>
                    <a:off x="5861175" y="2669718"/>
                    <a:ext cx="351738" cy="422853"/>
                  </a:xfrm>
                  <a:custGeom>
                    <a:avLst/>
                    <a:gdLst>
                      <a:gd name="T0" fmla="*/ 69 w 77"/>
                      <a:gd name="T1" fmla="*/ 53 h 93"/>
                      <a:gd name="T2" fmla="*/ 27 w 77"/>
                      <a:gd name="T3" fmla="*/ 87 h 93"/>
                      <a:gd name="T4" fmla="*/ 7 w 77"/>
                      <a:gd name="T5" fmla="*/ 36 h 93"/>
                      <a:gd name="T6" fmla="*/ 54 w 77"/>
                      <a:gd name="T7" fmla="*/ 6 h 93"/>
                      <a:gd name="T8" fmla="*/ 69 w 77"/>
                      <a:gd name="T9" fmla="*/ 53 h 9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7" h="93">
                        <a:moveTo>
                          <a:pt x="69" y="53"/>
                        </a:moveTo>
                        <a:cubicBezTo>
                          <a:pt x="62" y="75"/>
                          <a:pt x="45" y="93"/>
                          <a:pt x="27" y="87"/>
                        </a:cubicBezTo>
                        <a:cubicBezTo>
                          <a:pt x="9" y="81"/>
                          <a:pt x="0" y="58"/>
                          <a:pt x="7" y="36"/>
                        </a:cubicBezTo>
                        <a:cubicBezTo>
                          <a:pt x="15" y="14"/>
                          <a:pt x="35" y="0"/>
                          <a:pt x="54" y="6"/>
                        </a:cubicBezTo>
                        <a:cubicBezTo>
                          <a:pt x="72" y="12"/>
                          <a:pt x="77" y="31"/>
                          <a:pt x="69" y="53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94" name="Freeform 793"/>
                  <p:cNvSpPr>
                    <a:spLocks/>
                  </p:cNvSpPr>
                  <p:nvPr/>
                </p:nvSpPr>
                <p:spPr bwMode="auto">
                  <a:xfrm>
                    <a:off x="5816967" y="2623589"/>
                    <a:ext cx="345971" cy="395945"/>
                  </a:xfrm>
                  <a:custGeom>
                    <a:avLst/>
                    <a:gdLst>
                      <a:gd name="T0" fmla="*/ 65 w 76"/>
                      <a:gd name="T1" fmla="*/ 28 h 87"/>
                      <a:gd name="T2" fmla="*/ 58 w 76"/>
                      <a:gd name="T3" fmla="*/ 78 h 87"/>
                      <a:gd name="T4" fmla="*/ 11 w 76"/>
                      <a:gd name="T5" fmla="*/ 60 h 87"/>
                      <a:gd name="T6" fmla="*/ 17 w 76"/>
                      <a:gd name="T7" fmla="*/ 9 h 87"/>
                      <a:gd name="T8" fmla="*/ 65 w 76"/>
                      <a:gd name="T9" fmla="*/ 28 h 8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6" h="87">
                        <a:moveTo>
                          <a:pt x="65" y="28"/>
                        </a:moveTo>
                        <a:cubicBezTo>
                          <a:pt x="76" y="47"/>
                          <a:pt x="73" y="69"/>
                          <a:pt x="58" y="78"/>
                        </a:cubicBezTo>
                        <a:cubicBezTo>
                          <a:pt x="43" y="87"/>
                          <a:pt x="22" y="79"/>
                          <a:pt x="11" y="60"/>
                        </a:cubicBezTo>
                        <a:cubicBezTo>
                          <a:pt x="0" y="40"/>
                          <a:pt x="3" y="18"/>
                          <a:pt x="17" y="9"/>
                        </a:cubicBezTo>
                        <a:cubicBezTo>
                          <a:pt x="32" y="0"/>
                          <a:pt x="53" y="9"/>
                          <a:pt x="65" y="28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95" name="Freeform 794"/>
                  <p:cNvSpPr>
                    <a:spLocks/>
                  </p:cNvSpPr>
                  <p:nvPr/>
                </p:nvSpPr>
                <p:spPr bwMode="auto">
                  <a:xfrm>
                    <a:off x="5930370" y="2988781"/>
                    <a:ext cx="182596" cy="190283"/>
                  </a:xfrm>
                  <a:custGeom>
                    <a:avLst/>
                    <a:gdLst>
                      <a:gd name="T0" fmla="*/ 95 w 95"/>
                      <a:gd name="T1" fmla="*/ 75 h 99"/>
                      <a:gd name="T2" fmla="*/ 47 w 95"/>
                      <a:gd name="T3" fmla="*/ 99 h 99"/>
                      <a:gd name="T4" fmla="*/ 0 w 95"/>
                      <a:gd name="T5" fmla="*/ 75 h 99"/>
                      <a:gd name="T6" fmla="*/ 0 w 95"/>
                      <a:gd name="T7" fmla="*/ 0 h 99"/>
                      <a:gd name="T8" fmla="*/ 95 w 95"/>
                      <a:gd name="T9" fmla="*/ 0 h 99"/>
                      <a:gd name="T10" fmla="*/ 95 w 95"/>
                      <a:gd name="T11" fmla="*/ 75 h 9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95" h="99">
                        <a:moveTo>
                          <a:pt x="95" y="75"/>
                        </a:moveTo>
                        <a:lnTo>
                          <a:pt x="47" y="99"/>
                        </a:lnTo>
                        <a:lnTo>
                          <a:pt x="0" y="75"/>
                        </a:lnTo>
                        <a:lnTo>
                          <a:pt x="0" y="0"/>
                        </a:lnTo>
                        <a:lnTo>
                          <a:pt x="95" y="0"/>
                        </a:lnTo>
                        <a:lnTo>
                          <a:pt x="95" y="75"/>
                        </a:lnTo>
                        <a:close/>
                      </a:path>
                    </a:pathLst>
                  </a:custGeom>
                  <a:solidFill>
                    <a:srgbClr val="FFB9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96" name="Freeform 795"/>
                  <p:cNvSpPr>
                    <a:spLocks/>
                  </p:cNvSpPr>
                  <p:nvPr/>
                </p:nvSpPr>
                <p:spPr bwMode="auto">
                  <a:xfrm>
                    <a:off x="5501749" y="3188675"/>
                    <a:ext cx="388256" cy="991783"/>
                  </a:xfrm>
                  <a:custGeom>
                    <a:avLst/>
                    <a:gdLst>
                      <a:gd name="T0" fmla="*/ 85 w 85"/>
                      <a:gd name="T1" fmla="*/ 9 h 218"/>
                      <a:gd name="T2" fmla="*/ 51 w 85"/>
                      <a:gd name="T3" fmla="*/ 0 h 218"/>
                      <a:gd name="T4" fmla="*/ 0 w 85"/>
                      <a:gd name="T5" fmla="*/ 218 h 218"/>
                      <a:gd name="T6" fmla="*/ 35 w 85"/>
                      <a:gd name="T7" fmla="*/ 218 h 218"/>
                      <a:gd name="T8" fmla="*/ 85 w 85"/>
                      <a:gd name="T9" fmla="*/ 9 h 21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85" h="218">
                        <a:moveTo>
                          <a:pt x="85" y="9"/>
                        </a:moveTo>
                        <a:cubicBezTo>
                          <a:pt x="74" y="6"/>
                          <a:pt x="62" y="3"/>
                          <a:pt x="51" y="0"/>
                        </a:cubicBezTo>
                        <a:cubicBezTo>
                          <a:pt x="19" y="71"/>
                          <a:pt x="8" y="141"/>
                          <a:pt x="0" y="218"/>
                        </a:cubicBezTo>
                        <a:cubicBezTo>
                          <a:pt x="35" y="218"/>
                          <a:pt x="35" y="218"/>
                          <a:pt x="35" y="218"/>
                        </a:cubicBezTo>
                        <a:cubicBezTo>
                          <a:pt x="43" y="144"/>
                          <a:pt x="53" y="77"/>
                          <a:pt x="85" y="9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97" name="Freeform 796"/>
                  <p:cNvSpPr>
                    <a:spLocks/>
                  </p:cNvSpPr>
                  <p:nvPr/>
                </p:nvSpPr>
                <p:spPr bwMode="auto">
                  <a:xfrm>
                    <a:off x="6157173" y="3188675"/>
                    <a:ext cx="382491" cy="991783"/>
                  </a:xfrm>
                  <a:custGeom>
                    <a:avLst/>
                    <a:gdLst>
                      <a:gd name="T0" fmla="*/ 0 w 84"/>
                      <a:gd name="T1" fmla="*/ 9 h 218"/>
                      <a:gd name="T2" fmla="*/ 33 w 84"/>
                      <a:gd name="T3" fmla="*/ 0 h 218"/>
                      <a:gd name="T4" fmla="*/ 84 w 84"/>
                      <a:gd name="T5" fmla="*/ 218 h 218"/>
                      <a:gd name="T6" fmla="*/ 50 w 84"/>
                      <a:gd name="T7" fmla="*/ 218 h 218"/>
                      <a:gd name="T8" fmla="*/ 0 w 84"/>
                      <a:gd name="T9" fmla="*/ 9 h 21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84" h="218">
                        <a:moveTo>
                          <a:pt x="0" y="9"/>
                        </a:moveTo>
                        <a:cubicBezTo>
                          <a:pt x="11" y="6"/>
                          <a:pt x="22" y="3"/>
                          <a:pt x="33" y="0"/>
                        </a:cubicBezTo>
                        <a:cubicBezTo>
                          <a:pt x="66" y="71"/>
                          <a:pt x="77" y="141"/>
                          <a:pt x="84" y="218"/>
                        </a:cubicBezTo>
                        <a:cubicBezTo>
                          <a:pt x="50" y="218"/>
                          <a:pt x="50" y="218"/>
                          <a:pt x="50" y="218"/>
                        </a:cubicBezTo>
                        <a:cubicBezTo>
                          <a:pt x="42" y="144"/>
                          <a:pt x="31" y="77"/>
                          <a:pt x="0" y="9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98" name="Freeform 797"/>
                  <p:cNvSpPr>
                    <a:spLocks/>
                  </p:cNvSpPr>
                  <p:nvPr/>
                </p:nvSpPr>
                <p:spPr bwMode="auto">
                  <a:xfrm>
                    <a:off x="5784293" y="4272717"/>
                    <a:ext cx="226803" cy="1047523"/>
                  </a:xfrm>
                  <a:custGeom>
                    <a:avLst/>
                    <a:gdLst>
                      <a:gd name="T0" fmla="*/ 100 w 118"/>
                      <a:gd name="T1" fmla="*/ 545 h 545"/>
                      <a:gd name="T2" fmla="*/ 14 w 118"/>
                      <a:gd name="T3" fmla="*/ 545 h 545"/>
                      <a:gd name="T4" fmla="*/ 0 w 118"/>
                      <a:gd name="T5" fmla="*/ 0 h 545"/>
                      <a:gd name="T6" fmla="*/ 118 w 118"/>
                      <a:gd name="T7" fmla="*/ 0 h 545"/>
                      <a:gd name="T8" fmla="*/ 100 w 118"/>
                      <a:gd name="T9" fmla="*/ 545 h 54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8" h="545">
                        <a:moveTo>
                          <a:pt x="100" y="545"/>
                        </a:moveTo>
                        <a:lnTo>
                          <a:pt x="14" y="545"/>
                        </a:lnTo>
                        <a:lnTo>
                          <a:pt x="0" y="0"/>
                        </a:lnTo>
                        <a:lnTo>
                          <a:pt x="118" y="0"/>
                        </a:lnTo>
                        <a:lnTo>
                          <a:pt x="100" y="545"/>
                        </a:lnTo>
                        <a:close/>
                      </a:path>
                    </a:pathLst>
                  </a:custGeom>
                  <a:solidFill>
                    <a:srgbClr val="EB3C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99" name="Freeform 798"/>
                  <p:cNvSpPr>
                    <a:spLocks/>
                  </p:cNvSpPr>
                  <p:nvPr/>
                </p:nvSpPr>
                <p:spPr bwMode="auto">
                  <a:xfrm>
                    <a:off x="6020706" y="4272717"/>
                    <a:ext cx="232570" cy="1047523"/>
                  </a:xfrm>
                  <a:custGeom>
                    <a:avLst/>
                    <a:gdLst>
                      <a:gd name="T0" fmla="*/ 107 w 121"/>
                      <a:gd name="T1" fmla="*/ 545 h 545"/>
                      <a:gd name="T2" fmla="*/ 22 w 121"/>
                      <a:gd name="T3" fmla="*/ 545 h 545"/>
                      <a:gd name="T4" fmla="*/ 0 w 121"/>
                      <a:gd name="T5" fmla="*/ 0 h 545"/>
                      <a:gd name="T6" fmla="*/ 121 w 121"/>
                      <a:gd name="T7" fmla="*/ 0 h 545"/>
                      <a:gd name="T8" fmla="*/ 107 w 121"/>
                      <a:gd name="T9" fmla="*/ 545 h 54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21" h="545">
                        <a:moveTo>
                          <a:pt x="107" y="545"/>
                        </a:moveTo>
                        <a:lnTo>
                          <a:pt x="22" y="545"/>
                        </a:lnTo>
                        <a:lnTo>
                          <a:pt x="0" y="0"/>
                        </a:lnTo>
                        <a:lnTo>
                          <a:pt x="121" y="0"/>
                        </a:lnTo>
                        <a:lnTo>
                          <a:pt x="107" y="545"/>
                        </a:lnTo>
                        <a:close/>
                      </a:path>
                    </a:pathLst>
                  </a:custGeom>
                  <a:solidFill>
                    <a:srgbClr val="EB3C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00" name="Freeform 799"/>
                  <p:cNvSpPr>
                    <a:spLocks/>
                  </p:cNvSpPr>
                  <p:nvPr/>
                </p:nvSpPr>
                <p:spPr bwMode="auto">
                  <a:xfrm>
                    <a:off x="5524814" y="4180458"/>
                    <a:ext cx="113402" cy="128777"/>
                  </a:xfrm>
                  <a:custGeom>
                    <a:avLst/>
                    <a:gdLst>
                      <a:gd name="T0" fmla="*/ 0 w 25"/>
                      <a:gd name="T1" fmla="*/ 0 h 28"/>
                      <a:gd name="T2" fmla="*/ 0 w 25"/>
                      <a:gd name="T3" fmla="*/ 15 h 28"/>
                      <a:gd name="T4" fmla="*/ 13 w 25"/>
                      <a:gd name="T5" fmla="*/ 28 h 28"/>
                      <a:gd name="T6" fmla="*/ 25 w 25"/>
                      <a:gd name="T7" fmla="*/ 15 h 28"/>
                      <a:gd name="T8" fmla="*/ 25 w 25"/>
                      <a:gd name="T9" fmla="*/ 0 h 28"/>
                      <a:gd name="T10" fmla="*/ 0 w 25"/>
                      <a:gd name="T11" fmla="*/ 0 h 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25" h="28">
                        <a:moveTo>
                          <a:pt x="0" y="0"/>
                        </a:moveTo>
                        <a:cubicBezTo>
                          <a:pt x="0" y="15"/>
                          <a:pt x="0" y="15"/>
                          <a:pt x="0" y="15"/>
                        </a:cubicBezTo>
                        <a:cubicBezTo>
                          <a:pt x="0" y="22"/>
                          <a:pt x="6" y="28"/>
                          <a:pt x="13" y="28"/>
                        </a:cubicBezTo>
                        <a:cubicBezTo>
                          <a:pt x="20" y="28"/>
                          <a:pt x="25" y="22"/>
                          <a:pt x="25" y="15"/>
                        </a:cubicBezTo>
                        <a:cubicBezTo>
                          <a:pt x="25" y="0"/>
                          <a:pt x="25" y="0"/>
                          <a:pt x="25" y="0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FB9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01" name="Freeform 800"/>
                  <p:cNvSpPr>
                    <a:spLocks/>
                  </p:cNvSpPr>
                  <p:nvPr/>
                </p:nvSpPr>
                <p:spPr bwMode="auto">
                  <a:xfrm>
                    <a:off x="6403196" y="4180458"/>
                    <a:ext cx="119168" cy="128777"/>
                  </a:xfrm>
                  <a:custGeom>
                    <a:avLst/>
                    <a:gdLst>
                      <a:gd name="T0" fmla="*/ 0 w 26"/>
                      <a:gd name="T1" fmla="*/ 0 h 28"/>
                      <a:gd name="T2" fmla="*/ 0 w 26"/>
                      <a:gd name="T3" fmla="*/ 15 h 28"/>
                      <a:gd name="T4" fmla="*/ 13 w 26"/>
                      <a:gd name="T5" fmla="*/ 28 h 28"/>
                      <a:gd name="T6" fmla="*/ 26 w 26"/>
                      <a:gd name="T7" fmla="*/ 15 h 28"/>
                      <a:gd name="T8" fmla="*/ 26 w 26"/>
                      <a:gd name="T9" fmla="*/ 0 h 28"/>
                      <a:gd name="T10" fmla="*/ 0 w 26"/>
                      <a:gd name="T11" fmla="*/ 0 h 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26" h="28">
                        <a:moveTo>
                          <a:pt x="0" y="0"/>
                        </a:moveTo>
                        <a:cubicBezTo>
                          <a:pt x="0" y="15"/>
                          <a:pt x="0" y="15"/>
                          <a:pt x="0" y="15"/>
                        </a:cubicBezTo>
                        <a:cubicBezTo>
                          <a:pt x="0" y="22"/>
                          <a:pt x="6" y="28"/>
                          <a:pt x="13" y="28"/>
                        </a:cubicBezTo>
                        <a:cubicBezTo>
                          <a:pt x="20" y="28"/>
                          <a:pt x="26" y="22"/>
                          <a:pt x="26" y="15"/>
                        </a:cubicBezTo>
                        <a:cubicBezTo>
                          <a:pt x="26" y="0"/>
                          <a:pt x="26" y="0"/>
                          <a:pt x="26" y="0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FB9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02" name="Freeform 801"/>
                  <p:cNvSpPr>
                    <a:spLocks/>
                  </p:cNvSpPr>
                  <p:nvPr/>
                </p:nvSpPr>
                <p:spPr bwMode="auto">
                  <a:xfrm>
                    <a:off x="5730475" y="3132935"/>
                    <a:ext cx="576618" cy="1139781"/>
                  </a:xfrm>
                  <a:custGeom>
                    <a:avLst/>
                    <a:gdLst>
                      <a:gd name="T0" fmla="*/ 199 w 300"/>
                      <a:gd name="T1" fmla="*/ 0 h 593"/>
                      <a:gd name="T2" fmla="*/ 151 w 300"/>
                      <a:gd name="T3" fmla="*/ 370 h 593"/>
                      <a:gd name="T4" fmla="*/ 104 w 300"/>
                      <a:gd name="T5" fmla="*/ 0 h 593"/>
                      <a:gd name="T6" fmla="*/ 0 w 300"/>
                      <a:gd name="T7" fmla="*/ 29 h 593"/>
                      <a:gd name="T8" fmla="*/ 7 w 300"/>
                      <a:gd name="T9" fmla="*/ 593 h 593"/>
                      <a:gd name="T10" fmla="*/ 296 w 300"/>
                      <a:gd name="T11" fmla="*/ 593 h 593"/>
                      <a:gd name="T12" fmla="*/ 300 w 300"/>
                      <a:gd name="T13" fmla="*/ 29 h 593"/>
                      <a:gd name="T14" fmla="*/ 199 w 300"/>
                      <a:gd name="T15" fmla="*/ 0 h 59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300" h="593">
                        <a:moveTo>
                          <a:pt x="199" y="0"/>
                        </a:moveTo>
                        <a:lnTo>
                          <a:pt x="151" y="370"/>
                        </a:lnTo>
                        <a:lnTo>
                          <a:pt x="104" y="0"/>
                        </a:lnTo>
                        <a:lnTo>
                          <a:pt x="0" y="29"/>
                        </a:lnTo>
                        <a:lnTo>
                          <a:pt x="7" y="593"/>
                        </a:lnTo>
                        <a:lnTo>
                          <a:pt x="296" y="593"/>
                        </a:lnTo>
                        <a:lnTo>
                          <a:pt x="300" y="29"/>
                        </a:lnTo>
                        <a:lnTo>
                          <a:pt x="199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03" name="Freeform 802"/>
                  <p:cNvSpPr>
                    <a:spLocks/>
                  </p:cNvSpPr>
                  <p:nvPr/>
                </p:nvSpPr>
                <p:spPr bwMode="auto">
                  <a:xfrm>
                    <a:off x="6166782" y="2810028"/>
                    <a:ext cx="0" cy="5766"/>
                  </a:xfrm>
                  <a:custGeom>
                    <a:avLst/>
                    <a:gdLst>
                      <a:gd name="T0" fmla="*/ 1 h 1"/>
                      <a:gd name="T1" fmla="*/ 0 h 1"/>
                      <a:gd name="T2" fmla="*/ 1 h 1"/>
                    </a:gdLst>
                    <a:ahLst/>
                    <a:cxnLst>
                      <a:cxn ang="0">
                        <a:pos x="0" y="T0"/>
                      </a:cxn>
                      <a:cxn ang="0">
                        <a:pos x="0" y="T1"/>
                      </a:cxn>
                      <a:cxn ang="0">
                        <a:pos x="0" y="T2"/>
                      </a:cxn>
                    </a:cxnLst>
                    <a:rect l="0" t="0" r="r" b="b"/>
                    <a:pathLst>
                      <a:path h="1">
                        <a:moveTo>
                          <a:pt x="0" y="1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0"/>
                          <a:pt x="0" y="0"/>
                          <a:pt x="0" y="1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04" name="Freeform 803"/>
                  <p:cNvSpPr>
                    <a:spLocks/>
                  </p:cNvSpPr>
                  <p:nvPr/>
                </p:nvSpPr>
                <p:spPr bwMode="auto">
                  <a:xfrm>
                    <a:off x="6166782" y="2806184"/>
                    <a:ext cx="0" cy="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05" name="Freeform 804"/>
                  <p:cNvSpPr>
                    <a:spLocks/>
                  </p:cNvSpPr>
                  <p:nvPr/>
                </p:nvSpPr>
                <p:spPr bwMode="auto">
                  <a:xfrm>
                    <a:off x="6157173" y="2792730"/>
                    <a:ext cx="0" cy="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06" name="Freeform 805"/>
                  <p:cNvSpPr>
                    <a:spLocks/>
                  </p:cNvSpPr>
                  <p:nvPr/>
                </p:nvSpPr>
                <p:spPr bwMode="auto">
                  <a:xfrm>
                    <a:off x="6162938" y="2796575"/>
                    <a:ext cx="0" cy="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07" name="Freeform 806"/>
                  <p:cNvSpPr>
                    <a:spLocks/>
                  </p:cNvSpPr>
                  <p:nvPr/>
                </p:nvSpPr>
                <p:spPr bwMode="auto">
                  <a:xfrm>
                    <a:off x="5874629" y="2792730"/>
                    <a:ext cx="0" cy="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08" name="Freeform 807"/>
                  <p:cNvSpPr>
                    <a:spLocks/>
                  </p:cNvSpPr>
                  <p:nvPr/>
                </p:nvSpPr>
                <p:spPr bwMode="auto">
                  <a:xfrm>
                    <a:off x="6166782" y="2815795"/>
                    <a:ext cx="0" cy="3844"/>
                  </a:xfrm>
                  <a:custGeom>
                    <a:avLst/>
                    <a:gdLst>
                      <a:gd name="T0" fmla="*/ 1 h 1"/>
                      <a:gd name="T1" fmla="*/ 0 h 1"/>
                      <a:gd name="T2" fmla="*/ 1 h 1"/>
                    </a:gdLst>
                    <a:ahLst/>
                    <a:cxnLst>
                      <a:cxn ang="0">
                        <a:pos x="0" y="T0"/>
                      </a:cxn>
                      <a:cxn ang="0">
                        <a:pos x="0" y="T1"/>
                      </a:cxn>
                      <a:cxn ang="0">
                        <a:pos x="0" y="T2"/>
                      </a:cxn>
                    </a:cxnLst>
                    <a:rect l="0" t="0" r="r" b="b"/>
                    <a:pathLst>
                      <a:path h="1">
                        <a:moveTo>
                          <a:pt x="0" y="1"/>
                        </a:moveTo>
                        <a:cubicBezTo>
                          <a:pt x="0" y="1"/>
                          <a:pt x="0" y="0"/>
                          <a:pt x="0" y="0"/>
                        </a:cubicBezTo>
                        <a:cubicBezTo>
                          <a:pt x="0" y="0"/>
                          <a:pt x="0" y="1"/>
                          <a:pt x="0" y="1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09" name="Freeform 808"/>
                  <p:cNvSpPr>
                    <a:spLocks/>
                  </p:cNvSpPr>
                  <p:nvPr/>
                </p:nvSpPr>
                <p:spPr bwMode="auto">
                  <a:xfrm>
                    <a:off x="6166782" y="2823483"/>
                    <a:ext cx="0" cy="5766"/>
                  </a:xfrm>
                  <a:custGeom>
                    <a:avLst/>
                    <a:gdLst>
                      <a:gd name="T0" fmla="*/ 1 h 1"/>
                      <a:gd name="T1" fmla="*/ 0 h 1"/>
                      <a:gd name="T2" fmla="*/ 1 h 1"/>
                    </a:gdLst>
                    <a:ahLst/>
                    <a:cxnLst>
                      <a:cxn ang="0">
                        <a:pos x="0" y="T0"/>
                      </a:cxn>
                      <a:cxn ang="0">
                        <a:pos x="0" y="T1"/>
                      </a:cxn>
                      <a:cxn ang="0">
                        <a:pos x="0" y="T2"/>
                      </a:cxn>
                    </a:cxnLst>
                    <a:rect l="0" t="0" r="r" b="b"/>
                    <a:pathLst>
                      <a:path h="1">
                        <a:moveTo>
                          <a:pt x="0" y="1"/>
                        </a:moveTo>
                        <a:cubicBezTo>
                          <a:pt x="0" y="1"/>
                          <a:pt x="0" y="0"/>
                          <a:pt x="0" y="0"/>
                        </a:cubicBezTo>
                        <a:cubicBezTo>
                          <a:pt x="0" y="0"/>
                          <a:pt x="0" y="1"/>
                          <a:pt x="0" y="1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10" name="Rectangle 809"/>
                  <p:cNvSpPr>
                    <a:spLocks noChangeArrowheads="1"/>
                  </p:cNvSpPr>
                  <p:nvPr/>
                </p:nvSpPr>
                <p:spPr bwMode="auto">
                  <a:xfrm>
                    <a:off x="6153329" y="2786964"/>
                    <a:ext cx="1923" cy="1921"/>
                  </a:xfrm>
                  <a:prstGeom prst="rect">
                    <a:avLst/>
                  </a:pr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11" name="Freeform 810"/>
                  <p:cNvSpPr>
                    <a:spLocks/>
                  </p:cNvSpPr>
                  <p:nvPr/>
                </p:nvSpPr>
                <p:spPr bwMode="auto">
                  <a:xfrm>
                    <a:off x="5866941" y="2819639"/>
                    <a:ext cx="0" cy="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12" name="Freeform 811"/>
                  <p:cNvSpPr>
                    <a:spLocks/>
                  </p:cNvSpPr>
                  <p:nvPr/>
                </p:nvSpPr>
                <p:spPr bwMode="auto">
                  <a:xfrm>
                    <a:off x="5870785" y="2806184"/>
                    <a:ext cx="0" cy="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13" name="Freeform 812"/>
                  <p:cNvSpPr>
                    <a:spLocks/>
                  </p:cNvSpPr>
                  <p:nvPr/>
                </p:nvSpPr>
                <p:spPr bwMode="auto">
                  <a:xfrm>
                    <a:off x="5870785" y="2796575"/>
                    <a:ext cx="0" cy="5766"/>
                  </a:xfrm>
                  <a:custGeom>
                    <a:avLst/>
                    <a:gdLst>
                      <a:gd name="T0" fmla="*/ 0 h 1"/>
                      <a:gd name="T1" fmla="*/ 1 h 1"/>
                      <a:gd name="T2" fmla="*/ 0 h 1"/>
                    </a:gdLst>
                    <a:ahLst/>
                    <a:cxnLst>
                      <a:cxn ang="0">
                        <a:pos x="0" y="T0"/>
                      </a:cxn>
                      <a:cxn ang="0">
                        <a:pos x="0" y="T1"/>
                      </a:cxn>
                      <a:cxn ang="0">
                        <a:pos x="0" y="T2"/>
                      </a:cxn>
                    </a:cxnLst>
                    <a:rect l="0" t="0" r="r" b="b"/>
                    <a:pathLst>
                      <a:path h="1">
                        <a:moveTo>
                          <a:pt x="0" y="0"/>
                        </a:moveTo>
                        <a:cubicBezTo>
                          <a:pt x="0" y="1"/>
                          <a:pt x="0" y="1"/>
                          <a:pt x="0" y="1"/>
                        </a:cubicBezTo>
                        <a:cubicBezTo>
                          <a:pt x="0" y="1"/>
                          <a:pt x="0" y="1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14" name="Freeform 813"/>
                  <p:cNvSpPr>
                    <a:spLocks/>
                  </p:cNvSpPr>
                  <p:nvPr/>
                </p:nvSpPr>
                <p:spPr bwMode="auto">
                  <a:xfrm>
                    <a:off x="5866941" y="2810028"/>
                    <a:ext cx="0" cy="5766"/>
                  </a:xfrm>
                  <a:custGeom>
                    <a:avLst/>
                    <a:gdLst>
                      <a:gd name="T0" fmla="*/ 0 h 1"/>
                      <a:gd name="T1" fmla="*/ 1 h 1"/>
                      <a:gd name="T2" fmla="*/ 0 h 1"/>
                    </a:gdLst>
                    <a:ahLst/>
                    <a:cxnLst>
                      <a:cxn ang="0">
                        <a:pos x="0" y="T0"/>
                      </a:cxn>
                      <a:cxn ang="0">
                        <a:pos x="0" y="T1"/>
                      </a:cxn>
                      <a:cxn ang="0">
                        <a:pos x="0" y="T2"/>
                      </a:cxn>
                    </a:cxnLst>
                    <a:rect l="0" t="0" r="r" b="b"/>
                    <a:pathLst>
                      <a:path h="1">
                        <a:moveTo>
                          <a:pt x="0" y="0"/>
                        </a:moveTo>
                        <a:cubicBezTo>
                          <a:pt x="0" y="0"/>
                          <a:pt x="0" y="1"/>
                          <a:pt x="0" y="1"/>
                        </a:cubicBezTo>
                        <a:cubicBezTo>
                          <a:pt x="0" y="1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15" name="Freeform 814"/>
                  <p:cNvSpPr>
                    <a:spLocks/>
                  </p:cNvSpPr>
                  <p:nvPr/>
                </p:nvSpPr>
                <p:spPr bwMode="auto">
                  <a:xfrm>
                    <a:off x="5840032" y="2773510"/>
                    <a:ext cx="353659" cy="319062"/>
                  </a:xfrm>
                  <a:custGeom>
                    <a:avLst/>
                    <a:gdLst>
                      <a:gd name="T0" fmla="*/ 74 w 78"/>
                      <a:gd name="T1" fmla="*/ 17 h 70"/>
                      <a:gd name="T2" fmla="*/ 72 w 78"/>
                      <a:gd name="T3" fmla="*/ 17 h 70"/>
                      <a:gd name="T4" fmla="*/ 72 w 78"/>
                      <a:gd name="T5" fmla="*/ 12 h 70"/>
                      <a:gd name="T6" fmla="*/ 72 w 78"/>
                      <a:gd name="T7" fmla="*/ 11 h 70"/>
                      <a:gd name="T8" fmla="*/ 72 w 78"/>
                      <a:gd name="T9" fmla="*/ 10 h 70"/>
                      <a:gd name="T10" fmla="*/ 72 w 78"/>
                      <a:gd name="T11" fmla="*/ 9 h 70"/>
                      <a:gd name="T12" fmla="*/ 72 w 78"/>
                      <a:gd name="T13" fmla="*/ 9 h 70"/>
                      <a:gd name="T14" fmla="*/ 72 w 78"/>
                      <a:gd name="T15" fmla="*/ 8 h 70"/>
                      <a:gd name="T16" fmla="*/ 72 w 78"/>
                      <a:gd name="T17" fmla="*/ 7 h 70"/>
                      <a:gd name="T18" fmla="*/ 72 w 78"/>
                      <a:gd name="T19" fmla="*/ 7 h 70"/>
                      <a:gd name="T20" fmla="*/ 71 w 78"/>
                      <a:gd name="T21" fmla="*/ 5 h 70"/>
                      <a:gd name="T22" fmla="*/ 71 w 78"/>
                      <a:gd name="T23" fmla="*/ 5 h 70"/>
                      <a:gd name="T24" fmla="*/ 70 w 78"/>
                      <a:gd name="T25" fmla="*/ 4 h 70"/>
                      <a:gd name="T26" fmla="*/ 70 w 78"/>
                      <a:gd name="T27" fmla="*/ 4 h 70"/>
                      <a:gd name="T28" fmla="*/ 69 w 78"/>
                      <a:gd name="T29" fmla="*/ 3 h 70"/>
                      <a:gd name="T30" fmla="*/ 69 w 78"/>
                      <a:gd name="T31" fmla="*/ 3 h 70"/>
                      <a:gd name="T32" fmla="*/ 63 w 78"/>
                      <a:gd name="T33" fmla="*/ 3 h 70"/>
                      <a:gd name="T34" fmla="*/ 52 w 78"/>
                      <a:gd name="T35" fmla="*/ 1 h 70"/>
                      <a:gd name="T36" fmla="*/ 32 w 78"/>
                      <a:gd name="T37" fmla="*/ 3 h 70"/>
                      <a:gd name="T38" fmla="*/ 11 w 78"/>
                      <a:gd name="T39" fmla="*/ 0 h 70"/>
                      <a:gd name="T40" fmla="*/ 8 w 78"/>
                      <a:gd name="T41" fmla="*/ 4 h 70"/>
                      <a:gd name="T42" fmla="*/ 8 w 78"/>
                      <a:gd name="T43" fmla="*/ 4 h 70"/>
                      <a:gd name="T44" fmla="*/ 7 w 78"/>
                      <a:gd name="T45" fmla="*/ 5 h 70"/>
                      <a:gd name="T46" fmla="*/ 7 w 78"/>
                      <a:gd name="T47" fmla="*/ 6 h 70"/>
                      <a:gd name="T48" fmla="*/ 7 w 78"/>
                      <a:gd name="T49" fmla="*/ 7 h 70"/>
                      <a:gd name="T50" fmla="*/ 7 w 78"/>
                      <a:gd name="T51" fmla="*/ 7 h 70"/>
                      <a:gd name="T52" fmla="*/ 6 w 78"/>
                      <a:gd name="T53" fmla="*/ 8 h 70"/>
                      <a:gd name="T54" fmla="*/ 6 w 78"/>
                      <a:gd name="T55" fmla="*/ 9 h 70"/>
                      <a:gd name="T56" fmla="*/ 6 w 78"/>
                      <a:gd name="T57" fmla="*/ 10 h 70"/>
                      <a:gd name="T58" fmla="*/ 6 w 78"/>
                      <a:gd name="T59" fmla="*/ 10 h 70"/>
                      <a:gd name="T60" fmla="*/ 6 w 78"/>
                      <a:gd name="T61" fmla="*/ 12 h 70"/>
                      <a:gd name="T62" fmla="*/ 6 w 78"/>
                      <a:gd name="T63" fmla="*/ 17 h 70"/>
                      <a:gd name="T64" fmla="*/ 5 w 78"/>
                      <a:gd name="T65" fmla="*/ 17 h 70"/>
                      <a:gd name="T66" fmla="*/ 0 w 78"/>
                      <a:gd name="T67" fmla="*/ 22 h 70"/>
                      <a:gd name="T68" fmla="*/ 0 w 78"/>
                      <a:gd name="T69" fmla="*/ 35 h 70"/>
                      <a:gd name="T70" fmla="*/ 6 w 78"/>
                      <a:gd name="T71" fmla="*/ 40 h 70"/>
                      <a:gd name="T72" fmla="*/ 24 w 78"/>
                      <a:gd name="T73" fmla="*/ 70 h 70"/>
                      <a:gd name="T74" fmla="*/ 54 w 78"/>
                      <a:gd name="T75" fmla="*/ 70 h 70"/>
                      <a:gd name="T76" fmla="*/ 72 w 78"/>
                      <a:gd name="T77" fmla="*/ 40 h 70"/>
                      <a:gd name="T78" fmla="*/ 78 w 78"/>
                      <a:gd name="T79" fmla="*/ 35 h 70"/>
                      <a:gd name="T80" fmla="*/ 78 w 78"/>
                      <a:gd name="T81" fmla="*/ 22 h 70"/>
                      <a:gd name="T82" fmla="*/ 74 w 78"/>
                      <a:gd name="T83" fmla="*/ 17 h 7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</a:cxnLst>
                    <a:rect l="0" t="0" r="r" b="b"/>
                    <a:pathLst>
                      <a:path w="78" h="70">
                        <a:moveTo>
                          <a:pt x="74" y="17"/>
                        </a:moveTo>
                        <a:cubicBezTo>
                          <a:pt x="74" y="17"/>
                          <a:pt x="73" y="17"/>
                          <a:pt x="72" y="17"/>
                        </a:cubicBezTo>
                        <a:cubicBezTo>
                          <a:pt x="72" y="12"/>
                          <a:pt x="72" y="12"/>
                          <a:pt x="72" y="12"/>
                        </a:cubicBezTo>
                        <a:cubicBezTo>
                          <a:pt x="72" y="12"/>
                          <a:pt x="72" y="11"/>
                          <a:pt x="72" y="11"/>
                        </a:cubicBezTo>
                        <a:cubicBezTo>
                          <a:pt x="72" y="10"/>
                          <a:pt x="72" y="10"/>
                          <a:pt x="72" y="10"/>
                        </a:cubicBezTo>
                        <a:cubicBezTo>
                          <a:pt x="72" y="10"/>
                          <a:pt x="72" y="9"/>
                          <a:pt x="72" y="9"/>
                        </a:cubicBezTo>
                        <a:cubicBezTo>
                          <a:pt x="72" y="9"/>
                          <a:pt x="72" y="9"/>
                          <a:pt x="72" y="9"/>
                        </a:cubicBezTo>
                        <a:cubicBezTo>
                          <a:pt x="72" y="8"/>
                          <a:pt x="72" y="8"/>
                          <a:pt x="72" y="8"/>
                        </a:cubicBezTo>
                        <a:cubicBezTo>
                          <a:pt x="72" y="8"/>
                          <a:pt x="72" y="7"/>
                          <a:pt x="72" y="7"/>
                        </a:cubicBezTo>
                        <a:cubicBezTo>
                          <a:pt x="72" y="7"/>
                          <a:pt x="72" y="7"/>
                          <a:pt x="72" y="7"/>
                        </a:cubicBezTo>
                        <a:cubicBezTo>
                          <a:pt x="71" y="6"/>
                          <a:pt x="71" y="6"/>
                          <a:pt x="71" y="5"/>
                        </a:cubicBezTo>
                        <a:cubicBezTo>
                          <a:pt x="71" y="5"/>
                          <a:pt x="71" y="5"/>
                          <a:pt x="71" y="5"/>
                        </a:cubicBezTo>
                        <a:cubicBezTo>
                          <a:pt x="71" y="4"/>
                          <a:pt x="70" y="4"/>
                          <a:pt x="70" y="4"/>
                        </a:cubicBezTo>
                        <a:cubicBezTo>
                          <a:pt x="70" y="4"/>
                          <a:pt x="70" y="4"/>
                          <a:pt x="70" y="4"/>
                        </a:cubicBezTo>
                        <a:cubicBezTo>
                          <a:pt x="70" y="3"/>
                          <a:pt x="70" y="3"/>
                          <a:pt x="69" y="3"/>
                        </a:cubicBezTo>
                        <a:cubicBezTo>
                          <a:pt x="69" y="3"/>
                          <a:pt x="69" y="3"/>
                          <a:pt x="69" y="3"/>
                        </a:cubicBezTo>
                        <a:cubicBezTo>
                          <a:pt x="68" y="3"/>
                          <a:pt x="66" y="3"/>
                          <a:pt x="63" y="3"/>
                        </a:cubicBezTo>
                        <a:cubicBezTo>
                          <a:pt x="59" y="3"/>
                          <a:pt x="55" y="2"/>
                          <a:pt x="52" y="1"/>
                        </a:cubicBezTo>
                        <a:cubicBezTo>
                          <a:pt x="47" y="2"/>
                          <a:pt x="40" y="3"/>
                          <a:pt x="32" y="3"/>
                        </a:cubicBezTo>
                        <a:cubicBezTo>
                          <a:pt x="24" y="3"/>
                          <a:pt x="16" y="2"/>
                          <a:pt x="11" y="0"/>
                        </a:cubicBezTo>
                        <a:cubicBezTo>
                          <a:pt x="10" y="1"/>
                          <a:pt x="9" y="3"/>
                          <a:pt x="8" y="4"/>
                        </a:cubicBezTo>
                        <a:cubicBezTo>
                          <a:pt x="8" y="4"/>
                          <a:pt x="8" y="4"/>
                          <a:pt x="8" y="4"/>
                        </a:cubicBezTo>
                        <a:cubicBezTo>
                          <a:pt x="8" y="5"/>
                          <a:pt x="8" y="5"/>
                          <a:pt x="7" y="5"/>
                        </a:cubicBezTo>
                        <a:cubicBezTo>
                          <a:pt x="7" y="6"/>
                          <a:pt x="7" y="6"/>
                          <a:pt x="7" y="6"/>
                        </a:cubicBezTo>
                        <a:cubicBezTo>
                          <a:pt x="7" y="6"/>
                          <a:pt x="7" y="6"/>
                          <a:pt x="7" y="7"/>
                        </a:cubicBezTo>
                        <a:cubicBezTo>
                          <a:pt x="7" y="7"/>
                          <a:pt x="7" y="7"/>
                          <a:pt x="7" y="7"/>
                        </a:cubicBezTo>
                        <a:cubicBezTo>
                          <a:pt x="7" y="8"/>
                          <a:pt x="6" y="8"/>
                          <a:pt x="6" y="8"/>
                        </a:cubicBezTo>
                        <a:cubicBezTo>
                          <a:pt x="6" y="8"/>
                          <a:pt x="6" y="9"/>
                          <a:pt x="6" y="9"/>
                        </a:cubicBezTo>
                        <a:cubicBezTo>
                          <a:pt x="6" y="9"/>
                          <a:pt x="6" y="10"/>
                          <a:pt x="6" y="10"/>
                        </a:cubicBezTo>
                        <a:cubicBezTo>
                          <a:pt x="6" y="10"/>
                          <a:pt x="6" y="10"/>
                          <a:pt x="6" y="10"/>
                        </a:cubicBezTo>
                        <a:cubicBezTo>
                          <a:pt x="6" y="11"/>
                          <a:pt x="6" y="11"/>
                          <a:pt x="6" y="12"/>
                        </a:cubicBezTo>
                        <a:cubicBezTo>
                          <a:pt x="6" y="17"/>
                          <a:pt x="6" y="17"/>
                          <a:pt x="6" y="17"/>
                        </a:cubicBezTo>
                        <a:cubicBezTo>
                          <a:pt x="6" y="17"/>
                          <a:pt x="5" y="17"/>
                          <a:pt x="5" y="17"/>
                        </a:cubicBezTo>
                        <a:cubicBezTo>
                          <a:pt x="2" y="17"/>
                          <a:pt x="0" y="20"/>
                          <a:pt x="0" y="22"/>
                        </a:cubicBezTo>
                        <a:cubicBezTo>
                          <a:pt x="0" y="35"/>
                          <a:pt x="0" y="35"/>
                          <a:pt x="0" y="35"/>
                        </a:cubicBezTo>
                        <a:cubicBezTo>
                          <a:pt x="0" y="38"/>
                          <a:pt x="3" y="40"/>
                          <a:pt x="6" y="40"/>
                        </a:cubicBezTo>
                        <a:cubicBezTo>
                          <a:pt x="6" y="40"/>
                          <a:pt x="16" y="70"/>
                          <a:pt x="24" y="70"/>
                        </a:cubicBezTo>
                        <a:cubicBezTo>
                          <a:pt x="54" y="70"/>
                          <a:pt x="54" y="70"/>
                          <a:pt x="54" y="70"/>
                        </a:cubicBezTo>
                        <a:cubicBezTo>
                          <a:pt x="63" y="70"/>
                          <a:pt x="72" y="40"/>
                          <a:pt x="72" y="40"/>
                        </a:cubicBezTo>
                        <a:cubicBezTo>
                          <a:pt x="76" y="40"/>
                          <a:pt x="78" y="38"/>
                          <a:pt x="78" y="35"/>
                        </a:cubicBezTo>
                        <a:cubicBezTo>
                          <a:pt x="78" y="22"/>
                          <a:pt x="78" y="22"/>
                          <a:pt x="78" y="22"/>
                        </a:cubicBezTo>
                        <a:cubicBezTo>
                          <a:pt x="78" y="20"/>
                          <a:pt x="77" y="18"/>
                          <a:pt x="74" y="17"/>
                        </a:cubicBezTo>
                        <a:close/>
                      </a:path>
                    </a:pathLst>
                  </a:custGeom>
                  <a:solidFill>
                    <a:srgbClr val="FFB9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16" name="Freeform 815"/>
                  <p:cNvSpPr>
                    <a:spLocks noEditPoints="1"/>
                  </p:cNvSpPr>
                  <p:nvPr/>
                </p:nvSpPr>
                <p:spPr bwMode="auto">
                  <a:xfrm>
                    <a:off x="5870785" y="2836937"/>
                    <a:ext cx="305608" cy="101869"/>
                  </a:xfrm>
                  <a:custGeom>
                    <a:avLst/>
                    <a:gdLst>
                      <a:gd name="T0" fmla="*/ 66 w 67"/>
                      <a:gd name="T1" fmla="*/ 2 h 22"/>
                      <a:gd name="T2" fmla="*/ 49 w 67"/>
                      <a:gd name="T3" fmla="*/ 1 h 22"/>
                      <a:gd name="T4" fmla="*/ 33 w 67"/>
                      <a:gd name="T5" fmla="*/ 5 h 22"/>
                      <a:gd name="T6" fmla="*/ 17 w 67"/>
                      <a:gd name="T7" fmla="*/ 1 h 22"/>
                      <a:gd name="T8" fmla="*/ 0 w 67"/>
                      <a:gd name="T9" fmla="*/ 2 h 22"/>
                      <a:gd name="T10" fmla="*/ 0 w 67"/>
                      <a:gd name="T11" fmla="*/ 4 h 22"/>
                      <a:gd name="T12" fmla="*/ 2 w 67"/>
                      <a:gd name="T13" fmla="*/ 7 h 22"/>
                      <a:gd name="T14" fmla="*/ 4 w 67"/>
                      <a:gd name="T15" fmla="*/ 12 h 22"/>
                      <a:gd name="T16" fmla="*/ 20 w 67"/>
                      <a:gd name="T17" fmla="*/ 21 h 22"/>
                      <a:gd name="T18" fmla="*/ 31 w 67"/>
                      <a:gd name="T19" fmla="*/ 9 h 22"/>
                      <a:gd name="T20" fmla="*/ 33 w 67"/>
                      <a:gd name="T21" fmla="*/ 8 h 22"/>
                      <a:gd name="T22" fmla="*/ 36 w 67"/>
                      <a:gd name="T23" fmla="*/ 9 h 22"/>
                      <a:gd name="T24" fmla="*/ 47 w 67"/>
                      <a:gd name="T25" fmla="*/ 21 h 22"/>
                      <a:gd name="T26" fmla="*/ 62 w 67"/>
                      <a:gd name="T27" fmla="*/ 12 h 22"/>
                      <a:gd name="T28" fmla="*/ 64 w 67"/>
                      <a:gd name="T29" fmla="*/ 7 h 22"/>
                      <a:gd name="T30" fmla="*/ 66 w 67"/>
                      <a:gd name="T31" fmla="*/ 4 h 22"/>
                      <a:gd name="T32" fmla="*/ 66 w 67"/>
                      <a:gd name="T33" fmla="*/ 2 h 22"/>
                      <a:gd name="T34" fmla="*/ 25 w 67"/>
                      <a:gd name="T35" fmla="*/ 16 h 22"/>
                      <a:gd name="T36" fmla="*/ 13 w 67"/>
                      <a:gd name="T37" fmla="*/ 19 h 22"/>
                      <a:gd name="T38" fmla="*/ 6 w 67"/>
                      <a:gd name="T39" fmla="*/ 8 h 22"/>
                      <a:gd name="T40" fmla="*/ 18 w 67"/>
                      <a:gd name="T41" fmla="*/ 3 h 22"/>
                      <a:gd name="T42" fmla="*/ 26 w 67"/>
                      <a:gd name="T43" fmla="*/ 5 h 22"/>
                      <a:gd name="T44" fmla="*/ 25 w 67"/>
                      <a:gd name="T45" fmla="*/ 16 h 22"/>
                      <a:gd name="T46" fmla="*/ 53 w 67"/>
                      <a:gd name="T47" fmla="*/ 19 h 22"/>
                      <a:gd name="T48" fmla="*/ 41 w 67"/>
                      <a:gd name="T49" fmla="*/ 16 h 22"/>
                      <a:gd name="T50" fmla="*/ 41 w 67"/>
                      <a:gd name="T51" fmla="*/ 5 h 22"/>
                      <a:gd name="T52" fmla="*/ 49 w 67"/>
                      <a:gd name="T53" fmla="*/ 3 h 22"/>
                      <a:gd name="T54" fmla="*/ 61 w 67"/>
                      <a:gd name="T55" fmla="*/ 8 h 22"/>
                      <a:gd name="T56" fmla="*/ 53 w 67"/>
                      <a:gd name="T57" fmla="*/ 19 h 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</a:cxnLst>
                    <a:rect l="0" t="0" r="r" b="b"/>
                    <a:pathLst>
                      <a:path w="67" h="22">
                        <a:moveTo>
                          <a:pt x="66" y="2"/>
                        </a:moveTo>
                        <a:cubicBezTo>
                          <a:pt x="66" y="2"/>
                          <a:pt x="56" y="0"/>
                          <a:pt x="49" y="1"/>
                        </a:cubicBezTo>
                        <a:cubicBezTo>
                          <a:pt x="42" y="2"/>
                          <a:pt x="37" y="5"/>
                          <a:pt x="33" y="5"/>
                        </a:cubicBezTo>
                        <a:cubicBezTo>
                          <a:pt x="30" y="5"/>
                          <a:pt x="24" y="2"/>
                          <a:pt x="17" y="1"/>
                        </a:cubicBezTo>
                        <a:cubicBezTo>
                          <a:pt x="10" y="0"/>
                          <a:pt x="0" y="2"/>
                          <a:pt x="0" y="2"/>
                        </a:cubicBezTo>
                        <a:cubicBezTo>
                          <a:pt x="0" y="2"/>
                          <a:pt x="0" y="3"/>
                          <a:pt x="0" y="4"/>
                        </a:cubicBezTo>
                        <a:cubicBezTo>
                          <a:pt x="1" y="5"/>
                          <a:pt x="1" y="6"/>
                          <a:pt x="2" y="7"/>
                        </a:cubicBezTo>
                        <a:cubicBezTo>
                          <a:pt x="4" y="8"/>
                          <a:pt x="4" y="12"/>
                          <a:pt x="4" y="12"/>
                        </a:cubicBezTo>
                        <a:cubicBezTo>
                          <a:pt x="6" y="20"/>
                          <a:pt x="12" y="22"/>
                          <a:pt x="20" y="21"/>
                        </a:cubicBezTo>
                        <a:cubicBezTo>
                          <a:pt x="28" y="19"/>
                          <a:pt x="30" y="11"/>
                          <a:pt x="31" y="9"/>
                        </a:cubicBezTo>
                        <a:cubicBezTo>
                          <a:pt x="32" y="8"/>
                          <a:pt x="33" y="8"/>
                          <a:pt x="33" y="8"/>
                        </a:cubicBezTo>
                        <a:cubicBezTo>
                          <a:pt x="33" y="8"/>
                          <a:pt x="35" y="8"/>
                          <a:pt x="36" y="9"/>
                        </a:cubicBezTo>
                        <a:cubicBezTo>
                          <a:pt x="37" y="11"/>
                          <a:pt x="39" y="19"/>
                          <a:pt x="47" y="21"/>
                        </a:cubicBezTo>
                        <a:cubicBezTo>
                          <a:pt x="55" y="22"/>
                          <a:pt x="61" y="20"/>
                          <a:pt x="62" y="12"/>
                        </a:cubicBezTo>
                        <a:cubicBezTo>
                          <a:pt x="62" y="12"/>
                          <a:pt x="62" y="8"/>
                          <a:pt x="64" y="7"/>
                        </a:cubicBezTo>
                        <a:cubicBezTo>
                          <a:pt x="66" y="6"/>
                          <a:pt x="66" y="5"/>
                          <a:pt x="66" y="4"/>
                        </a:cubicBezTo>
                        <a:cubicBezTo>
                          <a:pt x="66" y="3"/>
                          <a:pt x="67" y="2"/>
                          <a:pt x="66" y="2"/>
                        </a:cubicBezTo>
                        <a:close/>
                        <a:moveTo>
                          <a:pt x="25" y="16"/>
                        </a:moveTo>
                        <a:cubicBezTo>
                          <a:pt x="23" y="19"/>
                          <a:pt x="19" y="20"/>
                          <a:pt x="13" y="19"/>
                        </a:cubicBezTo>
                        <a:cubicBezTo>
                          <a:pt x="8" y="18"/>
                          <a:pt x="6" y="14"/>
                          <a:pt x="6" y="8"/>
                        </a:cubicBezTo>
                        <a:cubicBezTo>
                          <a:pt x="6" y="1"/>
                          <a:pt x="18" y="3"/>
                          <a:pt x="18" y="3"/>
                        </a:cubicBezTo>
                        <a:cubicBezTo>
                          <a:pt x="22" y="4"/>
                          <a:pt x="22" y="4"/>
                          <a:pt x="26" y="5"/>
                        </a:cubicBezTo>
                        <a:cubicBezTo>
                          <a:pt x="30" y="6"/>
                          <a:pt x="27" y="13"/>
                          <a:pt x="25" y="16"/>
                        </a:cubicBezTo>
                        <a:close/>
                        <a:moveTo>
                          <a:pt x="53" y="19"/>
                        </a:moveTo>
                        <a:cubicBezTo>
                          <a:pt x="48" y="20"/>
                          <a:pt x="44" y="19"/>
                          <a:pt x="41" y="16"/>
                        </a:cubicBezTo>
                        <a:cubicBezTo>
                          <a:pt x="39" y="13"/>
                          <a:pt x="37" y="6"/>
                          <a:pt x="41" y="5"/>
                        </a:cubicBezTo>
                        <a:cubicBezTo>
                          <a:pt x="44" y="4"/>
                          <a:pt x="44" y="4"/>
                          <a:pt x="49" y="3"/>
                        </a:cubicBezTo>
                        <a:cubicBezTo>
                          <a:pt x="49" y="3"/>
                          <a:pt x="61" y="1"/>
                          <a:pt x="61" y="8"/>
                        </a:cubicBezTo>
                        <a:cubicBezTo>
                          <a:pt x="61" y="14"/>
                          <a:pt x="59" y="18"/>
                          <a:pt x="53" y="19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17" name="Oval 816"/>
                  <p:cNvSpPr>
                    <a:spLocks noChangeArrowheads="1"/>
                  </p:cNvSpPr>
                  <p:nvPr/>
                </p:nvSpPr>
                <p:spPr bwMode="auto">
                  <a:xfrm>
                    <a:off x="5874629" y="2852314"/>
                    <a:ext cx="9611" cy="7688"/>
                  </a:xfrm>
                  <a:prstGeom prst="ellipse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18" name="Oval 817"/>
                  <p:cNvSpPr>
                    <a:spLocks noChangeArrowheads="1"/>
                  </p:cNvSpPr>
                  <p:nvPr/>
                </p:nvSpPr>
                <p:spPr bwMode="auto">
                  <a:xfrm>
                    <a:off x="6157173" y="2852314"/>
                    <a:ext cx="9611" cy="7688"/>
                  </a:xfrm>
                  <a:prstGeom prst="ellipse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730" name="Group 729"/>
                <p:cNvGrpSpPr/>
                <p:nvPr/>
              </p:nvGrpSpPr>
              <p:grpSpPr>
                <a:xfrm>
                  <a:off x="7690977" y="2669718"/>
                  <a:ext cx="914901" cy="2731249"/>
                  <a:chOff x="7690977" y="2669718"/>
                  <a:chExt cx="914901" cy="2731249"/>
                </a:xfrm>
              </p:grpSpPr>
              <p:sp>
                <p:nvSpPr>
                  <p:cNvPr id="763" name="Freeform 762"/>
                  <p:cNvSpPr>
                    <a:spLocks/>
                  </p:cNvSpPr>
                  <p:nvPr/>
                </p:nvSpPr>
                <p:spPr bwMode="auto">
                  <a:xfrm>
                    <a:off x="7937001" y="2669718"/>
                    <a:ext cx="442074" cy="509346"/>
                  </a:xfrm>
                  <a:custGeom>
                    <a:avLst/>
                    <a:gdLst>
                      <a:gd name="T0" fmla="*/ 91 w 97"/>
                      <a:gd name="T1" fmla="*/ 88 h 112"/>
                      <a:gd name="T2" fmla="*/ 82 w 97"/>
                      <a:gd name="T3" fmla="*/ 88 h 112"/>
                      <a:gd name="T4" fmla="*/ 85 w 97"/>
                      <a:gd name="T5" fmla="*/ 74 h 112"/>
                      <a:gd name="T6" fmla="*/ 88 w 97"/>
                      <a:gd name="T7" fmla="*/ 69 h 112"/>
                      <a:gd name="T8" fmla="*/ 88 w 97"/>
                      <a:gd name="T9" fmla="*/ 69 h 112"/>
                      <a:gd name="T10" fmla="*/ 88 w 97"/>
                      <a:gd name="T11" fmla="*/ 69 h 112"/>
                      <a:gd name="T12" fmla="*/ 91 w 97"/>
                      <a:gd name="T13" fmla="*/ 53 h 112"/>
                      <a:gd name="T14" fmla="*/ 69 w 97"/>
                      <a:gd name="T15" fmla="*/ 17 h 112"/>
                      <a:gd name="T16" fmla="*/ 40 w 97"/>
                      <a:gd name="T17" fmla="*/ 0 h 112"/>
                      <a:gd name="T18" fmla="*/ 4 w 97"/>
                      <a:gd name="T19" fmla="*/ 46 h 112"/>
                      <a:gd name="T20" fmla="*/ 9 w 97"/>
                      <a:gd name="T21" fmla="*/ 69 h 112"/>
                      <a:gd name="T22" fmla="*/ 9 w 97"/>
                      <a:gd name="T23" fmla="*/ 69 h 112"/>
                      <a:gd name="T24" fmla="*/ 15 w 97"/>
                      <a:gd name="T25" fmla="*/ 88 h 112"/>
                      <a:gd name="T26" fmla="*/ 6 w 97"/>
                      <a:gd name="T27" fmla="*/ 88 h 112"/>
                      <a:gd name="T28" fmla="*/ 0 w 97"/>
                      <a:gd name="T29" fmla="*/ 95 h 112"/>
                      <a:gd name="T30" fmla="*/ 16 w 97"/>
                      <a:gd name="T31" fmla="*/ 110 h 112"/>
                      <a:gd name="T32" fmla="*/ 42 w 97"/>
                      <a:gd name="T33" fmla="*/ 112 h 112"/>
                      <a:gd name="T34" fmla="*/ 44 w 97"/>
                      <a:gd name="T35" fmla="*/ 112 h 112"/>
                      <a:gd name="T36" fmla="*/ 44 w 97"/>
                      <a:gd name="T37" fmla="*/ 112 h 112"/>
                      <a:gd name="T38" fmla="*/ 47 w 97"/>
                      <a:gd name="T39" fmla="*/ 112 h 112"/>
                      <a:gd name="T40" fmla="*/ 48 w 97"/>
                      <a:gd name="T41" fmla="*/ 112 h 112"/>
                      <a:gd name="T42" fmla="*/ 49 w 97"/>
                      <a:gd name="T43" fmla="*/ 112 h 112"/>
                      <a:gd name="T44" fmla="*/ 53 w 97"/>
                      <a:gd name="T45" fmla="*/ 112 h 112"/>
                      <a:gd name="T46" fmla="*/ 53 w 97"/>
                      <a:gd name="T47" fmla="*/ 112 h 112"/>
                      <a:gd name="T48" fmla="*/ 54 w 97"/>
                      <a:gd name="T49" fmla="*/ 112 h 112"/>
                      <a:gd name="T50" fmla="*/ 81 w 97"/>
                      <a:gd name="T51" fmla="*/ 110 h 112"/>
                      <a:gd name="T52" fmla="*/ 96 w 97"/>
                      <a:gd name="T53" fmla="*/ 95 h 112"/>
                      <a:gd name="T54" fmla="*/ 91 w 97"/>
                      <a:gd name="T55" fmla="*/ 88 h 11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</a:cxnLst>
                    <a:rect l="0" t="0" r="r" b="b"/>
                    <a:pathLst>
                      <a:path w="97" h="112">
                        <a:moveTo>
                          <a:pt x="91" y="88"/>
                        </a:moveTo>
                        <a:cubicBezTo>
                          <a:pt x="89" y="95"/>
                          <a:pt x="83" y="93"/>
                          <a:pt x="82" y="88"/>
                        </a:cubicBezTo>
                        <a:cubicBezTo>
                          <a:pt x="81" y="86"/>
                          <a:pt x="83" y="79"/>
                          <a:pt x="85" y="74"/>
                        </a:cubicBezTo>
                        <a:cubicBezTo>
                          <a:pt x="86" y="73"/>
                          <a:pt x="87" y="71"/>
                          <a:pt x="88" y="69"/>
                        </a:cubicBezTo>
                        <a:cubicBezTo>
                          <a:pt x="88" y="69"/>
                          <a:pt x="88" y="69"/>
                          <a:pt x="88" y="69"/>
                        </a:cubicBezTo>
                        <a:cubicBezTo>
                          <a:pt x="88" y="69"/>
                          <a:pt x="88" y="69"/>
                          <a:pt x="88" y="69"/>
                        </a:cubicBezTo>
                        <a:cubicBezTo>
                          <a:pt x="90" y="64"/>
                          <a:pt x="91" y="59"/>
                          <a:pt x="91" y="53"/>
                        </a:cubicBezTo>
                        <a:cubicBezTo>
                          <a:pt x="91" y="36"/>
                          <a:pt x="82" y="22"/>
                          <a:pt x="69" y="17"/>
                        </a:cubicBezTo>
                        <a:cubicBezTo>
                          <a:pt x="62" y="7"/>
                          <a:pt x="52" y="0"/>
                          <a:pt x="40" y="0"/>
                        </a:cubicBezTo>
                        <a:cubicBezTo>
                          <a:pt x="20" y="0"/>
                          <a:pt x="4" y="20"/>
                          <a:pt x="4" y="46"/>
                        </a:cubicBezTo>
                        <a:cubicBezTo>
                          <a:pt x="4" y="54"/>
                          <a:pt x="6" y="62"/>
                          <a:pt x="9" y="69"/>
                        </a:cubicBezTo>
                        <a:cubicBezTo>
                          <a:pt x="9" y="69"/>
                          <a:pt x="9" y="69"/>
                          <a:pt x="9" y="69"/>
                        </a:cubicBezTo>
                        <a:cubicBezTo>
                          <a:pt x="9" y="69"/>
                          <a:pt x="17" y="84"/>
                          <a:pt x="15" y="88"/>
                        </a:cubicBezTo>
                        <a:cubicBezTo>
                          <a:pt x="13" y="93"/>
                          <a:pt x="8" y="95"/>
                          <a:pt x="6" y="88"/>
                        </a:cubicBezTo>
                        <a:cubicBezTo>
                          <a:pt x="3" y="82"/>
                          <a:pt x="0" y="90"/>
                          <a:pt x="0" y="95"/>
                        </a:cubicBezTo>
                        <a:cubicBezTo>
                          <a:pt x="1" y="101"/>
                          <a:pt x="2" y="108"/>
                          <a:pt x="16" y="110"/>
                        </a:cubicBezTo>
                        <a:cubicBezTo>
                          <a:pt x="27" y="112"/>
                          <a:pt x="33" y="112"/>
                          <a:pt x="42" y="112"/>
                        </a:cubicBezTo>
                        <a:cubicBezTo>
                          <a:pt x="43" y="112"/>
                          <a:pt x="44" y="112"/>
                          <a:pt x="44" y="112"/>
                        </a:cubicBezTo>
                        <a:cubicBezTo>
                          <a:pt x="44" y="112"/>
                          <a:pt x="44" y="112"/>
                          <a:pt x="44" y="112"/>
                        </a:cubicBezTo>
                        <a:cubicBezTo>
                          <a:pt x="45" y="112"/>
                          <a:pt x="46" y="112"/>
                          <a:pt x="47" y="112"/>
                        </a:cubicBezTo>
                        <a:cubicBezTo>
                          <a:pt x="48" y="112"/>
                          <a:pt x="48" y="112"/>
                          <a:pt x="48" y="112"/>
                        </a:cubicBezTo>
                        <a:cubicBezTo>
                          <a:pt x="49" y="112"/>
                          <a:pt x="49" y="112"/>
                          <a:pt x="49" y="112"/>
                        </a:cubicBezTo>
                        <a:cubicBezTo>
                          <a:pt x="50" y="112"/>
                          <a:pt x="51" y="112"/>
                          <a:pt x="53" y="112"/>
                        </a:cubicBezTo>
                        <a:cubicBezTo>
                          <a:pt x="53" y="112"/>
                          <a:pt x="53" y="112"/>
                          <a:pt x="53" y="112"/>
                        </a:cubicBezTo>
                        <a:cubicBezTo>
                          <a:pt x="53" y="112"/>
                          <a:pt x="54" y="112"/>
                          <a:pt x="54" y="112"/>
                        </a:cubicBezTo>
                        <a:cubicBezTo>
                          <a:pt x="63" y="112"/>
                          <a:pt x="69" y="112"/>
                          <a:pt x="81" y="110"/>
                        </a:cubicBezTo>
                        <a:cubicBezTo>
                          <a:pt x="94" y="108"/>
                          <a:pt x="96" y="101"/>
                          <a:pt x="96" y="95"/>
                        </a:cubicBezTo>
                        <a:cubicBezTo>
                          <a:pt x="97" y="90"/>
                          <a:pt x="93" y="82"/>
                          <a:pt x="91" y="88"/>
                        </a:cubicBezTo>
                        <a:close/>
                      </a:path>
                    </a:pathLst>
                  </a:cu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64" name="Freeform 763"/>
                  <p:cNvSpPr>
                    <a:spLocks/>
                  </p:cNvSpPr>
                  <p:nvPr/>
                </p:nvSpPr>
                <p:spPr bwMode="auto">
                  <a:xfrm>
                    <a:off x="8332945" y="3219428"/>
                    <a:ext cx="272933" cy="707318"/>
                  </a:xfrm>
                  <a:custGeom>
                    <a:avLst/>
                    <a:gdLst>
                      <a:gd name="T0" fmla="*/ 0 w 60"/>
                      <a:gd name="T1" fmla="*/ 7 h 155"/>
                      <a:gd name="T2" fmla="*/ 24 w 60"/>
                      <a:gd name="T3" fmla="*/ 0 h 155"/>
                      <a:gd name="T4" fmla="*/ 60 w 60"/>
                      <a:gd name="T5" fmla="*/ 155 h 155"/>
                      <a:gd name="T6" fmla="*/ 35 w 60"/>
                      <a:gd name="T7" fmla="*/ 155 h 155"/>
                      <a:gd name="T8" fmla="*/ 0 w 60"/>
                      <a:gd name="T9" fmla="*/ 7 h 15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60" h="155">
                        <a:moveTo>
                          <a:pt x="0" y="7"/>
                        </a:moveTo>
                        <a:cubicBezTo>
                          <a:pt x="8" y="5"/>
                          <a:pt x="16" y="3"/>
                          <a:pt x="24" y="0"/>
                        </a:cubicBezTo>
                        <a:cubicBezTo>
                          <a:pt x="47" y="51"/>
                          <a:pt x="54" y="100"/>
                          <a:pt x="60" y="155"/>
                        </a:cubicBezTo>
                        <a:cubicBezTo>
                          <a:pt x="35" y="155"/>
                          <a:pt x="35" y="155"/>
                          <a:pt x="35" y="155"/>
                        </a:cubicBezTo>
                        <a:cubicBezTo>
                          <a:pt x="29" y="102"/>
                          <a:pt x="23" y="55"/>
                          <a:pt x="0" y="7"/>
                        </a:cubicBezTo>
                        <a:close/>
                      </a:path>
                    </a:pathLst>
                  </a:custGeom>
                  <a:solidFill>
                    <a:srgbClr val="96969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65" name="Freeform 764"/>
                  <p:cNvSpPr>
                    <a:spLocks/>
                  </p:cNvSpPr>
                  <p:nvPr/>
                </p:nvSpPr>
                <p:spPr bwMode="auto">
                  <a:xfrm>
                    <a:off x="7983130" y="4555260"/>
                    <a:ext cx="163376" cy="845707"/>
                  </a:xfrm>
                  <a:custGeom>
                    <a:avLst/>
                    <a:gdLst>
                      <a:gd name="T0" fmla="*/ 73 w 85"/>
                      <a:gd name="T1" fmla="*/ 440 h 440"/>
                      <a:gd name="T2" fmla="*/ 12 w 85"/>
                      <a:gd name="T3" fmla="*/ 440 h 440"/>
                      <a:gd name="T4" fmla="*/ 0 w 85"/>
                      <a:gd name="T5" fmla="*/ 0 h 440"/>
                      <a:gd name="T6" fmla="*/ 85 w 85"/>
                      <a:gd name="T7" fmla="*/ 0 h 440"/>
                      <a:gd name="T8" fmla="*/ 73 w 85"/>
                      <a:gd name="T9" fmla="*/ 440 h 44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85" h="440">
                        <a:moveTo>
                          <a:pt x="73" y="440"/>
                        </a:moveTo>
                        <a:lnTo>
                          <a:pt x="12" y="440"/>
                        </a:lnTo>
                        <a:lnTo>
                          <a:pt x="0" y="0"/>
                        </a:lnTo>
                        <a:lnTo>
                          <a:pt x="85" y="0"/>
                        </a:lnTo>
                        <a:lnTo>
                          <a:pt x="73" y="440"/>
                        </a:lnTo>
                        <a:close/>
                      </a:path>
                    </a:pathLst>
                  </a:custGeom>
                  <a:solidFill>
                    <a:srgbClr val="FFB9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66" name="Freeform 765"/>
                  <p:cNvSpPr>
                    <a:spLocks/>
                  </p:cNvSpPr>
                  <p:nvPr/>
                </p:nvSpPr>
                <p:spPr bwMode="auto">
                  <a:xfrm>
                    <a:off x="7992740" y="5327928"/>
                    <a:ext cx="149921" cy="73038"/>
                  </a:xfrm>
                  <a:custGeom>
                    <a:avLst/>
                    <a:gdLst>
                      <a:gd name="T0" fmla="*/ 16 w 33"/>
                      <a:gd name="T1" fmla="*/ 0 h 16"/>
                      <a:gd name="T2" fmla="*/ 0 w 33"/>
                      <a:gd name="T3" fmla="*/ 16 h 16"/>
                      <a:gd name="T4" fmla="*/ 33 w 33"/>
                      <a:gd name="T5" fmla="*/ 16 h 16"/>
                      <a:gd name="T6" fmla="*/ 16 w 33"/>
                      <a:gd name="T7" fmla="*/ 0 h 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33" h="16">
                        <a:moveTo>
                          <a:pt x="16" y="0"/>
                        </a:moveTo>
                        <a:cubicBezTo>
                          <a:pt x="7" y="0"/>
                          <a:pt x="0" y="7"/>
                          <a:pt x="0" y="16"/>
                        </a:cubicBezTo>
                        <a:cubicBezTo>
                          <a:pt x="33" y="16"/>
                          <a:pt x="33" y="16"/>
                          <a:pt x="33" y="16"/>
                        </a:cubicBezTo>
                        <a:cubicBezTo>
                          <a:pt x="33" y="7"/>
                          <a:pt x="25" y="0"/>
                          <a:pt x="16" y="0"/>
                        </a:cubicBezTo>
                        <a:close/>
                      </a:path>
                    </a:pathLst>
                  </a:custGeom>
                  <a:solidFill>
                    <a:srgbClr val="68217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67" name="Freeform 766"/>
                  <p:cNvSpPr>
                    <a:spLocks/>
                  </p:cNvSpPr>
                  <p:nvPr/>
                </p:nvSpPr>
                <p:spPr bwMode="auto">
                  <a:xfrm>
                    <a:off x="8173414" y="4555260"/>
                    <a:ext cx="159532" cy="845707"/>
                  </a:xfrm>
                  <a:custGeom>
                    <a:avLst/>
                    <a:gdLst>
                      <a:gd name="T0" fmla="*/ 10 w 83"/>
                      <a:gd name="T1" fmla="*/ 440 h 440"/>
                      <a:gd name="T2" fmla="*/ 71 w 83"/>
                      <a:gd name="T3" fmla="*/ 440 h 440"/>
                      <a:gd name="T4" fmla="*/ 83 w 83"/>
                      <a:gd name="T5" fmla="*/ 0 h 440"/>
                      <a:gd name="T6" fmla="*/ 0 w 83"/>
                      <a:gd name="T7" fmla="*/ 0 h 440"/>
                      <a:gd name="T8" fmla="*/ 10 w 83"/>
                      <a:gd name="T9" fmla="*/ 440 h 44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83" h="440">
                        <a:moveTo>
                          <a:pt x="10" y="440"/>
                        </a:moveTo>
                        <a:lnTo>
                          <a:pt x="71" y="440"/>
                        </a:lnTo>
                        <a:lnTo>
                          <a:pt x="83" y="0"/>
                        </a:lnTo>
                        <a:lnTo>
                          <a:pt x="0" y="0"/>
                        </a:lnTo>
                        <a:lnTo>
                          <a:pt x="10" y="440"/>
                        </a:lnTo>
                        <a:close/>
                      </a:path>
                    </a:pathLst>
                  </a:custGeom>
                  <a:solidFill>
                    <a:srgbClr val="FFB9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68" name="Freeform 767"/>
                  <p:cNvSpPr>
                    <a:spLocks/>
                  </p:cNvSpPr>
                  <p:nvPr/>
                </p:nvSpPr>
                <p:spPr bwMode="auto">
                  <a:xfrm>
                    <a:off x="8179180" y="5327928"/>
                    <a:ext cx="149921" cy="73038"/>
                  </a:xfrm>
                  <a:custGeom>
                    <a:avLst/>
                    <a:gdLst>
                      <a:gd name="T0" fmla="*/ 16 w 33"/>
                      <a:gd name="T1" fmla="*/ 0 h 16"/>
                      <a:gd name="T2" fmla="*/ 33 w 33"/>
                      <a:gd name="T3" fmla="*/ 16 h 16"/>
                      <a:gd name="T4" fmla="*/ 0 w 33"/>
                      <a:gd name="T5" fmla="*/ 16 h 16"/>
                      <a:gd name="T6" fmla="*/ 16 w 33"/>
                      <a:gd name="T7" fmla="*/ 0 h 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33" h="16">
                        <a:moveTo>
                          <a:pt x="16" y="0"/>
                        </a:moveTo>
                        <a:cubicBezTo>
                          <a:pt x="25" y="0"/>
                          <a:pt x="33" y="7"/>
                          <a:pt x="33" y="16"/>
                        </a:cubicBezTo>
                        <a:cubicBezTo>
                          <a:pt x="0" y="16"/>
                          <a:pt x="0" y="16"/>
                          <a:pt x="0" y="16"/>
                        </a:cubicBezTo>
                        <a:cubicBezTo>
                          <a:pt x="0" y="7"/>
                          <a:pt x="7" y="0"/>
                          <a:pt x="16" y="0"/>
                        </a:cubicBezTo>
                        <a:close/>
                      </a:path>
                    </a:pathLst>
                  </a:custGeom>
                  <a:solidFill>
                    <a:srgbClr val="68217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69" name="Freeform 768"/>
                  <p:cNvSpPr>
                    <a:spLocks/>
                  </p:cNvSpPr>
                  <p:nvPr/>
                </p:nvSpPr>
                <p:spPr bwMode="auto">
                  <a:xfrm>
                    <a:off x="8505931" y="3926746"/>
                    <a:ext cx="82649" cy="90336"/>
                  </a:xfrm>
                  <a:custGeom>
                    <a:avLst/>
                    <a:gdLst>
                      <a:gd name="T0" fmla="*/ 0 w 18"/>
                      <a:gd name="T1" fmla="*/ 0 h 20"/>
                      <a:gd name="T2" fmla="*/ 0 w 18"/>
                      <a:gd name="T3" fmla="*/ 11 h 20"/>
                      <a:gd name="T4" fmla="*/ 9 w 18"/>
                      <a:gd name="T5" fmla="*/ 20 h 20"/>
                      <a:gd name="T6" fmla="*/ 18 w 18"/>
                      <a:gd name="T7" fmla="*/ 11 h 20"/>
                      <a:gd name="T8" fmla="*/ 18 w 18"/>
                      <a:gd name="T9" fmla="*/ 0 h 20"/>
                      <a:gd name="T10" fmla="*/ 0 w 18"/>
                      <a:gd name="T11" fmla="*/ 0 h 2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8" h="20">
                        <a:moveTo>
                          <a:pt x="0" y="0"/>
                        </a:moveTo>
                        <a:cubicBezTo>
                          <a:pt x="0" y="11"/>
                          <a:pt x="0" y="11"/>
                          <a:pt x="0" y="11"/>
                        </a:cubicBezTo>
                        <a:cubicBezTo>
                          <a:pt x="0" y="16"/>
                          <a:pt x="4" y="20"/>
                          <a:pt x="9" y="20"/>
                        </a:cubicBezTo>
                        <a:cubicBezTo>
                          <a:pt x="14" y="20"/>
                          <a:pt x="18" y="16"/>
                          <a:pt x="18" y="11"/>
                        </a:cubicBezTo>
                        <a:cubicBezTo>
                          <a:pt x="18" y="0"/>
                          <a:pt x="18" y="0"/>
                          <a:pt x="18" y="0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FB9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70" name="Freeform 769"/>
                  <p:cNvSpPr>
                    <a:spLocks/>
                  </p:cNvSpPr>
                  <p:nvPr/>
                </p:nvSpPr>
                <p:spPr bwMode="auto">
                  <a:xfrm>
                    <a:off x="7690977" y="3219428"/>
                    <a:ext cx="278699" cy="707318"/>
                  </a:xfrm>
                  <a:custGeom>
                    <a:avLst/>
                    <a:gdLst>
                      <a:gd name="T0" fmla="*/ 61 w 61"/>
                      <a:gd name="T1" fmla="*/ 7 h 155"/>
                      <a:gd name="T2" fmla="*/ 36 w 61"/>
                      <a:gd name="T3" fmla="*/ 0 h 155"/>
                      <a:gd name="T4" fmla="*/ 0 w 61"/>
                      <a:gd name="T5" fmla="*/ 155 h 155"/>
                      <a:gd name="T6" fmla="*/ 25 w 61"/>
                      <a:gd name="T7" fmla="*/ 155 h 155"/>
                      <a:gd name="T8" fmla="*/ 61 w 61"/>
                      <a:gd name="T9" fmla="*/ 7 h 15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61" h="155">
                        <a:moveTo>
                          <a:pt x="61" y="7"/>
                        </a:moveTo>
                        <a:cubicBezTo>
                          <a:pt x="53" y="5"/>
                          <a:pt x="44" y="3"/>
                          <a:pt x="36" y="0"/>
                        </a:cubicBezTo>
                        <a:cubicBezTo>
                          <a:pt x="12" y="51"/>
                          <a:pt x="5" y="100"/>
                          <a:pt x="0" y="155"/>
                        </a:cubicBezTo>
                        <a:cubicBezTo>
                          <a:pt x="25" y="155"/>
                          <a:pt x="25" y="155"/>
                          <a:pt x="25" y="155"/>
                        </a:cubicBezTo>
                        <a:cubicBezTo>
                          <a:pt x="31" y="102"/>
                          <a:pt x="38" y="55"/>
                          <a:pt x="61" y="7"/>
                        </a:cubicBezTo>
                        <a:close/>
                      </a:path>
                    </a:pathLst>
                  </a:custGeom>
                  <a:solidFill>
                    <a:srgbClr val="96969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71" name="Freeform 770"/>
                  <p:cNvSpPr>
                    <a:spLocks/>
                  </p:cNvSpPr>
                  <p:nvPr/>
                </p:nvSpPr>
                <p:spPr bwMode="auto">
                  <a:xfrm>
                    <a:off x="7704431" y="3926746"/>
                    <a:ext cx="86493" cy="90336"/>
                  </a:xfrm>
                  <a:custGeom>
                    <a:avLst/>
                    <a:gdLst>
                      <a:gd name="T0" fmla="*/ 19 w 19"/>
                      <a:gd name="T1" fmla="*/ 0 h 20"/>
                      <a:gd name="T2" fmla="*/ 19 w 19"/>
                      <a:gd name="T3" fmla="*/ 11 h 20"/>
                      <a:gd name="T4" fmla="*/ 10 w 19"/>
                      <a:gd name="T5" fmla="*/ 20 h 20"/>
                      <a:gd name="T6" fmla="*/ 0 w 19"/>
                      <a:gd name="T7" fmla="*/ 11 h 20"/>
                      <a:gd name="T8" fmla="*/ 0 w 19"/>
                      <a:gd name="T9" fmla="*/ 0 h 20"/>
                      <a:gd name="T10" fmla="*/ 19 w 19"/>
                      <a:gd name="T11" fmla="*/ 0 h 2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9" h="20">
                        <a:moveTo>
                          <a:pt x="19" y="0"/>
                        </a:moveTo>
                        <a:cubicBezTo>
                          <a:pt x="19" y="11"/>
                          <a:pt x="19" y="11"/>
                          <a:pt x="19" y="11"/>
                        </a:cubicBezTo>
                        <a:cubicBezTo>
                          <a:pt x="19" y="16"/>
                          <a:pt x="15" y="20"/>
                          <a:pt x="10" y="20"/>
                        </a:cubicBezTo>
                        <a:cubicBezTo>
                          <a:pt x="4" y="20"/>
                          <a:pt x="0" y="16"/>
                          <a:pt x="0" y="11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lnTo>
                          <a:pt x="19" y="0"/>
                        </a:lnTo>
                        <a:close/>
                      </a:path>
                    </a:pathLst>
                  </a:custGeom>
                  <a:solidFill>
                    <a:srgbClr val="FFB9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72" name="Freeform 771"/>
                  <p:cNvSpPr>
                    <a:spLocks/>
                  </p:cNvSpPr>
                  <p:nvPr/>
                </p:nvSpPr>
                <p:spPr bwMode="auto">
                  <a:xfrm>
                    <a:off x="7860118" y="3202129"/>
                    <a:ext cx="582385" cy="901446"/>
                  </a:xfrm>
                  <a:custGeom>
                    <a:avLst/>
                    <a:gdLst>
                      <a:gd name="T0" fmla="*/ 194 w 303"/>
                      <a:gd name="T1" fmla="*/ 0 h 469"/>
                      <a:gd name="T2" fmla="*/ 151 w 303"/>
                      <a:gd name="T3" fmla="*/ 341 h 469"/>
                      <a:gd name="T4" fmla="*/ 109 w 303"/>
                      <a:gd name="T5" fmla="*/ 0 h 469"/>
                      <a:gd name="T6" fmla="*/ 0 w 303"/>
                      <a:gd name="T7" fmla="*/ 9 h 469"/>
                      <a:gd name="T8" fmla="*/ 21 w 303"/>
                      <a:gd name="T9" fmla="*/ 469 h 469"/>
                      <a:gd name="T10" fmla="*/ 279 w 303"/>
                      <a:gd name="T11" fmla="*/ 469 h 469"/>
                      <a:gd name="T12" fmla="*/ 303 w 303"/>
                      <a:gd name="T13" fmla="*/ 9 h 469"/>
                      <a:gd name="T14" fmla="*/ 194 w 303"/>
                      <a:gd name="T15" fmla="*/ 0 h 46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303" h="469">
                        <a:moveTo>
                          <a:pt x="194" y="0"/>
                        </a:moveTo>
                        <a:lnTo>
                          <a:pt x="151" y="341"/>
                        </a:lnTo>
                        <a:lnTo>
                          <a:pt x="109" y="0"/>
                        </a:lnTo>
                        <a:lnTo>
                          <a:pt x="0" y="9"/>
                        </a:lnTo>
                        <a:lnTo>
                          <a:pt x="21" y="469"/>
                        </a:lnTo>
                        <a:lnTo>
                          <a:pt x="279" y="469"/>
                        </a:lnTo>
                        <a:lnTo>
                          <a:pt x="303" y="9"/>
                        </a:lnTo>
                        <a:lnTo>
                          <a:pt x="194" y="0"/>
                        </a:lnTo>
                        <a:close/>
                      </a:path>
                    </a:pathLst>
                  </a:custGeom>
                  <a:solidFill>
                    <a:srgbClr val="ADD40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73" name="Freeform 772"/>
                  <p:cNvSpPr>
                    <a:spLocks/>
                  </p:cNvSpPr>
                  <p:nvPr/>
                </p:nvSpPr>
                <p:spPr bwMode="auto">
                  <a:xfrm>
                    <a:off x="8282972" y="2879223"/>
                    <a:ext cx="5767" cy="0"/>
                  </a:xfrm>
                  <a:custGeom>
                    <a:avLst/>
                    <a:gdLst>
                      <a:gd name="T0" fmla="*/ 1 w 1"/>
                      <a:gd name="T1" fmla="*/ 0 w 1"/>
                      <a:gd name="T2" fmla="*/ 1 w 1"/>
                    </a:gdLst>
                    <a:ahLst/>
                    <a:cxnLst>
                      <a:cxn ang="0">
                        <a:pos x="T0" y="0"/>
                      </a:cxn>
                      <a:cxn ang="0">
                        <a:pos x="T1" y="0"/>
                      </a:cxn>
                      <a:cxn ang="0">
                        <a:pos x="T2" y="0"/>
                      </a:cxn>
                    </a:cxnLst>
                    <a:rect l="0" t="0" r="r" b="b"/>
                    <a:pathLst>
                      <a:path w="1">
                        <a:moveTo>
                          <a:pt x="1" y="0"/>
                        </a:moveTo>
                        <a:cubicBezTo>
                          <a:pt x="1" y="0"/>
                          <a:pt x="0" y="0"/>
                          <a:pt x="0" y="0"/>
                        </a:cubicBezTo>
                        <a:cubicBezTo>
                          <a:pt x="0" y="0"/>
                          <a:pt x="1" y="0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74" name="Freeform 773"/>
                  <p:cNvSpPr>
                    <a:spLocks/>
                  </p:cNvSpPr>
                  <p:nvPr/>
                </p:nvSpPr>
                <p:spPr bwMode="auto">
                  <a:xfrm>
                    <a:off x="8282972" y="2873457"/>
                    <a:ext cx="0" cy="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75" name="Freeform 774"/>
                  <p:cNvSpPr>
                    <a:spLocks/>
                  </p:cNvSpPr>
                  <p:nvPr/>
                </p:nvSpPr>
                <p:spPr bwMode="auto">
                  <a:xfrm>
                    <a:off x="8279128" y="2860002"/>
                    <a:ext cx="0" cy="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76" name="Freeform 775"/>
                  <p:cNvSpPr>
                    <a:spLocks/>
                  </p:cNvSpPr>
                  <p:nvPr/>
                </p:nvSpPr>
                <p:spPr bwMode="auto">
                  <a:xfrm>
                    <a:off x="8279128" y="2865769"/>
                    <a:ext cx="0" cy="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77" name="Freeform 776"/>
                  <p:cNvSpPr>
                    <a:spLocks/>
                  </p:cNvSpPr>
                  <p:nvPr/>
                </p:nvSpPr>
                <p:spPr bwMode="auto">
                  <a:xfrm>
                    <a:off x="8013883" y="2860002"/>
                    <a:ext cx="0" cy="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78" name="Freeform 777"/>
                  <p:cNvSpPr>
                    <a:spLocks/>
                  </p:cNvSpPr>
                  <p:nvPr/>
                </p:nvSpPr>
                <p:spPr bwMode="auto">
                  <a:xfrm>
                    <a:off x="8288737" y="2883067"/>
                    <a:ext cx="0" cy="5766"/>
                  </a:xfrm>
                  <a:custGeom>
                    <a:avLst/>
                    <a:gdLst>
                      <a:gd name="T0" fmla="*/ 1 h 1"/>
                      <a:gd name="T1" fmla="*/ 0 h 1"/>
                      <a:gd name="T2" fmla="*/ 1 h 1"/>
                    </a:gdLst>
                    <a:ahLst/>
                    <a:cxnLst>
                      <a:cxn ang="0">
                        <a:pos x="0" y="T0"/>
                      </a:cxn>
                      <a:cxn ang="0">
                        <a:pos x="0" y="T1"/>
                      </a:cxn>
                      <a:cxn ang="0">
                        <a:pos x="0" y="T2"/>
                      </a:cxn>
                    </a:cxnLst>
                    <a:rect l="0" t="0" r="r" b="b"/>
                    <a:pathLst>
                      <a:path h="1">
                        <a:moveTo>
                          <a:pt x="0" y="1"/>
                        </a:moveTo>
                        <a:cubicBezTo>
                          <a:pt x="0" y="1"/>
                          <a:pt x="0" y="0"/>
                          <a:pt x="0" y="0"/>
                        </a:cubicBezTo>
                        <a:cubicBezTo>
                          <a:pt x="0" y="0"/>
                          <a:pt x="0" y="1"/>
                          <a:pt x="0" y="1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79" name="Freeform 778"/>
                  <p:cNvSpPr>
                    <a:spLocks/>
                  </p:cNvSpPr>
                  <p:nvPr/>
                </p:nvSpPr>
                <p:spPr bwMode="auto">
                  <a:xfrm>
                    <a:off x="8288737" y="2888833"/>
                    <a:ext cx="0" cy="7688"/>
                  </a:xfrm>
                  <a:custGeom>
                    <a:avLst/>
                    <a:gdLst>
                      <a:gd name="T0" fmla="*/ 2 h 2"/>
                      <a:gd name="T1" fmla="*/ 0 h 2"/>
                      <a:gd name="T2" fmla="*/ 2 h 2"/>
                    </a:gdLst>
                    <a:ahLst/>
                    <a:cxnLst>
                      <a:cxn ang="0">
                        <a:pos x="0" y="T0"/>
                      </a:cxn>
                      <a:cxn ang="0">
                        <a:pos x="0" y="T1"/>
                      </a:cxn>
                      <a:cxn ang="0">
                        <a:pos x="0" y="T2"/>
                      </a:cxn>
                    </a:cxnLst>
                    <a:rect l="0" t="0" r="r" b="b"/>
                    <a:pathLst>
                      <a:path h="2">
                        <a:moveTo>
                          <a:pt x="0" y="2"/>
                        </a:moveTo>
                        <a:cubicBezTo>
                          <a:pt x="0" y="1"/>
                          <a:pt x="0" y="1"/>
                          <a:pt x="0" y="0"/>
                        </a:cubicBezTo>
                        <a:cubicBezTo>
                          <a:pt x="0" y="1"/>
                          <a:pt x="0" y="1"/>
                          <a:pt x="0" y="2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80" name="Freeform 779"/>
                  <p:cNvSpPr>
                    <a:spLocks/>
                  </p:cNvSpPr>
                  <p:nvPr/>
                </p:nvSpPr>
                <p:spPr bwMode="auto">
                  <a:xfrm>
                    <a:off x="8273361" y="2856158"/>
                    <a:ext cx="0" cy="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81" name="Freeform 780"/>
                  <p:cNvSpPr>
                    <a:spLocks/>
                  </p:cNvSpPr>
                  <p:nvPr/>
                </p:nvSpPr>
                <p:spPr bwMode="auto">
                  <a:xfrm>
                    <a:off x="8010039" y="2888833"/>
                    <a:ext cx="0" cy="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82" name="Freeform 781"/>
                  <p:cNvSpPr>
                    <a:spLocks/>
                  </p:cNvSpPr>
                  <p:nvPr/>
                </p:nvSpPr>
                <p:spPr bwMode="auto">
                  <a:xfrm>
                    <a:off x="8010039" y="2873457"/>
                    <a:ext cx="0" cy="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83" name="Freeform 782"/>
                  <p:cNvSpPr>
                    <a:spLocks/>
                  </p:cNvSpPr>
                  <p:nvPr/>
                </p:nvSpPr>
                <p:spPr bwMode="auto">
                  <a:xfrm>
                    <a:off x="8013883" y="2869613"/>
                    <a:ext cx="0" cy="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84" name="Freeform 783"/>
                  <p:cNvSpPr>
                    <a:spLocks/>
                  </p:cNvSpPr>
                  <p:nvPr/>
                </p:nvSpPr>
                <p:spPr bwMode="auto">
                  <a:xfrm>
                    <a:off x="8010039" y="2879223"/>
                    <a:ext cx="0" cy="3844"/>
                  </a:xfrm>
                  <a:custGeom>
                    <a:avLst/>
                    <a:gdLst>
                      <a:gd name="T0" fmla="*/ 0 h 1"/>
                      <a:gd name="T1" fmla="*/ 1 h 1"/>
                      <a:gd name="T2" fmla="*/ 0 h 1"/>
                    </a:gdLst>
                    <a:ahLst/>
                    <a:cxnLst>
                      <a:cxn ang="0">
                        <a:pos x="0" y="T0"/>
                      </a:cxn>
                      <a:cxn ang="0">
                        <a:pos x="0" y="T1"/>
                      </a:cxn>
                      <a:cxn ang="0">
                        <a:pos x="0" y="T2"/>
                      </a:cxn>
                    </a:cxnLst>
                    <a:rect l="0" t="0" r="r" b="b"/>
                    <a:pathLst>
                      <a:path h="1">
                        <a:moveTo>
                          <a:pt x="0" y="0"/>
                        </a:moveTo>
                        <a:cubicBezTo>
                          <a:pt x="0" y="0"/>
                          <a:pt x="0" y="1"/>
                          <a:pt x="0" y="1"/>
                        </a:cubicBezTo>
                        <a:cubicBezTo>
                          <a:pt x="0" y="1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85" name="Freeform 784"/>
                  <p:cNvSpPr>
                    <a:spLocks/>
                  </p:cNvSpPr>
                  <p:nvPr/>
                </p:nvSpPr>
                <p:spPr bwMode="auto">
                  <a:xfrm>
                    <a:off x="7983130" y="2846548"/>
                    <a:ext cx="326750" cy="395945"/>
                  </a:xfrm>
                  <a:custGeom>
                    <a:avLst/>
                    <a:gdLst>
                      <a:gd name="T0" fmla="*/ 69 w 72"/>
                      <a:gd name="T1" fmla="*/ 15 h 87"/>
                      <a:gd name="T2" fmla="*/ 67 w 72"/>
                      <a:gd name="T3" fmla="*/ 15 h 87"/>
                      <a:gd name="T4" fmla="*/ 67 w 72"/>
                      <a:gd name="T5" fmla="*/ 11 h 87"/>
                      <a:gd name="T6" fmla="*/ 67 w 72"/>
                      <a:gd name="T7" fmla="*/ 9 h 87"/>
                      <a:gd name="T8" fmla="*/ 67 w 72"/>
                      <a:gd name="T9" fmla="*/ 9 h 87"/>
                      <a:gd name="T10" fmla="*/ 67 w 72"/>
                      <a:gd name="T11" fmla="*/ 8 h 87"/>
                      <a:gd name="T12" fmla="*/ 67 w 72"/>
                      <a:gd name="T13" fmla="*/ 7 h 87"/>
                      <a:gd name="T14" fmla="*/ 66 w 72"/>
                      <a:gd name="T15" fmla="*/ 7 h 87"/>
                      <a:gd name="T16" fmla="*/ 66 w 72"/>
                      <a:gd name="T17" fmla="*/ 6 h 87"/>
                      <a:gd name="T18" fmla="*/ 66 w 72"/>
                      <a:gd name="T19" fmla="*/ 6 h 87"/>
                      <a:gd name="T20" fmla="*/ 65 w 72"/>
                      <a:gd name="T21" fmla="*/ 4 h 87"/>
                      <a:gd name="T22" fmla="*/ 65 w 72"/>
                      <a:gd name="T23" fmla="*/ 4 h 87"/>
                      <a:gd name="T24" fmla="*/ 65 w 72"/>
                      <a:gd name="T25" fmla="*/ 3 h 87"/>
                      <a:gd name="T26" fmla="*/ 65 w 72"/>
                      <a:gd name="T27" fmla="*/ 3 h 87"/>
                      <a:gd name="T28" fmla="*/ 64 w 72"/>
                      <a:gd name="T29" fmla="*/ 2 h 87"/>
                      <a:gd name="T30" fmla="*/ 64 w 72"/>
                      <a:gd name="T31" fmla="*/ 2 h 87"/>
                      <a:gd name="T32" fmla="*/ 59 w 72"/>
                      <a:gd name="T33" fmla="*/ 3 h 87"/>
                      <a:gd name="T34" fmla="*/ 48 w 72"/>
                      <a:gd name="T35" fmla="*/ 0 h 87"/>
                      <a:gd name="T36" fmla="*/ 30 w 72"/>
                      <a:gd name="T37" fmla="*/ 3 h 87"/>
                      <a:gd name="T38" fmla="*/ 10 w 72"/>
                      <a:gd name="T39" fmla="*/ 0 h 87"/>
                      <a:gd name="T40" fmla="*/ 7 w 72"/>
                      <a:gd name="T41" fmla="*/ 3 h 87"/>
                      <a:gd name="T42" fmla="*/ 7 w 72"/>
                      <a:gd name="T43" fmla="*/ 3 h 87"/>
                      <a:gd name="T44" fmla="*/ 7 w 72"/>
                      <a:gd name="T45" fmla="*/ 5 h 87"/>
                      <a:gd name="T46" fmla="*/ 7 w 72"/>
                      <a:gd name="T47" fmla="*/ 5 h 87"/>
                      <a:gd name="T48" fmla="*/ 6 w 72"/>
                      <a:gd name="T49" fmla="*/ 6 h 87"/>
                      <a:gd name="T50" fmla="*/ 6 w 72"/>
                      <a:gd name="T51" fmla="*/ 6 h 87"/>
                      <a:gd name="T52" fmla="*/ 6 w 72"/>
                      <a:gd name="T53" fmla="*/ 7 h 87"/>
                      <a:gd name="T54" fmla="*/ 6 w 72"/>
                      <a:gd name="T55" fmla="*/ 8 h 87"/>
                      <a:gd name="T56" fmla="*/ 6 w 72"/>
                      <a:gd name="T57" fmla="*/ 9 h 87"/>
                      <a:gd name="T58" fmla="*/ 6 w 72"/>
                      <a:gd name="T59" fmla="*/ 9 h 87"/>
                      <a:gd name="T60" fmla="*/ 6 w 72"/>
                      <a:gd name="T61" fmla="*/ 11 h 87"/>
                      <a:gd name="T62" fmla="*/ 6 w 72"/>
                      <a:gd name="T63" fmla="*/ 15 h 87"/>
                      <a:gd name="T64" fmla="*/ 5 w 72"/>
                      <a:gd name="T65" fmla="*/ 15 h 87"/>
                      <a:gd name="T66" fmla="*/ 0 w 72"/>
                      <a:gd name="T67" fmla="*/ 20 h 87"/>
                      <a:gd name="T68" fmla="*/ 0 w 72"/>
                      <a:gd name="T69" fmla="*/ 32 h 87"/>
                      <a:gd name="T70" fmla="*/ 6 w 72"/>
                      <a:gd name="T71" fmla="*/ 37 h 87"/>
                      <a:gd name="T72" fmla="*/ 10 w 72"/>
                      <a:gd name="T73" fmla="*/ 49 h 87"/>
                      <a:gd name="T74" fmla="*/ 22 w 72"/>
                      <a:gd name="T75" fmla="*/ 64 h 87"/>
                      <a:gd name="T76" fmla="*/ 24 w 72"/>
                      <a:gd name="T77" fmla="*/ 78 h 87"/>
                      <a:gd name="T78" fmla="*/ 37 w 72"/>
                      <a:gd name="T79" fmla="*/ 87 h 87"/>
                      <a:gd name="T80" fmla="*/ 50 w 72"/>
                      <a:gd name="T81" fmla="*/ 78 h 87"/>
                      <a:gd name="T82" fmla="*/ 52 w 72"/>
                      <a:gd name="T83" fmla="*/ 63 h 87"/>
                      <a:gd name="T84" fmla="*/ 62 w 72"/>
                      <a:gd name="T85" fmla="*/ 49 h 87"/>
                      <a:gd name="T86" fmla="*/ 67 w 72"/>
                      <a:gd name="T87" fmla="*/ 37 h 87"/>
                      <a:gd name="T88" fmla="*/ 72 w 72"/>
                      <a:gd name="T89" fmla="*/ 32 h 87"/>
                      <a:gd name="T90" fmla="*/ 72 w 72"/>
                      <a:gd name="T91" fmla="*/ 20 h 87"/>
                      <a:gd name="T92" fmla="*/ 69 w 72"/>
                      <a:gd name="T93" fmla="*/ 15 h 8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</a:cxnLst>
                    <a:rect l="0" t="0" r="r" b="b"/>
                    <a:pathLst>
                      <a:path w="72" h="87">
                        <a:moveTo>
                          <a:pt x="69" y="15"/>
                        </a:moveTo>
                        <a:cubicBezTo>
                          <a:pt x="68" y="15"/>
                          <a:pt x="68" y="15"/>
                          <a:pt x="67" y="15"/>
                        </a:cubicBezTo>
                        <a:cubicBezTo>
                          <a:pt x="67" y="11"/>
                          <a:pt x="67" y="11"/>
                          <a:pt x="67" y="11"/>
                        </a:cubicBezTo>
                        <a:cubicBezTo>
                          <a:pt x="67" y="10"/>
                          <a:pt x="67" y="10"/>
                          <a:pt x="67" y="9"/>
                        </a:cubicBezTo>
                        <a:cubicBezTo>
                          <a:pt x="67" y="9"/>
                          <a:pt x="67" y="9"/>
                          <a:pt x="67" y="9"/>
                        </a:cubicBezTo>
                        <a:cubicBezTo>
                          <a:pt x="67" y="9"/>
                          <a:pt x="67" y="8"/>
                          <a:pt x="67" y="8"/>
                        </a:cubicBezTo>
                        <a:cubicBezTo>
                          <a:pt x="67" y="8"/>
                          <a:pt x="67" y="8"/>
                          <a:pt x="67" y="7"/>
                        </a:cubicBezTo>
                        <a:cubicBezTo>
                          <a:pt x="67" y="7"/>
                          <a:pt x="66" y="7"/>
                          <a:pt x="66" y="7"/>
                        </a:cubicBezTo>
                        <a:cubicBezTo>
                          <a:pt x="66" y="7"/>
                          <a:pt x="66" y="6"/>
                          <a:pt x="66" y="6"/>
                        </a:cubicBezTo>
                        <a:cubicBezTo>
                          <a:pt x="66" y="6"/>
                          <a:pt x="66" y="6"/>
                          <a:pt x="66" y="6"/>
                        </a:cubicBezTo>
                        <a:cubicBezTo>
                          <a:pt x="66" y="5"/>
                          <a:pt x="66" y="5"/>
                          <a:pt x="65" y="4"/>
                        </a:cubicBezTo>
                        <a:cubicBezTo>
                          <a:pt x="65" y="4"/>
                          <a:pt x="65" y="4"/>
                          <a:pt x="65" y="4"/>
                        </a:cubicBezTo>
                        <a:cubicBezTo>
                          <a:pt x="65" y="4"/>
                          <a:pt x="65" y="3"/>
                          <a:pt x="65" y="3"/>
                        </a:cubicBezTo>
                        <a:cubicBezTo>
                          <a:pt x="65" y="3"/>
                          <a:pt x="65" y="3"/>
                          <a:pt x="65" y="3"/>
                        </a:cubicBezTo>
                        <a:cubicBezTo>
                          <a:pt x="65" y="3"/>
                          <a:pt x="64" y="2"/>
                          <a:pt x="64" y="2"/>
                        </a:cubicBezTo>
                        <a:cubicBezTo>
                          <a:pt x="64" y="2"/>
                          <a:pt x="64" y="2"/>
                          <a:pt x="64" y="2"/>
                        </a:cubicBezTo>
                        <a:cubicBezTo>
                          <a:pt x="62" y="2"/>
                          <a:pt x="61" y="3"/>
                          <a:pt x="59" y="3"/>
                        </a:cubicBezTo>
                        <a:cubicBezTo>
                          <a:pt x="54" y="3"/>
                          <a:pt x="51" y="2"/>
                          <a:pt x="48" y="0"/>
                        </a:cubicBezTo>
                        <a:cubicBezTo>
                          <a:pt x="44" y="2"/>
                          <a:pt x="37" y="3"/>
                          <a:pt x="30" y="3"/>
                        </a:cubicBezTo>
                        <a:cubicBezTo>
                          <a:pt x="22" y="3"/>
                          <a:pt x="15" y="2"/>
                          <a:pt x="10" y="0"/>
                        </a:cubicBezTo>
                        <a:cubicBezTo>
                          <a:pt x="9" y="1"/>
                          <a:pt x="8" y="2"/>
                          <a:pt x="7" y="3"/>
                        </a:cubicBezTo>
                        <a:cubicBezTo>
                          <a:pt x="7" y="3"/>
                          <a:pt x="7" y="3"/>
                          <a:pt x="7" y="3"/>
                        </a:cubicBezTo>
                        <a:cubicBezTo>
                          <a:pt x="7" y="4"/>
                          <a:pt x="7" y="4"/>
                          <a:pt x="7" y="5"/>
                        </a:cubicBezTo>
                        <a:cubicBezTo>
                          <a:pt x="7" y="5"/>
                          <a:pt x="7" y="5"/>
                          <a:pt x="7" y="5"/>
                        </a:cubicBezTo>
                        <a:cubicBezTo>
                          <a:pt x="7" y="5"/>
                          <a:pt x="6" y="6"/>
                          <a:pt x="6" y="6"/>
                        </a:cubicBezTo>
                        <a:cubicBezTo>
                          <a:pt x="6" y="6"/>
                          <a:pt x="6" y="6"/>
                          <a:pt x="6" y="6"/>
                        </a:cubicBezTo>
                        <a:cubicBezTo>
                          <a:pt x="6" y="7"/>
                          <a:pt x="6" y="7"/>
                          <a:pt x="6" y="7"/>
                        </a:cubicBezTo>
                        <a:cubicBezTo>
                          <a:pt x="6" y="7"/>
                          <a:pt x="6" y="8"/>
                          <a:pt x="6" y="8"/>
                        </a:cubicBezTo>
                        <a:cubicBezTo>
                          <a:pt x="6" y="8"/>
                          <a:pt x="6" y="8"/>
                          <a:pt x="6" y="9"/>
                        </a:cubicBezTo>
                        <a:cubicBezTo>
                          <a:pt x="6" y="9"/>
                          <a:pt x="6" y="9"/>
                          <a:pt x="6" y="9"/>
                        </a:cubicBezTo>
                        <a:cubicBezTo>
                          <a:pt x="6" y="10"/>
                          <a:pt x="6" y="10"/>
                          <a:pt x="6" y="11"/>
                        </a:cubicBezTo>
                        <a:cubicBezTo>
                          <a:pt x="6" y="15"/>
                          <a:pt x="6" y="15"/>
                          <a:pt x="6" y="15"/>
                        </a:cubicBezTo>
                        <a:cubicBezTo>
                          <a:pt x="5" y="15"/>
                          <a:pt x="5" y="15"/>
                          <a:pt x="5" y="15"/>
                        </a:cubicBezTo>
                        <a:cubicBezTo>
                          <a:pt x="2" y="16"/>
                          <a:pt x="0" y="18"/>
                          <a:pt x="0" y="20"/>
                        </a:cubicBezTo>
                        <a:cubicBezTo>
                          <a:pt x="0" y="32"/>
                          <a:pt x="0" y="32"/>
                          <a:pt x="0" y="32"/>
                        </a:cubicBezTo>
                        <a:cubicBezTo>
                          <a:pt x="0" y="34"/>
                          <a:pt x="3" y="37"/>
                          <a:pt x="6" y="37"/>
                        </a:cubicBezTo>
                        <a:cubicBezTo>
                          <a:pt x="10" y="49"/>
                          <a:pt x="10" y="49"/>
                          <a:pt x="10" y="49"/>
                        </a:cubicBezTo>
                        <a:cubicBezTo>
                          <a:pt x="13" y="57"/>
                          <a:pt x="16" y="62"/>
                          <a:pt x="22" y="64"/>
                        </a:cubicBezTo>
                        <a:cubicBezTo>
                          <a:pt x="24" y="78"/>
                          <a:pt x="24" y="78"/>
                          <a:pt x="24" y="78"/>
                        </a:cubicBezTo>
                        <a:cubicBezTo>
                          <a:pt x="37" y="87"/>
                          <a:pt x="37" y="87"/>
                          <a:pt x="37" y="87"/>
                        </a:cubicBezTo>
                        <a:cubicBezTo>
                          <a:pt x="50" y="78"/>
                          <a:pt x="50" y="78"/>
                          <a:pt x="50" y="78"/>
                        </a:cubicBezTo>
                        <a:cubicBezTo>
                          <a:pt x="52" y="63"/>
                          <a:pt x="52" y="63"/>
                          <a:pt x="52" y="63"/>
                        </a:cubicBezTo>
                        <a:cubicBezTo>
                          <a:pt x="57" y="62"/>
                          <a:pt x="59" y="57"/>
                          <a:pt x="62" y="49"/>
                        </a:cubicBezTo>
                        <a:cubicBezTo>
                          <a:pt x="67" y="37"/>
                          <a:pt x="67" y="37"/>
                          <a:pt x="67" y="37"/>
                        </a:cubicBezTo>
                        <a:cubicBezTo>
                          <a:pt x="70" y="37"/>
                          <a:pt x="72" y="34"/>
                          <a:pt x="72" y="32"/>
                        </a:cubicBezTo>
                        <a:cubicBezTo>
                          <a:pt x="72" y="20"/>
                          <a:pt x="72" y="20"/>
                          <a:pt x="72" y="20"/>
                        </a:cubicBezTo>
                        <a:cubicBezTo>
                          <a:pt x="72" y="18"/>
                          <a:pt x="71" y="16"/>
                          <a:pt x="69" y="15"/>
                        </a:cubicBezTo>
                        <a:close/>
                      </a:path>
                    </a:pathLst>
                  </a:custGeom>
                  <a:solidFill>
                    <a:srgbClr val="FFB9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86" name="Freeform 785"/>
                  <p:cNvSpPr>
                    <a:spLocks/>
                  </p:cNvSpPr>
                  <p:nvPr/>
                </p:nvSpPr>
                <p:spPr bwMode="auto">
                  <a:xfrm>
                    <a:off x="7900481" y="4103576"/>
                    <a:ext cx="495892" cy="542021"/>
                  </a:xfrm>
                  <a:custGeom>
                    <a:avLst/>
                    <a:gdLst>
                      <a:gd name="T0" fmla="*/ 247 w 258"/>
                      <a:gd name="T1" fmla="*/ 282 h 282"/>
                      <a:gd name="T2" fmla="*/ 12 w 258"/>
                      <a:gd name="T3" fmla="*/ 282 h 282"/>
                      <a:gd name="T4" fmla="*/ 0 w 258"/>
                      <a:gd name="T5" fmla="*/ 0 h 282"/>
                      <a:gd name="T6" fmla="*/ 258 w 258"/>
                      <a:gd name="T7" fmla="*/ 0 h 282"/>
                      <a:gd name="T8" fmla="*/ 247 w 258"/>
                      <a:gd name="T9" fmla="*/ 282 h 28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58" h="282">
                        <a:moveTo>
                          <a:pt x="247" y="282"/>
                        </a:moveTo>
                        <a:lnTo>
                          <a:pt x="12" y="282"/>
                        </a:lnTo>
                        <a:lnTo>
                          <a:pt x="0" y="0"/>
                        </a:lnTo>
                        <a:lnTo>
                          <a:pt x="258" y="0"/>
                        </a:lnTo>
                        <a:lnTo>
                          <a:pt x="247" y="282"/>
                        </a:lnTo>
                        <a:close/>
                      </a:path>
                    </a:pathLst>
                  </a:cu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87" name="Freeform 786"/>
                  <p:cNvSpPr>
                    <a:spLocks noEditPoints="1"/>
                  </p:cNvSpPr>
                  <p:nvPr/>
                </p:nvSpPr>
                <p:spPr bwMode="auto">
                  <a:xfrm>
                    <a:off x="7996584" y="2906131"/>
                    <a:ext cx="305608" cy="96103"/>
                  </a:xfrm>
                  <a:custGeom>
                    <a:avLst/>
                    <a:gdLst>
                      <a:gd name="T0" fmla="*/ 66 w 67"/>
                      <a:gd name="T1" fmla="*/ 1 h 21"/>
                      <a:gd name="T2" fmla="*/ 50 w 67"/>
                      <a:gd name="T3" fmla="*/ 0 h 21"/>
                      <a:gd name="T4" fmla="*/ 34 w 67"/>
                      <a:gd name="T5" fmla="*/ 4 h 21"/>
                      <a:gd name="T6" fmla="*/ 18 w 67"/>
                      <a:gd name="T7" fmla="*/ 0 h 21"/>
                      <a:gd name="T8" fmla="*/ 1 w 67"/>
                      <a:gd name="T9" fmla="*/ 1 h 21"/>
                      <a:gd name="T10" fmla="*/ 1 w 67"/>
                      <a:gd name="T11" fmla="*/ 3 h 21"/>
                      <a:gd name="T12" fmla="*/ 3 w 67"/>
                      <a:gd name="T13" fmla="*/ 6 h 21"/>
                      <a:gd name="T14" fmla="*/ 5 w 67"/>
                      <a:gd name="T15" fmla="*/ 11 h 21"/>
                      <a:gd name="T16" fmla="*/ 20 w 67"/>
                      <a:gd name="T17" fmla="*/ 20 h 21"/>
                      <a:gd name="T18" fmla="*/ 31 w 67"/>
                      <a:gd name="T19" fmla="*/ 8 h 21"/>
                      <a:gd name="T20" fmla="*/ 34 w 67"/>
                      <a:gd name="T21" fmla="*/ 7 h 21"/>
                      <a:gd name="T22" fmla="*/ 36 w 67"/>
                      <a:gd name="T23" fmla="*/ 8 h 21"/>
                      <a:gd name="T24" fmla="*/ 47 w 67"/>
                      <a:gd name="T25" fmla="*/ 20 h 21"/>
                      <a:gd name="T26" fmla="*/ 62 w 67"/>
                      <a:gd name="T27" fmla="*/ 11 h 21"/>
                      <a:gd name="T28" fmla="*/ 64 w 67"/>
                      <a:gd name="T29" fmla="*/ 6 h 21"/>
                      <a:gd name="T30" fmla="*/ 66 w 67"/>
                      <a:gd name="T31" fmla="*/ 3 h 21"/>
                      <a:gd name="T32" fmla="*/ 66 w 67"/>
                      <a:gd name="T33" fmla="*/ 1 h 21"/>
                      <a:gd name="T34" fmla="*/ 26 w 67"/>
                      <a:gd name="T35" fmla="*/ 15 h 21"/>
                      <a:gd name="T36" fmla="*/ 14 w 67"/>
                      <a:gd name="T37" fmla="*/ 18 h 21"/>
                      <a:gd name="T38" fmla="*/ 6 w 67"/>
                      <a:gd name="T39" fmla="*/ 7 h 21"/>
                      <a:gd name="T40" fmla="*/ 18 w 67"/>
                      <a:gd name="T41" fmla="*/ 2 h 21"/>
                      <a:gd name="T42" fmla="*/ 26 w 67"/>
                      <a:gd name="T43" fmla="*/ 4 h 21"/>
                      <a:gd name="T44" fmla="*/ 26 w 67"/>
                      <a:gd name="T45" fmla="*/ 15 h 21"/>
                      <a:gd name="T46" fmla="*/ 54 w 67"/>
                      <a:gd name="T47" fmla="*/ 18 h 21"/>
                      <a:gd name="T48" fmla="*/ 42 w 67"/>
                      <a:gd name="T49" fmla="*/ 15 h 21"/>
                      <a:gd name="T50" fmla="*/ 41 w 67"/>
                      <a:gd name="T51" fmla="*/ 4 h 21"/>
                      <a:gd name="T52" fmla="*/ 49 w 67"/>
                      <a:gd name="T53" fmla="*/ 2 h 21"/>
                      <a:gd name="T54" fmla="*/ 61 w 67"/>
                      <a:gd name="T55" fmla="*/ 7 h 21"/>
                      <a:gd name="T56" fmla="*/ 54 w 67"/>
                      <a:gd name="T57" fmla="*/ 18 h 2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</a:cxnLst>
                    <a:rect l="0" t="0" r="r" b="b"/>
                    <a:pathLst>
                      <a:path w="67" h="21">
                        <a:moveTo>
                          <a:pt x="66" y="1"/>
                        </a:moveTo>
                        <a:cubicBezTo>
                          <a:pt x="66" y="1"/>
                          <a:pt x="57" y="0"/>
                          <a:pt x="50" y="0"/>
                        </a:cubicBezTo>
                        <a:cubicBezTo>
                          <a:pt x="43" y="1"/>
                          <a:pt x="37" y="4"/>
                          <a:pt x="34" y="4"/>
                        </a:cubicBezTo>
                        <a:cubicBezTo>
                          <a:pt x="30" y="4"/>
                          <a:pt x="25" y="1"/>
                          <a:pt x="18" y="0"/>
                        </a:cubicBezTo>
                        <a:cubicBezTo>
                          <a:pt x="11" y="0"/>
                          <a:pt x="1" y="1"/>
                          <a:pt x="1" y="1"/>
                        </a:cubicBezTo>
                        <a:cubicBezTo>
                          <a:pt x="0" y="1"/>
                          <a:pt x="0" y="2"/>
                          <a:pt x="1" y="3"/>
                        </a:cubicBezTo>
                        <a:cubicBezTo>
                          <a:pt x="1" y="5"/>
                          <a:pt x="1" y="5"/>
                          <a:pt x="3" y="6"/>
                        </a:cubicBezTo>
                        <a:cubicBezTo>
                          <a:pt x="4" y="7"/>
                          <a:pt x="5" y="11"/>
                          <a:pt x="5" y="11"/>
                        </a:cubicBezTo>
                        <a:cubicBezTo>
                          <a:pt x="6" y="19"/>
                          <a:pt x="12" y="21"/>
                          <a:pt x="20" y="20"/>
                        </a:cubicBezTo>
                        <a:cubicBezTo>
                          <a:pt x="28" y="19"/>
                          <a:pt x="30" y="10"/>
                          <a:pt x="31" y="8"/>
                        </a:cubicBezTo>
                        <a:cubicBezTo>
                          <a:pt x="32" y="7"/>
                          <a:pt x="34" y="7"/>
                          <a:pt x="34" y="7"/>
                        </a:cubicBezTo>
                        <a:cubicBezTo>
                          <a:pt x="34" y="7"/>
                          <a:pt x="35" y="7"/>
                          <a:pt x="36" y="8"/>
                        </a:cubicBezTo>
                        <a:cubicBezTo>
                          <a:pt x="37" y="10"/>
                          <a:pt x="39" y="19"/>
                          <a:pt x="47" y="20"/>
                        </a:cubicBezTo>
                        <a:cubicBezTo>
                          <a:pt x="55" y="21"/>
                          <a:pt x="61" y="19"/>
                          <a:pt x="62" y="11"/>
                        </a:cubicBezTo>
                        <a:cubicBezTo>
                          <a:pt x="62" y="11"/>
                          <a:pt x="63" y="7"/>
                          <a:pt x="64" y="6"/>
                        </a:cubicBezTo>
                        <a:cubicBezTo>
                          <a:pt x="66" y="5"/>
                          <a:pt x="66" y="5"/>
                          <a:pt x="66" y="3"/>
                        </a:cubicBezTo>
                        <a:cubicBezTo>
                          <a:pt x="67" y="2"/>
                          <a:pt x="67" y="1"/>
                          <a:pt x="66" y="1"/>
                        </a:cubicBezTo>
                        <a:close/>
                        <a:moveTo>
                          <a:pt x="26" y="15"/>
                        </a:moveTo>
                        <a:cubicBezTo>
                          <a:pt x="23" y="18"/>
                          <a:pt x="19" y="19"/>
                          <a:pt x="14" y="18"/>
                        </a:cubicBezTo>
                        <a:cubicBezTo>
                          <a:pt x="8" y="18"/>
                          <a:pt x="6" y="14"/>
                          <a:pt x="6" y="7"/>
                        </a:cubicBezTo>
                        <a:cubicBezTo>
                          <a:pt x="6" y="0"/>
                          <a:pt x="18" y="2"/>
                          <a:pt x="18" y="2"/>
                        </a:cubicBezTo>
                        <a:cubicBezTo>
                          <a:pt x="23" y="3"/>
                          <a:pt x="23" y="3"/>
                          <a:pt x="26" y="4"/>
                        </a:cubicBezTo>
                        <a:cubicBezTo>
                          <a:pt x="30" y="5"/>
                          <a:pt x="28" y="12"/>
                          <a:pt x="26" y="15"/>
                        </a:cubicBezTo>
                        <a:close/>
                        <a:moveTo>
                          <a:pt x="54" y="18"/>
                        </a:moveTo>
                        <a:cubicBezTo>
                          <a:pt x="48" y="19"/>
                          <a:pt x="44" y="18"/>
                          <a:pt x="42" y="15"/>
                        </a:cubicBezTo>
                        <a:cubicBezTo>
                          <a:pt x="40" y="12"/>
                          <a:pt x="37" y="5"/>
                          <a:pt x="41" y="4"/>
                        </a:cubicBezTo>
                        <a:cubicBezTo>
                          <a:pt x="45" y="3"/>
                          <a:pt x="45" y="3"/>
                          <a:pt x="49" y="2"/>
                        </a:cubicBezTo>
                        <a:cubicBezTo>
                          <a:pt x="49" y="2"/>
                          <a:pt x="61" y="0"/>
                          <a:pt x="61" y="7"/>
                        </a:cubicBezTo>
                        <a:cubicBezTo>
                          <a:pt x="61" y="14"/>
                          <a:pt x="59" y="18"/>
                          <a:pt x="54" y="18"/>
                        </a:cubicBezTo>
                        <a:close/>
                      </a:path>
                    </a:pathLst>
                  </a:cu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88" name="Oval 787"/>
                  <p:cNvSpPr>
                    <a:spLocks noChangeArrowheads="1"/>
                  </p:cNvSpPr>
                  <p:nvPr/>
                </p:nvSpPr>
                <p:spPr bwMode="auto">
                  <a:xfrm>
                    <a:off x="8006195" y="2915742"/>
                    <a:ext cx="7688" cy="7688"/>
                  </a:xfrm>
                  <a:prstGeom prst="ellipse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89" name="Oval 788"/>
                  <p:cNvSpPr>
                    <a:spLocks noChangeArrowheads="1"/>
                  </p:cNvSpPr>
                  <p:nvPr/>
                </p:nvSpPr>
                <p:spPr bwMode="auto">
                  <a:xfrm>
                    <a:off x="8282972" y="2915742"/>
                    <a:ext cx="9611" cy="7688"/>
                  </a:xfrm>
                  <a:prstGeom prst="ellipse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731" name="Group 730"/>
                <p:cNvGrpSpPr/>
                <p:nvPr/>
              </p:nvGrpSpPr>
              <p:grpSpPr>
                <a:xfrm>
                  <a:off x="6608856" y="2527486"/>
                  <a:ext cx="1037913" cy="2879247"/>
                  <a:chOff x="6608856" y="2527486"/>
                  <a:chExt cx="1037913" cy="2879247"/>
                </a:xfrm>
              </p:grpSpPr>
              <p:sp>
                <p:nvSpPr>
                  <p:cNvPr id="732" name="Freeform 731"/>
                  <p:cNvSpPr>
                    <a:spLocks/>
                  </p:cNvSpPr>
                  <p:nvPr/>
                </p:nvSpPr>
                <p:spPr bwMode="auto">
                  <a:xfrm>
                    <a:off x="7012489" y="3025299"/>
                    <a:ext cx="222959" cy="240257"/>
                  </a:xfrm>
                  <a:custGeom>
                    <a:avLst/>
                    <a:gdLst>
                      <a:gd name="T0" fmla="*/ 0 w 116"/>
                      <a:gd name="T1" fmla="*/ 11 h 125"/>
                      <a:gd name="T2" fmla="*/ 12 w 116"/>
                      <a:gd name="T3" fmla="*/ 0 h 125"/>
                      <a:gd name="T4" fmla="*/ 105 w 116"/>
                      <a:gd name="T5" fmla="*/ 0 h 125"/>
                      <a:gd name="T6" fmla="*/ 116 w 116"/>
                      <a:gd name="T7" fmla="*/ 11 h 125"/>
                      <a:gd name="T8" fmla="*/ 86 w 116"/>
                      <a:gd name="T9" fmla="*/ 116 h 125"/>
                      <a:gd name="T10" fmla="*/ 43 w 116"/>
                      <a:gd name="T11" fmla="*/ 125 h 125"/>
                      <a:gd name="T12" fmla="*/ 8 w 116"/>
                      <a:gd name="T13" fmla="*/ 75 h 125"/>
                      <a:gd name="T14" fmla="*/ 0 w 116"/>
                      <a:gd name="T15" fmla="*/ 11 h 12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16" h="125">
                        <a:moveTo>
                          <a:pt x="0" y="11"/>
                        </a:moveTo>
                        <a:lnTo>
                          <a:pt x="12" y="0"/>
                        </a:lnTo>
                        <a:lnTo>
                          <a:pt x="105" y="0"/>
                        </a:lnTo>
                        <a:lnTo>
                          <a:pt x="116" y="11"/>
                        </a:lnTo>
                        <a:lnTo>
                          <a:pt x="86" y="116"/>
                        </a:lnTo>
                        <a:lnTo>
                          <a:pt x="43" y="125"/>
                        </a:lnTo>
                        <a:lnTo>
                          <a:pt x="8" y="75"/>
                        </a:lnTo>
                        <a:lnTo>
                          <a:pt x="0" y="11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33" name="Freeform 732"/>
                  <p:cNvSpPr>
                    <a:spLocks/>
                  </p:cNvSpPr>
                  <p:nvPr/>
                </p:nvSpPr>
                <p:spPr bwMode="auto">
                  <a:xfrm>
                    <a:off x="6885633" y="5291409"/>
                    <a:ext cx="222959" cy="115324"/>
                  </a:xfrm>
                  <a:custGeom>
                    <a:avLst/>
                    <a:gdLst>
                      <a:gd name="T0" fmla="*/ 24 w 49"/>
                      <a:gd name="T1" fmla="*/ 0 h 25"/>
                      <a:gd name="T2" fmla="*/ 0 w 49"/>
                      <a:gd name="T3" fmla="*/ 25 h 25"/>
                      <a:gd name="T4" fmla="*/ 49 w 49"/>
                      <a:gd name="T5" fmla="*/ 25 h 25"/>
                      <a:gd name="T6" fmla="*/ 24 w 49"/>
                      <a:gd name="T7" fmla="*/ 0 h 2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9" h="25">
                        <a:moveTo>
                          <a:pt x="24" y="0"/>
                        </a:moveTo>
                        <a:cubicBezTo>
                          <a:pt x="11" y="0"/>
                          <a:pt x="0" y="11"/>
                          <a:pt x="0" y="25"/>
                        </a:cubicBezTo>
                        <a:cubicBezTo>
                          <a:pt x="49" y="25"/>
                          <a:pt x="49" y="25"/>
                          <a:pt x="49" y="25"/>
                        </a:cubicBezTo>
                        <a:cubicBezTo>
                          <a:pt x="49" y="11"/>
                          <a:pt x="38" y="0"/>
                          <a:pt x="24" y="0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34" name="Freeform 733"/>
                  <p:cNvSpPr>
                    <a:spLocks/>
                  </p:cNvSpPr>
                  <p:nvPr/>
                </p:nvSpPr>
                <p:spPr bwMode="auto">
                  <a:xfrm>
                    <a:off x="6854880" y="4086277"/>
                    <a:ext cx="286388" cy="1228196"/>
                  </a:xfrm>
                  <a:custGeom>
                    <a:avLst/>
                    <a:gdLst>
                      <a:gd name="T0" fmla="*/ 116 w 149"/>
                      <a:gd name="T1" fmla="*/ 639 h 639"/>
                      <a:gd name="T2" fmla="*/ 28 w 149"/>
                      <a:gd name="T3" fmla="*/ 639 h 639"/>
                      <a:gd name="T4" fmla="*/ 0 w 149"/>
                      <a:gd name="T5" fmla="*/ 0 h 639"/>
                      <a:gd name="T6" fmla="*/ 149 w 149"/>
                      <a:gd name="T7" fmla="*/ 0 h 639"/>
                      <a:gd name="T8" fmla="*/ 116 w 149"/>
                      <a:gd name="T9" fmla="*/ 639 h 63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49" h="639">
                        <a:moveTo>
                          <a:pt x="116" y="639"/>
                        </a:moveTo>
                        <a:lnTo>
                          <a:pt x="28" y="639"/>
                        </a:lnTo>
                        <a:lnTo>
                          <a:pt x="0" y="0"/>
                        </a:lnTo>
                        <a:lnTo>
                          <a:pt x="149" y="0"/>
                        </a:lnTo>
                        <a:lnTo>
                          <a:pt x="116" y="639"/>
                        </a:lnTo>
                        <a:close/>
                      </a:path>
                    </a:pathLst>
                  </a:custGeom>
                  <a:solidFill>
                    <a:srgbClr val="AB008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35" name="Freeform 734"/>
                  <p:cNvSpPr>
                    <a:spLocks/>
                  </p:cNvSpPr>
                  <p:nvPr/>
                </p:nvSpPr>
                <p:spPr bwMode="auto">
                  <a:xfrm>
                    <a:off x="7104748" y="4086277"/>
                    <a:ext cx="286388" cy="1228196"/>
                  </a:xfrm>
                  <a:custGeom>
                    <a:avLst/>
                    <a:gdLst>
                      <a:gd name="T0" fmla="*/ 121 w 149"/>
                      <a:gd name="T1" fmla="*/ 639 h 639"/>
                      <a:gd name="T2" fmla="*/ 33 w 149"/>
                      <a:gd name="T3" fmla="*/ 639 h 639"/>
                      <a:gd name="T4" fmla="*/ 0 w 149"/>
                      <a:gd name="T5" fmla="*/ 0 h 639"/>
                      <a:gd name="T6" fmla="*/ 149 w 149"/>
                      <a:gd name="T7" fmla="*/ 0 h 639"/>
                      <a:gd name="T8" fmla="*/ 121 w 149"/>
                      <a:gd name="T9" fmla="*/ 639 h 63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49" h="639">
                        <a:moveTo>
                          <a:pt x="121" y="639"/>
                        </a:moveTo>
                        <a:lnTo>
                          <a:pt x="33" y="639"/>
                        </a:lnTo>
                        <a:lnTo>
                          <a:pt x="0" y="0"/>
                        </a:lnTo>
                        <a:lnTo>
                          <a:pt x="149" y="0"/>
                        </a:lnTo>
                        <a:lnTo>
                          <a:pt x="121" y="639"/>
                        </a:lnTo>
                        <a:close/>
                      </a:path>
                    </a:pathLst>
                  </a:custGeom>
                  <a:solidFill>
                    <a:srgbClr val="AB008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36" name="Freeform 735"/>
                  <p:cNvSpPr>
                    <a:spLocks/>
                  </p:cNvSpPr>
                  <p:nvPr/>
                </p:nvSpPr>
                <p:spPr bwMode="auto">
                  <a:xfrm>
                    <a:off x="7145112" y="5291409"/>
                    <a:ext cx="222959" cy="115324"/>
                  </a:xfrm>
                  <a:custGeom>
                    <a:avLst/>
                    <a:gdLst>
                      <a:gd name="T0" fmla="*/ 25 w 49"/>
                      <a:gd name="T1" fmla="*/ 0 h 25"/>
                      <a:gd name="T2" fmla="*/ 0 w 49"/>
                      <a:gd name="T3" fmla="*/ 25 h 25"/>
                      <a:gd name="T4" fmla="*/ 49 w 49"/>
                      <a:gd name="T5" fmla="*/ 25 h 25"/>
                      <a:gd name="T6" fmla="*/ 25 w 49"/>
                      <a:gd name="T7" fmla="*/ 0 h 2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9" h="25">
                        <a:moveTo>
                          <a:pt x="25" y="0"/>
                        </a:moveTo>
                        <a:cubicBezTo>
                          <a:pt x="11" y="0"/>
                          <a:pt x="0" y="11"/>
                          <a:pt x="0" y="25"/>
                        </a:cubicBezTo>
                        <a:cubicBezTo>
                          <a:pt x="49" y="25"/>
                          <a:pt x="49" y="25"/>
                          <a:pt x="49" y="25"/>
                        </a:cubicBezTo>
                        <a:cubicBezTo>
                          <a:pt x="49" y="11"/>
                          <a:pt x="38" y="0"/>
                          <a:pt x="25" y="0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37" name="Freeform 736"/>
                  <p:cNvSpPr>
                    <a:spLocks/>
                  </p:cNvSpPr>
                  <p:nvPr/>
                </p:nvSpPr>
                <p:spPr bwMode="auto">
                  <a:xfrm>
                    <a:off x="6991347" y="3052208"/>
                    <a:ext cx="276777" cy="751525"/>
                  </a:xfrm>
                  <a:custGeom>
                    <a:avLst/>
                    <a:gdLst>
                      <a:gd name="T0" fmla="*/ 144 w 144"/>
                      <a:gd name="T1" fmla="*/ 83 h 391"/>
                      <a:gd name="T2" fmla="*/ 73 w 144"/>
                      <a:gd name="T3" fmla="*/ 0 h 391"/>
                      <a:gd name="T4" fmla="*/ 0 w 144"/>
                      <a:gd name="T5" fmla="*/ 76 h 391"/>
                      <a:gd name="T6" fmla="*/ 54 w 144"/>
                      <a:gd name="T7" fmla="*/ 360 h 391"/>
                      <a:gd name="T8" fmla="*/ 68 w 144"/>
                      <a:gd name="T9" fmla="*/ 391 h 391"/>
                      <a:gd name="T10" fmla="*/ 85 w 144"/>
                      <a:gd name="T11" fmla="*/ 360 h 391"/>
                      <a:gd name="T12" fmla="*/ 144 w 144"/>
                      <a:gd name="T13" fmla="*/ 83 h 39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44" h="391">
                        <a:moveTo>
                          <a:pt x="144" y="83"/>
                        </a:moveTo>
                        <a:lnTo>
                          <a:pt x="73" y="0"/>
                        </a:lnTo>
                        <a:lnTo>
                          <a:pt x="0" y="76"/>
                        </a:lnTo>
                        <a:lnTo>
                          <a:pt x="54" y="360"/>
                        </a:lnTo>
                        <a:lnTo>
                          <a:pt x="68" y="391"/>
                        </a:lnTo>
                        <a:lnTo>
                          <a:pt x="85" y="360"/>
                        </a:lnTo>
                        <a:lnTo>
                          <a:pt x="144" y="83"/>
                        </a:lnTo>
                        <a:close/>
                      </a:path>
                    </a:pathLst>
                  </a:cu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38" name="Freeform 737"/>
                  <p:cNvSpPr>
                    <a:spLocks/>
                  </p:cNvSpPr>
                  <p:nvPr/>
                </p:nvSpPr>
                <p:spPr bwMode="auto">
                  <a:xfrm>
                    <a:off x="6962516" y="2546707"/>
                    <a:ext cx="351738" cy="442074"/>
                  </a:xfrm>
                  <a:custGeom>
                    <a:avLst/>
                    <a:gdLst>
                      <a:gd name="T0" fmla="*/ 68 w 77"/>
                      <a:gd name="T1" fmla="*/ 59 h 97"/>
                      <a:gd name="T2" fmla="*/ 28 w 77"/>
                      <a:gd name="T3" fmla="*/ 90 h 97"/>
                      <a:gd name="T4" fmla="*/ 8 w 77"/>
                      <a:gd name="T5" fmla="*/ 39 h 97"/>
                      <a:gd name="T6" fmla="*/ 57 w 77"/>
                      <a:gd name="T7" fmla="*/ 6 h 97"/>
                      <a:gd name="T8" fmla="*/ 68 w 77"/>
                      <a:gd name="T9" fmla="*/ 59 h 9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7" h="97">
                        <a:moveTo>
                          <a:pt x="68" y="59"/>
                        </a:moveTo>
                        <a:cubicBezTo>
                          <a:pt x="54" y="97"/>
                          <a:pt x="46" y="96"/>
                          <a:pt x="28" y="90"/>
                        </a:cubicBezTo>
                        <a:cubicBezTo>
                          <a:pt x="9" y="84"/>
                          <a:pt x="0" y="61"/>
                          <a:pt x="8" y="39"/>
                        </a:cubicBezTo>
                        <a:cubicBezTo>
                          <a:pt x="15" y="17"/>
                          <a:pt x="39" y="0"/>
                          <a:pt x="57" y="6"/>
                        </a:cubicBezTo>
                        <a:cubicBezTo>
                          <a:pt x="76" y="12"/>
                          <a:pt x="77" y="37"/>
                          <a:pt x="68" y="59"/>
                        </a:cubicBezTo>
                        <a:close/>
                      </a:path>
                    </a:pathLst>
                  </a:cu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39" name="Freeform 738"/>
                  <p:cNvSpPr>
                    <a:spLocks/>
                  </p:cNvSpPr>
                  <p:nvPr/>
                </p:nvSpPr>
                <p:spPr bwMode="auto">
                  <a:xfrm>
                    <a:off x="6899088" y="2527486"/>
                    <a:ext cx="392100" cy="482437"/>
                  </a:xfrm>
                  <a:custGeom>
                    <a:avLst/>
                    <a:gdLst>
                      <a:gd name="T0" fmla="*/ 74 w 86"/>
                      <a:gd name="T1" fmla="*/ 22 h 106"/>
                      <a:gd name="T2" fmla="*/ 62 w 86"/>
                      <a:gd name="T3" fmla="*/ 90 h 106"/>
                      <a:gd name="T4" fmla="*/ 25 w 86"/>
                      <a:gd name="T5" fmla="*/ 87 h 106"/>
                      <a:gd name="T6" fmla="*/ 25 w 86"/>
                      <a:gd name="T7" fmla="*/ 8 h 106"/>
                      <a:gd name="T8" fmla="*/ 74 w 86"/>
                      <a:gd name="T9" fmla="*/ 22 h 10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86" h="106">
                        <a:moveTo>
                          <a:pt x="74" y="22"/>
                        </a:moveTo>
                        <a:cubicBezTo>
                          <a:pt x="86" y="41"/>
                          <a:pt x="77" y="81"/>
                          <a:pt x="62" y="90"/>
                        </a:cubicBezTo>
                        <a:cubicBezTo>
                          <a:pt x="48" y="98"/>
                          <a:pt x="36" y="106"/>
                          <a:pt x="25" y="87"/>
                        </a:cubicBezTo>
                        <a:cubicBezTo>
                          <a:pt x="14" y="68"/>
                          <a:pt x="0" y="19"/>
                          <a:pt x="25" y="8"/>
                        </a:cubicBezTo>
                        <a:cubicBezTo>
                          <a:pt x="40" y="0"/>
                          <a:pt x="63" y="3"/>
                          <a:pt x="74" y="22"/>
                        </a:cubicBezTo>
                        <a:close/>
                      </a:path>
                    </a:pathLst>
                  </a:cu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40" name="Freeform 739"/>
                  <p:cNvSpPr>
                    <a:spLocks/>
                  </p:cNvSpPr>
                  <p:nvPr/>
                </p:nvSpPr>
                <p:spPr bwMode="auto">
                  <a:xfrm>
                    <a:off x="7035554" y="2883067"/>
                    <a:ext cx="178752" cy="215271"/>
                  </a:xfrm>
                  <a:custGeom>
                    <a:avLst/>
                    <a:gdLst>
                      <a:gd name="T0" fmla="*/ 93 w 93"/>
                      <a:gd name="T1" fmla="*/ 74 h 112"/>
                      <a:gd name="T2" fmla="*/ 45 w 93"/>
                      <a:gd name="T3" fmla="*/ 112 h 112"/>
                      <a:gd name="T4" fmla="*/ 0 w 93"/>
                      <a:gd name="T5" fmla="*/ 74 h 112"/>
                      <a:gd name="T6" fmla="*/ 0 w 93"/>
                      <a:gd name="T7" fmla="*/ 0 h 112"/>
                      <a:gd name="T8" fmla="*/ 93 w 93"/>
                      <a:gd name="T9" fmla="*/ 0 h 112"/>
                      <a:gd name="T10" fmla="*/ 93 w 93"/>
                      <a:gd name="T11" fmla="*/ 74 h 11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93" h="112">
                        <a:moveTo>
                          <a:pt x="93" y="74"/>
                        </a:moveTo>
                        <a:lnTo>
                          <a:pt x="45" y="112"/>
                        </a:lnTo>
                        <a:lnTo>
                          <a:pt x="0" y="74"/>
                        </a:lnTo>
                        <a:lnTo>
                          <a:pt x="0" y="0"/>
                        </a:lnTo>
                        <a:lnTo>
                          <a:pt x="93" y="0"/>
                        </a:lnTo>
                        <a:lnTo>
                          <a:pt x="93" y="74"/>
                        </a:lnTo>
                        <a:close/>
                      </a:path>
                    </a:pathLst>
                  </a:custGeom>
                  <a:solidFill>
                    <a:srgbClr val="FFB9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41" name="Freeform 740"/>
                  <p:cNvSpPr>
                    <a:spLocks/>
                  </p:cNvSpPr>
                  <p:nvPr/>
                </p:nvSpPr>
                <p:spPr bwMode="auto">
                  <a:xfrm>
                    <a:off x="6608856" y="3079117"/>
                    <a:ext cx="382491" cy="991783"/>
                  </a:xfrm>
                  <a:custGeom>
                    <a:avLst/>
                    <a:gdLst>
                      <a:gd name="T0" fmla="*/ 84 w 84"/>
                      <a:gd name="T1" fmla="*/ 9 h 218"/>
                      <a:gd name="T2" fmla="*/ 51 w 84"/>
                      <a:gd name="T3" fmla="*/ 0 h 218"/>
                      <a:gd name="T4" fmla="*/ 0 w 84"/>
                      <a:gd name="T5" fmla="*/ 218 h 218"/>
                      <a:gd name="T6" fmla="*/ 34 w 84"/>
                      <a:gd name="T7" fmla="*/ 218 h 218"/>
                      <a:gd name="T8" fmla="*/ 84 w 84"/>
                      <a:gd name="T9" fmla="*/ 9 h 21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84" h="218">
                        <a:moveTo>
                          <a:pt x="84" y="9"/>
                        </a:moveTo>
                        <a:cubicBezTo>
                          <a:pt x="73" y="6"/>
                          <a:pt x="62" y="3"/>
                          <a:pt x="51" y="0"/>
                        </a:cubicBezTo>
                        <a:cubicBezTo>
                          <a:pt x="18" y="71"/>
                          <a:pt x="7" y="141"/>
                          <a:pt x="0" y="218"/>
                        </a:cubicBezTo>
                        <a:cubicBezTo>
                          <a:pt x="34" y="218"/>
                          <a:pt x="34" y="218"/>
                          <a:pt x="34" y="218"/>
                        </a:cubicBezTo>
                        <a:cubicBezTo>
                          <a:pt x="42" y="144"/>
                          <a:pt x="53" y="77"/>
                          <a:pt x="84" y="9"/>
                        </a:cubicBezTo>
                        <a:close/>
                      </a:path>
                    </a:pathLst>
                  </a:cu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42" name="Freeform 741"/>
                  <p:cNvSpPr>
                    <a:spLocks/>
                  </p:cNvSpPr>
                  <p:nvPr/>
                </p:nvSpPr>
                <p:spPr bwMode="auto">
                  <a:xfrm>
                    <a:off x="7258513" y="3079117"/>
                    <a:ext cx="388256" cy="991783"/>
                  </a:xfrm>
                  <a:custGeom>
                    <a:avLst/>
                    <a:gdLst>
                      <a:gd name="T0" fmla="*/ 0 w 85"/>
                      <a:gd name="T1" fmla="*/ 9 h 218"/>
                      <a:gd name="T2" fmla="*/ 34 w 85"/>
                      <a:gd name="T3" fmla="*/ 0 h 218"/>
                      <a:gd name="T4" fmla="*/ 85 w 85"/>
                      <a:gd name="T5" fmla="*/ 218 h 218"/>
                      <a:gd name="T6" fmla="*/ 50 w 85"/>
                      <a:gd name="T7" fmla="*/ 218 h 218"/>
                      <a:gd name="T8" fmla="*/ 0 w 85"/>
                      <a:gd name="T9" fmla="*/ 9 h 21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85" h="218">
                        <a:moveTo>
                          <a:pt x="0" y="9"/>
                        </a:moveTo>
                        <a:cubicBezTo>
                          <a:pt x="12" y="6"/>
                          <a:pt x="23" y="3"/>
                          <a:pt x="34" y="0"/>
                        </a:cubicBezTo>
                        <a:cubicBezTo>
                          <a:pt x="67" y="71"/>
                          <a:pt x="77" y="141"/>
                          <a:pt x="85" y="218"/>
                        </a:cubicBezTo>
                        <a:cubicBezTo>
                          <a:pt x="50" y="218"/>
                          <a:pt x="50" y="218"/>
                          <a:pt x="50" y="218"/>
                        </a:cubicBezTo>
                        <a:cubicBezTo>
                          <a:pt x="42" y="144"/>
                          <a:pt x="32" y="77"/>
                          <a:pt x="0" y="9"/>
                        </a:cubicBezTo>
                        <a:close/>
                      </a:path>
                    </a:pathLst>
                  </a:cu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43" name="Freeform 742"/>
                  <p:cNvSpPr>
                    <a:spLocks/>
                  </p:cNvSpPr>
                  <p:nvPr/>
                </p:nvSpPr>
                <p:spPr bwMode="auto">
                  <a:xfrm>
                    <a:off x="6626156" y="4070900"/>
                    <a:ext cx="119168" cy="128777"/>
                  </a:xfrm>
                  <a:custGeom>
                    <a:avLst/>
                    <a:gdLst>
                      <a:gd name="T0" fmla="*/ 0 w 26"/>
                      <a:gd name="T1" fmla="*/ 0 h 28"/>
                      <a:gd name="T2" fmla="*/ 0 w 26"/>
                      <a:gd name="T3" fmla="*/ 16 h 28"/>
                      <a:gd name="T4" fmla="*/ 13 w 26"/>
                      <a:gd name="T5" fmla="*/ 28 h 28"/>
                      <a:gd name="T6" fmla="*/ 26 w 26"/>
                      <a:gd name="T7" fmla="*/ 16 h 28"/>
                      <a:gd name="T8" fmla="*/ 26 w 26"/>
                      <a:gd name="T9" fmla="*/ 0 h 28"/>
                      <a:gd name="T10" fmla="*/ 0 w 26"/>
                      <a:gd name="T11" fmla="*/ 0 h 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26" h="28">
                        <a:moveTo>
                          <a:pt x="0" y="0"/>
                        </a:moveTo>
                        <a:cubicBezTo>
                          <a:pt x="0" y="16"/>
                          <a:pt x="0" y="16"/>
                          <a:pt x="0" y="16"/>
                        </a:cubicBezTo>
                        <a:cubicBezTo>
                          <a:pt x="0" y="23"/>
                          <a:pt x="6" y="28"/>
                          <a:pt x="13" y="28"/>
                        </a:cubicBezTo>
                        <a:cubicBezTo>
                          <a:pt x="20" y="28"/>
                          <a:pt x="26" y="23"/>
                          <a:pt x="26" y="16"/>
                        </a:cubicBezTo>
                        <a:cubicBezTo>
                          <a:pt x="26" y="0"/>
                          <a:pt x="26" y="0"/>
                          <a:pt x="26" y="0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FB9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44" name="Freeform 743"/>
                  <p:cNvSpPr>
                    <a:spLocks/>
                  </p:cNvSpPr>
                  <p:nvPr/>
                </p:nvSpPr>
                <p:spPr bwMode="auto">
                  <a:xfrm>
                    <a:off x="7510303" y="4070900"/>
                    <a:ext cx="113402" cy="128777"/>
                  </a:xfrm>
                  <a:custGeom>
                    <a:avLst/>
                    <a:gdLst>
                      <a:gd name="T0" fmla="*/ 0 w 25"/>
                      <a:gd name="T1" fmla="*/ 0 h 28"/>
                      <a:gd name="T2" fmla="*/ 0 w 25"/>
                      <a:gd name="T3" fmla="*/ 16 h 28"/>
                      <a:gd name="T4" fmla="*/ 12 w 25"/>
                      <a:gd name="T5" fmla="*/ 28 h 28"/>
                      <a:gd name="T6" fmla="*/ 25 w 25"/>
                      <a:gd name="T7" fmla="*/ 16 h 28"/>
                      <a:gd name="T8" fmla="*/ 25 w 25"/>
                      <a:gd name="T9" fmla="*/ 0 h 28"/>
                      <a:gd name="T10" fmla="*/ 0 w 25"/>
                      <a:gd name="T11" fmla="*/ 0 h 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25" h="28">
                        <a:moveTo>
                          <a:pt x="0" y="0"/>
                        </a:moveTo>
                        <a:cubicBezTo>
                          <a:pt x="0" y="16"/>
                          <a:pt x="0" y="16"/>
                          <a:pt x="0" y="16"/>
                        </a:cubicBezTo>
                        <a:cubicBezTo>
                          <a:pt x="0" y="23"/>
                          <a:pt x="5" y="28"/>
                          <a:pt x="12" y="28"/>
                        </a:cubicBezTo>
                        <a:cubicBezTo>
                          <a:pt x="19" y="28"/>
                          <a:pt x="25" y="23"/>
                          <a:pt x="25" y="16"/>
                        </a:cubicBezTo>
                        <a:cubicBezTo>
                          <a:pt x="25" y="0"/>
                          <a:pt x="25" y="0"/>
                          <a:pt x="25" y="0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FB9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45" name="Freeform 744"/>
                  <p:cNvSpPr>
                    <a:spLocks/>
                  </p:cNvSpPr>
                  <p:nvPr/>
                </p:nvSpPr>
                <p:spPr bwMode="auto">
                  <a:xfrm>
                    <a:off x="6835660" y="3046442"/>
                    <a:ext cx="578541" cy="1007160"/>
                  </a:xfrm>
                  <a:custGeom>
                    <a:avLst/>
                    <a:gdLst>
                      <a:gd name="T0" fmla="*/ 208 w 301"/>
                      <a:gd name="T1" fmla="*/ 0 h 524"/>
                      <a:gd name="T2" fmla="*/ 149 w 301"/>
                      <a:gd name="T3" fmla="*/ 100 h 524"/>
                      <a:gd name="T4" fmla="*/ 92 w 301"/>
                      <a:gd name="T5" fmla="*/ 0 h 524"/>
                      <a:gd name="T6" fmla="*/ 0 w 301"/>
                      <a:gd name="T7" fmla="*/ 17 h 524"/>
                      <a:gd name="T8" fmla="*/ 5 w 301"/>
                      <a:gd name="T9" fmla="*/ 524 h 524"/>
                      <a:gd name="T10" fmla="*/ 294 w 301"/>
                      <a:gd name="T11" fmla="*/ 524 h 524"/>
                      <a:gd name="T12" fmla="*/ 301 w 301"/>
                      <a:gd name="T13" fmla="*/ 17 h 524"/>
                      <a:gd name="T14" fmla="*/ 208 w 301"/>
                      <a:gd name="T15" fmla="*/ 0 h 52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301" h="524">
                        <a:moveTo>
                          <a:pt x="208" y="0"/>
                        </a:moveTo>
                        <a:lnTo>
                          <a:pt x="149" y="100"/>
                        </a:lnTo>
                        <a:lnTo>
                          <a:pt x="92" y="0"/>
                        </a:lnTo>
                        <a:lnTo>
                          <a:pt x="0" y="17"/>
                        </a:lnTo>
                        <a:lnTo>
                          <a:pt x="5" y="524"/>
                        </a:lnTo>
                        <a:lnTo>
                          <a:pt x="294" y="524"/>
                        </a:lnTo>
                        <a:lnTo>
                          <a:pt x="301" y="17"/>
                        </a:lnTo>
                        <a:lnTo>
                          <a:pt x="208" y="0"/>
                        </a:lnTo>
                        <a:close/>
                      </a:path>
                    </a:pathLst>
                  </a:cu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46" name="Freeform 745"/>
                  <p:cNvSpPr>
                    <a:spLocks/>
                  </p:cNvSpPr>
                  <p:nvPr/>
                </p:nvSpPr>
                <p:spPr bwMode="auto">
                  <a:xfrm>
                    <a:off x="7268124" y="2700471"/>
                    <a:ext cx="3844" cy="5766"/>
                  </a:xfrm>
                  <a:custGeom>
                    <a:avLst/>
                    <a:gdLst>
                      <a:gd name="T0" fmla="*/ 1 w 1"/>
                      <a:gd name="T1" fmla="*/ 1 h 1"/>
                      <a:gd name="T2" fmla="*/ 0 w 1"/>
                      <a:gd name="T3" fmla="*/ 0 h 1"/>
                      <a:gd name="T4" fmla="*/ 1 w 1"/>
                      <a:gd name="T5" fmla="*/ 1 h 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1" h="1">
                        <a:moveTo>
                          <a:pt x="1" y="1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0"/>
                          <a:pt x="0" y="0"/>
                          <a:pt x="1" y="1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47" name="Freeform 746"/>
                  <p:cNvSpPr>
                    <a:spLocks/>
                  </p:cNvSpPr>
                  <p:nvPr/>
                </p:nvSpPr>
                <p:spPr bwMode="auto">
                  <a:xfrm>
                    <a:off x="7268124" y="2696627"/>
                    <a:ext cx="0" cy="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48" name="Freeform 747"/>
                  <p:cNvSpPr>
                    <a:spLocks/>
                  </p:cNvSpPr>
                  <p:nvPr/>
                </p:nvSpPr>
                <p:spPr bwMode="auto">
                  <a:xfrm>
                    <a:off x="7258513" y="2683172"/>
                    <a:ext cx="5767" cy="0"/>
                  </a:xfrm>
                  <a:custGeom>
                    <a:avLst/>
                    <a:gdLst>
                      <a:gd name="T0" fmla="*/ 1 w 1"/>
                      <a:gd name="T1" fmla="*/ 0 w 1"/>
                      <a:gd name="T2" fmla="*/ 1 w 1"/>
                    </a:gdLst>
                    <a:ahLst/>
                    <a:cxnLst>
                      <a:cxn ang="0">
                        <a:pos x="T0" y="0"/>
                      </a:cxn>
                      <a:cxn ang="0">
                        <a:pos x="T1" y="0"/>
                      </a:cxn>
                      <a:cxn ang="0">
                        <a:pos x="T2" y="0"/>
                      </a:cxn>
                    </a:cxnLst>
                    <a:rect l="0" t="0" r="r" b="b"/>
                    <a:pathLst>
                      <a:path w="1">
                        <a:moveTo>
                          <a:pt x="1" y="0"/>
                        </a:moveTo>
                        <a:cubicBezTo>
                          <a:pt x="1" y="0"/>
                          <a:pt x="1" y="0"/>
                          <a:pt x="0" y="0"/>
                        </a:cubicBezTo>
                        <a:cubicBezTo>
                          <a:pt x="1" y="0"/>
                          <a:pt x="1" y="0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49" name="Freeform 748"/>
                  <p:cNvSpPr>
                    <a:spLocks/>
                  </p:cNvSpPr>
                  <p:nvPr/>
                </p:nvSpPr>
                <p:spPr bwMode="auto">
                  <a:xfrm>
                    <a:off x="7264280" y="2687016"/>
                    <a:ext cx="0" cy="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50" name="Freeform 749"/>
                  <p:cNvSpPr>
                    <a:spLocks/>
                  </p:cNvSpPr>
                  <p:nvPr/>
                </p:nvSpPr>
                <p:spPr bwMode="auto">
                  <a:xfrm>
                    <a:off x="6977892" y="2683172"/>
                    <a:ext cx="0" cy="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51" name="Freeform 750"/>
                  <p:cNvSpPr>
                    <a:spLocks/>
                  </p:cNvSpPr>
                  <p:nvPr/>
                </p:nvSpPr>
                <p:spPr bwMode="auto">
                  <a:xfrm>
                    <a:off x="7271968" y="2706237"/>
                    <a:ext cx="0" cy="3844"/>
                  </a:xfrm>
                  <a:custGeom>
                    <a:avLst/>
                    <a:gdLst>
                      <a:gd name="T0" fmla="*/ 1 h 1"/>
                      <a:gd name="T1" fmla="*/ 0 h 1"/>
                      <a:gd name="T2" fmla="*/ 1 h 1"/>
                    </a:gdLst>
                    <a:ahLst/>
                    <a:cxnLst>
                      <a:cxn ang="0">
                        <a:pos x="0" y="T0"/>
                      </a:cxn>
                      <a:cxn ang="0">
                        <a:pos x="0" y="T1"/>
                      </a:cxn>
                      <a:cxn ang="0">
                        <a:pos x="0" y="T2"/>
                      </a:cxn>
                    </a:cxnLst>
                    <a:rect l="0" t="0" r="r" b="b"/>
                    <a:pathLst>
                      <a:path h="1">
                        <a:moveTo>
                          <a:pt x="0" y="1"/>
                        </a:moveTo>
                        <a:cubicBezTo>
                          <a:pt x="0" y="1"/>
                          <a:pt x="0" y="0"/>
                          <a:pt x="0" y="0"/>
                        </a:cubicBezTo>
                        <a:cubicBezTo>
                          <a:pt x="0" y="0"/>
                          <a:pt x="0" y="1"/>
                          <a:pt x="0" y="1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52" name="Freeform 751"/>
                  <p:cNvSpPr>
                    <a:spLocks/>
                  </p:cNvSpPr>
                  <p:nvPr/>
                </p:nvSpPr>
                <p:spPr bwMode="auto">
                  <a:xfrm>
                    <a:off x="7271968" y="2715848"/>
                    <a:ext cx="0" cy="3844"/>
                  </a:xfrm>
                  <a:custGeom>
                    <a:avLst/>
                    <a:gdLst>
                      <a:gd name="T0" fmla="*/ 1 h 1"/>
                      <a:gd name="T1" fmla="*/ 0 h 1"/>
                      <a:gd name="T2" fmla="*/ 1 h 1"/>
                    </a:gdLst>
                    <a:ahLst/>
                    <a:cxnLst>
                      <a:cxn ang="0">
                        <a:pos x="0" y="T0"/>
                      </a:cxn>
                      <a:cxn ang="0">
                        <a:pos x="0" y="T1"/>
                      </a:cxn>
                      <a:cxn ang="0">
                        <a:pos x="0" y="T2"/>
                      </a:cxn>
                    </a:cxnLst>
                    <a:rect l="0" t="0" r="r" b="b"/>
                    <a:pathLst>
                      <a:path h="1">
                        <a:moveTo>
                          <a:pt x="0" y="1"/>
                        </a:moveTo>
                        <a:cubicBezTo>
                          <a:pt x="0" y="1"/>
                          <a:pt x="0" y="0"/>
                          <a:pt x="0" y="0"/>
                        </a:cubicBezTo>
                        <a:cubicBezTo>
                          <a:pt x="0" y="0"/>
                          <a:pt x="0" y="1"/>
                          <a:pt x="0" y="1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53" name="Rectangle 752"/>
                  <p:cNvSpPr>
                    <a:spLocks noChangeArrowheads="1"/>
                  </p:cNvSpPr>
                  <p:nvPr/>
                </p:nvSpPr>
                <p:spPr bwMode="auto">
                  <a:xfrm>
                    <a:off x="7258513" y="2679328"/>
                    <a:ext cx="1923" cy="1921"/>
                  </a:xfrm>
                  <a:prstGeom prst="rect">
                    <a:avLst/>
                  </a:pr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54" name="Freeform 753"/>
                  <p:cNvSpPr>
                    <a:spLocks/>
                  </p:cNvSpPr>
                  <p:nvPr/>
                </p:nvSpPr>
                <p:spPr bwMode="auto">
                  <a:xfrm>
                    <a:off x="6968282" y="2710081"/>
                    <a:ext cx="3844" cy="0"/>
                  </a:xfrm>
                  <a:custGeom>
                    <a:avLst/>
                    <a:gdLst>
                      <a:gd name="T0" fmla="*/ 1 w 1"/>
                      <a:gd name="T1" fmla="*/ 0 w 1"/>
                      <a:gd name="T2" fmla="*/ 1 w 1"/>
                    </a:gdLst>
                    <a:ahLst/>
                    <a:cxnLst>
                      <a:cxn ang="0">
                        <a:pos x="T0" y="0"/>
                      </a:cxn>
                      <a:cxn ang="0">
                        <a:pos x="T1" y="0"/>
                      </a:cxn>
                      <a:cxn ang="0">
                        <a:pos x="T2" y="0"/>
                      </a:cxn>
                    </a:cxnLst>
                    <a:rect l="0" t="0" r="r" b="b"/>
                    <a:pathLst>
                      <a:path w="1">
                        <a:moveTo>
                          <a:pt x="1" y="0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0"/>
                          <a:pt x="0" y="0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55" name="Freeform 754"/>
                  <p:cNvSpPr>
                    <a:spLocks/>
                  </p:cNvSpPr>
                  <p:nvPr/>
                </p:nvSpPr>
                <p:spPr bwMode="auto">
                  <a:xfrm>
                    <a:off x="6972126" y="2696627"/>
                    <a:ext cx="0" cy="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56" name="Freeform 755"/>
                  <p:cNvSpPr>
                    <a:spLocks/>
                  </p:cNvSpPr>
                  <p:nvPr/>
                </p:nvSpPr>
                <p:spPr bwMode="auto">
                  <a:xfrm>
                    <a:off x="6977892" y="2692783"/>
                    <a:ext cx="0" cy="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57" name="Freeform 756"/>
                  <p:cNvSpPr>
                    <a:spLocks/>
                  </p:cNvSpPr>
                  <p:nvPr/>
                </p:nvSpPr>
                <p:spPr bwMode="auto">
                  <a:xfrm>
                    <a:off x="6972126" y="2700471"/>
                    <a:ext cx="0" cy="5766"/>
                  </a:xfrm>
                  <a:custGeom>
                    <a:avLst/>
                    <a:gdLst>
                      <a:gd name="T0" fmla="*/ 0 h 1"/>
                      <a:gd name="T1" fmla="*/ 1 h 1"/>
                      <a:gd name="T2" fmla="*/ 0 h 1"/>
                    </a:gdLst>
                    <a:ahLst/>
                    <a:cxnLst>
                      <a:cxn ang="0">
                        <a:pos x="0" y="T0"/>
                      </a:cxn>
                      <a:cxn ang="0">
                        <a:pos x="0" y="T1"/>
                      </a:cxn>
                      <a:cxn ang="0">
                        <a:pos x="0" y="T2"/>
                      </a:cxn>
                    </a:cxnLst>
                    <a:rect l="0" t="0" r="r" b="b"/>
                    <a:pathLst>
                      <a:path h="1">
                        <a:moveTo>
                          <a:pt x="0" y="0"/>
                        </a:moveTo>
                        <a:cubicBezTo>
                          <a:pt x="0" y="1"/>
                          <a:pt x="0" y="1"/>
                          <a:pt x="0" y="1"/>
                        </a:cubicBezTo>
                        <a:cubicBezTo>
                          <a:pt x="0" y="1"/>
                          <a:pt x="0" y="1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FD6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58" name="Freeform 757"/>
                  <p:cNvSpPr>
                    <a:spLocks/>
                  </p:cNvSpPr>
                  <p:nvPr/>
                </p:nvSpPr>
                <p:spPr bwMode="auto">
                  <a:xfrm>
                    <a:off x="6945218" y="2663952"/>
                    <a:ext cx="355582" cy="319062"/>
                  </a:xfrm>
                  <a:custGeom>
                    <a:avLst/>
                    <a:gdLst>
                      <a:gd name="T0" fmla="*/ 74 w 78"/>
                      <a:gd name="T1" fmla="*/ 17 h 70"/>
                      <a:gd name="T2" fmla="*/ 72 w 78"/>
                      <a:gd name="T3" fmla="*/ 17 h 70"/>
                      <a:gd name="T4" fmla="*/ 72 w 78"/>
                      <a:gd name="T5" fmla="*/ 12 h 70"/>
                      <a:gd name="T6" fmla="*/ 72 w 78"/>
                      <a:gd name="T7" fmla="*/ 11 h 70"/>
                      <a:gd name="T8" fmla="*/ 72 w 78"/>
                      <a:gd name="T9" fmla="*/ 10 h 70"/>
                      <a:gd name="T10" fmla="*/ 72 w 78"/>
                      <a:gd name="T11" fmla="*/ 9 h 70"/>
                      <a:gd name="T12" fmla="*/ 72 w 78"/>
                      <a:gd name="T13" fmla="*/ 9 h 70"/>
                      <a:gd name="T14" fmla="*/ 71 w 78"/>
                      <a:gd name="T15" fmla="*/ 8 h 70"/>
                      <a:gd name="T16" fmla="*/ 71 w 78"/>
                      <a:gd name="T17" fmla="*/ 7 h 70"/>
                      <a:gd name="T18" fmla="*/ 71 w 78"/>
                      <a:gd name="T19" fmla="*/ 7 h 70"/>
                      <a:gd name="T20" fmla="*/ 70 w 78"/>
                      <a:gd name="T21" fmla="*/ 5 h 70"/>
                      <a:gd name="T22" fmla="*/ 70 w 78"/>
                      <a:gd name="T23" fmla="*/ 5 h 70"/>
                      <a:gd name="T24" fmla="*/ 70 w 78"/>
                      <a:gd name="T25" fmla="*/ 4 h 70"/>
                      <a:gd name="T26" fmla="*/ 69 w 78"/>
                      <a:gd name="T27" fmla="*/ 4 h 70"/>
                      <a:gd name="T28" fmla="*/ 69 w 78"/>
                      <a:gd name="T29" fmla="*/ 3 h 70"/>
                      <a:gd name="T30" fmla="*/ 69 w 78"/>
                      <a:gd name="T31" fmla="*/ 3 h 70"/>
                      <a:gd name="T32" fmla="*/ 63 w 78"/>
                      <a:gd name="T33" fmla="*/ 3 h 70"/>
                      <a:gd name="T34" fmla="*/ 52 w 78"/>
                      <a:gd name="T35" fmla="*/ 1 h 70"/>
                      <a:gd name="T36" fmla="*/ 32 w 78"/>
                      <a:gd name="T37" fmla="*/ 3 h 70"/>
                      <a:gd name="T38" fmla="*/ 10 w 78"/>
                      <a:gd name="T39" fmla="*/ 0 h 70"/>
                      <a:gd name="T40" fmla="*/ 7 w 78"/>
                      <a:gd name="T41" fmla="*/ 4 h 70"/>
                      <a:gd name="T42" fmla="*/ 7 w 78"/>
                      <a:gd name="T43" fmla="*/ 4 h 70"/>
                      <a:gd name="T44" fmla="*/ 7 w 78"/>
                      <a:gd name="T45" fmla="*/ 6 h 70"/>
                      <a:gd name="T46" fmla="*/ 7 w 78"/>
                      <a:gd name="T47" fmla="*/ 6 h 70"/>
                      <a:gd name="T48" fmla="*/ 6 w 78"/>
                      <a:gd name="T49" fmla="*/ 7 h 70"/>
                      <a:gd name="T50" fmla="*/ 6 w 78"/>
                      <a:gd name="T51" fmla="*/ 7 h 70"/>
                      <a:gd name="T52" fmla="*/ 6 w 78"/>
                      <a:gd name="T53" fmla="*/ 8 h 70"/>
                      <a:gd name="T54" fmla="*/ 6 w 78"/>
                      <a:gd name="T55" fmla="*/ 9 h 70"/>
                      <a:gd name="T56" fmla="*/ 6 w 78"/>
                      <a:gd name="T57" fmla="*/ 10 h 70"/>
                      <a:gd name="T58" fmla="*/ 5 w 78"/>
                      <a:gd name="T59" fmla="*/ 10 h 70"/>
                      <a:gd name="T60" fmla="*/ 5 w 78"/>
                      <a:gd name="T61" fmla="*/ 12 h 70"/>
                      <a:gd name="T62" fmla="*/ 5 w 78"/>
                      <a:gd name="T63" fmla="*/ 17 h 70"/>
                      <a:gd name="T64" fmla="*/ 4 w 78"/>
                      <a:gd name="T65" fmla="*/ 17 h 70"/>
                      <a:gd name="T66" fmla="*/ 0 w 78"/>
                      <a:gd name="T67" fmla="*/ 23 h 70"/>
                      <a:gd name="T68" fmla="*/ 0 w 78"/>
                      <a:gd name="T69" fmla="*/ 35 h 70"/>
                      <a:gd name="T70" fmla="*/ 5 w 78"/>
                      <a:gd name="T71" fmla="*/ 40 h 70"/>
                      <a:gd name="T72" fmla="*/ 24 w 78"/>
                      <a:gd name="T73" fmla="*/ 70 h 70"/>
                      <a:gd name="T74" fmla="*/ 53 w 78"/>
                      <a:gd name="T75" fmla="*/ 70 h 70"/>
                      <a:gd name="T76" fmla="*/ 72 w 78"/>
                      <a:gd name="T77" fmla="*/ 40 h 70"/>
                      <a:gd name="T78" fmla="*/ 78 w 78"/>
                      <a:gd name="T79" fmla="*/ 35 h 70"/>
                      <a:gd name="T80" fmla="*/ 78 w 78"/>
                      <a:gd name="T81" fmla="*/ 23 h 70"/>
                      <a:gd name="T82" fmla="*/ 74 w 78"/>
                      <a:gd name="T83" fmla="*/ 17 h 7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</a:cxnLst>
                    <a:rect l="0" t="0" r="r" b="b"/>
                    <a:pathLst>
                      <a:path w="78" h="70">
                        <a:moveTo>
                          <a:pt x="74" y="17"/>
                        </a:moveTo>
                        <a:cubicBezTo>
                          <a:pt x="73" y="17"/>
                          <a:pt x="73" y="17"/>
                          <a:pt x="72" y="17"/>
                        </a:cubicBezTo>
                        <a:cubicBezTo>
                          <a:pt x="72" y="12"/>
                          <a:pt x="72" y="12"/>
                          <a:pt x="72" y="12"/>
                        </a:cubicBezTo>
                        <a:cubicBezTo>
                          <a:pt x="72" y="12"/>
                          <a:pt x="72" y="11"/>
                          <a:pt x="72" y="11"/>
                        </a:cubicBezTo>
                        <a:cubicBezTo>
                          <a:pt x="72" y="10"/>
                          <a:pt x="72" y="10"/>
                          <a:pt x="72" y="10"/>
                        </a:cubicBezTo>
                        <a:cubicBezTo>
                          <a:pt x="72" y="10"/>
                          <a:pt x="72" y="9"/>
                          <a:pt x="72" y="9"/>
                        </a:cubicBezTo>
                        <a:cubicBezTo>
                          <a:pt x="72" y="9"/>
                          <a:pt x="72" y="9"/>
                          <a:pt x="72" y="9"/>
                        </a:cubicBezTo>
                        <a:cubicBezTo>
                          <a:pt x="71" y="8"/>
                          <a:pt x="71" y="8"/>
                          <a:pt x="71" y="8"/>
                        </a:cubicBezTo>
                        <a:cubicBezTo>
                          <a:pt x="71" y="8"/>
                          <a:pt x="71" y="7"/>
                          <a:pt x="71" y="7"/>
                        </a:cubicBezTo>
                        <a:cubicBezTo>
                          <a:pt x="71" y="7"/>
                          <a:pt x="71" y="7"/>
                          <a:pt x="71" y="7"/>
                        </a:cubicBezTo>
                        <a:cubicBezTo>
                          <a:pt x="71" y="6"/>
                          <a:pt x="71" y="6"/>
                          <a:pt x="70" y="5"/>
                        </a:cubicBezTo>
                        <a:cubicBezTo>
                          <a:pt x="70" y="5"/>
                          <a:pt x="70" y="5"/>
                          <a:pt x="70" y="5"/>
                        </a:cubicBezTo>
                        <a:cubicBezTo>
                          <a:pt x="70" y="4"/>
                          <a:pt x="70" y="4"/>
                          <a:pt x="70" y="4"/>
                        </a:cubicBezTo>
                        <a:cubicBezTo>
                          <a:pt x="70" y="4"/>
                          <a:pt x="70" y="4"/>
                          <a:pt x="69" y="4"/>
                        </a:cubicBezTo>
                        <a:cubicBezTo>
                          <a:pt x="69" y="3"/>
                          <a:pt x="69" y="3"/>
                          <a:pt x="69" y="3"/>
                        </a:cubicBezTo>
                        <a:cubicBezTo>
                          <a:pt x="69" y="3"/>
                          <a:pt x="69" y="3"/>
                          <a:pt x="69" y="3"/>
                        </a:cubicBezTo>
                        <a:cubicBezTo>
                          <a:pt x="67" y="3"/>
                          <a:pt x="65" y="3"/>
                          <a:pt x="63" y="3"/>
                        </a:cubicBezTo>
                        <a:cubicBezTo>
                          <a:pt x="58" y="3"/>
                          <a:pt x="54" y="2"/>
                          <a:pt x="52" y="1"/>
                        </a:cubicBezTo>
                        <a:cubicBezTo>
                          <a:pt x="47" y="2"/>
                          <a:pt x="40" y="3"/>
                          <a:pt x="32" y="3"/>
                        </a:cubicBezTo>
                        <a:cubicBezTo>
                          <a:pt x="23" y="3"/>
                          <a:pt x="15" y="2"/>
                          <a:pt x="10" y="0"/>
                        </a:cubicBezTo>
                        <a:cubicBezTo>
                          <a:pt x="9" y="2"/>
                          <a:pt x="8" y="3"/>
                          <a:pt x="7" y="4"/>
                        </a:cubicBezTo>
                        <a:cubicBezTo>
                          <a:pt x="7" y="4"/>
                          <a:pt x="7" y="4"/>
                          <a:pt x="7" y="4"/>
                        </a:cubicBezTo>
                        <a:cubicBezTo>
                          <a:pt x="7" y="5"/>
                          <a:pt x="7" y="5"/>
                          <a:pt x="7" y="6"/>
                        </a:cubicBezTo>
                        <a:cubicBezTo>
                          <a:pt x="7" y="6"/>
                          <a:pt x="7" y="6"/>
                          <a:pt x="7" y="6"/>
                        </a:cubicBezTo>
                        <a:cubicBezTo>
                          <a:pt x="7" y="6"/>
                          <a:pt x="6" y="7"/>
                          <a:pt x="6" y="7"/>
                        </a:cubicBezTo>
                        <a:cubicBezTo>
                          <a:pt x="6" y="7"/>
                          <a:pt x="6" y="7"/>
                          <a:pt x="6" y="7"/>
                        </a:cubicBezTo>
                        <a:cubicBezTo>
                          <a:pt x="6" y="8"/>
                          <a:pt x="6" y="8"/>
                          <a:pt x="6" y="8"/>
                        </a:cubicBezTo>
                        <a:cubicBezTo>
                          <a:pt x="6" y="9"/>
                          <a:pt x="6" y="9"/>
                          <a:pt x="6" y="9"/>
                        </a:cubicBezTo>
                        <a:cubicBezTo>
                          <a:pt x="6" y="9"/>
                          <a:pt x="6" y="10"/>
                          <a:pt x="6" y="10"/>
                        </a:cubicBezTo>
                        <a:cubicBezTo>
                          <a:pt x="5" y="10"/>
                          <a:pt x="5" y="10"/>
                          <a:pt x="5" y="10"/>
                        </a:cubicBezTo>
                        <a:cubicBezTo>
                          <a:pt x="5" y="11"/>
                          <a:pt x="5" y="12"/>
                          <a:pt x="5" y="12"/>
                        </a:cubicBezTo>
                        <a:cubicBezTo>
                          <a:pt x="5" y="17"/>
                          <a:pt x="5" y="17"/>
                          <a:pt x="5" y="17"/>
                        </a:cubicBezTo>
                        <a:cubicBezTo>
                          <a:pt x="5" y="17"/>
                          <a:pt x="5" y="17"/>
                          <a:pt x="4" y="17"/>
                        </a:cubicBezTo>
                        <a:cubicBezTo>
                          <a:pt x="2" y="17"/>
                          <a:pt x="0" y="20"/>
                          <a:pt x="0" y="23"/>
                        </a:cubicBezTo>
                        <a:cubicBezTo>
                          <a:pt x="0" y="35"/>
                          <a:pt x="0" y="35"/>
                          <a:pt x="0" y="35"/>
                        </a:cubicBezTo>
                        <a:cubicBezTo>
                          <a:pt x="0" y="38"/>
                          <a:pt x="2" y="40"/>
                          <a:pt x="5" y="40"/>
                        </a:cubicBezTo>
                        <a:cubicBezTo>
                          <a:pt x="5" y="40"/>
                          <a:pt x="15" y="70"/>
                          <a:pt x="24" y="70"/>
                        </a:cubicBezTo>
                        <a:cubicBezTo>
                          <a:pt x="53" y="70"/>
                          <a:pt x="53" y="70"/>
                          <a:pt x="53" y="70"/>
                        </a:cubicBezTo>
                        <a:cubicBezTo>
                          <a:pt x="62" y="70"/>
                          <a:pt x="72" y="40"/>
                          <a:pt x="72" y="40"/>
                        </a:cubicBezTo>
                        <a:cubicBezTo>
                          <a:pt x="75" y="40"/>
                          <a:pt x="78" y="38"/>
                          <a:pt x="78" y="35"/>
                        </a:cubicBezTo>
                        <a:cubicBezTo>
                          <a:pt x="78" y="23"/>
                          <a:pt x="78" y="23"/>
                          <a:pt x="78" y="23"/>
                        </a:cubicBezTo>
                        <a:cubicBezTo>
                          <a:pt x="78" y="20"/>
                          <a:pt x="76" y="18"/>
                          <a:pt x="74" y="17"/>
                        </a:cubicBezTo>
                        <a:close/>
                      </a:path>
                    </a:pathLst>
                  </a:custGeom>
                  <a:solidFill>
                    <a:srgbClr val="FFB9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59" name="Rectangle 758"/>
                  <p:cNvSpPr>
                    <a:spLocks noChangeArrowheads="1"/>
                  </p:cNvSpPr>
                  <p:nvPr/>
                </p:nvSpPr>
                <p:spPr bwMode="auto">
                  <a:xfrm>
                    <a:off x="6845270" y="4053602"/>
                    <a:ext cx="555476" cy="36519"/>
                  </a:xfrm>
                  <a:prstGeom prst="rect">
                    <a:avLst/>
                  </a:pr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60" name="Rectangle 759"/>
                  <p:cNvSpPr>
                    <a:spLocks noChangeArrowheads="1"/>
                  </p:cNvSpPr>
                  <p:nvPr/>
                </p:nvSpPr>
                <p:spPr bwMode="auto">
                  <a:xfrm>
                    <a:off x="7072074" y="4053602"/>
                    <a:ext cx="99947" cy="36519"/>
                  </a:xfrm>
                  <a:prstGeom prst="rect">
                    <a:avLst/>
                  </a:pr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61" name="Oval 760"/>
                  <p:cNvSpPr>
                    <a:spLocks noChangeArrowheads="1"/>
                  </p:cNvSpPr>
                  <p:nvPr/>
                </p:nvSpPr>
                <p:spPr bwMode="auto">
                  <a:xfrm>
                    <a:off x="7114359" y="3129090"/>
                    <a:ext cx="17299" cy="19221"/>
                  </a:xfrm>
                  <a:prstGeom prst="ellipse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62" name="Oval 761"/>
                  <p:cNvSpPr>
                    <a:spLocks noChangeArrowheads="1"/>
                  </p:cNvSpPr>
                  <p:nvPr/>
                </p:nvSpPr>
                <p:spPr bwMode="auto">
                  <a:xfrm>
                    <a:off x="7114359" y="3192519"/>
                    <a:ext cx="17299" cy="13454"/>
                  </a:xfrm>
                  <a:prstGeom prst="ellipse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</p:grpSp>
          </p:grpSp>
        </p:grpSp>
      </p:grpSp>
    </p:spTree>
    <p:extLst>
      <p:ext uri="{BB962C8B-B14F-4D97-AF65-F5344CB8AC3E}">
        <p14:creationId xmlns:p14="http://schemas.microsoft.com/office/powerpoint/2010/main" val="3243338156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auto">
          <a:xfrm>
            <a:off x="4004877" y="762000"/>
            <a:ext cx="2903923" cy="1084977"/>
          </a:xfrm>
          <a:prstGeom prst="rect">
            <a:avLst/>
          </a:prstGeom>
          <a:solidFill>
            <a:sysClr val="window" lastClr="FFFFFF"/>
          </a:solidFill>
          <a:ln w="3175" cap="flat" cmpd="sng" algn="ctr">
            <a:solidFill>
              <a:sysClr val="window" lastClr="FFFFFF">
                <a:lumMod val="75000"/>
              </a:sys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="horz" wrap="square" lIns="137160" tIns="45707" rIns="137160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55132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10264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65397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220529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775661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330793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85926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441058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5084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Reduce or eliminate hardware costs and maintenance</a:t>
            </a:r>
          </a:p>
        </p:txBody>
      </p:sp>
      <p:sp>
        <p:nvSpPr>
          <p:cNvPr id="3" name="Rectangle 2"/>
          <p:cNvSpPr/>
          <p:nvPr/>
        </p:nvSpPr>
        <p:spPr bwMode="auto">
          <a:xfrm>
            <a:off x="4004877" y="1887706"/>
            <a:ext cx="2903923" cy="1084977"/>
          </a:xfrm>
          <a:prstGeom prst="rect">
            <a:avLst/>
          </a:prstGeom>
          <a:solidFill>
            <a:sysClr val="window" lastClr="FFFFFF"/>
          </a:solidFill>
          <a:ln w="3175" cap="flat" cmpd="sng" algn="ctr">
            <a:solidFill>
              <a:sysClr val="window" lastClr="FFFFFF">
                <a:lumMod val="75000"/>
              </a:sys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="horz" wrap="square" lIns="137160" tIns="45707" rIns="137160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55132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10264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65397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220529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775661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330793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85926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441058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5084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Get database portability across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</a:b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on–premise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and cloud with compatible virtualization</a:t>
            </a:r>
          </a:p>
        </p:txBody>
      </p:sp>
      <p:sp>
        <p:nvSpPr>
          <p:cNvPr id="4" name="Rectangle 3"/>
          <p:cNvSpPr/>
          <p:nvPr/>
        </p:nvSpPr>
        <p:spPr bwMode="auto">
          <a:xfrm>
            <a:off x="4004879" y="3013414"/>
            <a:ext cx="2903632" cy="1084977"/>
          </a:xfrm>
          <a:prstGeom prst="rect">
            <a:avLst/>
          </a:prstGeom>
          <a:solidFill>
            <a:sysClr val="window" lastClr="FFFFFF"/>
          </a:solidFill>
          <a:ln w="3175" cap="flat" cmpd="sng" algn="ctr">
            <a:solidFill>
              <a:sysClr val="window" lastClr="FFFFFF">
                <a:lumMod val="75000"/>
              </a:sys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="horz" wrap="square" lIns="137160" tIns="45707" rIns="137160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55132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10264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65397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220529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775661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330793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85926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441058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5084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No application changes required </a:t>
            </a: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– simply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virtualize and move</a:t>
            </a:r>
          </a:p>
        </p:txBody>
      </p:sp>
      <p:grpSp>
        <p:nvGrpSpPr>
          <p:cNvPr id="24" name="Group 23"/>
          <p:cNvGrpSpPr/>
          <p:nvPr/>
        </p:nvGrpSpPr>
        <p:grpSpPr>
          <a:xfrm>
            <a:off x="2857625" y="762000"/>
            <a:ext cx="1147252" cy="1084977"/>
            <a:chOff x="2857625" y="762000"/>
            <a:chExt cx="1147252" cy="1084977"/>
          </a:xfrm>
        </p:grpSpPr>
        <p:sp>
          <p:nvSpPr>
            <p:cNvPr id="5" name="Rectangle 4"/>
            <p:cNvSpPr/>
            <p:nvPr/>
          </p:nvSpPr>
          <p:spPr bwMode="auto">
            <a:xfrm>
              <a:off x="2857625" y="762000"/>
              <a:ext cx="1147252" cy="1084977"/>
            </a:xfrm>
            <a:prstGeom prst="rect">
              <a:avLst/>
            </a:prstGeom>
            <a:solidFill>
              <a:srgbClr val="009999"/>
            </a:solidFill>
            <a:ln w="317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93242" tIns="93242" rIns="93242" bIns="4662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5084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115742" y="852813"/>
              <a:ext cx="631019" cy="911354"/>
            </a:xfrm>
            <a:prstGeom prst="rect">
              <a:avLst/>
            </a:prstGeom>
            <a:solidFill>
              <a:srgbClr val="009999"/>
            </a:solidFill>
            <a:ln>
              <a:noFill/>
            </a:ln>
          </p:spPr>
        </p:pic>
      </p:grpSp>
      <p:grpSp>
        <p:nvGrpSpPr>
          <p:cNvPr id="26" name="Group 25"/>
          <p:cNvGrpSpPr/>
          <p:nvPr/>
        </p:nvGrpSpPr>
        <p:grpSpPr>
          <a:xfrm>
            <a:off x="2857625" y="3013414"/>
            <a:ext cx="1147252" cy="1084977"/>
            <a:chOff x="2857625" y="3013414"/>
            <a:chExt cx="1147252" cy="1084977"/>
          </a:xfrm>
        </p:grpSpPr>
        <p:sp>
          <p:nvSpPr>
            <p:cNvPr id="7" name="Rectangle 6"/>
            <p:cNvSpPr/>
            <p:nvPr/>
          </p:nvSpPr>
          <p:spPr bwMode="auto">
            <a:xfrm>
              <a:off x="2857625" y="3013414"/>
              <a:ext cx="1147252" cy="1084977"/>
            </a:xfrm>
            <a:prstGeom prst="rect">
              <a:avLst/>
            </a:prstGeom>
            <a:solidFill>
              <a:schemeClr val="tx2"/>
            </a:solidFill>
            <a:ln w="317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93242" tIns="93242" rIns="93242" bIns="4662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5084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907392" y="3060353"/>
              <a:ext cx="1057868" cy="1000481"/>
            </a:xfrm>
            <a:prstGeom prst="rect">
              <a:avLst/>
            </a:prstGeom>
            <a:ln>
              <a:noFill/>
            </a:ln>
          </p:spPr>
        </p:pic>
      </p:grpSp>
      <p:grpSp>
        <p:nvGrpSpPr>
          <p:cNvPr id="25" name="Group 24"/>
          <p:cNvGrpSpPr/>
          <p:nvPr/>
        </p:nvGrpSpPr>
        <p:grpSpPr>
          <a:xfrm>
            <a:off x="2857625" y="1887706"/>
            <a:ext cx="1147252" cy="1084977"/>
            <a:chOff x="2857625" y="1887706"/>
            <a:chExt cx="1147252" cy="1084977"/>
          </a:xfrm>
        </p:grpSpPr>
        <p:sp>
          <p:nvSpPr>
            <p:cNvPr id="6" name="Rectangle 5"/>
            <p:cNvSpPr/>
            <p:nvPr/>
          </p:nvSpPr>
          <p:spPr bwMode="auto">
            <a:xfrm>
              <a:off x="2857625" y="1887706"/>
              <a:ext cx="1147252" cy="1084977"/>
            </a:xfrm>
            <a:prstGeom prst="rect">
              <a:avLst/>
            </a:prstGeom>
            <a:solidFill>
              <a:schemeClr val="accent1"/>
            </a:solidFill>
            <a:ln w="317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93242" tIns="93242" rIns="93242" bIns="4662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5084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10" name="Group 9"/>
            <p:cNvGrpSpPr/>
            <p:nvPr/>
          </p:nvGrpSpPr>
          <p:grpSpPr>
            <a:xfrm>
              <a:off x="2894692" y="2133550"/>
              <a:ext cx="1081300" cy="593287"/>
              <a:chOff x="6114752" y="3563618"/>
              <a:chExt cx="1190924" cy="653266"/>
            </a:xfrm>
          </p:grpSpPr>
          <p:sp>
            <p:nvSpPr>
              <p:cNvPr id="11" name="Freeform 10"/>
              <p:cNvSpPr/>
              <p:nvPr/>
            </p:nvSpPr>
            <p:spPr bwMode="auto">
              <a:xfrm>
                <a:off x="6114752" y="3563618"/>
                <a:ext cx="1000650" cy="653266"/>
              </a:xfrm>
              <a:custGeom>
                <a:avLst/>
                <a:gdLst>
                  <a:gd name="connsiteX0" fmla="*/ 982980 w 2735580"/>
                  <a:gd name="connsiteY0" fmla="*/ 0 h 1775460"/>
                  <a:gd name="connsiteX1" fmla="*/ 2712720 w 2735580"/>
                  <a:gd name="connsiteY1" fmla="*/ 495300 h 1775460"/>
                  <a:gd name="connsiteX2" fmla="*/ 2735580 w 2735580"/>
                  <a:gd name="connsiteY2" fmla="*/ 1394460 h 1775460"/>
                  <a:gd name="connsiteX3" fmla="*/ 2164080 w 2735580"/>
                  <a:gd name="connsiteY3" fmla="*/ 1615440 h 1775460"/>
                  <a:gd name="connsiteX4" fmla="*/ 1356360 w 2735580"/>
                  <a:gd name="connsiteY4" fmla="*/ 1775460 h 1775460"/>
                  <a:gd name="connsiteX5" fmla="*/ 152400 w 2735580"/>
                  <a:gd name="connsiteY5" fmla="*/ 1485900 h 1775460"/>
                  <a:gd name="connsiteX6" fmla="*/ 0 w 2735580"/>
                  <a:gd name="connsiteY6" fmla="*/ 571500 h 1775460"/>
                  <a:gd name="connsiteX7" fmla="*/ 982980 w 2735580"/>
                  <a:gd name="connsiteY7" fmla="*/ 0 h 1775460"/>
                  <a:gd name="connsiteX0" fmla="*/ 982980 w 2735580"/>
                  <a:gd name="connsiteY0" fmla="*/ 198997 h 1974457"/>
                  <a:gd name="connsiteX1" fmla="*/ 2712720 w 2735580"/>
                  <a:gd name="connsiteY1" fmla="*/ 694297 h 1974457"/>
                  <a:gd name="connsiteX2" fmla="*/ 2735580 w 2735580"/>
                  <a:gd name="connsiteY2" fmla="*/ 1593457 h 1974457"/>
                  <a:gd name="connsiteX3" fmla="*/ 2164080 w 2735580"/>
                  <a:gd name="connsiteY3" fmla="*/ 1814437 h 1974457"/>
                  <a:gd name="connsiteX4" fmla="*/ 1356360 w 2735580"/>
                  <a:gd name="connsiteY4" fmla="*/ 1974457 h 1974457"/>
                  <a:gd name="connsiteX5" fmla="*/ 152400 w 2735580"/>
                  <a:gd name="connsiteY5" fmla="*/ 1684897 h 1974457"/>
                  <a:gd name="connsiteX6" fmla="*/ 0 w 2735580"/>
                  <a:gd name="connsiteY6" fmla="*/ 770497 h 1974457"/>
                  <a:gd name="connsiteX7" fmla="*/ 982980 w 2735580"/>
                  <a:gd name="connsiteY7" fmla="*/ 198997 h 1974457"/>
                  <a:gd name="connsiteX0" fmla="*/ 1028864 w 2781464"/>
                  <a:gd name="connsiteY0" fmla="*/ 211861 h 1987321"/>
                  <a:gd name="connsiteX1" fmla="*/ 2758604 w 2781464"/>
                  <a:gd name="connsiteY1" fmla="*/ 707161 h 1987321"/>
                  <a:gd name="connsiteX2" fmla="*/ 2781464 w 2781464"/>
                  <a:gd name="connsiteY2" fmla="*/ 1606321 h 1987321"/>
                  <a:gd name="connsiteX3" fmla="*/ 2209964 w 2781464"/>
                  <a:gd name="connsiteY3" fmla="*/ 1827301 h 1987321"/>
                  <a:gd name="connsiteX4" fmla="*/ 1402244 w 2781464"/>
                  <a:gd name="connsiteY4" fmla="*/ 1987321 h 1987321"/>
                  <a:gd name="connsiteX5" fmla="*/ 198284 w 2781464"/>
                  <a:gd name="connsiteY5" fmla="*/ 1697761 h 1987321"/>
                  <a:gd name="connsiteX6" fmla="*/ 45884 w 2781464"/>
                  <a:gd name="connsiteY6" fmla="*/ 783361 h 1987321"/>
                  <a:gd name="connsiteX7" fmla="*/ 1028864 w 2781464"/>
                  <a:gd name="connsiteY7" fmla="*/ 211861 h 1987321"/>
                  <a:gd name="connsiteX0" fmla="*/ 1022219 w 2774819"/>
                  <a:gd name="connsiteY0" fmla="*/ 215060 h 1990520"/>
                  <a:gd name="connsiteX1" fmla="*/ 2751959 w 2774819"/>
                  <a:gd name="connsiteY1" fmla="*/ 710360 h 1990520"/>
                  <a:gd name="connsiteX2" fmla="*/ 2774819 w 2774819"/>
                  <a:gd name="connsiteY2" fmla="*/ 1609520 h 1990520"/>
                  <a:gd name="connsiteX3" fmla="*/ 2203319 w 2774819"/>
                  <a:gd name="connsiteY3" fmla="*/ 1830500 h 1990520"/>
                  <a:gd name="connsiteX4" fmla="*/ 1395599 w 2774819"/>
                  <a:gd name="connsiteY4" fmla="*/ 1990520 h 1990520"/>
                  <a:gd name="connsiteX5" fmla="*/ 191639 w 2774819"/>
                  <a:gd name="connsiteY5" fmla="*/ 1700960 h 1990520"/>
                  <a:gd name="connsiteX6" fmla="*/ 39239 w 2774819"/>
                  <a:gd name="connsiteY6" fmla="*/ 786560 h 1990520"/>
                  <a:gd name="connsiteX7" fmla="*/ 1022219 w 2774819"/>
                  <a:gd name="connsiteY7" fmla="*/ 215060 h 1990520"/>
                  <a:gd name="connsiteX0" fmla="*/ 1034170 w 2786770"/>
                  <a:gd name="connsiteY0" fmla="*/ 230584 h 2006044"/>
                  <a:gd name="connsiteX1" fmla="*/ 2763910 w 2786770"/>
                  <a:gd name="connsiteY1" fmla="*/ 725884 h 2006044"/>
                  <a:gd name="connsiteX2" fmla="*/ 2786770 w 2786770"/>
                  <a:gd name="connsiteY2" fmla="*/ 1625044 h 2006044"/>
                  <a:gd name="connsiteX3" fmla="*/ 2215270 w 2786770"/>
                  <a:gd name="connsiteY3" fmla="*/ 1846024 h 2006044"/>
                  <a:gd name="connsiteX4" fmla="*/ 1407550 w 2786770"/>
                  <a:gd name="connsiteY4" fmla="*/ 2006044 h 2006044"/>
                  <a:gd name="connsiteX5" fmla="*/ 203590 w 2786770"/>
                  <a:gd name="connsiteY5" fmla="*/ 1716484 h 2006044"/>
                  <a:gd name="connsiteX6" fmla="*/ 51190 w 2786770"/>
                  <a:gd name="connsiteY6" fmla="*/ 802084 h 2006044"/>
                  <a:gd name="connsiteX7" fmla="*/ 1034170 w 2786770"/>
                  <a:gd name="connsiteY7" fmla="*/ 230584 h 2006044"/>
                  <a:gd name="connsiteX0" fmla="*/ 1033745 w 2786345"/>
                  <a:gd name="connsiteY0" fmla="*/ 204508 h 1979968"/>
                  <a:gd name="connsiteX1" fmla="*/ 2763485 w 2786345"/>
                  <a:gd name="connsiteY1" fmla="*/ 699808 h 1979968"/>
                  <a:gd name="connsiteX2" fmla="*/ 2786345 w 2786345"/>
                  <a:gd name="connsiteY2" fmla="*/ 1598968 h 1979968"/>
                  <a:gd name="connsiteX3" fmla="*/ 2214845 w 2786345"/>
                  <a:gd name="connsiteY3" fmla="*/ 1819948 h 1979968"/>
                  <a:gd name="connsiteX4" fmla="*/ 1407125 w 2786345"/>
                  <a:gd name="connsiteY4" fmla="*/ 1979968 h 1979968"/>
                  <a:gd name="connsiteX5" fmla="*/ 203165 w 2786345"/>
                  <a:gd name="connsiteY5" fmla="*/ 1690408 h 1979968"/>
                  <a:gd name="connsiteX6" fmla="*/ 50765 w 2786345"/>
                  <a:gd name="connsiteY6" fmla="*/ 776008 h 1979968"/>
                  <a:gd name="connsiteX7" fmla="*/ 1033745 w 2786345"/>
                  <a:gd name="connsiteY7" fmla="*/ 204508 h 1979968"/>
                  <a:gd name="connsiteX0" fmla="*/ 1435086 w 3187686"/>
                  <a:gd name="connsiteY0" fmla="*/ 204508 h 1979968"/>
                  <a:gd name="connsiteX1" fmla="*/ 3164826 w 3187686"/>
                  <a:gd name="connsiteY1" fmla="*/ 699808 h 1979968"/>
                  <a:gd name="connsiteX2" fmla="*/ 3187686 w 3187686"/>
                  <a:gd name="connsiteY2" fmla="*/ 1598968 h 1979968"/>
                  <a:gd name="connsiteX3" fmla="*/ 2616186 w 3187686"/>
                  <a:gd name="connsiteY3" fmla="*/ 1819948 h 1979968"/>
                  <a:gd name="connsiteX4" fmla="*/ 1808466 w 3187686"/>
                  <a:gd name="connsiteY4" fmla="*/ 1979968 h 1979968"/>
                  <a:gd name="connsiteX5" fmla="*/ 604506 w 3187686"/>
                  <a:gd name="connsiteY5" fmla="*/ 1690408 h 1979968"/>
                  <a:gd name="connsiteX6" fmla="*/ 452106 w 3187686"/>
                  <a:gd name="connsiteY6" fmla="*/ 776008 h 1979968"/>
                  <a:gd name="connsiteX7" fmla="*/ 1435086 w 3187686"/>
                  <a:gd name="connsiteY7" fmla="*/ 204508 h 1979968"/>
                  <a:gd name="connsiteX0" fmla="*/ 1558748 w 3311348"/>
                  <a:gd name="connsiteY0" fmla="*/ 204508 h 1979968"/>
                  <a:gd name="connsiteX1" fmla="*/ 3288488 w 3311348"/>
                  <a:gd name="connsiteY1" fmla="*/ 699808 h 1979968"/>
                  <a:gd name="connsiteX2" fmla="*/ 3311348 w 3311348"/>
                  <a:gd name="connsiteY2" fmla="*/ 1598968 h 1979968"/>
                  <a:gd name="connsiteX3" fmla="*/ 2739848 w 3311348"/>
                  <a:gd name="connsiteY3" fmla="*/ 1819948 h 1979968"/>
                  <a:gd name="connsiteX4" fmla="*/ 1932128 w 3311348"/>
                  <a:gd name="connsiteY4" fmla="*/ 1979968 h 1979968"/>
                  <a:gd name="connsiteX5" fmla="*/ 728168 w 3311348"/>
                  <a:gd name="connsiteY5" fmla="*/ 1690408 h 1979968"/>
                  <a:gd name="connsiteX6" fmla="*/ 575768 w 3311348"/>
                  <a:gd name="connsiteY6" fmla="*/ 776008 h 1979968"/>
                  <a:gd name="connsiteX7" fmla="*/ 1558748 w 3311348"/>
                  <a:gd name="connsiteY7" fmla="*/ 204508 h 1979968"/>
                  <a:gd name="connsiteX0" fmla="*/ 1525623 w 3278223"/>
                  <a:gd name="connsiteY0" fmla="*/ 204508 h 1979968"/>
                  <a:gd name="connsiteX1" fmla="*/ 3255363 w 3278223"/>
                  <a:gd name="connsiteY1" fmla="*/ 699808 h 1979968"/>
                  <a:gd name="connsiteX2" fmla="*/ 3278223 w 3278223"/>
                  <a:gd name="connsiteY2" fmla="*/ 1598968 h 1979968"/>
                  <a:gd name="connsiteX3" fmla="*/ 2706723 w 3278223"/>
                  <a:gd name="connsiteY3" fmla="*/ 1819948 h 1979968"/>
                  <a:gd name="connsiteX4" fmla="*/ 1899003 w 3278223"/>
                  <a:gd name="connsiteY4" fmla="*/ 1979968 h 1979968"/>
                  <a:gd name="connsiteX5" fmla="*/ 695043 w 3278223"/>
                  <a:gd name="connsiteY5" fmla="*/ 1690408 h 1979968"/>
                  <a:gd name="connsiteX6" fmla="*/ 542643 w 3278223"/>
                  <a:gd name="connsiteY6" fmla="*/ 776008 h 1979968"/>
                  <a:gd name="connsiteX7" fmla="*/ 1525623 w 3278223"/>
                  <a:gd name="connsiteY7" fmla="*/ 204508 h 1979968"/>
                  <a:gd name="connsiteX0" fmla="*/ 1472866 w 3225466"/>
                  <a:gd name="connsiteY0" fmla="*/ 204508 h 1979968"/>
                  <a:gd name="connsiteX1" fmla="*/ 3202606 w 3225466"/>
                  <a:gd name="connsiteY1" fmla="*/ 699808 h 1979968"/>
                  <a:gd name="connsiteX2" fmla="*/ 3225466 w 3225466"/>
                  <a:gd name="connsiteY2" fmla="*/ 1598968 h 1979968"/>
                  <a:gd name="connsiteX3" fmla="*/ 2653966 w 3225466"/>
                  <a:gd name="connsiteY3" fmla="*/ 1819948 h 1979968"/>
                  <a:gd name="connsiteX4" fmla="*/ 1846246 w 3225466"/>
                  <a:gd name="connsiteY4" fmla="*/ 1979968 h 1979968"/>
                  <a:gd name="connsiteX5" fmla="*/ 642286 w 3225466"/>
                  <a:gd name="connsiteY5" fmla="*/ 1690408 h 1979968"/>
                  <a:gd name="connsiteX6" fmla="*/ 489886 w 3225466"/>
                  <a:gd name="connsiteY6" fmla="*/ 776008 h 1979968"/>
                  <a:gd name="connsiteX7" fmla="*/ 1472866 w 3225466"/>
                  <a:gd name="connsiteY7" fmla="*/ 204508 h 1979968"/>
                  <a:gd name="connsiteX0" fmla="*/ 1523936 w 3276536"/>
                  <a:gd name="connsiteY0" fmla="*/ 204508 h 1979968"/>
                  <a:gd name="connsiteX1" fmla="*/ 3253676 w 3276536"/>
                  <a:gd name="connsiteY1" fmla="*/ 699808 h 1979968"/>
                  <a:gd name="connsiteX2" fmla="*/ 3276536 w 3276536"/>
                  <a:gd name="connsiteY2" fmla="*/ 1598968 h 1979968"/>
                  <a:gd name="connsiteX3" fmla="*/ 2705036 w 3276536"/>
                  <a:gd name="connsiteY3" fmla="*/ 1819948 h 1979968"/>
                  <a:gd name="connsiteX4" fmla="*/ 1897316 w 3276536"/>
                  <a:gd name="connsiteY4" fmla="*/ 1979968 h 1979968"/>
                  <a:gd name="connsiteX5" fmla="*/ 693356 w 3276536"/>
                  <a:gd name="connsiteY5" fmla="*/ 1690408 h 1979968"/>
                  <a:gd name="connsiteX6" fmla="*/ 540956 w 3276536"/>
                  <a:gd name="connsiteY6" fmla="*/ 776008 h 1979968"/>
                  <a:gd name="connsiteX7" fmla="*/ 1523936 w 3276536"/>
                  <a:gd name="connsiteY7" fmla="*/ 204508 h 1979968"/>
                  <a:gd name="connsiteX0" fmla="*/ 1523936 w 3276536"/>
                  <a:gd name="connsiteY0" fmla="*/ 204508 h 2211379"/>
                  <a:gd name="connsiteX1" fmla="*/ 3253676 w 3276536"/>
                  <a:gd name="connsiteY1" fmla="*/ 699808 h 2211379"/>
                  <a:gd name="connsiteX2" fmla="*/ 3276536 w 3276536"/>
                  <a:gd name="connsiteY2" fmla="*/ 1598968 h 2211379"/>
                  <a:gd name="connsiteX3" fmla="*/ 2705036 w 3276536"/>
                  <a:gd name="connsiteY3" fmla="*/ 1819948 h 2211379"/>
                  <a:gd name="connsiteX4" fmla="*/ 1897316 w 3276536"/>
                  <a:gd name="connsiteY4" fmla="*/ 1979968 h 2211379"/>
                  <a:gd name="connsiteX5" fmla="*/ 693356 w 3276536"/>
                  <a:gd name="connsiteY5" fmla="*/ 1690408 h 2211379"/>
                  <a:gd name="connsiteX6" fmla="*/ 540956 w 3276536"/>
                  <a:gd name="connsiteY6" fmla="*/ 776008 h 2211379"/>
                  <a:gd name="connsiteX7" fmla="*/ 1523936 w 3276536"/>
                  <a:gd name="connsiteY7" fmla="*/ 204508 h 2211379"/>
                  <a:gd name="connsiteX0" fmla="*/ 1523936 w 3276536"/>
                  <a:gd name="connsiteY0" fmla="*/ 204508 h 2307909"/>
                  <a:gd name="connsiteX1" fmla="*/ 3253676 w 3276536"/>
                  <a:gd name="connsiteY1" fmla="*/ 699808 h 2307909"/>
                  <a:gd name="connsiteX2" fmla="*/ 3276536 w 3276536"/>
                  <a:gd name="connsiteY2" fmla="*/ 1598968 h 2307909"/>
                  <a:gd name="connsiteX3" fmla="*/ 2705036 w 3276536"/>
                  <a:gd name="connsiteY3" fmla="*/ 1819948 h 2307909"/>
                  <a:gd name="connsiteX4" fmla="*/ 1897316 w 3276536"/>
                  <a:gd name="connsiteY4" fmla="*/ 1979968 h 2307909"/>
                  <a:gd name="connsiteX5" fmla="*/ 693356 w 3276536"/>
                  <a:gd name="connsiteY5" fmla="*/ 1690408 h 2307909"/>
                  <a:gd name="connsiteX6" fmla="*/ 540956 w 3276536"/>
                  <a:gd name="connsiteY6" fmla="*/ 776008 h 2307909"/>
                  <a:gd name="connsiteX7" fmla="*/ 1523936 w 3276536"/>
                  <a:gd name="connsiteY7" fmla="*/ 204508 h 2307909"/>
                  <a:gd name="connsiteX0" fmla="*/ 1523936 w 3276536"/>
                  <a:gd name="connsiteY0" fmla="*/ 204508 h 2218102"/>
                  <a:gd name="connsiteX1" fmla="*/ 3253676 w 3276536"/>
                  <a:gd name="connsiteY1" fmla="*/ 699808 h 2218102"/>
                  <a:gd name="connsiteX2" fmla="*/ 3276536 w 3276536"/>
                  <a:gd name="connsiteY2" fmla="*/ 1598968 h 2218102"/>
                  <a:gd name="connsiteX3" fmla="*/ 2705036 w 3276536"/>
                  <a:gd name="connsiteY3" fmla="*/ 1819948 h 2218102"/>
                  <a:gd name="connsiteX4" fmla="*/ 1897316 w 3276536"/>
                  <a:gd name="connsiteY4" fmla="*/ 1979968 h 2218102"/>
                  <a:gd name="connsiteX5" fmla="*/ 693356 w 3276536"/>
                  <a:gd name="connsiteY5" fmla="*/ 1690408 h 2218102"/>
                  <a:gd name="connsiteX6" fmla="*/ 540956 w 3276536"/>
                  <a:gd name="connsiteY6" fmla="*/ 776008 h 2218102"/>
                  <a:gd name="connsiteX7" fmla="*/ 1523936 w 3276536"/>
                  <a:gd name="connsiteY7" fmla="*/ 204508 h 2218102"/>
                  <a:gd name="connsiteX0" fmla="*/ 1523936 w 3276536"/>
                  <a:gd name="connsiteY0" fmla="*/ 204508 h 2244106"/>
                  <a:gd name="connsiteX1" fmla="*/ 3253676 w 3276536"/>
                  <a:gd name="connsiteY1" fmla="*/ 699808 h 2244106"/>
                  <a:gd name="connsiteX2" fmla="*/ 3276536 w 3276536"/>
                  <a:gd name="connsiteY2" fmla="*/ 1598968 h 2244106"/>
                  <a:gd name="connsiteX3" fmla="*/ 2705036 w 3276536"/>
                  <a:gd name="connsiteY3" fmla="*/ 1819948 h 2244106"/>
                  <a:gd name="connsiteX4" fmla="*/ 1897316 w 3276536"/>
                  <a:gd name="connsiteY4" fmla="*/ 1979968 h 2244106"/>
                  <a:gd name="connsiteX5" fmla="*/ 693356 w 3276536"/>
                  <a:gd name="connsiteY5" fmla="*/ 1690408 h 2244106"/>
                  <a:gd name="connsiteX6" fmla="*/ 540956 w 3276536"/>
                  <a:gd name="connsiteY6" fmla="*/ 776008 h 2244106"/>
                  <a:gd name="connsiteX7" fmla="*/ 1523936 w 3276536"/>
                  <a:gd name="connsiteY7" fmla="*/ 204508 h 2244106"/>
                  <a:gd name="connsiteX0" fmla="*/ 1523936 w 3276536"/>
                  <a:gd name="connsiteY0" fmla="*/ 204508 h 2244106"/>
                  <a:gd name="connsiteX1" fmla="*/ 3253676 w 3276536"/>
                  <a:gd name="connsiteY1" fmla="*/ 699808 h 2244106"/>
                  <a:gd name="connsiteX2" fmla="*/ 3276536 w 3276536"/>
                  <a:gd name="connsiteY2" fmla="*/ 1598968 h 2244106"/>
                  <a:gd name="connsiteX3" fmla="*/ 2705036 w 3276536"/>
                  <a:gd name="connsiteY3" fmla="*/ 1819948 h 2244106"/>
                  <a:gd name="connsiteX4" fmla="*/ 1897316 w 3276536"/>
                  <a:gd name="connsiteY4" fmla="*/ 1979968 h 2244106"/>
                  <a:gd name="connsiteX5" fmla="*/ 693356 w 3276536"/>
                  <a:gd name="connsiteY5" fmla="*/ 1690408 h 2244106"/>
                  <a:gd name="connsiteX6" fmla="*/ 540956 w 3276536"/>
                  <a:gd name="connsiteY6" fmla="*/ 776008 h 2244106"/>
                  <a:gd name="connsiteX7" fmla="*/ 1523936 w 3276536"/>
                  <a:gd name="connsiteY7" fmla="*/ 204508 h 2244106"/>
                  <a:gd name="connsiteX0" fmla="*/ 1523936 w 3276536"/>
                  <a:gd name="connsiteY0" fmla="*/ 204508 h 2244106"/>
                  <a:gd name="connsiteX1" fmla="*/ 3253676 w 3276536"/>
                  <a:gd name="connsiteY1" fmla="*/ 699808 h 2244106"/>
                  <a:gd name="connsiteX2" fmla="*/ 3276536 w 3276536"/>
                  <a:gd name="connsiteY2" fmla="*/ 1598968 h 2244106"/>
                  <a:gd name="connsiteX3" fmla="*/ 2705036 w 3276536"/>
                  <a:gd name="connsiteY3" fmla="*/ 1819948 h 2244106"/>
                  <a:gd name="connsiteX4" fmla="*/ 1897316 w 3276536"/>
                  <a:gd name="connsiteY4" fmla="*/ 1979968 h 2244106"/>
                  <a:gd name="connsiteX5" fmla="*/ 693356 w 3276536"/>
                  <a:gd name="connsiteY5" fmla="*/ 1690408 h 2244106"/>
                  <a:gd name="connsiteX6" fmla="*/ 540956 w 3276536"/>
                  <a:gd name="connsiteY6" fmla="*/ 776008 h 2244106"/>
                  <a:gd name="connsiteX7" fmla="*/ 1523936 w 3276536"/>
                  <a:gd name="connsiteY7" fmla="*/ 204508 h 2244106"/>
                  <a:gd name="connsiteX0" fmla="*/ 1523936 w 3276536"/>
                  <a:gd name="connsiteY0" fmla="*/ 204508 h 2244106"/>
                  <a:gd name="connsiteX1" fmla="*/ 3253676 w 3276536"/>
                  <a:gd name="connsiteY1" fmla="*/ 699808 h 2244106"/>
                  <a:gd name="connsiteX2" fmla="*/ 3276536 w 3276536"/>
                  <a:gd name="connsiteY2" fmla="*/ 1598968 h 2244106"/>
                  <a:gd name="connsiteX3" fmla="*/ 2705036 w 3276536"/>
                  <a:gd name="connsiteY3" fmla="*/ 1819948 h 2244106"/>
                  <a:gd name="connsiteX4" fmla="*/ 1897316 w 3276536"/>
                  <a:gd name="connsiteY4" fmla="*/ 1979968 h 2244106"/>
                  <a:gd name="connsiteX5" fmla="*/ 693356 w 3276536"/>
                  <a:gd name="connsiteY5" fmla="*/ 1690408 h 2244106"/>
                  <a:gd name="connsiteX6" fmla="*/ 540956 w 3276536"/>
                  <a:gd name="connsiteY6" fmla="*/ 776008 h 2244106"/>
                  <a:gd name="connsiteX7" fmla="*/ 1523936 w 3276536"/>
                  <a:gd name="connsiteY7" fmla="*/ 204508 h 2244106"/>
                  <a:gd name="connsiteX0" fmla="*/ 1523936 w 3276536"/>
                  <a:gd name="connsiteY0" fmla="*/ 204508 h 2244106"/>
                  <a:gd name="connsiteX1" fmla="*/ 3253676 w 3276536"/>
                  <a:gd name="connsiteY1" fmla="*/ 699808 h 2244106"/>
                  <a:gd name="connsiteX2" fmla="*/ 3276536 w 3276536"/>
                  <a:gd name="connsiteY2" fmla="*/ 1598968 h 2244106"/>
                  <a:gd name="connsiteX3" fmla="*/ 2705036 w 3276536"/>
                  <a:gd name="connsiteY3" fmla="*/ 1819948 h 2244106"/>
                  <a:gd name="connsiteX4" fmla="*/ 1897316 w 3276536"/>
                  <a:gd name="connsiteY4" fmla="*/ 1979968 h 2244106"/>
                  <a:gd name="connsiteX5" fmla="*/ 693356 w 3276536"/>
                  <a:gd name="connsiteY5" fmla="*/ 1690408 h 2244106"/>
                  <a:gd name="connsiteX6" fmla="*/ 540956 w 3276536"/>
                  <a:gd name="connsiteY6" fmla="*/ 776008 h 2244106"/>
                  <a:gd name="connsiteX7" fmla="*/ 1523936 w 3276536"/>
                  <a:gd name="connsiteY7" fmla="*/ 204508 h 2244106"/>
                  <a:gd name="connsiteX0" fmla="*/ 1523936 w 3276536"/>
                  <a:gd name="connsiteY0" fmla="*/ 204508 h 2244106"/>
                  <a:gd name="connsiteX1" fmla="*/ 3253676 w 3276536"/>
                  <a:gd name="connsiteY1" fmla="*/ 699808 h 2244106"/>
                  <a:gd name="connsiteX2" fmla="*/ 3276536 w 3276536"/>
                  <a:gd name="connsiteY2" fmla="*/ 1598968 h 2244106"/>
                  <a:gd name="connsiteX3" fmla="*/ 2705036 w 3276536"/>
                  <a:gd name="connsiteY3" fmla="*/ 1819948 h 2244106"/>
                  <a:gd name="connsiteX4" fmla="*/ 1897316 w 3276536"/>
                  <a:gd name="connsiteY4" fmla="*/ 1979968 h 2244106"/>
                  <a:gd name="connsiteX5" fmla="*/ 693356 w 3276536"/>
                  <a:gd name="connsiteY5" fmla="*/ 1690408 h 2244106"/>
                  <a:gd name="connsiteX6" fmla="*/ 540956 w 3276536"/>
                  <a:gd name="connsiteY6" fmla="*/ 776008 h 2244106"/>
                  <a:gd name="connsiteX7" fmla="*/ 1523936 w 3276536"/>
                  <a:gd name="connsiteY7" fmla="*/ 204508 h 2244106"/>
                  <a:gd name="connsiteX0" fmla="*/ 1523936 w 3276536"/>
                  <a:gd name="connsiteY0" fmla="*/ 204508 h 2244106"/>
                  <a:gd name="connsiteX1" fmla="*/ 3253676 w 3276536"/>
                  <a:gd name="connsiteY1" fmla="*/ 699808 h 2244106"/>
                  <a:gd name="connsiteX2" fmla="*/ 3276536 w 3276536"/>
                  <a:gd name="connsiteY2" fmla="*/ 1598968 h 2244106"/>
                  <a:gd name="connsiteX3" fmla="*/ 2705036 w 3276536"/>
                  <a:gd name="connsiteY3" fmla="*/ 1819948 h 2244106"/>
                  <a:gd name="connsiteX4" fmla="*/ 1897316 w 3276536"/>
                  <a:gd name="connsiteY4" fmla="*/ 1979968 h 2244106"/>
                  <a:gd name="connsiteX5" fmla="*/ 693356 w 3276536"/>
                  <a:gd name="connsiteY5" fmla="*/ 1690408 h 2244106"/>
                  <a:gd name="connsiteX6" fmla="*/ 540956 w 3276536"/>
                  <a:gd name="connsiteY6" fmla="*/ 776008 h 2244106"/>
                  <a:gd name="connsiteX7" fmla="*/ 1523936 w 3276536"/>
                  <a:gd name="connsiteY7" fmla="*/ 204508 h 2244106"/>
                  <a:gd name="connsiteX0" fmla="*/ 1523936 w 3276536"/>
                  <a:gd name="connsiteY0" fmla="*/ 204508 h 2244106"/>
                  <a:gd name="connsiteX1" fmla="*/ 3253676 w 3276536"/>
                  <a:gd name="connsiteY1" fmla="*/ 699808 h 2244106"/>
                  <a:gd name="connsiteX2" fmla="*/ 3276536 w 3276536"/>
                  <a:gd name="connsiteY2" fmla="*/ 1598968 h 2244106"/>
                  <a:gd name="connsiteX3" fmla="*/ 2705036 w 3276536"/>
                  <a:gd name="connsiteY3" fmla="*/ 1819948 h 2244106"/>
                  <a:gd name="connsiteX4" fmla="*/ 1897316 w 3276536"/>
                  <a:gd name="connsiteY4" fmla="*/ 1979968 h 2244106"/>
                  <a:gd name="connsiteX5" fmla="*/ 693356 w 3276536"/>
                  <a:gd name="connsiteY5" fmla="*/ 1690408 h 2244106"/>
                  <a:gd name="connsiteX6" fmla="*/ 540956 w 3276536"/>
                  <a:gd name="connsiteY6" fmla="*/ 776008 h 2244106"/>
                  <a:gd name="connsiteX7" fmla="*/ 1523936 w 3276536"/>
                  <a:gd name="connsiteY7" fmla="*/ 204508 h 2244106"/>
                  <a:gd name="connsiteX0" fmla="*/ 1523936 w 3276536"/>
                  <a:gd name="connsiteY0" fmla="*/ 204508 h 2244106"/>
                  <a:gd name="connsiteX1" fmla="*/ 3253676 w 3276536"/>
                  <a:gd name="connsiteY1" fmla="*/ 699808 h 2244106"/>
                  <a:gd name="connsiteX2" fmla="*/ 3276536 w 3276536"/>
                  <a:gd name="connsiteY2" fmla="*/ 1598968 h 2244106"/>
                  <a:gd name="connsiteX3" fmla="*/ 2705036 w 3276536"/>
                  <a:gd name="connsiteY3" fmla="*/ 1819948 h 2244106"/>
                  <a:gd name="connsiteX4" fmla="*/ 1897316 w 3276536"/>
                  <a:gd name="connsiteY4" fmla="*/ 1979968 h 2244106"/>
                  <a:gd name="connsiteX5" fmla="*/ 693356 w 3276536"/>
                  <a:gd name="connsiteY5" fmla="*/ 1690408 h 2244106"/>
                  <a:gd name="connsiteX6" fmla="*/ 540956 w 3276536"/>
                  <a:gd name="connsiteY6" fmla="*/ 776008 h 2244106"/>
                  <a:gd name="connsiteX7" fmla="*/ 1523936 w 3276536"/>
                  <a:gd name="connsiteY7" fmla="*/ 204508 h 2244106"/>
                  <a:gd name="connsiteX0" fmla="*/ 1523936 w 3661818"/>
                  <a:gd name="connsiteY0" fmla="*/ 204508 h 2244106"/>
                  <a:gd name="connsiteX1" fmla="*/ 3253676 w 3661818"/>
                  <a:gd name="connsiteY1" fmla="*/ 699808 h 2244106"/>
                  <a:gd name="connsiteX2" fmla="*/ 3276536 w 3661818"/>
                  <a:gd name="connsiteY2" fmla="*/ 1598968 h 2244106"/>
                  <a:gd name="connsiteX3" fmla="*/ 2705036 w 3661818"/>
                  <a:gd name="connsiteY3" fmla="*/ 1819948 h 2244106"/>
                  <a:gd name="connsiteX4" fmla="*/ 1897316 w 3661818"/>
                  <a:gd name="connsiteY4" fmla="*/ 1979968 h 2244106"/>
                  <a:gd name="connsiteX5" fmla="*/ 693356 w 3661818"/>
                  <a:gd name="connsiteY5" fmla="*/ 1690408 h 2244106"/>
                  <a:gd name="connsiteX6" fmla="*/ 540956 w 3661818"/>
                  <a:gd name="connsiteY6" fmla="*/ 776008 h 2244106"/>
                  <a:gd name="connsiteX7" fmla="*/ 1523936 w 3661818"/>
                  <a:gd name="connsiteY7" fmla="*/ 204508 h 2244106"/>
                  <a:gd name="connsiteX0" fmla="*/ 1523936 w 3880928"/>
                  <a:gd name="connsiteY0" fmla="*/ 204508 h 2244106"/>
                  <a:gd name="connsiteX1" fmla="*/ 3253676 w 3880928"/>
                  <a:gd name="connsiteY1" fmla="*/ 699808 h 2244106"/>
                  <a:gd name="connsiteX2" fmla="*/ 3276536 w 3880928"/>
                  <a:gd name="connsiteY2" fmla="*/ 1598968 h 2244106"/>
                  <a:gd name="connsiteX3" fmla="*/ 2705036 w 3880928"/>
                  <a:gd name="connsiteY3" fmla="*/ 1819948 h 2244106"/>
                  <a:gd name="connsiteX4" fmla="*/ 1897316 w 3880928"/>
                  <a:gd name="connsiteY4" fmla="*/ 1979968 h 2244106"/>
                  <a:gd name="connsiteX5" fmla="*/ 693356 w 3880928"/>
                  <a:gd name="connsiteY5" fmla="*/ 1690408 h 2244106"/>
                  <a:gd name="connsiteX6" fmla="*/ 540956 w 3880928"/>
                  <a:gd name="connsiteY6" fmla="*/ 776008 h 2244106"/>
                  <a:gd name="connsiteX7" fmla="*/ 1523936 w 3880928"/>
                  <a:gd name="connsiteY7" fmla="*/ 204508 h 2244106"/>
                  <a:gd name="connsiteX0" fmla="*/ 1523936 w 3880928"/>
                  <a:gd name="connsiteY0" fmla="*/ 204508 h 2244106"/>
                  <a:gd name="connsiteX1" fmla="*/ 3253676 w 3880928"/>
                  <a:gd name="connsiteY1" fmla="*/ 699808 h 2244106"/>
                  <a:gd name="connsiteX2" fmla="*/ 3276536 w 3880928"/>
                  <a:gd name="connsiteY2" fmla="*/ 1598968 h 2244106"/>
                  <a:gd name="connsiteX3" fmla="*/ 2705036 w 3880928"/>
                  <a:gd name="connsiteY3" fmla="*/ 1819948 h 2244106"/>
                  <a:gd name="connsiteX4" fmla="*/ 1897316 w 3880928"/>
                  <a:gd name="connsiteY4" fmla="*/ 1979968 h 2244106"/>
                  <a:gd name="connsiteX5" fmla="*/ 693356 w 3880928"/>
                  <a:gd name="connsiteY5" fmla="*/ 1690408 h 2244106"/>
                  <a:gd name="connsiteX6" fmla="*/ 540956 w 3880928"/>
                  <a:gd name="connsiteY6" fmla="*/ 776008 h 2244106"/>
                  <a:gd name="connsiteX7" fmla="*/ 1523936 w 3880928"/>
                  <a:gd name="connsiteY7" fmla="*/ 204508 h 2244106"/>
                  <a:gd name="connsiteX0" fmla="*/ 1523936 w 3880928"/>
                  <a:gd name="connsiteY0" fmla="*/ 494034 h 2533632"/>
                  <a:gd name="connsiteX1" fmla="*/ 3253676 w 3880928"/>
                  <a:gd name="connsiteY1" fmla="*/ 989334 h 2533632"/>
                  <a:gd name="connsiteX2" fmla="*/ 3276536 w 3880928"/>
                  <a:gd name="connsiteY2" fmla="*/ 1888494 h 2533632"/>
                  <a:gd name="connsiteX3" fmla="*/ 2705036 w 3880928"/>
                  <a:gd name="connsiteY3" fmla="*/ 2109474 h 2533632"/>
                  <a:gd name="connsiteX4" fmla="*/ 1897316 w 3880928"/>
                  <a:gd name="connsiteY4" fmla="*/ 2269494 h 2533632"/>
                  <a:gd name="connsiteX5" fmla="*/ 693356 w 3880928"/>
                  <a:gd name="connsiteY5" fmla="*/ 1979934 h 2533632"/>
                  <a:gd name="connsiteX6" fmla="*/ 540956 w 3880928"/>
                  <a:gd name="connsiteY6" fmla="*/ 1065534 h 2533632"/>
                  <a:gd name="connsiteX7" fmla="*/ 1523936 w 3880928"/>
                  <a:gd name="connsiteY7" fmla="*/ 494034 h 2533632"/>
                  <a:gd name="connsiteX0" fmla="*/ 1523936 w 3880928"/>
                  <a:gd name="connsiteY0" fmla="*/ 494034 h 2533632"/>
                  <a:gd name="connsiteX1" fmla="*/ 3253676 w 3880928"/>
                  <a:gd name="connsiteY1" fmla="*/ 989334 h 2533632"/>
                  <a:gd name="connsiteX2" fmla="*/ 3276536 w 3880928"/>
                  <a:gd name="connsiteY2" fmla="*/ 1888494 h 2533632"/>
                  <a:gd name="connsiteX3" fmla="*/ 2705036 w 3880928"/>
                  <a:gd name="connsiteY3" fmla="*/ 2109474 h 2533632"/>
                  <a:gd name="connsiteX4" fmla="*/ 1897316 w 3880928"/>
                  <a:gd name="connsiteY4" fmla="*/ 2269494 h 2533632"/>
                  <a:gd name="connsiteX5" fmla="*/ 693356 w 3880928"/>
                  <a:gd name="connsiteY5" fmla="*/ 1979934 h 2533632"/>
                  <a:gd name="connsiteX6" fmla="*/ 540956 w 3880928"/>
                  <a:gd name="connsiteY6" fmla="*/ 1065534 h 2533632"/>
                  <a:gd name="connsiteX7" fmla="*/ 1523936 w 3880928"/>
                  <a:gd name="connsiteY7" fmla="*/ 494034 h 25336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80928" h="2533632">
                    <a:moveTo>
                      <a:pt x="1523936" y="494034"/>
                    </a:moveTo>
                    <a:cubicBezTo>
                      <a:pt x="2062416" y="-430526"/>
                      <a:pt x="3332416" y="62234"/>
                      <a:pt x="3253676" y="989334"/>
                    </a:cubicBezTo>
                    <a:cubicBezTo>
                      <a:pt x="4015676" y="778514"/>
                      <a:pt x="4152836" y="1985014"/>
                      <a:pt x="3276536" y="1888494"/>
                    </a:cubicBezTo>
                    <a:cubicBezTo>
                      <a:pt x="3223196" y="2099314"/>
                      <a:pt x="3002216" y="2302514"/>
                      <a:pt x="2705036" y="2109474"/>
                    </a:cubicBezTo>
                    <a:cubicBezTo>
                      <a:pt x="2611056" y="2353314"/>
                      <a:pt x="2296096" y="2642874"/>
                      <a:pt x="1897316" y="2269494"/>
                    </a:cubicBezTo>
                    <a:cubicBezTo>
                      <a:pt x="1739836" y="2553974"/>
                      <a:pt x="927036" y="2785114"/>
                      <a:pt x="693356" y="1979934"/>
                    </a:cubicBezTo>
                    <a:cubicBezTo>
                      <a:pt x="-43244" y="2299974"/>
                      <a:pt x="-337884" y="1057914"/>
                      <a:pt x="540956" y="1065534"/>
                    </a:cubicBezTo>
                    <a:cubicBezTo>
                      <a:pt x="304736" y="669294"/>
                      <a:pt x="937196" y="-69846"/>
                      <a:pt x="1523936" y="494034"/>
                    </a:cubicBezTo>
                    <a:close/>
                  </a:path>
                </a:pathLst>
              </a:custGeom>
              <a:solidFill>
                <a:sysClr val="window" lastClr="FFFFFF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="horz" wrap="square" lIns="93260" tIns="46630" rIns="46630" bIns="9326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107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12" name="Group 11"/>
              <p:cNvGrpSpPr/>
              <p:nvPr/>
            </p:nvGrpSpPr>
            <p:grpSpPr>
              <a:xfrm>
                <a:off x="6751123" y="3660153"/>
                <a:ext cx="554553" cy="500272"/>
                <a:chOff x="4764884" y="1854681"/>
                <a:chExt cx="913128" cy="823748"/>
              </a:xfrm>
              <a:solidFill>
                <a:sysClr val="window" lastClr="FFFFFF"/>
              </a:solidFill>
            </p:grpSpPr>
            <p:sp>
              <p:nvSpPr>
                <p:cNvPr id="13" name="Freeform 12"/>
                <p:cNvSpPr/>
                <p:nvPr/>
              </p:nvSpPr>
              <p:spPr bwMode="auto">
                <a:xfrm>
                  <a:off x="4764884" y="1854681"/>
                  <a:ext cx="913128" cy="823748"/>
                </a:xfrm>
                <a:custGeom>
                  <a:avLst/>
                  <a:gdLst>
                    <a:gd name="connsiteX0" fmla="*/ 7144 w 1352550"/>
                    <a:gd name="connsiteY0" fmla="*/ 54769 h 1064419"/>
                    <a:gd name="connsiteX1" fmla="*/ 381000 w 1352550"/>
                    <a:gd name="connsiteY1" fmla="*/ 0 h 1064419"/>
                    <a:gd name="connsiteX2" fmla="*/ 1352550 w 1352550"/>
                    <a:gd name="connsiteY2" fmla="*/ 328613 h 1064419"/>
                    <a:gd name="connsiteX3" fmla="*/ 1345407 w 1352550"/>
                    <a:gd name="connsiteY3" fmla="*/ 676275 h 1064419"/>
                    <a:gd name="connsiteX4" fmla="*/ 371475 w 1352550"/>
                    <a:gd name="connsiteY4" fmla="*/ 1064419 h 1064419"/>
                    <a:gd name="connsiteX5" fmla="*/ 0 w 1352550"/>
                    <a:gd name="connsiteY5" fmla="*/ 992981 h 1064419"/>
                    <a:gd name="connsiteX6" fmla="*/ 7144 w 1352550"/>
                    <a:gd name="connsiteY6" fmla="*/ 54769 h 1064419"/>
                    <a:gd name="connsiteX0" fmla="*/ 7144 w 1352550"/>
                    <a:gd name="connsiteY0" fmla="*/ 43588 h 1053238"/>
                    <a:gd name="connsiteX1" fmla="*/ 416928 w 1352550"/>
                    <a:gd name="connsiteY1" fmla="*/ 0 h 1053238"/>
                    <a:gd name="connsiteX2" fmla="*/ 1352550 w 1352550"/>
                    <a:gd name="connsiteY2" fmla="*/ 317432 h 1053238"/>
                    <a:gd name="connsiteX3" fmla="*/ 1345407 w 1352550"/>
                    <a:gd name="connsiteY3" fmla="*/ 665094 h 1053238"/>
                    <a:gd name="connsiteX4" fmla="*/ 371475 w 1352550"/>
                    <a:gd name="connsiteY4" fmla="*/ 1053238 h 1053238"/>
                    <a:gd name="connsiteX5" fmla="*/ 0 w 1352550"/>
                    <a:gd name="connsiteY5" fmla="*/ 981800 h 1053238"/>
                    <a:gd name="connsiteX6" fmla="*/ 7144 w 1352550"/>
                    <a:gd name="connsiteY6" fmla="*/ 43588 h 1053238"/>
                    <a:gd name="connsiteX0" fmla="*/ 37940 w 1352550"/>
                    <a:gd name="connsiteY0" fmla="*/ 65949 h 1053238"/>
                    <a:gd name="connsiteX1" fmla="*/ 416928 w 1352550"/>
                    <a:gd name="connsiteY1" fmla="*/ 0 h 1053238"/>
                    <a:gd name="connsiteX2" fmla="*/ 1352550 w 1352550"/>
                    <a:gd name="connsiteY2" fmla="*/ 317432 h 1053238"/>
                    <a:gd name="connsiteX3" fmla="*/ 1345407 w 1352550"/>
                    <a:gd name="connsiteY3" fmla="*/ 665094 h 1053238"/>
                    <a:gd name="connsiteX4" fmla="*/ 371475 w 1352550"/>
                    <a:gd name="connsiteY4" fmla="*/ 1053238 h 1053238"/>
                    <a:gd name="connsiteX5" fmla="*/ 0 w 1352550"/>
                    <a:gd name="connsiteY5" fmla="*/ 981800 h 1053238"/>
                    <a:gd name="connsiteX6" fmla="*/ 37940 w 1352550"/>
                    <a:gd name="connsiteY6" fmla="*/ 65949 h 1053238"/>
                    <a:gd name="connsiteX0" fmla="*/ 720 w 1315330"/>
                    <a:gd name="connsiteY0" fmla="*/ 65949 h 1053238"/>
                    <a:gd name="connsiteX1" fmla="*/ 379708 w 1315330"/>
                    <a:gd name="connsiteY1" fmla="*/ 0 h 1053238"/>
                    <a:gd name="connsiteX2" fmla="*/ 1315330 w 1315330"/>
                    <a:gd name="connsiteY2" fmla="*/ 317432 h 1053238"/>
                    <a:gd name="connsiteX3" fmla="*/ 1308187 w 1315330"/>
                    <a:gd name="connsiteY3" fmla="*/ 665094 h 1053238"/>
                    <a:gd name="connsiteX4" fmla="*/ 334255 w 1315330"/>
                    <a:gd name="connsiteY4" fmla="*/ 1053238 h 1053238"/>
                    <a:gd name="connsiteX5" fmla="*/ 8975 w 1315330"/>
                    <a:gd name="connsiteY5" fmla="*/ 950494 h 1053238"/>
                    <a:gd name="connsiteX6" fmla="*/ 720 w 1315330"/>
                    <a:gd name="connsiteY6" fmla="*/ 65949 h 1053238"/>
                    <a:gd name="connsiteX0" fmla="*/ 720 w 1315330"/>
                    <a:gd name="connsiteY0" fmla="*/ 65949 h 1004042"/>
                    <a:gd name="connsiteX1" fmla="*/ 379708 w 1315330"/>
                    <a:gd name="connsiteY1" fmla="*/ 0 h 1004042"/>
                    <a:gd name="connsiteX2" fmla="*/ 1315330 w 1315330"/>
                    <a:gd name="connsiteY2" fmla="*/ 317432 h 1004042"/>
                    <a:gd name="connsiteX3" fmla="*/ 1308187 w 1315330"/>
                    <a:gd name="connsiteY3" fmla="*/ 665094 h 1004042"/>
                    <a:gd name="connsiteX4" fmla="*/ 372750 w 1315330"/>
                    <a:gd name="connsiteY4" fmla="*/ 1004042 h 1004042"/>
                    <a:gd name="connsiteX5" fmla="*/ 8975 w 1315330"/>
                    <a:gd name="connsiteY5" fmla="*/ 950494 h 1004042"/>
                    <a:gd name="connsiteX6" fmla="*/ 720 w 1315330"/>
                    <a:gd name="connsiteY6" fmla="*/ 65949 h 1004042"/>
                    <a:gd name="connsiteX0" fmla="*/ 720 w 1323584"/>
                    <a:gd name="connsiteY0" fmla="*/ 65949 h 1004042"/>
                    <a:gd name="connsiteX1" fmla="*/ 379708 w 1323584"/>
                    <a:gd name="connsiteY1" fmla="*/ 0 h 1004042"/>
                    <a:gd name="connsiteX2" fmla="*/ 1315330 w 1323584"/>
                    <a:gd name="connsiteY2" fmla="*/ 317432 h 1004042"/>
                    <a:gd name="connsiteX3" fmla="*/ 1323584 w 1323584"/>
                    <a:gd name="connsiteY3" fmla="*/ 680746 h 1004042"/>
                    <a:gd name="connsiteX4" fmla="*/ 372750 w 1323584"/>
                    <a:gd name="connsiteY4" fmla="*/ 1004042 h 1004042"/>
                    <a:gd name="connsiteX5" fmla="*/ 8975 w 1323584"/>
                    <a:gd name="connsiteY5" fmla="*/ 950494 h 1004042"/>
                    <a:gd name="connsiteX6" fmla="*/ 720 w 1323584"/>
                    <a:gd name="connsiteY6" fmla="*/ 65949 h 1004042"/>
                    <a:gd name="connsiteX0" fmla="*/ 720 w 1315330"/>
                    <a:gd name="connsiteY0" fmla="*/ 65949 h 1004042"/>
                    <a:gd name="connsiteX1" fmla="*/ 379708 w 1315330"/>
                    <a:gd name="connsiteY1" fmla="*/ 0 h 1004042"/>
                    <a:gd name="connsiteX2" fmla="*/ 1315330 w 1315330"/>
                    <a:gd name="connsiteY2" fmla="*/ 317432 h 1004042"/>
                    <a:gd name="connsiteX3" fmla="*/ 1287655 w 1315330"/>
                    <a:gd name="connsiteY3" fmla="*/ 689691 h 1004042"/>
                    <a:gd name="connsiteX4" fmla="*/ 372750 w 1315330"/>
                    <a:gd name="connsiteY4" fmla="*/ 1004042 h 1004042"/>
                    <a:gd name="connsiteX5" fmla="*/ 8975 w 1315330"/>
                    <a:gd name="connsiteY5" fmla="*/ 950494 h 1004042"/>
                    <a:gd name="connsiteX6" fmla="*/ 720 w 1315330"/>
                    <a:gd name="connsiteY6" fmla="*/ 65949 h 1004042"/>
                    <a:gd name="connsiteX0" fmla="*/ 720 w 1289666"/>
                    <a:gd name="connsiteY0" fmla="*/ 65949 h 1004042"/>
                    <a:gd name="connsiteX1" fmla="*/ 379708 w 1289666"/>
                    <a:gd name="connsiteY1" fmla="*/ 0 h 1004042"/>
                    <a:gd name="connsiteX2" fmla="*/ 1289666 w 1289666"/>
                    <a:gd name="connsiteY2" fmla="*/ 301780 h 1004042"/>
                    <a:gd name="connsiteX3" fmla="*/ 1287655 w 1289666"/>
                    <a:gd name="connsiteY3" fmla="*/ 689691 h 1004042"/>
                    <a:gd name="connsiteX4" fmla="*/ 372750 w 1289666"/>
                    <a:gd name="connsiteY4" fmla="*/ 1004042 h 1004042"/>
                    <a:gd name="connsiteX5" fmla="*/ 8975 w 1289666"/>
                    <a:gd name="connsiteY5" fmla="*/ 950494 h 1004042"/>
                    <a:gd name="connsiteX6" fmla="*/ 720 w 1289666"/>
                    <a:gd name="connsiteY6" fmla="*/ 65949 h 1004042"/>
                    <a:gd name="connsiteX0" fmla="*/ 720 w 1299931"/>
                    <a:gd name="connsiteY0" fmla="*/ 65949 h 1004042"/>
                    <a:gd name="connsiteX1" fmla="*/ 379708 w 1299931"/>
                    <a:gd name="connsiteY1" fmla="*/ 0 h 1004042"/>
                    <a:gd name="connsiteX2" fmla="*/ 1299931 w 1299931"/>
                    <a:gd name="connsiteY2" fmla="*/ 277928 h 1004042"/>
                    <a:gd name="connsiteX3" fmla="*/ 1287655 w 1299931"/>
                    <a:gd name="connsiteY3" fmla="*/ 689691 h 1004042"/>
                    <a:gd name="connsiteX4" fmla="*/ 372750 w 1299931"/>
                    <a:gd name="connsiteY4" fmla="*/ 1004042 h 1004042"/>
                    <a:gd name="connsiteX5" fmla="*/ 8975 w 1299931"/>
                    <a:gd name="connsiteY5" fmla="*/ 950494 h 1004042"/>
                    <a:gd name="connsiteX6" fmla="*/ 720 w 1299931"/>
                    <a:gd name="connsiteY6" fmla="*/ 65949 h 1004042"/>
                    <a:gd name="connsiteX0" fmla="*/ 720 w 1287705"/>
                    <a:gd name="connsiteY0" fmla="*/ 65949 h 1004042"/>
                    <a:gd name="connsiteX1" fmla="*/ 379708 w 1287705"/>
                    <a:gd name="connsiteY1" fmla="*/ 0 h 1004042"/>
                    <a:gd name="connsiteX2" fmla="*/ 1282822 w 1287705"/>
                    <a:gd name="connsiteY2" fmla="*/ 274946 h 1004042"/>
                    <a:gd name="connsiteX3" fmla="*/ 1287655 w 1287705"/>
                    <a:gd name="connsiteY3" fmla="*/ 689691 h 1004042"/>
                    <a:gd name="connsiteX4" fmla="*/ 372750 w 1287705"/>
                    <a:gd name="connsiteY4" fmla="*/ 1004042 h 1004042"/>
                    <a:gd name="connsiteX5" fmla="*/ 8975 w 1287705"/>
                    <a:gd name="connsiteY5" fmla="*/ 950494 h 1004042"/>
                    <a:gd name="connsiteX6" fmla="*/ 720 w 1287705"/>
                    <a:gd name="connsiteY6" fmla="*/ 65949 h 1004042"/>
                    <a:gd name="connsiteX0" fmla="*/ 720 w 1293087"/>
                    <a:gd name="connsiteY0" fmla="*/ 65949 h 1004042"/>
                    <a:gd name="connsiteX1" fmla="*/ 379708 w 1293087"/>
                    <a:gd name="connsiteY1" fmla="*/ 0 h 1004042"/>
                    <a:gd name="connsiteX2" fmla="*/ 1293087 w 1293087"/>
                    <a:gd name="connsiteY2" fmla="*/ 271965 h 1004042"/>
                    <a:gd name="connsiteX3" fmla="*/ 1287655 w 1293087"/>
                    <a:gd name="connsiteY3" fmla="*/ 689691 h 1004042"/>
                    <a:gd name="connsiteX4" fmla="*/ 372750 w 1293087"/>
                    <a:gd name="connsiteY4" fmla="*/ 1004042 h 1004042"/>
                    <a:gd name="connsiteX5" fmla="*/ 8975 w 1293087"/>
                    <a:gd name="connsiteY5" fmla="*/ 950494 h 1004042"/>
                    <a:gd name="connsiteX6" fmla="*/ 720 w 1293087"/>
                    <a:gd name="connsiteY6" fmla="*/ 65949 h 1004042"/>
                    <a:gd name="connsiteX0" fmla="*/ 12275 w 1304642"/>
                    <a:gd name="connsiteY0" fmla="*/ 65949 h 1004042"/>
                    <a:gd name="connsiteX1" fmla="*/ 391263 w 1304642"/>
                    <a:gd name="connsiteY1" fmla="*/ 0 h 1004042"/>
                    <a:gd name="connsiteX2" fmla="*/ 1304642 w 1304642"/>
                    <a:gd name="connsiteY2" fmla="*/ 271965 h 1004042"/>
                    <a:gd name="connsiteX3" fmla="*/ 1299210 w 1304642"/>
                    <a:gd name="connsiteY3" fmla="*/ 689691 h 1004042"/>
                    <a:gd name="connsiteX4" fmla="*/ 384305 w 1304642"/>
                    <a:gd name="connsiteY4" fmla="*/ 1004042 h 1004042"/>
                    <a:gd name="connsiteX5" fmla="*/ 0 w 1304642"/>
                    <a:gd name="connsiteY5" fmla="*/ 948257 h 1004042"/>
                    <a:gd name="connsiteX6" fmla="*/ 12275 w 1304642"/>
                    <a:gd name="connsiteY6" fmla="*/ 65949 h 1004042"/>
                    <a:gd name="connsiteX0" fmla="*/ 2010 w 1294377"/>
                    <a:gd name="connsiteY0" fmla="*/ 65949 h 1004042"/>
                    <a:gd name="connsiteX1" fmla="*/ 380998 w 1294377"/>
                    <a:gd name="connsiteY1" fmla="*/ 0 h 1004042"/>
                    <a:gd name="connsiteX2" fmla="*/ 1294377 w 1294377"/>
                    <a:gd name="connsiteY2" fmla="*/ 271965 h 1004042"/>
                    <a:gd name="connsiteX3" fmla="*/ 1288945 w 1294377"/>
                    <a:gd name="connsiteY3" fmla="*/ 689691 h 1004042"/>
                    <a:gd name="connsiteX4" fmla="*/ 374040 w 1294377"/>
                    <a:gd name="connsiteY4" fmla="*/ 1004042 h 1004042"/>
                    <a:gd name="connsiteX5" fmla="*/ 0 w 1294377"/>
                    <a:gd name="connsiteY5" fmla="*/ 946021 h 1004042"/>
                    <a:gd name="connsiteX6" fmla="*/ 2010 w 1294377"/>
                    <a:gd name="connsiteY6" fmla="*/ 65949 h 1004042"/>
                    <a:gd name="connsiteX0" fmla="*/ 2010 w 1294377"/>
                    <a:gd name="connsiteY0" fmla="*/ 65949 h 1017459"/>
                    <a:gd name="connsiteX1" fmla="*/ 380998 w 1294377"/>
                    <a:gd name="connsiteY1" fmla="*/ 0 h 1017459"/>
                    <a:gd name="connsiteX2" fmla="*/ 1294377 w 1294377"/>
                    <a:gd name="connsiteY2" fmla="*/ 271965 h 1017459"/>
                    <a:gd name="connsiteX3" fmla="*/ 1288945 w 1294377"/>
                    <a:gd name="connsiteY3" fmla="*/ 689691 h 1017459"/>
                    <a:gd name="connsiteX4" fmla="*/ 371474 w 1294377"/>
                    <a:gd name="connsiteY4" fmla="*/ 1017459 h 1017459"/>
                    <a:gd name="connsiteX5" fmla="*/ 0 w 1294377"/>
                    <a:gd name="connsiteY5" fmla="*/ 946021 h 1017459"/>
                    <a:gd name="connsiteX6" fmla="*/ 2010 w 1294377"/>
                    <a:gd name="connsiteY6" fmla="*/ 65949 h 101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94377" h="1017459">
                      <a:moveTo>
                        <a:pt x="2010" y="65949"/>
                      </a:moveTo>
                      <a:lnTo>
                        <a:pt x="380998" y="0"/>
                      </a:lnTo>
                      <a:lnTo>
                        <a:pt x="1294377" y="271965"/>
                      </a:lnTo>
                      <a:cubicBezTo>
                        <a:pt x="1293707" y="401269"/>
                        <a:pt x="1289615" y="560387"/>
                        <a:pt x="1288945" y="689691"/>
                      </a:cubicBezTo>
                      <a:lnTo>
                        <a:pt x="371474" y="1017459"/>
                      </a:lnTo>
                      <a:lnTo>
                        <a:pt x="0" y="946021"/>
                      </a:lnTo>
                      <a:cubicBezTo>
                        <a:pt x="1588" y="631696"/>
                        <a:pt x="-1959" y="375511"/>
                        <a:pt x="2010" y="65949"/>
                      </a:cubicBezTo>
                      <a:close/>
                    </a:path>
                  </a:pathLst>
                </a:custGeom>
                <a:grpFill/>
                <a:ln w="25400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="horz" wrap="square" lIns="93260" tIns="46630" rIns="46630" bIns="9326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107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4" name="Freeform 13"/>
                <p:cNvSpPr/>
                <p:nvPr/>
              </p:nvSpPr>
              <p:spPr>
                <a:xfrm>
                  <a:off x="4811180" y="1924956"/>
                  <a:ext cx="364785" cy="69386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362200" h="3441700">
                      <a:moveTo>
                        <a:pt x="107950" y="2076450"/>
                      </a:moveTo>
                      <a:lnTo>
                        <a:pt x="107950" y="3155950"/>
                      </a:lnTo>
                      <a:lnTo>
                        <a:pt x="1416050" y="3340100"/>
                      </a:lnTo>
                      <a:lnTo>
                        <a:pt x="1416050" y="2133600"/>
                      </a:lnTo>
                      <a:close/>
                      <a:moveTo>
                        <a:pt x="107950" y="1774825"/>
                      </a:moveTo>
                      <a:lnTo>
                        <a:pt x="107950" y="1984375"/>
                      </a:lnTo>
                      <a:lnTo>
                        <a:pt x="1422400" y="2035175"/>
                      </a:lnTo>
                      <a:lnTo>
                        <a:pt x="1422400" y="1790700"/>
                      </a:lnTo>
                      <a:close/>
                      <a:moveTo>
                        <a:pt x="1422400" y="1457325"/>
                      </a:moveTo>
                      <a:lnTo>
                        <a:pt x="111125" y="1470025"/>
                      </a:lnTo>
                      <a:lnTo>
                        <a:pt x="111125" y="1679575"/>
                      </a:lnTo>
                      <a:lnTo>
                        <a:pt x="1422400" y="1701800"/>
                      </a:lnTo>
                      <a:close/>
                      <a:moveTo>
                        <a:pt x="1428750" y="1117600"/>
                      </a:moveTo>
                      <a:lnTo>
                        <a:pt x="111125" y="1168400"/>
                      </a:lnTo>
                      <a:lnTo>
                        <a:pt x="111125" y="1381125"/>
                      </a:lnTo>
                      <a:lnTo>
                        <a:pt x="1428750" y="1362075"/>
                      </a:lnTo>
                      <a:close/>
                      <a:moveTo>
                        <a:pt x="1431925" y="777875"/>
                      </a:moveTo>
                      <a:lnTo>
                        <a:pt x="117475" y="863600"/>
                      </a:lnTo>
                      <a:lnTo>
                        <a:pt x="117475" y="1082675"/>
                      </a:lnTo>
                      <a:lnTo>
                        <a:pt x="1431925" y="1022350"/>
                      </a:lnTo>
                      <a:close/>
                      <a:moveTo>
                        <a:pt x="1431925" y="444500"/>
                      </a:moveTo>
                      <a:lnTo>
                        <a:pt x="120650" y="561975"/>
                      </a:lnTo>
                      <a:lnTo>
                        <a:pt x="120650" y="784225"/>
                      </a:lnTo>
                      <a:lnTo>
                        <a:pt x="1431925" y="692150"/>
                      </a:lnTo>
                      <a:close/>
                      <a:moveTo>
                        <a:pt x="1435100" y="107950"/>
                      </a:moveTo>
                      <a:lnTo>
                        <a:pt x="123825" y="263525"/>
                      </a:lnTo>
                      <a:lnTo>
                        <a:pt x="123825" y="476250"/>
                      </a:lnTo>
                      <a:lnTo>
                        <a:pt x="1435100" y="349250"/>
                      </a:lnTo>
                      <a:close/>
                      <a:moveTo>
                        <a:pt x="1568450" y="0"/>
                      </a:moveTo>
                      <a:lnTo>
                        <a:pt x="2362200" y="254000"/>
                      </a:lnTo>
                      <a:lnTo>
                        <a:pt x="2330450" y="3155950"/>
                      </a:lnTo>
                      <a:lnTo>
                        <a:pt x="1524000" y="3441700"/>
                      </a:lnTo>
                      <a:lnTo>
                        <a:pt x="0" y="3213100"/>
                      </a:lnTo>
                      <a:lnTo>
                        <a:pt x="0" y="19685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vert="horz" wrap="square" lIns="93256" tIns="46628" rIns="93256" bIns="46628" numCol="1" rtlCol="0" anchor="ctr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107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5" name="Freeform 14"/>
                <p:cNvSpPr/>
                <p:nvPr/>
              </p:nvSpPr>
              <p:spPr>
                <a:xfrm>
                  <a:off x="5029212" y="1980411"/>
                  <a:ext cx="337881" cy="5552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362200" h="3441700">
                      <a:moveTo>
                        <a:pt x="107950" y="2076450"/>
                      </a:moveTo>
                      <a:lnTo>
                        <a:pt x="107950" y="3155950"/>
                      </a:lnTo>
                      <a:lnTo>
                        <a:pt x="1416050" y="3340100"/>
                      </a:lnTo>
                      <a:lnTo>
                        <a:pt x="1416050" y="2133600"/>
                      </a:lnTo>
                      <a:close/>
                      <a:moveTo>
                        <a:pt x="107950" y="1774825"/>
                      </a:moveTo>
                      <a:lnTo>
                        <a:pt x="107950" y="1984375"/>
                      </a:lnTo>
                      <a:lnTo>
                        <a:pt x="1422400" y="2035175"/>
                      </a:lnTo>
                      <a:lnTo>
                        <a:pt x="1422400" y="1790700"/>
                      </a:lnTo>
                      <a:close/>
                      <a:moveTo>
                        <a:pt x="1422400" y="1457325"/>
                      </a:moveTo>
                      <a:lnTo>
                        <a:pt x="111125" y="1470025"/>
                      </a:lnTo>
                      <a:lnTo>
                        <a:pt x="111125" y="1679575"/>
                      </a:lnTo>
                      <a:lnTo>
                        <a:pt x="1422400" y="1701800"/>
                      </a:lnTo>
                      <a:close/>
                      <a:moveTo>
                        <a:pt x="1428750" y="1117600"/>
                      </a:moveTo>
                      <a:lnTo>
                        <a:pt x="111125" y="1168400"/>
                      </a:lnTo>
                      <a:lnTo>
                        <a:pt x="111125" y="1381125"/>
                      </a:lnTo>
                      <a:lnTo>
                        <a:pt x="1428750" y="1362075"/>
                      </a:lnTo>
                      <a:close/>
                      <a:moveTo>
                        <a:pt x="1431925" y="777875"/>
                      </a:moveTo>
                      <a:lnTo>
                        <a:pt x="117475" y="863600"/>
                      </a:lnTo>
                      <a:lnTo>
                        <a:pt x="117475" y="1082675"/>
                      </a:lnTo>
                      <a:lnTo>
                        <a:pt x="1431925" y="1022350"/>
                      </a:lnTo>
                      <a:close/>
                      <a:moveTo>
                        <a:pt x="1431925" y="444500"/>
                      </a:moveTo>
                      <a:lnTo>
                        <a:pt x="120650" y="561975"/>
                      </a:lnTo>
                      <a:lnTo>
                        <a:pt x="120650" y="784225"/>
                      </a:lnTo>
                      <a:lnTo>
                        <a:pt x="1431925" y="692150"/>
                      </a:lnTo>
                      <a:close/>
                      <a:moveTo>
                        <a:pt x="1435100" y="107950"/>
                      </a:moveTo>
                      <a:lnTo>
                        <a:pt x="123825" y="263525"/>
                      </a:lnTo>
                      <a:lnTo>
                        <a:pt x="123825" y="476250"/>
                      </a:lnTo>
                      <a:lnTo>
                        <a:pt x="1435100" y="349250"/>
                      </a:lnTo>
                      <a:close/>
                      <a:moveTo>
                        <a:pt x="1568450" y="0"/>
                      </a:moveTo>
                      <a:lnTo>
                        <a:pt x="2362200" y="254000"/>
                      </a:lnTo>
                      <a:lnTo>
                        <a:pt x="2330450" y="3155950"/>
                      </a:lnTo>
                      <a:lnTo>
                        <a:pt x="1524000" y="3441700"/>
                      </a:lnTo>
                      <a:lnTo>
                        <a:pt x="0" y="3213100"/>
                      </a:lnTo>
                      <a:lnTo>
                        <a:pt x="0" y="19685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vert="horz" wrap="square" lIns="93256" tIns="46628" rIns="93256" bIns="46628" numCol="1" rtlCol="0" anchor="ctr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107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6" name="Freeform 15"/>
                <p:cNvSpPr/>
                <p:nvPr/>
              </p:nvSpPr>
              <p:spPr>
                <a:xfrm>
                  <a:off x="5236445" y="2036741"/>
                  <a:ext cx="270621" cy="4356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362200" h="3441700">
                      <a:moveTo>
                        <a:pt x="107950" y="2076450"/>
                      </a:moveTo>
                      <a:lnTo>
                        <a:pt x="107950" y="3155950"/>
                      </a:lnTo>
                      <a:lnTo>
                        <a:pt x="1416050" y="3340100"/>
                      </a:lnTo>
                      <a:lnTo>
                        <a:pt x="1416050" y="2133600"/>
                      </a:lnTo>
                      <a:close/>
                      <a:moveTo>
                        <a:pt x="107950" y="1774825"/>
                      </a:moveTo>
                      <a:lnTo>
                        <a:pt x="107950" y="1984375"/>
                      </a:lnTo>
                      <a:lnTo>
                        <a:pt x="1422400" y="2035175"/>
                      </a:lnTo>
                      <a:lnTo>
                        <a:pt x="1422400" y="1790700"/>
                      </a:lnTo>
                      <a:close/>
                      <a:moveTo>
                        <a:pt x="1422400" y="1457325"/>
                      </a:moveTo>
                      <a:lnTo>
                        <a:pt x="111125" y="1470025"/>
                      </a:lnTo>
                      <a:lnTo>
                        <a:pt x="111125" y="1679575"/>
                      </a:lnTo>
                      <a:lnTo>
                        <a:pt x="1422400" y="1701800"/>
                      </a:lnTo>
                      <a:close/>
                      <a:moveTo>
                        <a:pt x="1428750" y="1117600"/>
                      </a:moveTo>
                      <a:lnTo>
                        <a:pt x="111125" y="1168400"/>
                      </a:lnTo>
                      <a:lnTo>
                        <a:pt x="111125" y="1381125"/>
                      </a:lnTo>
                      <a:lnTo>
                        <a:pt x="1428750" y="1362075"/>
                      </a:lnTo>
                      <a:close/>
                      <a:moveTo>
                        <a:pt x="1431925" y="777875"/>
                      </a:moveTo>
                      <a:lnTo>
                        <a:pt x="117475" y="863600"/>
                      </a:lnTo>
                      <a:lnTo>
                        <a:pt x="117475" y="1082675"/>
                      </a:lnTo>
                      <a:lnTo>
                        <a:pt x="1431925" y="1022350"/>
                      </a:lnTo>
                      <a:close/>
                      <a:moveTo>
                        <a:pt x="1431925" y="444500"/>
                      </a:moveTo>
                      <a:lnTo>
                        <a:pt x="120650" y="561975"/>
                      </a:lnTo>
                      <a:lnTo>
                        <a:pt x="120650" y="784225"/>
                      </a:lnTo>
                      <a:lnTo>
                        <a:pt x="1431925" y="692150"/>
                      </a:lnTo>
                      <a:close/>
                      <a:moveTo>
                        <a:pt x="1435100" y="107950"/>
                      </a:moveTo>
                      <a:lnTo>
                        <a:pt x="123825" y="263525"/>
                      </a:lnTo>
                      <a:lnTo>
                        <a:pt x="123825" y="476250"/>
                      </a:lnTo>
                      <a:lnTo>
                        <a:pt x="1435100" y="349250"/>
                      </a:lnTo>
                      <a:close/>
                      <a:moveTo>
                        <a:pt x="1568450" y="0"/>
                      </a:moveTo>
                      <a:lnTo>
                        <a:pt x="2362200" y="254000"/>
                      </a:lnTo>
                      <a:lnTo>
                        <a:pt x="2330450" y="3155950"/>
                      </a:lnTo>
                      <a:lnTo>
                        <a:pt x="1524000" y="3441700"/>
                      </a:lnTo>
                      <a:lnTo>
                        <a:pt x="0" y="3213100"/>
                      </a:lnTo>
                      <a:lnTo>
                        <a:pt x="0" y="19685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vert="horz" wrap="square" lIns="93256" tIns="46628" rIns="93256" bIns="46628" numCol="1" rtlCol="0" anchor="ctr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107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7" name="Freeform 16"/>
                <p:cNvSpPr/>
                <p:nvPr/>
              </p:nvSpPr>
              <p:spPr>
                <a:xfrm>
                  <a:off x="5413951" y="2079416"/>
                  <a:ext cx="206295" cy="34310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362200" h="3441700">
                      <a:moveTo>
                        <a:pt x="107950" y="2076450"/>
                      </a:moveTo>
                      <a:lnTo>
                        <a:pt x="107950" y="3155950"/>
                      </a:lnTo>
                      <a:lnTo>
                        <a:pt x="1416050" y="3340100"/>
                      </a:lnTo>
                      <a:lnTo>
                        <a:pt x="1416050" y="2133600"/>
                      </a:lnTo>
                      <a:close/>
                      <a:moveTo>
                        <a:pt x="107950" y="1774825"/>
                      </a:moveTo>
                      <a:lnTo>
                        <a:pt x="107950" y="1984375"/>
                      </a:lnTo>
                      <a:lnTo>
                        <a:pt x="1422400" y="2035175"/>
                      </a:lnTo>
                      <a:lnTo>
                        <a:pt x="1422400" y="1790700"/>
                      </a:lnTo>
                      <a:close/>
                      <a:moveTo>
                        <a:pt x="1422400" y="1457325"/>
                      </a:moveTo>
                      <a:lnTo>
                        <a:pt x="111125" y="1470025"/>
                      </a:lnTo>
                      <a:lnTo>
                        <a:pt x="111125" y="1679575"/>
                      </a:lnTo>
                      <a:lnTo>
                        <a:pt x="1422400" y="1701800"/>
                      </a:lnTo>
                      <a:close/>
                      <a:moveTo>
                        <a:pt x="1428750" y="1117600"/>
                      </a:moveTo>
                      <a:lnTo>
                        <a:pt x="111125" y="1168400"/>
                      </a:lnTo>
                      <a:lnTo>
                        <a:pt x="111125" y="1381125"/>
                      </a:lnTo>
                      <a:lnTo>
                        <a:pt x="1428750" y="1362075"/>
                      </a:lnTo>
                      <a:close/>
                      <a:moveTo>
                        <a:pt x="1431925" y="777875"/>
                      </a:moveTo>
                      <a:lnTo>
                        <a:pt x="117475" y="863600"/>
                      </a:lnTo>
                      <a:lnTo>
                        <a:pt x="117475" y="1082675"/>
                      </a:lnTo>
                      <a:lnTo>
                        <a:pt x="1431925" y="1022350"/>
                      </a:lnTo>
                      <a:close/>
                      <a:moveTo>
                        <a:pt x="1431925" y="444500"/>
                      </a:moveTo>
                      <a:lnTo>
                        <a:pt x="120650" y="561975"/>
                      </a:lnTo>
                      <a:lnTo>
                        <a:pt x="120650" y="784225"/>
                      </a:lnTo>
                      <a:lnTo>
                        <a:pt x="1431925" y="692150"/>
                      </a:lnTo>
                      <a:close/>
                      <a:moveTo>
                        <a:pt x="1435100" y="107950"/>
                      </a:moveTo>
                      <a:lnTo>
                        <a:pt x="123825" y="263525"/>
                      </a:lnTo>
                      <a:lnTo>
                        <a:pt x="123825" y="476250"/>
                      </a:lnTo>
                      <a:lnTo>
                        <a:pt x="1435100" y="349250"/>
                      </a:lnTo>
                      <a:close/>
                      <a:moveTo>
                        <a:pt x="1568450" y="0"/>
                      </a:moveTo>
                      <a:lnTo>
                        <a:pt x="2362200" y="254000"/>
                      </a:lnTo>
                      <a:lnTo>
                        <a:pt x="2330450" y="3155950"/>
                      </a:lnTo>
                      <a:lnTo>
                        <a:pt x="1524000" y="3441700"/>
                      </a:lnTo>
                      <a:lnTo>
                        <a:pt x="0" y="3213100"/>
                      </a:lnTo>
                      <a:lnTo>
                        <a:pt x="0" y="19685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vert="horz" wrap="square" lIns="93256" tIns="46628" rIns="93256" bIns="46628" numCol="1" rtlCol="0" anchor="ctr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107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8" name="Freeform 17"/>
                <p:cNvSpPr/>
                <p:nvPr/>
              </p:nvSpPr>
              <p:spPr bwMode="auto">
                <a:xfrm>
                  <a:off x="4788364" y="1874578"/>
                  <a:ext cx="860952" cy="776679"/>
                </a:xfrm>
                <a:custGeom>
                  <a:avLst/>
                  <a:gdLst>
                    <a:gd name="connsiteX0" fmla="*/ 7144 w 1352550"/>
                    <a:gd name="connsiteY0" fmla="*/ 54769 h 1064419"/>
                    <a:gd name="connsiteX1" fmla="*/ 381000 w 1352550"/>
                    <a:gd name="connsiteY1" fmla="*/ 0 h 1064419"/>
                    <a:gd name="connsiteX2" fmla="*/ 1352550 w 1352550"/>
                    <a:gd name="connsiteY2" fmla="*/ 328613 h 1064419"/>
                    <a:gd name="connsiteX3" fmla="*/ 1345407 w 1352550"/>
                    <a:gd name="connsiteY3" fmla="*/ 676275 h 1064419"/>
                    <a:gd name="connsiteX4" fmla="*/ 371475 w 1352550"/>
                    <a:gd name="connsiteY4" fmla="*/ 1064419 h 1064419"/>
                    <a:gd name="connsiteX5" fmla="*/ 0 w 1352550"/>
                    <a:gd name="connsiteY5" fmla="*/ 992981 h 1064419"/>
                    <a:gd name="connsiteX6" fmla="*/ 7144 w 1352550"/>
                    <a:gd name="connsiteY6" fmla="*/ 54769 h 1064419"/>
                    <a:gd name="connsiteX0" fmla="*/ 7144 w 1352550"/>
                    <a:gd name="connsiteY0" fmla="*/ 43588 h 1053238"/>
                    <a:gd name="connsiteX1" fmla="*/ 416928 w 1352550"/>
                    <a:gd name="connsiteY1" fmla="*/ 0 h 1053238"/>
                    <a:gd name="connsiteX2" fmla="*/ 1352550 w 1352550"/>
                    <a:gd name="connsiteY2" fmla="*/ 317432 h 1053238"/>
                    <a:gd name="connsiteX3" fmla="*/ 1345407 w 1352550"/>
                    <a:gd name="connsiteY3" fmla="*/ 665094 h 1053238"/>
                    <a:gd name="connsiteX4" fmla="*/ 371475 w 1352550"/>
                    <a:gd name="connsiteY4" fmla="*/ 1053238 h 1053238"/>
                    <a:gd name="connsiteX5" fmla="*/ 0 w 1352550"/>
                    <a:gd name="connsiteY5" fmla="*/ 981800 h 1053238"/>
                    <a:gd name="connsiteX6" fmla="*/ 7144 w 1352550"/>
                    <a:gd name="connsiteY6" fmla="*/ 43588 h 1053238"/>
                    <a:gd name="connsiteX0" fmla="*/ 37940 w 1352550"/>
                    <a:gd name="connsiteY0" fmla="*/ 65949 h 1053238"/>
                    <a:gd name="connsiteX1" fmla="*/ 416928 w 1352550"/>
                    <a:gd name="connsiteY1" fmla="*/ 0 h 1053238"/>
                    <a:gd name="connsiteX2" fmla="*/ 1352550 w 1352550"/>
                    <a:gd name="connsiteY2" fmla="*/ 317432 h 1053238"/>
                    <a:gd name="connsiteX3" fmla="*/ 1345407 w 1352550"/>
                    <a:gd name="connsiteY3" fmla="*/ 665094 h 1053238"/>
                    <a:gd name="connsiteX4" fmla="*/ 371475 w 1352550"/>
                    <a:gd name="connsiteY4" fmla="*/ 1053238 h 1053238"/>
                    <a:gd name="connsiteX5" fmla="*/ 0 w 1352550"/>
                    <a:gd name="connsiteY5" fmla="*/ 981800 h 1053238"/>
                    <a:gd name="connsiteX6" fmla="*/ 37940 w 1352550"/>
                    <a:gd name="connsiteY6" fmla="*/ 65949 h 1053238"/>
                    <a:gd name="connsiteX0" fmla="*/ 720 w 1315330"/>
                    <a:gd name="connsiteY0" fmla="*/ 65949 h 1053238"/>
                    <a:gd name="connsiteX1" fmla="*/ 379708 w 1315330"/>
                    <a:gd name="connsiteY1" fmla="*/ 0 h 1053238"/>
                    <a:gd name="connsiteX2" fmla="*/ 1315330 w 1315330"/>
                    <a:gd name="connsiteY2" fmla="*/ 317432 h 1053238"/>
                    <a:gd name="connsiteX3" fmla="*/ 1308187 w 1315330"/>
                    <a:gd name="connsiteY3" fmla="*/ 665094 h 1053238"/>
                    <a:gd name="connsiteX4" fmla="*/ 334255 w 1315330"/>
                    <a:gd name="connsiteY4" fmla="*/ 1053238 h 1053238"/>
                    <a:gd name="connsiteX5" fmla="*/ 8975 w 1315330"/>
                    <a:gd name="connsiteY5" fmla="*/ 950494 h 1053238"/>
                    <a:gd name="connsiteX6" fmla="*/ 720 w 1315330"/>
                    <a:gd name="connsiteY6" fmla="*/ 65949 h 1053238"/>
                    <a:gd name="connsiteX0" fmla="*/ 720 w 1315330"/>
                    <a:gd name="connsiteY0" fmla="*/ 65949 h 1004042"/>
                    <a:gd name="connsiteX1" fmla="*/ 379708 w 1315330"/>
                    <a:gd name="connsiteY1" fmla="*/ 0 h 1004042"/>
                    <a:gd name="connsiteX2" fmla="*/ 1315330 w 1315330"/>
                    <a:gd name="connsiteY2" fmla="*/ 317432 h 1004042"/>
                    <a:gd name="connsiteX3" fmla="*/ 1308187 w 1315330"/>
                    <a:gd name="connsiteY3" fmla="*/ 665094 h 1004042"/>
                    <a:gd name="connsiteX4" fmla="*/ 372750 w 1315330"/>
                    <a:gd name="connsiteY4" fmla="*/ 1004042 h 1004042"/>
                    <a:gd name="connsiteX5" fmla="*/ 8975 w 1315330"/>
                    <a:gd name="connsiteY5" fmla="*/ 950494 h 1004042"/>
                    <a:gd name="connsiteX6" fmla="*/ 720 w 1315330"/>
                    <a:gd name="connsiteY6" fmla="*/ 65949 h 1004042"/>
                    <a:gd name="connsiteX0" fmla="*/ 720 w 1323584"/>
                    <a:gd name="connsiteY0" fmla="*/ 65949 h 1004042"/>
                    <a:gd name="connsiteX1" fmla="*/ 379708 w 1323584"/>
                    <a:gd name="connsiteY1" fmla="*/ 0 h 1004042"/>
                    <a:gd name="connsiteX2" fmla="*/ 1315330 w 1323584"/>
                    <a:gd name="connsiteY2" fmla="*/ 317432 h 1004042"/>
                    <a:gd name="connsiteX3" fmla="*/ 1323584 w 1323584"/>
                    <a:gd name="connsiteY3" fmla="*/ 680746 h 1004042"/>
                    <a:gd name="connsiteX4" fmla="*/ 372750 w 1323584"/>
                    <a:gd name="connsiteY4" fmla="*/ 1004042 h 1004042"/>
                    <a:gd name="connsiteX5" fmla="*/ 8975 w 1323584"/>
                    <a:gd name="connsiteY5" fmla="*/ 950494 h 1004042"/>
                    <a:gd name="connsiteX6" fmla="*/ 720 w 1323584"/>
                    <a:gd name="connsiteY6" fmla="*/ 65949 h 1004042"/>
                    <a:gd name="connsiteX0" fmla="*/ 720 w 1315330"/>
                    <a:gd name="connsiteY0" fmla="*/ 65949 h 1004042"/>
                    <a:gd name="connsiteX1" fmla="*/ 379708 w 1315330"/>
                    <a:gd name="connsiteY1" fmla="*/ 0 h 1004042"/>
                    <a:gd name="connsiteX2" fmla="*/ 1315330 w 1315330"/>
                    <a:gd name="connsiteY2" fmla="*/ 317432 h 1004042"/>
                    <a:gd name="connsiteX3" fmla="*/ 1287655 w 1315330"/>
                    <a:gd name="connsiteY3" fmla="*/ 689691 h 1004042"/>
                    <a:gd name="connsiteX4" fmla="*/ 372750 w 1315330"/>
                    <a:gd name="connsiteY4" fmla="*/ 1004042 h 1004042"/>
                    <a:gd name="connsiteX5" fmla="*/ 8975 w 1315330"/>
                    <a:gd name="connsiteY5" fmla="*/ 950494 h 1004042"/>
                    <a:gd name="connsiteX6" fmla="*/ 720 w 1315330"/>
                    <a:gd name="connsiteY6" fmla="*/ 65949 h 1004042"/>
                    <a:gd name="connsiteX0" fmla="*/ 720 w 1289666"/>
                    <a:gd name="connsiteY0" fmla="*/ 65949 h 1004042"/>
                    <a:gd name="connsiteX1" fmla="*/ 379708 w 1289666"/>
                    <a:gd name="connsiteY1" fmla="*/ 0 h 1004042"/>
                    <a:gd name="connsiteX2" fmla="*/ 1289666 w 1289666"/>
                    <a:gd name="connsiteY2" fmla="*/ 301780 h 1004042"/>
                    <a:gd name="connsiteX3" fmla="*/ 1287655 w 1289666"/>
                    <a:gd name="connsiteY3" fmla="*/ 689691 h 1004042"/>
                    <a:gd name="connsiteX4" fmla="*/ 372750 w 1289666"/>
                    <a:gd name="connsiteY4" fmla="*/ 1004042 h 1004042"/>
                    <a:gd name="connsiteX5" fmla="*/ 8975 w 1289666"/>
                    <a:gd name="connsiteY5" fmla="*/ 950494 h 1004042"/>
                    <a:gd name="connsiteX6" fmla="*/ 720 w 1289666"/>
                    <a:gd name="connsiteY6" fmla="*/ 65949 h 1004042"/>
                    <a:gd name="connsiteX0" fmla="*/ 720 w 1299931"/>
                    <a:gd name="connsiteY0" fmla="*/ 65949 h 1004042"/>
                    <a:gd name="connsiteX1" fmla="*/ 379708 w 1299931"/>
                    <a:gd name="connsiteY1" fmla="*/ 0 h 1004042"/>
                    <a:gd name="connsiteX2" fmla="*/ 1299931 w 1299931"/>
                    <a:gd name="connsiteY2" fmla="*/ 277928 h 1004042"/>
                    <a:gd name="connsiteX3" fmla="*/ 1287655 w 1299931"/>
                    <a:gd name="connsiteY3" fmla="*/ 689691 h 1004042"/>
                    <a:gd name="connsiteX4" fmla="*/ 372750 w 1299931"/>
                    <a:gd name="connsiteY4" fmla="*/ 1004042 h 1004042"/>
                    <a:gd name="connsiteX5" fmla="*/ 8975 w 1299931"/>
                    <a:gd name="connsiteY5" fmla="*/ 950494 h 1004042"/>
                    <a:gd name="connsiteX6" fmla="*/ 720 w 1299931"/>
                    <a:gd name="connsiteY6" fmla="*/ 65949 h 1004042"/>
                    <a:gd name="connsiteX0" fmla="*/ 720 w 1287705"/>
                    <a:gd name="connsiteY0" fmla="*/ 65949 h 1004042"/>
                    <a:gd name="connsiteX1" fmla="*/ 379708 w 1287705"/>
                    <a:gd name="connsiteY1" fmla="*/ 0 h 1004042"/>
                    <a:gd name="connsiteX2" fmla="*/ 1282822 w 1287705"/>
                    <a:gd name="connsiteY2" fmla="*/ 274946 h 1004042"/>
                    <a:gd name="connsiteX3" fmla="*/ 1287655 w 1287705"/>
                    <a:gd name="connsiteY3" fmla="*/ 689691 h 1004042"/>
                    <a:gd name="connsiteX4" fmla="*/ 372750 w 1287705"/>
                    <a:gd name="connsiteY4" fmla="*/ 1004042 h 1004042"/>
                    <a:gd name="connsiteX5" fmla="*/ 8975 w 1287705"/>
                    <a:gd name="connsiteY5" fmla="*/ 950494 h 1004042"/>
                    <a:gd name="connsiteX6" fmla="*/ 720 w 1287705"/>
                    <a:gd name="connsiteY6" fmla="*/ 65949 h 1004042"/>
                    <a:gd name="connsiteX0" fmla="*/ 720 w 1293087"/>
                    <a:gd name="connsiteY0" fmla="*/ 65949 h 1004042"/>
                    <a:gd name="connsiteX1" fmla="*/ 379708 w 1293087"/>
                    <a:gd name="connsiteY1" fmla="*/ 0 h 1004042"/>
                    <a:gd name="connsiteX2" fmla="*/ 1293087 w 1293087"/>
                    <a:gd name="connsiteY2" fmla="*/ 271965 h 1004042"/>
                    <a:gd name="connsiteX3" fmla="*/ 1287655 w 1293087"/>
                    <a:gd name="connsiteY3" fmla="*/ 689691 h 1004042"/>
                    <a:gd name="connsiteX4" fmla="*/ 372750 w 1293087"/>
                    <a:gd name="connsiteY4" fmla="*/ 1004042 h 1004042"/>
                    <a:gd name="connsiteX5" fmla="*/ 8975 w 1293087"/>
                    <a:gd name="connsiteY5" fmla="*/ 950494 h 1004042"/>
                    <a:gd name="connsiteX6" fmla="*/ 720 w 1293087"/>
                    <a:gd name="connsiteY6" fmla="*/ 65949 h 1004042"/>
                    <a:gd name="connsiteX0" fmla="*/ 12275 w 1304642"/>
                    <a:gd name="connsiteY0" fmla="*/ 65949 h 1004042"/>
                    <a:gd name="connsiteX1" fmla="*/ 391263 w 1304642"/>
                    <a:gd name="connsiteY1" fmla="*/ 0 h 1004042"/>
                    <a:gd name="connsiteX2" fmla="*/ 1304642 w 1304642"/>
                    <a:gd name="connsiteY2" fmla="*/ 271965 h 1004042"/>
                    <a:gd name="connsiteX3" fmla="*/ 1299210 w 1304642"/>
                    <a:gd name="connsiteY3" fmla="*/ 689691 h 1004042"/>
                    <a:gd name="connsiteX4" fmla="*/ 384305 w 1304642"/>
                    <a:gd name="connsiteY4" fmla="*/ 1004042 h 1004042"/>
                    <a:gd name="connsiteX5" fmla="*/ 0 w 1304642"/>
                    <a:gd name="connsiteY5" fmla="*/ 948257 h 1004042"/>
                    <a:gd name="connsiteX6" fmla="*/ 12275 w 1304642"/>
                    <a:gd name="connsiteY6" fmla="*/ 65949 h 1004042"/>
                    <a:gd name="connsiteX0" fmla="*/ 2010 w 1294377"/>
                    <a:gd name="connsiteY0" fmla="*/ 65949 h 1004042"/>
                    <a:gd name="connsiteX1" fmla="*/ 380998 w 1294377"/>
                    <a:gd name="connsiteY1" fmla="*/ 0 h 1004042"/>
                    <a:gd name="connsiteX2" fmla="*/ 1294377 w 1294377"/>
                    <a:gd name="connsiteY2" fmla="*/ 271965 h 1004042"/>
                    <a:gd name="connsiteX3" fmla="*/ 1288945 w 1294377"/>
                    <a:gd name="connsiteY3" fmla="*/ 689691 h 1004042"/>
                    <a:gd name="connsiteX4" fmla="*/ 374040 w 1294377"/>
                    <a:gd name="connsiteY4" fmla="*/ 1004042 h 1004042"/>
                    <a:gd name="connsiteX5" fmla="*/ 0 w 1294377"/>
                    <a:gd name="connsiteY5" fmla="*/ 946021 h 1004042"/>
                    <a:gd name="connsiteX6" fmla="*/ 2010 w 1294377"/>
                    <a:gd name="connsiteY6" fmla="*/ 65949 h 1004042"/>
                    <a:gd name="connsiteX0" fmla="*/ 2010 w 1294377"/>
                    <a:gd name="connsiteY0" fmla="*/ 65949 h 1017459"/>
                    <a:gd name="connsiteX1" fmla="*/ 380998 w 1294377"/>
                    <a:gd name="connsiteY1" fmla="*/ 0 h 1017459"/>
                    <a:gd name="connsiteX2" fmla="*/ 1294377 w 1294377"/>
                    <a:gd name="connsiteY2" fmla="*/ 271965 h 1017459"/>
                    <a:gd name="connsiteX3" fmla="*/ 1288945 w 1294377"/>
                    <a:gd name="connsiteY3" fmla="*/ 689691 h 1017459"/>
                    <a:gd name="connsiteX4" fmla="*/ 371474 w 1294377"/>
                    <a:gd name="connsiteY4" fmla="*/ 1017459 h 1017459"/>
                    <a:gd name="connsiteX5" fmla="*/ 0 w 1294377"/>
                    <a:gd name="connsiteY5" fmla="*/ 946021 h 1017459"/>
                    <a:gd name="connsiteX6" fmla="*/ 2010 w 1294377"/>
                    <a:gd name="connsiteY6" fmla="*/ 65949 h 101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94377" h="1017459">
                      <a:moveTo>
                        <a:pt x="2010" y="65949"/>
                      </a:moveTo>
                      <a:lnTo>
                        <a:pt x="380998" y="0"/>
                      </a:lnTo>
                      <a:lnTo>
                        <a:pt x="1294377" y="271965"/>
                      </a:lnTo>
                      <a:cubicBezTo>
                        <a:pt x="1293707" y="401269"/>
                        <a:pt x="1289615" y="560387"/>
                        <a:pt x="1288945" y="689691"/>
                      </a:cubicBezTo>
                      <a:lnTo>
                        <a:pt x="371474" y="1017459"/>
                      </a:lnTo>
                      <a:lnTo>
                        <a:pt x="0" y="946021"/>
                      </a:lnTo>
                      <a:cubicBezTo>
                        <a:pt x="1588" y="631696"/>
                        <a:pt x="-1959" y="375511"/>
                        <a:pt x="2010" y="65949"/>
                      </a:cubicBezTo>
                      <a:close/>
                    </a:path>
                  </a:pathLst>
                </a:custGeom>
                <a:noFill/>
                <a:ln w="9525" cap="flat" cmpd="sng" algn="ctr">
                  <a:noFill/>
                  <a:prstDash val="sysDash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="horz" wrap="square" lIns="93260" tIns="46630" rIns="46630" bIns="9326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107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</p:grpSp>
      </p:grpSp>
      <p:sp>
        <p:nvSpPr>
          <p:cNvPr id="29" name="Rectangle 28"/>
          <p:cNvSpPr/>
          <p:nvPr/>
        </p:nvSpPr>
        <p:spPr>
          <a:xfrm>
            <a:off x="549802" y="4292600"/>
            <a:ext cx="3403600" cy="2374900"/>
          </a:xfrm>
          <a:prstGeom prst="rect">
            <a:avLst/>
          </a:prstGeom>
          <a:solidFill>
            <a:srgbClr val="27424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2968422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58" y="2044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89" name="think-cell Slide" r:id="rId5" imgW="377" imgH="377" progId="TCLayout.ActiveDocument.1">
                  <p:embed/>
                </p:oleObj>
              </mc:Choice>
              <mc:Fallback>
                <p:oleObj name="think-cell Slide" r:id="rId5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8" y="2044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cloud platform for the modern </a:t>
            </a:r>
            <a:r>
              <a:rPr lang="en-US" dirty="0" smtClean="0"/>
              <a:t>business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530228" y="1668172"/>
            <a:ext cx="10958645" cy="176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448193">
              <a:spcAft>
                <a:spcPts val="588"/>
              </a:spcAft>
              <a:defRPr/>
            </a:pPr>
            <a:r>
              <a:rPr lang="en-US" sz="2745" dirty="0">
                <a:solidFill>
                  <a:srgbClr val="3F3F3F"/>
                </a:solidFill>
              </a:rPr>
              <a:t>Microsoft Azure is a flexible cloud platform that helps you grow with greater efficiency and be more responsive to change. </a:t>
            </a:r>
          </a:p>
          <a:p>
            <a:pPr defTabSz="448193">
              <a:spcAft>
                <a:spcPts val="588"/>
              </a:spcAft>
              <a:defRPr/>
            </a:pPr>
            <a:r>
              <a:rPr lang="en-US" sz="2745" dirty="0">
                <a:solidFill>
                  <a:srgbClr val="3F3F3F"/>
                </a:solidFill>
              </a:rPr>
              <a:t>With Azure, you can be up and running fast, scale up or down as needed, and avoid high capital costs—paying only for what you use. </a:t>
            </a:r>
          </a:p>
        </p:txBody>
      </p:sp>
      <p:pic>
        <p:nvPicPr>
          <p:cNvPr id="147" name="234E3E69-B6E6-4DE2-9A1A-8C7BDDF60F7A" descr="AD1FF4F6-FB19-49CA-9F4E-4274EED18E28@hsd1"/>
          <p:cNvPicPr>
            <a:picLocks noChangeAspect="1" noChangeArrowheads="1"/>
          </p:cNvPicPr>
          <p:nvPr/>
        </p:nvPicPr>
        <p:blipFill rotWithShape="1"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61" t="11969" r="3832" b="12528"/>
          <a:stretch/>
        </p:blipFill>
        <p:spPr bwMode="auto">
          <a:xfrm>
            <a:off x="7049425" y="3876721"/>
            <a:ext cx="4888868" cy="29780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 descr="\\SERVER\chillibreeze\ppt\NEW Microsoft Product Logos\Microsoft Azure\MS-Azure_rgb_Blk_D.png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41" t="13471" r="5521" b="13471"/>
          <a:stretch/>
        </p:blipFill>
        <p:spPr bwMode="auto">
          <a:xfrm>
            <a:off x="530227" y="5853484"/>
            <a:ext cx="2934870" cy="5570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55DB77-E0AE-A349-8FAE-C666923B773F}" type="slidenum">
              <a:rPr lang="en-US" smtClean="0">
                <a:solidFill>
                  <a:srgbClr val="3F3F3F"/>
                </a:solidFill>
              </a:rPr>
              <a:pPr/>
              <a:t>53</a:t>
            </a:fld>
            <a:endParaRPr lang="en-US" dirty="0">
              <a:solidFill>
                <a:srgbClr val="3F3F3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80438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6" name="Group 305"/>
          <p:cNvGrpSpPr/>
          <p:nvPr/>
        </p:nvGrpSpPr>
        <p:grpSpPr>
          <a:xfrm>
            <a:off x="1946338" y="1927396"/>
            <a:ext cx="6368912" cy="3876024"/>
            <a:chOff x="1946338" y="1927396"/>
            <a:chExt cx="6368912" cy="3876024"/>
          </a:xfrm>
        </p:grpSpPr>
        <p:grpSp>
          <p:nvGrpSpPr>
            <p:cNvPr id="154" name="Group 153"/>
            <p:cNvGrpSpPr/>
            <p:nvPr/>
          </p:nvGrpSpPr>
          <p:grpSpPr>
            <a:xfrm>
              <a:off x="1946338" y="3773499"/>
              <a:ext cx="6368912" cy="2029921"/>
              <a:chOff x="4058669" y="3760348"/>
              <a:chExt cx="8601943" cy="2741652"/>
            </a:xfrm>
          </p:grpSpPr>
          <p:sp>
            <p:nvSpPr>
              <p:cNvPr id="275" name="Rectangle 274"/>
              <p:cNvSpPr>
                <a:spLocks noChangeArrowheads="1"/>
              </p:cNvSpPr>
              <p:nvPr/>
            </p:nvSpPr>
            <p:spPr bwMode="auto">
              <a:xfrm>
                <a:off x="4058669" y="6406730"/>
                <a:ext cx="864501" cy="95270"/>
              </a:xfrm>
              <a:prstGeom prst="rect">
                <a:avLst/>
              </a:prstGeom>
              <a:solidFill>
                <a:srgbClr val="7FB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3231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6" name="Freeform 275"/>
              <p:cNvSpPr>
                <a:spLocks/>
              </p:cNvSpPr>
              <p:nvPr/>
            </p:nvSpPr>
            <p:spPr bwMode="auto">
              <a:xfrm>
                <a:off x="5240575" y="5160283"/>
                <a:ext cx="1595768" cy="1341717"/>
              </a:xfrm>
              <a:custGeom>
                <a:avLst/>
                <a:gdLst>
                  <a:gd name="T0" fmla="*/ 332 w 603"/>
                  <a:gd name="T1" fmla="*/ 86 h 507"/>
                  <a:gd name="T2" fmla="*/ 332 w 603"/>
                  <a:gd name="T3" fmla="*/ 0 h 507"/>
                  <a:gd name="T4" fmla="*/ 398 w 603"/>
                  <a:gd name="T5" fmla="*/ 0 h 507"/>
                  <a:gd name="T6" fmla="*/ 398 w 603"/>
                  <a:gd name="T7" fmla="*/ 86 h 507"/>
                  <a:gd name="T8" fmla="*/ 420 w 603"/>
                  <a:gd name="T9" fmla="*/ 86 h 507"/>
                  <a:gd name="T10" fmla="*/ 420 w 603"/>
                  <a:gd name="T11" fmla="*/ 0 h 507"/>
                  <a:gd name="T12" fmla="*/ 486 w 603"/>
                  <a:gd name="T13" fmla="*/ 0 h 507"/>
                  <a:gd name="T14" fmla="*/ 486 w 603"/>
                  <a:gd name="T15" fmla="*/ 86 h 507"/>
                  <a:gd name="T16" fmla="*/ 603 w 603"/>
                  <a:gd name="T17" fmla="*/ 86 h 507"/>
                  <a:gd name="T18" fmla="*/ 603 w 603"/>
                  <a:gd name="T19" fmla="*/ 106 h 507"/>
                  <a:gd name="T20" fmla="*/ 576 w 603"/>
                  <a:gd name="T21" fmla="*/ 106 h 507"/>
                  <a:gd name="T22" fmla="*/ 576 w 603"/>
                  <a:gd name="T23" fmla="*/ 507 h 507"/>
                  <a:gd name="T24" fmla="*/ 28 w 603"/>
                  <a:gd name="T25" fmla="*/ 507 h 507"/>
                  <a:gd name="T26" fmla="*/ 28 w 603"/>
                  <a:gd name="T27" fmla="*/ 106 h 507"/>
                  <a:gd name="T28" fmla="*/ 0 w 603"/>
                  <a:gd name="T29" fmla="*/ 106 h 507"/>
                  <a:gd name="T30" fmla="*/ 0 w 603"/>
                  <a:gd name="T31" fmla="*/ 86 h 507"/>
                  <a:gd name="T32" fmla="*/ 332 w 603"/>
                  <a:gd name="T33" fmla="*/ 86 h 5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03" h="507">
                    <a:moveTo>
                      <a:pt x="332" y="86"/>
                    </a:moveTo>
                    <a:lnTo>
                      <a:pt x="332" y="0"/>
                    </a:lnTo>
                    <a:lnTo>
                      <a:pt x="398" y="0"/>
                    </a:lnTo>
                    <a:lnTo>
                      <a:pt x="398" y="86"/>
                    </a:lnTo>
                    <a:lnTo>
                      <a:pt x="420" y="86"/>
                    </a:lnTo>
                    <a:lnTo>
                      <a:pt x="420" y="0"/>
                    </a:lnTo>
                    <a:lnTo>
                      <a:pt x="486" y="0"/>
                    </a:lnTo>
                    <a:lnTo>
                      <a:pt x="486" y="86"/>
                    </a:lnTo>
                    <a:lnTo>
                      <a:pt x="603" y="86"/>
                    </a:lnTo>
                    <a:lnTo>
                      <a:pt x="603" y="106"/>
                    </a:lnTo>
                    <a:lnTo>
                      <a:pt x="576" y="106"/>
                    </a:lnTo>
                    <a:lnTo>
                      <a:pt x="576" y="507"/>
                    </a:lnTo>
                    <a:lnTo>
                      <a:pt x="28" y="507"/>
                    </a:lnTo>
                    <a:lnTo>
                      <a:pt x="28" y="106"/>
                    </a:lnTo>
                    <a:lnTo>
                      <a:pt x="0" y="106"/>
                    </a:lnTo>
                    <a:lnTo>
                      <a:pt x="0" y="86"/>
                    </a:lnTo>
                    <a:lnTo>
                      <a:pt x="332" y="86"/>
                    </a:lnTo>
                    <a:close/>
                  </a:path>
                </a:pathLst>
              </a:custGeom>
              <a:solidFill>
                <a:sysClr val="window" lastClr="FFFFFF">
                  <a:lumMod val="75000"/>
                </a:sys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3231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7" name="Rectangle 276"/>
              <p:cNvSpPr>
                <a:spLocks noChangeArrowheads="1"/>
              </p:cNvSpPr>
              <p:nvPr/>
            </p:nvSpPr>
            <p:spPr bwMode="auto">
              <a:xfrm>
                <a:off x="5973622" y="6406730"/>
                <a:ext cx="545155" cy="95270"/>
              </a:xfrm>
              <a:prstGeom prst="rect">
                <a:avLst/>
              </a:prstGeom>
              <a:solidFill>
                <a:srgbClr val="7FB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3231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8" name="Freeform 277"/>
              <p:cNvSpPr>
                <a:spLocks/>
              </p:cNvSpPr>
              <p:nvPr/>
            </p:nvSpPr>
            <p:spPr bwMode="auto">
              <a:xfrm>
                <a:off x="6913338" y="5160283"/>
                <a:ext cx="1595768" cy="1341717"/>
              </a:xfrm>
              <a:custGeom>
                <a:avLst/>
                <a:gdLst>
                  <a:gd name="T0" fmla="*/ 333 w 603"/>
                  <a:gd name="T1" fmla="*/ 86 h 507"/>
                  <a:gd name="T2" fmla="*/ 333 w 603"/>
                  <a:gd name="T3" fmla="*/ 0 h 507"/>
                  <a:gd name="T4" fmla="*/ 397 w 603"/>
                  <a:gd name="T5" fmla="*/ 0 h 507"/>
                  <a:gd name="T6" fmla="*/ 397 w 603"/>
                  <a:gd name="T7" fmla="*/ 86 h 507"/>
                  <a:gd name="T8" fmla="*/ 420 w 603"/>
                  <a:gd name="T9" fmla="*/ 86 h 507"/>
                  <a:gd name="T10" fmla="*/ 420 w 603"/>
                  <a:gd name="T11" fmla="*/ 0 h 507"/>
                  <a:gd name="T12" fmla="*/ 486 w 603"/>
                  <a:gd name="T13" fmla="*/ 0 h 507"/>
                  <a:gd name="T14" fmla="*/ 486 w 603"/>
                  <a:gd name="T15" fmla="*/ 86 h 507"/>
                  <a:gd name="T16" fmla="*/ 603 w 603"/>
                  <a:gd name="T17" fmla="*/ 86 h 507"/>
                  <a:gd name="T18" fmla="*/ 603 w 603"/>
                  <a:gd name="T19" fmla="*/ 106 h 507"/>
                  <a:gd name="T20" fmla="*/ 576 w 603"/>
                  <a:gd name="T21" fmla="*/ 106 h 507"/>
                  <a:gd name="T22" fmla="*/ 576 w 603"/>
                  <a:gd name="T23" fmla="*/ 507 h 507"/>
                  <a:gd name="T24" fmla="*/ 28 w 603"/>
                  <a:gd name="T25" fmla="*/ 507 h 507"/>
                  <a:gd name="T26" fmla="*/ 28 w 603"/>
                  <a:gd name="T27" fmla="*/ 106 h 507"/>
                  <a:gd name="T28" fmla="*/ 0 w 603"/>
                  <a:gd name="T29" fmla="*/ 106 h 507"/>
                  <a:gd name="T30" fmla="*/ 0 w 603"/>
                  <a:gd name="T31" fmla="*/ 86 h 507"/>
                  <a:gd name="T32" fmla="*/ 333 w 603"/>
                  <a:gd name="T33" fmla="*/ 86 h 5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03" h="507">
                    <a:moveTo>
                      <a:pt x="333" y="86"/>
                    </a:moveTo>
                    <a:lnTo>
                      <a:pt x="333" y="0"/>
                    </a:lnTo>
                    <a:lnTo>
                      <a:pt x="397" y="0"/>
                    </a:lnTo>
                    <a:lnTo>
                      <a:pt x="397" y="86"/>
                    </a:lnTo>
                    <a:lnTo>
                      <a:pt x="420" y="86"/>
                    </a:lnTo>
                    <a:lnTo>
                      <a:pt x="420" y="0"/>
                    </a:lnTo>
                    <a:lnTo>
                      <a:pt x="486" y="0"/>
                    </a:lnTo>
                    <a:lnTo>
                      <a:pt x="486" y="86"/>
                    </a:lnTo>
                    <a:lnTo>
                      <a:pt x="603" y="86"/>
                    </a:lnTo>
                    <a:lnTo>
                      <a:pt x="603" y="106"/>
                    </a:lnTo>
                    <a:lnTo>
                      <a:pt x="576" y="106"/>
                    </a:lnTo>
                    <a:lnTo>
                      <a:pt x="576" y="507"/>
                    </a:lnTo>
                    <a:lnTo>
                      <a:pt x="28" y="507"/>
                    </a:lnTo>
                    <a:lnTo>
                      <a:pt x="28" y="106"/>
                    </a:lnTo>
                    <a:lnTo>
                      <a:pt x="0" y="106"/>
                    </a:lnTo>
                    <a:lnTo>
                      <a:pt x="0" y="86"/>
                    </a:lnTo>
                    <a:lnTo>
                      <a:pt x="333" y="86"/>
                    </a:lnTo>
                    <a:close/>
                  </a:path>
                </a:pathLst>
              </a:custGeom>
              <a:solidFill>
                <a:sysClr val="window" lastClr="FFFFFF">
                  <a:lumMod val="75000"/>
                </a:sys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3231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9" name="Freeform 278"/>
              <p:cNvSpPr>
                <a:spLocks/>
              </p:cNvSpPr>
              <p:nvPr/>
            </p:nvSpPr>
            <p:spPr bwMode="auto">
              <a:xfrm>
                <a:off x="4399025" y="5160283"/>
                <a:ext cx="1595768" cy="1341717"/>
              </a:xfrm>
              <a:custGeom>
                <a:avLst/>
                <a:gdLst>
                  <a:gd name="T0" fmla="*/ 333 w 603"/>
                  <a:gd name="T1" fmla="*/ 86 h 507"/>
                  <a:gd name="T2" fmla="*/ 333 w 603"/>
                  <a:gd name="T3" fmla="*/ 0 h 507"/>
                  <a:gd name="T4" fmla="*/ 397 w 603"/>
                  <a:gd name="T5" fmla="*/ 0 h 507"/>
                  <a:gd name="T6" fmla="*/ 397 w 603"/>
                  <a:gd name="T7" fmla="*/ 86 h 507"/>
                  <a:gd name="T8" fmla="*/ 420 w 603"/>
                  <a:gd name="T9" fmla="*/ 86 h 507"/>
                  <a:gd name="T10" fmla="*/ 420 w 603"/>
                  <a:gd name="T11" fmla="*/ 0 h 507"/>
                  <a:gd name="T12" fmla="*/ 486 w 603"/>
                  <a:gd name="T13" fmla="*/ 0 h 507"/>
                  <a:gd name="T14" fmla="*/ 486 w 603"/>
                  <a:gd name="T15" fmla="*/ 86 h 507"/>
                  <a:gd name="T16" fmla="*/ 603 w 603"/>
                  <a:gd name="T17" fmla="*/ 86 h 507"/>
                  <a:gd name="T18" fmla="*/ 603 w 603"/>
                  <a:gd name="T19" fmla="*/ 106 h 507"/>
                  <a:gd name="T20" fmla="*/ 576 w 603"/>
                  <a:gd name="T21" fmla="*/ 106 h 507"/>
                  <a:gd name="T22" fmla="*/ 576 w 603"/>
                  <a:gd name="T23" fmla="*/ 507 h 507"/>
                  <a:gd name="T24" fmla="*/ 28 w 603"/>
                  <a:gd name="T25" fmla="*/ 507 h 507"/>
                  <a:gd name="T26" fmla="*/ 28 w 603"/>
                  <a:gd name="T27" fmla="*/ 106 h 507"/>
                  <a:gd name="T28" fmla="*/ 0 w 603"/>
                  <a:gd name="T29" fmla="*/ 106 h 507"/>
                  <a:gd name="T30" fmla="*/ 0 w 603"/>
                  <a:gd name="T31" fmla="*/ 86 h 507"/>
                  <a:gd name="T32" fmla="*/ 333 w 603"/>
                  <a:gd name="T33" fmla="*/ 86 h 5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03" h="507">
                    <a:moveTo>
                      <a:pt x="333" y="86"/>
                    </a:moveTo>
                    <a:lnTo>
                      <a:pt x="333" y="0"/>
                    </a:lnTo>
                    <a:lnTo>
                      <a:pt x="397" y="0"/>
                    </a:lnTo>
                    <a:lnTo>
                      <a:pt x="397" y="86"/>
                    </a:lnTo>
                    <a:lnTo>
                      <a:pt x="420" y="86"/>
                    </a:lnTo>
                    <a:lnTo>
                      <a:pt x="420" y="0"/>
                    </a:lnTo>
                    <a:lnTo>
                      <a:pt x="486" y="0"/>
                    </a:lnTo>
                    <a:lnTo>
                      <a:pt x="486" y="86"/>
                    </a:lnTo>
                    <a:lnTo>
                      <a:pt x="603" y="86"/>
                    </a:lnTo>
                    <a:lnTo>
                      <a:pt x="603" y="106"/>
                    </a:lnTo>
                    <a:lnTo>
                      <a:pt x="576" y="106"/>
                    </a:lnTo>
                    <a:lnTo>
                      <a:pt x="576" y="507"/>
                    </a:lnTo>
                    <a:lnTo>
                      <a:pt x="28" y="507"/>
                    </a:lnTo>
                    <a:lnTo>
                      <a:pt x="28" y="106"/>
                    </a:lnTo>
                    <a:lnTo>
                      <a:pt x="0" y="106"/>
                    </a:lnTo>
                    <a:lnTo>
                      <a:pt x="0" y="86"/>
                    </a:lnTo>
                    <a:lnTo>
                      <a:pt x="333" y="86"/>
                    </a:lnTo>
                    <a:close/>
                  </a:path>
                </a:pathLst>
              </a:custGeom>
              <a:solidFill>
                <a:sysClr val="window" lastClr="FFFFFF">
                  <a:lumMod val="75000"/>
                </a:sys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3231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80" name="Rectangle 279"/>
              <p:cNvSpPr>
                <a:spLocks noChangeArrowheads="1"/>
              </p:cNvSpPr>
              <p:nvPr/>
            </p:nvSpPr>
            <p:spPr bwMode="auto">
              <a:xfrm>
                <a:off x="6404983" y="4689227"/>
                <a:ext cx="1452863" cy="1812773"/>
              </a:xfrm>
              <a:prstGeom prst="rect">
                <a:avLst/>
              </a:prstGeom>
              <a:solidFill>
                <a:srgbClr val="AB008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3231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81" name="Rectangle 280"/>
              <p:cNvSpPr>
                <a:spLocks noChangeArrowheads="1"/>
              </p:cNvSpPr>
              <p:nvPr/>
            </p:nvSpPr>
            <p:spPr bwMode="auto">
              <a:xfrm>
                <a:off x="6333530" y="4633654"/>
                <a:ext cx="1593122" cy="55575"/>
              </a:xfrm>
              <a:prstGeom prst="rect">
                <a:avLst/>
              </a:prstGeom>
              <a:solidFill>
                <a:srgbClr val="AB008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3231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82" name="Rectangle 281"/>
              <p:cNvSpPr>
                <a:spLocks noChangeArrowheads="1"/>
              </p:cNvSpPr>
              <p:nvPr/>
            </p:nvSpPr>
            <p:spPr bwMode="auto">
              <a:xfrm>
                <a:off x="7204190" y="6134152"/>
                <a:ext cx="187892" cy="367848"/>
              </a:xfrm>
              <a:prstGeom prst="rect">
                <a:avLst/>
              </a:prstGeom>
              <a:solidFill>
                <a:srgbClr val="AB0086">
                  <a:lumMod val="5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3231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83" name="Rectangle 282"/>
              <p:cNvSpPr>
                <a:spLocks noChangeArrowheads="1"/>
              </p:cNvSpPr>
              <p:nvPr/>
            </p:nvSpPr>
            <p:spPr bwMode="auto">
              <a:xfrm>
                <a:off x="6876039" y="6134152"/>
                <a:ext cx="190540" cy="367848"/>
              </a:xfrm>
              <a:prstGeom prst="rect">
                <a:avLst/>
              </a:prstGeom>
              <a:solidFill>
                <a:srgbClr val="AB0086">
                  <a:lumMod val="5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3231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84" name="Rectangle 283"/>
              <p:cNvSpPr>
                <a:spLocks noChangeArrowheads="1"/>
              </p:cNvSpPr>
              <p:nvPr/>
            </p:nvSpPr>
            <p:spPr bwMode="auto">
              <a:xfrm>
                <a:off x="6550533" y="4853303"/>
                <a:ext cx="1169701" cy="187894"/>
              </a:xfrm>
              <a:prstGeom prst="rect">
                <a:avLst/>
              </a:prstGeom>
              <a:solidFill>
                <a:srgbClr val="AB0086">
                  <a:lumMod val="5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3231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85" name="Rectangle 284"/>
              <p:cNvSpPr>
                <a:spLocks noChangeArrowheads="1"/>
              </p:cNvSpPr>
              <p:nvPr/>
            </p:nvSpPr>
            <p:spPr bwMode="auto">
              <a:xfrm>
                <a:off x="6550533" y="5178809"/>
                <a:ext cx="1169701" cy="190540"/>
              </a:xfrm>
              <a:prstGeom prst="rect">
                <a:avLst/>
              </a:prstGeom>
              <a:solidFill>
                <a:srgbClr val="AB0086">
                  <a:lumMod val="5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3231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86" name="Rectangle 285"/>
              <p:cNvSpPr>
                <a:spLocks noChangeArrowheads="1"/>
              </p:cNvSpPr>
              <p:nvPr/>
            </p:nvSpPr>
            <p:spPr bwMode="auto">
              <a:xfrm>
                <a:off x="6550533" y="5504313"/>
                <a:ext cx="1169701" cy="190540"/>
              </a:xfrm>
              <a:prstGeom prst="rect">
                <a:avLst/>
              </a:prstGeom>
              <a:solidFill>
                <a:srgbClr val="AB0086">
                  <a:lumMod val="5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3231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87" name="Rectangle 286"/>
              <p:cNvSpPr>
                <a:spLocks noChangeArrowheads="1"/>
              </p:cNvSpPr>
              <p:nvPr/>
            </p:nvSpPr>
            <p:spPr bwMode="auto">
              <a:xfrm>
                <a:off x="6550533" y="5829819"/>
                <a:ext cx="1169701" cy="190540"/>
              </a:xfrm>
              <a:prstGeom prst="rect">
                <a:avLst/>
              </a:prstGeom>
              <a:solidFill>
                <a:srgbClr val="AB0086">
                  <a:lumMod val="5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3231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88" name="Rectangle 287"/>
              <p:cNvSpPr>
                <a:spLocks noChangeArrowheads="1"/>
              </p:cNvSpPr>
              <p:nvPr/>
            </p:nvSpPr>
            <p:spPr bwMode="auto">
              <a:xfrm>
                <a:off x="7857839" y="6440250"/>
                <a:ext cx="4802773" cy="61749"/>
              </a:xfrm>
              <a:prstGeom prst="rect">
                <a:avLst/>
              </a:prstGeom>
              <a:solidFill>
                <a:srgbClr val="7FB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3231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89" name="Rectangle 288"/>
              <p:cNvSpPr>
                <a:spLocks noChangeArrowheads="1"/>
              </p:cNvSpPr>
              <p:nvPr/>
            </p:nvSpPr>
            <p:spPr bwMode="auto">
              <a:xfrm>
                <a:off x="4245360" y="6097103"/>
                <a:ext cx="84683" cy="309628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3231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90" name="Oval 289"/>
              <p:cNvSpPr>
                <a:spLocks noChangeArrowheads="1"/>
              </p:cNvSpPr>
              <p:nvPr/>
            </p:nvSpPr>
            <p:spPr bwMode="auto">
              <a:xfrm>
                <a:off x="4083930" y="5821879"/>
                <a:ext cx="412837" cy="412835"/>
              </a:xfrm>
              <a:prstGeom prst="ellipse">
                <a:avLst/>
              </a:prstGeom>
              <a:solidFill>
                <a:srgbClr val="7FB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3231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91" name="Oval 290"/>
              <p:cNvSpPr>
                <a:spLocks noChangeArrowheads="1"/>
              </p:cNvSpPr>
              <p:nvPr/>
            </p:nvSpPr>
            <p:spPr bwMode="auto">
              <a:xfrm>
                <a:off x="4136857" y="5610168"/>
                <a:ext cx="306980" cy="301688"/>
              </a:xfrm>
              <a:prstGeom prst="ellipse">
                <a:avLst/>
              </a:prstGeom>
              <a:solidFill>
                <a:srgbClr val="7FB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3231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92" name="Rectangle 291"/>
              <p:cNvSpPr>
                <a:spLocks noChangeArrowheads="1"/>
              </p:cNvSpPr>
              <p:nvPr/>
            </p:nvSpPr>
            <p:spPr bwMode="auto">
              <a:xfrm>
                <a:off x="6640510" y="4408711"/>
                <a:ext cx="563679" cy="224943"/>
              </a:xfrm>
              <a:prstGeom prst="rect">
                <a:avLst/>
              </a:prstGeom>
              <a:solidFill>
                <a:sysClr val="window" lastClr="FFFFFF">
                  <a:lumMod val="75000"/>
                </a:sys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3231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93" name="Rectangle 292"/>
              <p:cNvSpPr>
                <a:spLocks noChangeArrowheads="1"/>
              </p:cNvSpPr>
              <p:nvPr/>
            </p:nvSpPr>
            <p:spPr bwMode="auto">
              <a:xfrm>
                <a:off x="4634553" y="4040865"/>
                <a:ext cx="1450216" cy="2461135"/>
              </a:xfrm>
              <a:prstGeom prst="rect">
                <a:avLst/>
              </a:prstGeom>
              <a:solidFill>
                <a:srgbClr val="9B4F9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3231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94" name="Rectangle 293"/>
              <p:cNvSpPr>
                <a:spLocks noChangeArrowheads="1"/>
              </p:cNvSpPr>
              <p:nvPr/>
            </p:nvSpPr>
            <p:spPr bwMode="auto">
              <a:xfrm>
                <a:off x="4560454" y="3987937"/>
                <a:ext cx="1595768" cy="52928"/>
              </a:xfrm>
              <a:prstGeom prst="rect">
                <a:avLst/>
              </a:prstGeom>
              <a:solidFill>
                <a:srgbClr val="9B4F9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3231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95" name="Rectangle 294"/>
              <p:cNvSpPr>
                <a:spLocks noChangeArrowheads="1"/>
              </p:cNvSpPr>
              <p:nvPr/>
            </p:nvSpPr>
            <p:spPr bwMode="auto">
              <a:xfrm>
                <a:off x="5431114" y="6134152"/>
                <a:ext cx="190540" cy="367848"/>
              </a:xfrm>
              <a:prstGeom prst="rect">
                <a:avLst/>
              </a:prstGeom>
              <a:solidFill>
                <a:srgbClr val="663300">
                  <a:lumMod val="75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3231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96" name="Rectangle 295"/>
              <p:cNvSpPr>
                <a:spLocks noChangeArrowheads="1"/>
              </p:cNvSpPr>
              <p:nvPr/>
            </p:nvSpPr>
            <p:spPr bwMode="auto">
              <a:xfrm>
                <a:off x="5102963" y="6134152"/>
                <a:ext cx="187892" cy="367848"/>
              </a:xfrm>
              <a:prstGeom prst="rect">
                <a:avLst/>
              </a:prstGeom>
              <a:solidFill>
                <a:srgbClr val="663300">
                  <a:lumMod val="75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3231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97" name="Rectangle 296"/>
              <p:cNvSpPr>
                <a:spLocks noChangeArrowheads="1"/>
              </p:cNvSpPr>
              <p:nvPr/>
            </p:nvSpPr>
            <p:spPr bwMode="auto">
              <a:xfrm>
                <a:off x="4774812" y="4853303"/>
                <a:ext cx="1172346" cy="187894"/>
              </a:xfrm>
              <a:prstGeom prst="rect">
                <a:avLst/>
              </a:prstGeom>
              <a:solidFill>
                <a:srgbClr val="663300">
                  <a:lumMod val="75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3231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98" name="Rectangle 297"/>
              <p:cNvSpPr>
                <a:spLocks noChangeArrowheads="1"/>
              </p:cNvSpPr>
              <p:nvPr/>
            </p:nvSpPr>
            <p:spPr bwMode="auto">
              <a:xfrm>
                <a:off x="4774812" y="5178809"/>
                <a:ext cx="1172346" cy="190540"/>
              </a:xfrm>
              <a:prstGeom prst="rect">
                <a:avLst/>
              </a:prstGeom>
              <a:solidFill>
                <a:srgbClr val="663300">
                  <a:lumMod val="75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3231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99" name="Rectangle 298"/>
              <p:cNvSpPr>
                <a:spLocks noChangeArrowheads="1"/>
              </p:cNvSpPr>
              <p:nvPr/>
            </p:nvSpPr>
            <p:spPr bwMode="auto">
              <a:xfrm>
                <a:off x="4774812" y="5504313"/>
                <a:ext cx="1172346" cy="190540"/>
              </a:xfrm>
              <a:prstGeom prst="rect">
                <a:avLst/>
              </a:prstGeom>
              <a:solidFill>
                <a:srgbClr val="663300">
                  <a:lumMod val="75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3231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00" name="Rectangle 299"/>
              <p:cNvSpPr>
                <a:spLocks noChangeArrowheads="1"/>
              </p:cNvSpPr>
              <p:nvPr/>
            </p:nvSpPr>
            <p:spPr bwMode="auto">
              <a:xfrm>
                <a:off x="4774812" y="5829819"/>
                <a:ext cx="1172346" cy="190540"/>
              </a:xfrm>
              <a:prstGeom prst="rect">
                <a:avLst/>
              </a:prstGeom>
              <a:solidFill>
                <a:srgbClr val="663300">
                  <a:lumMod val="75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3231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01" name="Rectangle 300"/>
              <p:cNvSpPr>
                <a:spLocks noChangeArrowheads="1"/>
              </p:cNvSpPr>
              <p:nvPr/>
            </p:nvSpPr>
            <p:spPr bwMode="auto">
              <a:xfrm>
                <a:off x="4774812" y="4202293"/>
                <a:ext cx="1172346" cy="187894"/>
              </a:xfrm>
              <a:prstGeom prst="rect">
                <a:avLst/>
              </a:prstGeom>
              <a:solidFill>
                <a:srgbClr val="663300">
                  <a:lumMod val="75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3231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02" name="Rectangle 301"/>
              <p:cNvSpPr>
                <a:spLocks noChangeArrowheads="1"/>
              </p:cNvSpPr>
              <p:nvPr/>
            </p:nvSpPr>
            <p:spPr bwMode="auto">
              <a:xfrm>
                <a:off x="4774812" y="4527799"/>
                <a:ext cx="1172346" cy="187894"/>
              </a:xfrm>
              <a:prstGeom prst="rect">
                <a:avLst/>
              </a:prstGeom>
              <a:solidFill>
                <a:srgbClr val="663300">
                  <a:lumMod val="75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3231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03" name="Rectangle 302"/>
              <p:cNvSpPr>
                <a:spLocks noChangeArrowheads="1"/>
              </p:cNvSpPr>
              <p:nvPr/>
            </p:nvSpPr>
            <p:spPr bwMode="auto">
              <a:xfrm>
                <a:off x="5671934" y="3760348"/>
                <a:ext cx="174661" cy="227589"/>
              </a:xfrm>
              <a:prstGeom prst="rect">
                <a:avLst/>
              </a:prstGeom>
              <a:solidFill>
                <a:sysClr val="window" lastClr="FFFFFF">
                  <a:lumMod val="75000"/>
                </a:sys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3231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04" name="Rectangle 303"/>
              <p:cNvSpPr>
                <a:spLocks noChangeArrowheads="1"/>
              </p:cNvSpPr>
              <p:nvPr/>
            </p:nvSpPr>
            <p:spPr bwMode="auto">
              <a:xfrm>
                <a:off x="5439053" y="3760348"/>
                <a:ext cx="172014" cy="227589"/>
              </a:xfrm>
              <a:prstGeom prst="rect">
                <a:avLst/>
              </a:prstGeom>
              <a:solidFill>
                <a:sysClr val="window" lastClr="FFFFFF">
                  <a:lumMod val="75000"/>
                </a:sys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3231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05" name="Freeform 304"/>
              <p:cNvSpPr>
                <a:spLocks/>
              </p:cNvSpPr>
              <p:nvPr/>
            </p:nvSpPr>
            <p:spPr bwMode="auto">
              <a:xfrm>
                <a:off x="7479414" y="4220819"/>
                <a:ext cx="378432" cy="412836"/>
              </a:xfrm>
              <a:custGeom>
                <a:avLst/>
                <a:gdLst>
                  <a:gd name="T0" fmla="*/ 71 w 143"/>
                  <a:gd name="T1" fmla="*/ 0 h 156"/>
                  <a:gd name="T2" fmla="*/ 71 w 143"/>
                  <a:gd name="T3" fmla="*/ 0 h 156"/>
                  <a:gd name="T4" fmla="*/ 0 w 143"/>
                  <a:gd name="T5" fmla="*/ 156 h 156"/>
                  <a:gd name="T6" fmla="*/ 143 w 143"/>
                  <a:gd name="T7" fmla="*/ 156 h 156"/>
                  <a:gd name="T8" fmla="*/ 71 w 143"/>
                  <a:gd name="T9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3" h="156">
                    <a:moveTo>
                      <a:pt x="71" y="0"/>
                    </a:moveTo>
                    <a:lnTo>
                      <a:pt x="71" y="0"/>
                    </a:lnTo>
                    <a:lnTo>
                      <a:pt x="0" y="156"/>
                    </a:lnTo>
                    <a:lnTo>
                      <a:pt x="143" y="156"/>
                    </a:lnTo>
                    <a:lnTo>
                      <a:pt x="71" y="0"/>
                    </a:lnTo>
                    <a:close/>
                  </a:path>
                </a:pathLst>
              </a:custGeom>
              <a:solidFill>
                <a:srgbClr val="AB008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3231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sp>
          <p:nvSpPr>
            <p:cNvPr id="155" name="Freeform 154"/>
            <p:cNvSpPr/>
            <p:nvPr/>
          </p:nvSpPr>
          <p:spPr bwMode="auto">
            <a:xfrm>
              <a:off x="5576026" y="5142182"/>
              <a:ext cx="125556" cy="604370"/>
            </a:xfrm>
            <a:custGeom>
              <a:avLst/>
              <a:gdLst>
                <a:gd name="connsiteX0" fmla="*/ 0 w 140494"/>
                <a:gd name="connsiteY0" fmla="*/ 14288 h 676275"/>
                <a:gd name="connsiteX1" fmla="*/ 19050 w 140494"/>
                <a:gd name="connsiteY1" fmla="*/ 676275 h 676275"/>
                <a:gd name="connsiteX2" fmla="*/ 133350 w 140494"/>
                <a:gd name="connsiteY2" fmla="*/ 664369 h 676275"/>
                <a:gd name="connsiteX3" fmla="*/ 140494 w 140494"/>
                <a:gd name="connsiteY3" fmla="*/ 0 h 676275"/>
                <a:gd name="connsiteX4" fmla="*/ 0 w 140494"/>
                <a:gd name="connsiteY4" fmla="*/ 14288 h 676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0494" h="676275">
                  <a:moveTo>
                    <a:pt x="0" y="14288"/>
                  </a:moveTo>
                  <a:lnTo>
                    <a:pt x="19050" y="676275"/>
                  </a:lnTo>
                  <a:lnTo>
                    <a:pt x="133350" y="664369"/>
                  </a:lnTo>
                  <a:cubicBezTo>
                    <a:pt x="135731" y="442913"/>
                    <a:pt x="138113" y="221456"/>
                    <a:pt x="140494" y="0"/>
                  </a:cubicBezTo>
                  <a:lnTo>
                    <a:pt x="0" y="14288"/>
                  </a:lnTo>
                  <a:close/>
                </a:path>
              </a:pathLst>
            </a:custGeom>
            <a:solidFill>
              <a:srgbClr val="FFC00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3247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 smtClean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56" name="Freeform 155"/>
            <p:cNvSpPr/>
            <p:nvPr/>
          </p:nvSpPr>
          <p:spPr bwMode="auto">
            <a:xfrm>
              <a:off x="5722862" y="5142182"/>
              <a:ext cx="125556" cy="604370"/>
            </a:xfrm>
            <a:custGeom>
              <a:avLst/>
              <a:gdLst>
                <a:gd name="connsiteX0" fmla="*/ 0 w 140494"/>
                <a:gd name="connsiteY0" fmla="*/ 14288 h 676275"/>
                <a:gd name="connsiteX1" fmla="*/ 19050 w 140494"/>
                <a:gd name="connsiteY1" fmla="*/ 676275 h 676275"/>
                <a:gd name="connsiteX2" fmla="*/ 133350 w 140494"/>
                <a:gd name="connsiteY2" fmla="*/ 664369 h 676275"/>
                <a:gd name="connsiteX3" fmla="*/ 140494 w 140494"/>
                <a:gd name="connsiteY3" fmla="*/ 0 h 676275"/>
                <a:gd name="connsiteX4" fmla="*/ 0 w 140494"/>
                <a:gd name="connsiteY4" fmla="*/ 14288 h 676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0494" h="676275">
                  <a:moveTo>
                    <a:pt x="0" y="14288"/>
                  </a:moveTo>
                  <a:lnTo>
                    <a:pt x="19050" y="676275"/>
                  </a:lnTo>
                  <a:lnTo>
                    <a:pt x="133350" y="664369"/>
                  </a:lnTo>
                  <a:cubicBezTo>
                    <a:pt x="135731" y="442913"/>
                    <a:pt x="138113" y="221456"/>
                    <a:pt x="140494" y="0"/>
                  </a:cubicBezTo>
                  <a:lnTo>
                    <a:pt x="0" y="14288"/>
                  </a:lnTo>
                  <a:close/>
                </a:path>
              </a:pathLst>
            </a:custGeom>
            <a:solidFill>
              <a:srgbClr val="FFC00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3247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 smtClean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57" name="Freeform 156"/>
            <p:cNvSpPr/>
            <p:nvPr/>
          </p:nvSpPr>
          <p:spPr bwMode="auto">
            <a:xfrm>
              <a:off x="5510056" y="4710186"/>
              <a:ext cx="389436" cy="457533"/>
            </a:xfrm>
            <a:custGeom>
              <a:avLst/>
              <a:gdLst>
                <a:gd name="connsiteX0" fmla="*/ 0 w 435769"/>
                <a:gd name="connsiteY0" fmla="*/ 14287 h 511968"/>
                <a:gd name="connsiteX1" fmla="*/ 23813 w 435769"/>
                <a:gd name="connsiteY1" fmla="*/ 511968 h 511968"/>
                <a:gd name="connsiteX2" fmla="*/ 421482 w 435769"/>
                <a:gd name="connsiteY2" fmla="*/ 511968 h 511968"/>
                <a:gd name="connsiteX3" fmla="*/ 435769 w 435769"/>
                <a:gd name="connsiteY3" fmla="*/ 0 h 511968"/>
                <a:gd name="connsiteX4" fmla="*/ 0 w 435769"/>
                <a:gd name="connsiteY4" fmla="*/ 14287 h 511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5769" h="511968">
                  <a:moveTo>
                    <a:pt x="0" y="14287"/>
                  </a:moveTo>
                  <a:lnTo>
                    <a:pt x="23813" y="511968"/>
                  </a:lnTo>
                  <a:lnTo>
                    <a:pt x="421482" y="511968"/>
                  </a:lnTo>
                  <a:lnTo>
                    <a:pt x="435769" y="0"/>
                  </a:lnTo>
                  <a:lnTo>
                    <a:pt x="0" y="14287"/>
                  </a:lnTo>
                  <a:close/>
                </a:path>
              </a:pathLst>
            </a:custGeom>
            <a:solidFill>
              <a:srgbClr val="FD7425">
                <a:lumMod val="7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3247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 smtClean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58" name="Freeform 157"/>
            <p:cNvSpPr/>
            <p:nvPr/>
          </p:nvSpPr>
          <p:spPr bwMode="auto">
            <a:xfrm>
              <a:off x="5536850" y="3871728"/>
              <a:ext cx="127136" cy="117302"/>
            </a:xfrm>
            <a:custGeom>
              <a:avLst/>
              <a:gdLst>
                <a:gd name="connsiteX0" fmla="*/ 41275 w 123825"/>
                <a:gd name="connsiteY0" fmla="*/ 0 h 127000"/>
                <a:gd name="connsiteX1" fmla="*/ 0 w 123825"/>
                <a:gd name="connsiteY1" fmla="*/ 34925 h 127000"/>
                <a:gd name="connsiteX2" fmla="*/ 104775 w 123825"/>
                <a:gd name="connsiteY2" fmla="*/ 127000 h 127000"/>
                <a:gd name="connsiteX3" fmla="*/ 123825 w 123825"/>
                <a:gd name="connsiteY3" fmla="*/ 15875 h 127000"/>
                <a:gd name="connsiteX4" fmla="*/ 41275 w 123825"/>
                <a:gd name="connsiteY4" fmla="*/ 0 h 127000"/>
                <a:gd name="connsiteX0" fmla="*/ 57150 w 139700"/>
                <a:gd name="connsiteY0" fmla="*/ 0 h 127000"/>
                <a:gd name="connsiteX1" fmla="*/ 0 w 139700"/>
                <a:gd name="connsiteY1" fmla="*/ 34925 h 127000"/>
                <a:gd name="connsiteX2" fmla="*/ 120650 w 139700"/>
                <a:gd name="connsiteY2" fmla="*/ 127000 h 127000"/>
                <a:gd name="connsiteX3" fmla="*/ 139700 w 139700"/>
                <a:gd name="connsiteY3" fmla="*/ 15875 h 127000"/>
                <a:gd name="connsiteX4" fmla="*/ 57150 w 139700"/>
                <a:gd name="connsiteY4" fmla="*/ 0 h 127000"/>
                <a:gd name="connsiteX0" fmla="*/ 57150 w 139700"/>
                <a:gd name="connsiteY0" fmla="*/ 0 h 127000"/>
                <a:gd name="connsiteX1" fmla="*/ 0 w 139700"/>
                <a:gd name="connsiteY1" fmla="*/ 34925 h 127000"/>
                <a:gd name="connsiteX2" fmla="*/ 120650 w 139700"/>
                <a:gd name="connsiteY2" fmla="*/ 127000 h 127000"/>
                <a:gd name="connsiteX3" fmla="*/ 139700 w 139700"/>
                <a:gd name="connsiteY3" fmla="*/ 15875 h 127000"/>
                <a:gd name="connsiteX4" fmla="*/ 57150 w 139700"/>
                <a:gd name="connsiteY4" fmla="*/ 0 h 127000"/>
                <a:gd name="connsiteX0" fmla="*/ 59779 w 142329"/>
                <a:gd name="connsiteY0" fmla="*/ 0 h 127000"/>
                <a:gd name="connsiteX1" fmla="*/ 2629 w 142329"/>
                <a:gd name="connsiteY1" fmla="*/ 34925 h 127000"/>
                <a:gd name="connsiteX2" fmla="*/ 123279 w 142329"/>
                <a:gd name="connsiteY2" fmla="*/ 127000 h 127000"/>
                <a:gd name="connsiteX3" fmla="*/ 142329 w 142329"/>
                <a:gd name="connsiteY3" fmla="*/ 15875 h 127000"/>
                <a:gd name="connsiteX4" fmla="*/ 59779 w 142329"/>
                <a:gd name="connsiteY4" fmla="*/ 0 h 127000"/>
                <a:gd name="connsiteX0" fmla="*/ 59712 w 142262"/>
                <a:gd name="connsiteY0" fmla="*/ 0 h 131258"/>
                <a:gd name="connsiteX1" fmla="*/ 2562 w 142262"/>
                <a:gd name="connsiteY1" fmla="*/ 34925 h 131258"/>
                <a:gd name="connsiteX2" fmla="*/ 123212 w 142262"/>
                <a:gd name="connsiteY2" fmla="*/ 127000 h 131258"/>
                <a:gd name="connsiteX3" fmla="*/ 142262 w 142262"/>
                <a:gd name="connsiteY3" fmla="*/ 15875 h 131258"/>
                <a:gd name="connsiteX4" fmla="*/ 59712 w 142262"/>
                <a:gd name="connsiteY4" fmla="*/ 0 h 131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262" h="131258">
                  <a:moveTo>
                    <a:pt x="59712" y="0"/>
                  </a:moveTo>
                  <a:cubicBezTo>
                    <a:pt x="78762" y="94192"/>
                    <a:pt x="21612" y="23283"/>
                    <a:pt x="2562" y="34925"/>
                  </a:cubicBezTo>
                  <a:cubicBezTo>
                    <a:pt x="-17546" y="144992"/>
                    <a:pt x="86170" y="134408"/>
                    <a:pt x="123212" y="127000"/>
                  </a:cubicBezTo>
                  <a:lnTo>
                    <a:pt x="142262" y="15875"/>
                  </a:lnTo>
                  <a:lnTo>
                    <a:pt x="59712" y="0"/>
                  </a:lnTo>
                  <a:close/>
                </a:path>
              </a:pathLst>
            </a:custGeom>
            <a:solidFill>
              <a:srgbClr val="3F3F3F">
                <a:lumMod val="95000"/>
                <a:lumOff val="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3247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 smtClean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59" name="Freeform 158"/>
            <p:cNvSpPr/>
            <p:nvPr/>
          </p:nvSpPr>
          <p:spPr bwMode="auto">
            <a:xfrm flipH="1">
              <a:off x="5766681" y="3871728"/>
              <a:ext cx="127136" cy="117302"/>
            </a:xfrm>
            <a:custGeom>
              <a:avLst/>
              <a:gdLst>
                <a:gd name="connsiteX0" fmla="*/ 41275 w 123825"/>
                <a:gd name="connsiteY0" fmla="*/ 0 h 127000"/>
                <a:gd name="connsiteX1" fmla="*/ 0 w 123825"/>
                <a:gd name="connsiteY1" fmla="*/ 34925 h 127000"/>
                <a:gd name="connsiteX2" fmla="*/ 104775 w 123825"/>
                <a:gd name="connsiteY2" fmla="*/ 127000 h 127000"/>
                <a:gd name="connsiteX3" fmla="*/ 123825 w 123825"/>
                <a:gd name="connsiteY3" fmla="*/ 15875 h 127000"/>
                <a:gd name="connsiteX4" fmla="*/ 41275 w 123825"/>
                <a:gd name="connsiteY4" fmla="*/ 0 h 127000"/>
                <a:gd name="connsiteX0" fmla="*/ 57150 w 139700"/>
                <a:gd name="connsiteY0" fmla="*/ 0 h 127000"/>
                <a:gd name="connsiteX1" fmla="*/ 0 w 139700"/>
                <a:gd name="connsiteY1" fmla="*/ 34925 h 127000"/>
                <a:gd name="connsiteX2" fmla="*/ 120650 w 139700"/>
                <a:gd name="connsiteY2" fmla="*/ 127000 h 127000"/>
                <a:gd name="connsiteX3" fmla="*/ 139700 w 139700"/>
                <a:gd name="connsiteY3" fmla="*/ 15875 h 127000"/>
                <a:gd name="connsiteX4" fmla="*/ 57150 w 139700"/>
                <a:gd name="connsiteY4" fmla="*/ 0 h 127000"/>
                <a:gd name="connsiteX0" fmla="*/ 57150 w 139700"/>
                <a:gd name="connsiteY0" fmla="*/ 0 h 127000"/>
                <a:gd name="connsiteX1" fmla="*/ 0 w 139700"/>
                <a:gd name="connsiteY1" fmla="*/ 34925 h 127000"/>
                <a:gd name="connsiteX2" fmla="*/ 120650 w 139700"/>
                <a:gd name="connsiteY2" fmla="*/ 127000 h 127000"/>
                <a:gd name="connsiteX3" fmla="*/ 139700 w 139700"/>
                <a:gd name="connsiteY3" fmla="*/ 15875 h 127000"/>
                <a:gd name="connsiteX4" fmla="*/ 57150 w 139700"/>
                <a:gd name="connsiteY4" fmla="*/ 0 h 127000"/>
                <a:gd name="connsiteX0" fmla="*/ 59779 w 142329"/>
                <a:gd name="connsiteY0" fmla="*/ 0 h 127000"/>
                <a:gd name="connsiteX1" fmla="*/ 2629 w 142329"/>
                <a:gd name="connsiteY1" fmla="*/ 34925 h 127000"/>
                <a:gd name="connsiteX2" fmla="*/ 123279 w 142329"/>
                <a:gd name="connsiteY2" fmla="*/ 127000 h 127000"/>
                <a:gd name="connsiteX3" fmla="*/ 142329 w 142329"/>
                <a:gd name="connsiteY3" fmla="*/ 15875 h 127000"/>
                <a:gd name="connsiteX4" fmla="*/ 59779 w 142329"/>
                <a:gd name="connsiteY4" fmla="*/ 0 h 127000"/>
                <a:gd name="connsiteX0" fmla="*/ 59712 w 142262"/>
                <a:gd name="connsiteY0" fmla="*/ 0 h 131258"/>
                <a:gd name="connsiteX1" fmla="*/ 2562 w 142262"/>
                <a:gd name="connsiteY1" fmla="*/ 34925 h 131258"/>
                <a:gd name="connsiteX2" fmla="*/ 123212 w 142262"/>
                <a:gd name="connsiteY2" fmla="*/ 127000 h 131258"/>
                <a:gd name="connsiteX3" fmla="*/ 142262 w 142262"/>
                <a:gd name="connsiteY3" fmla="*/ 15875 h 131258"/>
                <a:gd name="connsiteX4" fmla="*/ 59712 w 142262"/>
                <a:gd name="connsiteY4" fmla="*/ 0 h 131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262" h="131258">
                  <a:moveTo>
                    <a:pt x="59712" y="0"/>
                  </a:moveTo>
                  <a:cubicBezTo>
                    <a:pt x="78762" y="94192"/>
                    <a:pt x="21612" y="23283"/>
                    <a:pt x="2562" y="34925"/>
                  </a:cubicBezTo>
                  <a:cubicBezTo>
                    <a:pt x="-17546" y="144992"/>
                    <a:pt x="86170" y="134408"/>
                    <a:pt x="123212" y="127000"/>
                  </a:cubicBezTo>
                  <a:lnTo>
                    <a:pt x="142262" y="15875"/>
                  </a:lnTo>
                  <a:lnTo>
                    <a:pt x="59712" y="0"/>
                  </a:lnTo>
                  <a:close/>
                </a:path>
              </a:pathLst>
            </a:custGeom>
            <a:solidFill>
              <a:srgbClr val="3F3F3F">
                <a:lumMod val="95000"/>
                <a:lumOff val="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3247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 smtClean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0" name="Rectangle 159"/>
            <p:cNvSpPr/>
            <p:nvPr/>
          </p:nvSpPr>
          <p:spPr bwMode="auto">
            <a:xfrm>
              <a:off x="5635612" y="4002249"/>
              <a:ext cx="146836" cy="364608"/>
            </a:xfrm>
            <a:prstGeom prst="rect">
              <a:avLst/>
            </a:prstGeom>
            <a:solidFill>
              <a:sysClr val="window" lastClr="FFFFF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3247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 smtClean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1" name="Freeform 160"/>
            <p:cNvSpPr/>
            <p:nvPr/>
          </p:nvSpPr>
          <p:spPr bwMode="auto">
            <a:xfrm>
              <a:off x="5301008" y="4002249"/>
              <a:ext cx="638210" cy="729217"/>
            </a:xfrm>
            <a:custGeom>
              <a:avLst/>
              <a:gdLst>
                <a:gd name="connsiteX0" fmla="*/ 336550 w 825500"/>
                <a:gd name="connsiteY0" fmla="*/ 0 h 815975"/>
                <a:gd name="connsiteX1" fmla="*/ 415925 w 825500"/>
                <a:gd name="connsiteY1" fmla="*/ 574675 h 815975"/>
                <a:gd name="connsiteX2" fmla="*/ 492125 w 825500"/>
                <a:gd name="connsiteY2" fmla="*/ 3175 h 815975"/>
                <a:gd name="connsiteX3" fmla="*/ 676275 w 825500"/>
                <a:gd name="connsiteY3" fmla="*/ 19050 h 815975"/>
                <a:gd name="connsiteX4" fmla="*/ 825500 w 825500"/>
                <a:gd name="connsiteY4" fmla="*/ 654050 h 815975"/>
                <a:gd name="connsiteX5" fmla="*/ 717550 w 825500"/>
                <a:gd name="connsiteY5" fmla="*/ 657225 h 815975"/>
                <a:gd name="connsiteX6" fmla="*/ 676275 w 825500"/>
                <a:gd name="connsiteY6" fmla="*/ 285750 h 815975"/>
                <a:gd name="connsiteX7" fmla="*/ 638175 w 825500"/>
                <a:gd name="connsiteY7" fmla="*/ 815975 h 815975"/>
                <a:gd name="connsiteX8" fmla="*/ 187325 w 825500"/>
                <a:gd name="connsiteY8" fmla="*/ 815975 h 815975"/>
                <a:gd name="connsiteX9" fmla="*/ 171450 w 825500"/>
                <a:gd name="connsiteY9" fmla="*/ 285750 h 815975"/>
                <a:gd name="connsiteX10" fmla="*/ 98425 w 825500"/>
                <a:gd name="connsiteY10" fmla="*/ 657225 h 815975"/>
                <a:gd name="connsiteX11" fmla="*/ 0 w 825500"/>
                <a:gd name="connsiteY11" fmla="*/ 657225 h 815975"/>
                <a:gd name="connsiteX12" fmla="*/ 149225 w 825500"/>
                <a:gd name="connsiteY12" fmla="*/ 28575 h 815975"/>
                <a:gd name="connsiteX13" fmla="*/ 336550 w 825500"/>
                <a:gd name="connsiteY13" fmla="*/ 0 h 815975"/>
                <a:gd name="connsiteX0" fmla="*/ 336550 w 825500"/>
                <a:gd name="connsiteY0" fmla="*/ 0 h 815975"/>
                <a:gd name="connsiteX1" fmla="*/ 415925 w 825500"/>
                <a:gd name="connsiteY1" fmla="*/ 574675 h 815975"/>
                <a:gd name="connsiteX2" fmla="*/ 492125 w 825500"/>
                <a:gd name="connsiteY2" fmla="*/ 3175 h 815975"/>
                <a:gd name="connsiteX3" fmla="*/ 676275 w 825500"/>
                <a:gd name="connsiteY3" fmla="*/ 19050 h 815975"/>
                <a:gd name="connsiteX4" fmla="*/ 825500 w 825500"/>
                <a:gd name="connsiteY4" fmla="*/ 654050 h 815975"/>
                <a:gd name="connsiteX5" fmla="*/ 717550 w 825500"/>
                <a:gd name="connsiteY5" fmla="*/ 657225 h 815975"/>
                <a:gd name="connsiteX6" fmla="*/ 676275 w 825500"/>
                <a:gd name="connsiteY6" fmla="*/ 285750 h 815975"/>
                <a:gd name="connsiteX7" fmla="*/ 638175 w 825500"/>
                <a:gd name="connsiteY7" fmla="*/ 815975 h 815975"/>
                <a:gd name="connsiteX8" fmla="*/ 187325 w 825500"/>
                <a:gd name="connsiteY8" fmla="*/ 815975 h 815975"/>
                <a:gd name="connsiteX9" fmla="*/ 171450 w 825500"/>
                <a:gd name="connsiteY9" fmla="*/ 285750 h 815975"/>
                <a:gd name="connsiteX10" fmla="*/ 98425 w 825500"/>
                <a:gd name="connsiteY10" fmla="*/ 657225 h 815975"/>
                <a:gd name="connsiteX11" fmla="*/ 0 w 825500"/>
                <a:gd name="connsiteY11" fmla="*/ 657225 h 815975"/>
                <a:gd name="connsiteX12" fmla="*/ 149225 w 825500"/>
                <a:gd name="connsiteY12" fmla="*/ 28575 h 815975"/>
                <a:gd name="connsiteX13" fmla="*/ 336550 w 825500"/>
                <a:gd name="connsiteY13" fmla="*/ 0 h 815975"/>
                <a:gd name="connsiteX0" fmla="*/ 336550 w 825500"/>
                <a:gd name="connsiteY0" fmla="*/ 0 h 815975"/>
                <a:gd name="connsiteX1" fmla="*/ 415925 w 825500"/>
                <a:gd name="connsiteY1" fmla="*/ 574675 h 815975"/>
                <a:gd name="connsiteX2" fmla="*/ 492125 w 825500"/>
                <a:gd name="connsiteY2" fmla="*/ 3175 h 815975"/>
                <a:gd name="connsiteX3" fmla="*/ 676275 w 825500"/>
                <a:gd name="connsiteY3" fmla="*/ 19050 h 815975"/>
                <a:gd name="connsiteX4" fmla="*/ 825500 w 825500"/>
                <a:gd name="connsiteY4" fmla="*/ 654050 h 815975"/>
                <a:gd name="connsiteX5" fmla="*/ 717550 w 825500"/>
                <a:gd name="connsiteY5" fmla="*/ 657225 h 815975"/>
                <a:gd name="connsiteX6" fmla="*/ 676275 w 825500"/>
                <a:gd name="connsiteY6" fmla="*/ 285750 h 815975"/>
                <a:gd name="connsiteX7" fmla="*/ 638175 w 825500"/>
                <a:gd name="connsiteY7" fmla="*/ 815975 h 815975"/>
                <a:gd name="connsiteX8" fmla="*/ 187325 w 825500"/>
                <a:gd name="connsiteY8" fmla="*/ 815975 h 815975"/>
                <a:gd name="connsiteX9" fmla="*/ 171450 w 825500"/>
                <a:gd name="connsiteY9" fmla="*/ 285750 h 815975"/>
                <a:gd name="connsiteX10" fmla="*/ 98425 w 825500"/>
                <a:gd name="connsiteY10" fmla="*/ 657225 h 815975"/>
                <a:gd name="connsiteX11" fmla="*/ 0 w 825500"/>
                <a:gd name="connsiteY11" fmla="*/ 657225 h 815975"/>
                <a:gd name="connsiteX12" fmla="*/ 149225 w 825500"/>
                <a:gd name="connsiteY12" fmla="*/ 28575 h 815975"/>
                <a:gd name="connsiteX13" fmla="*/ 336550 w 825500"/>
                <a:gd name="connsiteY13" fmla="*/ 0 h 815975"/>
                <a:gd name="connsiteX0" fmla="*/ 336550 w 825500"/>
                <a:gd name="connsiteY0" fmla="*/ 0 h 815975"/>
                <a:gd name="connsiteX1" fmla="*/ 415925 w 825500"/>
                <a:gd name="connsiteY1" fmla="*/ 574675 h 815975"/>
                <a:gd name="connsiteX2" fmla="*/ 492125 w 825500"/>
                <a:gd name="connsiteY2" fmla="*/ 3175 h 815975"/>
                <a:gd name="connsiteX3" fmla="*/ 676275 w 825500"/>
                <a:gd name="connsiteY3" fmla="*/ 19050 h 815975"/>
                <a:gd name="connsiteX4" fmla="*/ 825500 w 825500"/>
                <a:gd name="connsiteY4" fmla="*/ 654050 h 815975"/>
                <a:gd name="connsiteX5" fmla="*/ 717550 w 825500"/>
                <a:gd name="connsiteY5" fmla="*/ 657225 h 815975"/>
                <a:gd name="connsiteX6" fmla="*/ 676275 w 825500"/>
                <a:gd name="connsiteY6" fmla="*/ 285750 h 815975"/>
                <a:gd name="connsiteX7" fmla="*/ 638175 w 825500"/>
                <a:gd name="connsiteY7" fmla="*/ 815975 h 815975"/>
                <a:gd name="connsiteX8" fmla="*/ 187325 w 825500"/>
                <a:gd name="connsiteY8" fmla="*/ 815975 h 815975"/>
                <a:gd name="connsiteX9" fmla="*/ 171450 w 825500"/>
                <a:gd name="connsiteY9" fmla="*/ 285750 h 815975"/>
                <a:gd name="connsiteX10" fmla="*/ 98425 w 825500"/>
                <a:gd name="connsiteY10" fmla="*/ 657225 h 815975"/>
                <a:gd name="connsiteX11" fmla="*/ 0 w 825500"/>
                <a:gd name="connsiteY11" fmla="*/ 657225 h 815975"/>
                <a:gd name="connsiteX12" fmla="*/ 149225 w 825500"/>
                <a:gd name="connsiteY12" fmla="*/ 28575 h 815975"/>
                <a:gd name="connsiteX13" fmla="*/ 336550 w 825500"/>
                <a:gd name="connsiteY13" fmla="*/ 0 h 815975"/>
                <a:gd name="connsiteX0" fmla="*/ 336550 w 825500"/>
                <a:gd name="connsiteY0" fmla="*/ 0 h 815975"/>
                <a:gd name="connsiteX1" fmla="*/ 415925 w 825500"/>
                <a:gd name="connsiteY1" fmla="*/ 574675 h 815975"/>
                <a:gd name="connsiteX2" fmla="*/ 492125 w 825500"/>
                <a:gd name="connsiteY2" fmla="*/ 3175 h 815975"/>
                <a:gd name="connsiteX3" fmla="*/ 676275 w 825500"/>
                <a:gd name="connsiteY3" fmla="*/ 19050 h 815975"/>
                <a:gd name="connsiteX4" fmla="*/ 825500 w 825500"/>
                <a:gd name="connsiteY4" fmla="*/ 654050 h 815975"/>
                <a:gd name="connsiteX5" fmla="*/ 717550 w 825500"/>
                <a:gd name="connsiteY5" fmla="*/ 657225 h 815975"/>
                <a:gd name="connsiteX6" fmla="*/ 676275 w 825500"/>
                <a:gd name="connsiteY6" fmla="*/ 285750 h 815975"/>
                <a:gd name="connsiteX7" fmla="*/ 638175 w 825500"/>
                <a:gd name="connsiteY7" fmla="*/ 815975 h 815975"/>
                <a:gd name="connsiteX8" fmla="*/ 187325 w 825500"/>
                <a:gd name="connsiteY8" fmla="*/ 815975 h 815975"/>
                <a:gd name="connsiteX9" fmla="*/ 171450 w 825500"/>
                <a:gd name="connsiteY9" fmla="*/ 285750 h 815975"/>
                <a:gd name="connsiteX10" fmla="*/ 98425 w 825500"/>
                <a:gd name="connsiteY10" fmla="*/ 657225 h 815975"/>
                <a:gd name="connsiteX11" fmla="*/ 0 w 825500"/>
                <a:gd name="connsiteY11" fmla="*/ 657225 h 815975"/>
                <a:gd name="connsiteX12" fmla="*/ 149225 w 825500"/>
                <a:gd name="connsiteY12" fmla="*/ 28575 h 815975"/>
                <a:gd name="connsiteX13" fmla="*/ 336550 w 825500"/>
                <a:gd name="connsiteY13" fmla="*/ 0 h 815975"/>
                <a:gd name="connsiteX0" fmla="*/ 336550 w 825500"/>
                <a:gd name="connsiteY0" fmla="*/ 0 h 815975"/>
                <a:gd name="connsiteX1" fmla="*/ 415925 w 825500"/>
                <a:gd name="connsiteY1" fmla="*/ 574675 h 815975"/>
                <a:gd name="connsiteX2" fmla="*/ 492125 w 825500"/>
                <a:gd name="connsiteY2" fmla="*/ 3175 h 815975"/>
                <a:gd name="connsiteX3" fmla="*/ 676275 w 825500"/>
                <a:gd name="connsiteY3" fmla="*/ 19050 h 815975"/>
                <a:gd name="connsiteX4" fmla="*/ 825500 w 825500"/>
                <a:gd name="connsiteY4" fmla="*/ 654050 h 815975"/>
                <a:gd name="connsiteX5" fmla="*/ 717550 w 825500"/>
                <a:gd name="connsiteY5" fmla="*/ 657225 h 815975"/>
                <a:gd name="connsiteX6" fmla="*/ 666750 w 825500"/>
                <a:gd name="connsiteY6" fmla="*/ 285750 h 815975"/>
                <a:gd name="connsiteX7" fmla="*/ 638175 w 825500"/>
                <a:gd name="connsiteY7" fmla="*/ 815975 h 815975"/>
                <a:gd name="connsiteX8" fmla="*/ 187325 w 825500"/>
                <a:gd name="connsiteY8" fmla="*/ 815975 h 815975"/>
                <a:gd name="connsiteX9" fmla="*/ 171450 w 825500"/>
                <a:gd name="connsiteY9" fmla="*/ 285750 h 815975"/>
                <a:gd name="connsiteX10" fmla="*/ 98425 w 825500"/>
                <a:gd name="connsiteY10" fmla="*/ 657225 h 815975"/>
                <a:gd name="connsiteX11" fmla="*/ 0 w 825500"/>
                <a:gd name="connsiteY11" fmla="*/ 657225 h 815975"/>
                <a:gd name="connsiteX12" fmla="*/ 149225 w 825500"/>
                <a:gd name="connsiteY12" fmla="*/ 28575 h 815975"/>
                <a:gd name="connsiteX13" fmla="*/ 336550 w 825500"/>
                <a:gd name="connsiteY13" fmla="*/ 0 h 815975"/>
                <a:gd name="connsiteX0" fmla="*/ 336550 w 825500"/>
                <a:gd name="connsiteY0" fmla="*/ 0 h 815975"/>
                <a:gd name="connsiteX1" fmla="*/ 415925 w 825500"/>
                <a:gd name="connsiteY1" fmla="*/ 574675 h 815975"/>
                <a:gd name="connsiteX2" fmla="*/ 492125 w 825500"/>
                <a:gd name="connsiteY2" fmla="*/ 3175 h 815975"/>
                <a:gd name="connsiteX3" fmla="*/ 676275 w 825500"/>
                <a:gd name="connsiteY3" fmla="*/ 19050 h 815975"/>
                <a:gd name="connsiteX4" fmla="*/ 825500 w 825500"/>
                <a:gd name="connsiteY4" fmla="*/ 654050 h 815975"/>
                <a:gd name="connsiteX5" fmla="*/ 717550 w 825500"/>
                <a:gd name="connsiteY5" fmla="*/ 657225 h 815975"/>
                <a:gd name="connsiteX6" fmla="*/ 666750 w 825500"/>
                <a:gd name="connsiteY6" fmla="*/ 285750 h 815975"/>
                <a:gd name="connsiteX7" fmla="*/ 638175 w 825500"/>
                <a:gd name="connsiteY7" fmla="*/ 815975 h 815975"/>
                <a:gd name="connsiteX8" fmla="*/ 187325 w 825500"/>
                <a:gd name="connsiteY8" fmla="*/ 815975 h 815975"/>
                <a:gd name="connsiteX9" fmla="*/ 171450 w 825500"/>
                <a:gd name="connsiteY9" fmla="*/ 285750 h 815975"/>
                <a:gd name="connsiteX10" fmla="*/ 98425 w 825500"/>
                <a:gd name="connsiteY10" fmla="*/ 657225 h 815975"/>
                <a:gd name="connsiteX11" fmla="*/ 0 w 825500"/>
                <a:gd name="connsiteY11" fmla="*/ 657225 h 815975"/>
                <a:gd name="connsiteX12" fmla="*/ 149225 w 825500"/>
                <a:gd name="connsiteY12" fmla="*/ 28575 h 815975"/>
                <a:gd name="connsiteX13" fmla="*/ 336550 w 825500"/>
                <a:gd name="connsiteY13" fmla="*/ 0 h 815975"/>
                <a:gd name="connsiteX0" fmla="*/ 336550 w 825500"/>
                <a:gd name="connsiteY0" fmla="*/ 0 h 815975"/>
                <a:gd name="connsiteX1" fmla="*/ 415925 w 825500"/>
                <a:gd name="connsiteY1" fmla="*/ 574675 h 815975"/>
                <a:gd name="connsiteX2" fmla="*/ 492125 w 825500"/>
                <a:gd name="connsiteY2" fmla="*/ 3175 h 815975"/>
                <a:gd name="connsiteX3" fmla="*/ 676275 w 825500"/>
                <a:gd name="connsiteY3" fmla="*/ 19050 h 815975"/>
                <a:gd name="connsiteX4" fmla="*/ 825500 w 825500"/>
                <a:gd name="connsiteY4" fmla="*/ 654050 h 815975"/>
                <a:gd name="connsiteX5" fmla="*/ 717550 w 825500"/>
                <a:gd name="connsiteY5" fmla="*/ 657225 h 815975"/>
                <a:gd name="connsiteX6" fmla="*/ 666750 w 825500"/>
                <a:gd name="connsiteY6" fmla="*/ 285750 h 815975"/>
                <a:gd name="connsiteX7" fmla="*/ 638175 w 825500"/>
                <a:gd name="connsiteY7" fmla="*/ 815975 h 815975"/>
                <a:gd name="connsiteX8" fmla="*/ 187325 w 825500"/>
                <a:gd name="connsiteY8" fmla="*/ 815975 h 815975"/>
                <a:gd name="connsiteX9" fmla="*/ 171450 w 825500"/>
                <a:gd name="connsiteY9" fmla="*/ 285750 h 815975"/>
                <a:gd name="connsiteX10" fmla="*/ 98425 w 825500"/>
                <a:gd name="connsiteY10" fmla="*/ 657225 h 815975"/>
                <a:gd name="connsiteX11" fmla="*/ 0 w 825500"/>
                <a:gd name="connsiteY11" fmla="*/ 657225 h 815975"/>
                <a:gd name="connsiteX12" fmla="*/ 149225 w 825500"/>
                <a:gd name="connsiteY12" fmla="*/ 28575 h 815975"/>
                <a:gd name="connsiteX13" fmla="*/ 336550 w 825500"/>
                <a:gd name="connsiteY13" fmla="*/ 0 h 815975"/>
                <a:gd name="connsiteX0" fmla="*/ 336550 w 825500"/>
                <a:gd name="connsiteY0" fmla="*/ 0 h 815975"/>
                <a:gd name="connsiteX1" fmla="*/ 415925 w 825500"/>
                <a:gd name="connsiteY1" fmla="*/ 574675 h 815975"/>
                <a:gd name="connsiteX2" fmla="*/ 492125 w 825500"/>
                <a:gd name="connsiteY2" fmla="*/ 3175 h 815975"/>
                <a:gd name="connsiteX3" fmla="*/ 676275 w 825500"/>
                <a:gd name="connsiteY3" fmla="*/ 19050 h 815975"/>
                <a:gd name="connsiteX4" fmla="*/ 825500 w 825500"/>
                <a:gd name="connsiteY4" fmla="*/ 654050 h 815975"/>
                <a:gd name="connsiteX5" fmla="*/ 717550 w 825500"/>
                <a:gd name="connsiteY5" fmla="*/ 657225 h 815975"/>
                <a:gd name="connsiteX6" fmla="*/ 666750 w 825500"/>
                <a:gd name="connsiteY6" fmla="*/ 285750 h 815975"/>
                <a:gd name="connsiteX7" fmla="*/ 638175 w 825500"/>
                <a:gd name="connsiteY7" fmla="*/ 815975 h 815975"/>
                <a:gd name="connsiteX8" fmla="*/ 187325 w 825500"/>
                <a:gd name="connsiteY8" fmla="*/ 815975 h 815975"/>
                <a:gd name="connsiteX9" fmla="*/ 171450 w 825500"/>
                <a:gd name="connsiteY9" fmla="*/ 285750 h 815975"/>
                <a:gd name="connsiteX10" fmla="*/ 98425 w 825500"/>
                <a:gd name="connsiteY10" fmla="*/ 657225 h 815975"/>
                <a:gd name="connsiteX11" fmla="*/ 0 w 825500"/>
                <a:gd name="connsiteY11" fmla="*/ 657225 h 815975"/>
                <a:gd name="connsiteX12" fmla="*/ 149225 w 825500"/>
                <a:gd name="connsiteY12" fmla="*/ 28575 h 815975"/>
                <a:gd name="connsiteX13" fmla="*/ 336550 w 825500"/>
                <a:gd name="connsiteY13" fmla="*/ 0 h 815975"/>
                <a:gd name="connsiteX0" fmla="*/ 336550 w 825500"/>
                <a:gd name="connsiteY0" fmla="*/ 0 h 815975"/>
                <a:gd name="connsiteX1" fmla="*/ 415925 w 825500"/>
                <a:gd name="connsiteY1" fmla="*/ 574675 h 815975"/>
                <a:gd name="connsiteX2" fmla="*/ 492125 w 825500"/>
                <a:gd name="connsiteY2" fmla="*/ 3175 h 815975"/>
                <a:gd name="connsiteX3" fmla="*/ 676275 w 825500"/>
                <a:gd name="connsiteY3" fmla="*/ 19050 h 815975"/>
                <a:gd name="connsiteX4" fmla="*/ 825500 w 825500"/>
                <a:gd name="connsiteY4" fmla="*/ 654050 h 815975"/>
                <a:gd name="connsiteX5" fmla="*/ 717550 w 825500"/>
                <a:gd name="connsiteY5" fmla="*/ 657225 h 815975"/>
                <a:gd name="connsiteX6" fmla="*/ 666750 w 825500"/>
                <a:gd name="connsiteY6" fmla="*/ 285750 h 815975"/>
                <a:gd name="connsiteX7" fmla="*/ 638175 w 825500"/>
                <a:gd name="connsiteY7" fmla="*/ 815975 h 815975"/>
                <a:gd name="connsiteX8" fmla="*/ 187325 w 825500"/>
                <a:gd name="connsiteY8" fmla="*/ 815975 h 815975"/>
                <a:gd name="connsiteX9" fmla="*/ 171450 w 825500"/>
                <a:gd name="connsiteY9" fmla="*/ 285750 h 815975"/>
                <a:gd name="connsiteX10" fmla="*/ 98425 w 825500"/>
                <a:gd name="connsiteY10" fmla="*/ 657225 h 815975"/>
                <a:gd name="connsiteX11" fmla="*/ 0 w 825500"/>
                <a:gd name="connsiteY11" fmla="*/ 657225 h 815975"/>
                <a:gd name="connsiteX12" fmla="*/ 149225 w 825500"/>
                <a:gd name="connsiteY12" fmla="*/ 28575 h 815975"/>
                <a:gd name="connsiteX13" fmla="*/ 336550 w 825500"/>
                <a:gd name="connsiteY13" fmla="*/ 0 h 815975"/>
                <a:gd name="connsiteX0" fmla="*/ 336550 w 825500"/>
                <a:gd name="connsiteY0" fmla="*/ 0 h 815975"/>
                <a:gd name="connsiteX1" fmla="*/ 415925 w 825500"/>
                <a:gd name="connsiteY1" fmla="*/ 574675 h 815975"/>
                <a:gd name="connsiteX2" fmla="*/ 492125 w 825500"/>
                <a:gd name="connsiteY2" fmla="*/ 3175 h 815975"/>
                <a:gd name="connsiteX3" fmla="*/ 676275 w 825500"/>
                <a:gd name="connsiteY3" fmla="*/ 19050 h 815975"/>
                <a:gd name="connsiteX4" fmla="*/ 825500 w 825500"/>
                <a:gd name="connsiteY4" fmla="*/ 654050 h 815975"/>
                <a:gd name="connsiteX5" fmla="*/ 717550 w 825500"/>
                <a:gd name="connsiteY5" fmla="*/ 657225 h 815975"/>
                <a:gd name="connsiteX6" fmla="*/ 666750 w 825500"/>
                <a:gd name="connsiteY6" fmla="*/ 285750 h 815975"/>
                <a:gd name="connsiteX7" fmla="*/ 638175 w 825500"/>
                <a:gd name="connsiteY7" fmla="*/ 815975 h 815975"/>
                <a:gd name="connsiteX8" fmla="*/ 187325 w 825500"/>
                <a:gd name="connsiteY8" fmla="*/ 815975 h 815975"/>
                <a:gd name="connsiteX9" fmla="*/ 171450 w 825500"/>
                <a:gd name="connsiteY9" fmla="*/ 285750 h 815975"/>
                <a:gd name="connsiteX10" fmla="*/ 98425 w 825500"/>
                <a:gd name="connsiteY10" fmla="*/ 657225 h 815975"/>
                <a:gd name="connsiteX11" fmla="*/ 0 w 825500"/>
                <a:gd name="connsiteY11" fmla="*/ 657225 h 815975"/>
                <a:gd name="connsiteX12" fmla="*/ 149225 w 825500"/>
                <a:gd name="connsiteY12" fmla="*/ 28575 h 815975"/>
                <a:gd name="connsiteX13" fmla="*/ 336550 w 825500"/>
                <a:gd name="connsiteY13" fmla="*/ 0 h 815975"/>
                <a:gd name="connsiteX0" fmla="*/ 336550 w 825500"/>
                <a:gd name="connsiteY0" fmla="*/ 0 h 815975"/>
                <a:gd name="connsiteX1" fmla="*/ 415925 w 825500"/>
                <a:gd name="connsiteY1" fmla="*/ 574675 h 815975"/>
                <a:gd name="connsiteX2" fmla="*/ 492125 w 825500"/>
                <a:gd name="connsiteY2" fmla="*/ 3175 h 815975"/>
                <a:gd name="connsiteX3" fmla="*/ 676275 w 825500"/>
                <a:gd name="connsiteY3" fmla="*/ 19050 h 815975"/>
                <a:gd name="connsiteX4" fmla="*/ 825500 w 825500"/>
                <a:gd name="connsiteY4" fmla="*/ 654050 h 815975"/>
                <a:gd name="connsiteX5" fmla="*/ 717550 w 825500"/>
                <a:gd name="connsiteY5" fmla="*/ 657225 h 815975"/>
                <a:gd name="connsiteX6" fmla="*/ 666750 w 825500"/>
                <a:gd name="connsiteY6" fmla="*/ 285750 h 815975"/>
                <a:gd name="connsiteX7" fmla="*/ 638175 w 825500"/>
                <a:gd name="connsiteY7" fmla="*/ 815975 h 815975"/>
                <a:gd name="connsiteX8" fmla="*/ 187325 w 825500"/>
                <a:gd name="connsiteY8" fmla="*/ 815975 h 815975"/>
                <a:gd name="connsiteX9" fmla="*/ 171450 w 825500"/>
                <a:gd name="connsiteY9" fmla="*/ 285750 h 815975"/>
                <a:gd name="connsiteX10" fmla="*/ 104775 w 825500"/>
                <a:gd name="connsiteY10" fmla="*/ 660400 h 815975"/>
                <a:gd name="connsiteX11" fmla="*/ 0 w 825500"/>
                <a:gd name="connsiteY11" fmla="*/ 657225 h 815975"/>
                <a:gd name="connsiteX12" fmla="*/ 149225 w 825500"/>
                <a:gd name="connsiteY12" fmla="*/ 28575 h 815975"/>
                <a:gd name="connsiteX13" fmla="*/ 336550 w 825500"/>
                <a:gd name="connsiteY13" fmla="*/ 0 h 815975"/>
                <a:gd name="connsiteX0" fmla="*/ 336550 w 825500"/>
                <a:gd name="connsiteY0" fmla="*/ 0 h 815975"/>
                <a:gd name="connsiteX1" fmla="*/ 415925 w 825500"/>
                <a:gd name="connsiteY1" fmla="*/ 574675 h 815975"/>
                <a:gd name="connsiteX2" fmla="*/ 492125 w 825500"/>
                <a:gd name="connsiteY2" fmla="*/ 3175 h 815975"/>
                <a:gd name="connsiteX3" fmla="*/ 676275 w 825500"/>
                <a:gd name="connsiteY3" fmla="*/ 19050 h 815975"/>
                <a:gd name="connsiteX4" fmla="*/ 825500 w 825500"/>
                <a:gd name="connsiteY4" fmla="*/ 654050 h 815975"/>
                <a:gd name="connsiteX5" fmla="*/ 717550 w 825500"/>
                <a:gd name="connsiteY5" fmla="*/ 657225 h 815975"/>
                <a:gd name="connsiteX6" fmla="*/ 666750 w 825500"/>
                <a:gd name="connsiteY6" fmla="*/ 285750 h 815975"/>
                <a:gd name="connsiteX7" fmla="*/ 638175 w 825500"/>
                <a:gd name="connsiteY7" fmla="*/ 815975 h 815975"/>
                <a:gd name="connsiteX8" fmla="*/ 187325 w 825500"/>
                <a:gd name="connsiteY8" fmla="*/ 815975 h 815975"/>
                <a:gd name="connsiteX9" fmla="*/ 171450 w 825500"/>
                <a:gd name="connsiteY9" fmla="*/ 285750 h 815975"/>
                <a:gd name="connsiteX10" fmla="*/ 104775 w 825500"/>
                <a:gd name="connsiteY10" fmla="*/ 660400 h 815975"/>
                <a:gd name="connsiteX11" fmla="*/ 0 w 825500"/>
                <a:gd name="connsiteY11" fmla="*/ 657225 h 815975"/>
                <a:gd name="connsiteX12" fmla="*/ 149225 w 825500"/>
                <a:gd name="connsiteY12" fmla="*/ 28575 h 815975"/>
                <a:gd name="connsiteX13" fmla="*/ 336550 w 825500"/>
                <a:gd name="connsiteY13" fmla="*/ 0 h 815975"/>
                <a:gd name="connsiteX0" fmla="*/ 258167 w 747117"/>
                <a:gd name="connsiteY0" fmla="*/ 0 h 815975"/>
                <a:gd name="connsiteX1" fmla="*/ 337542 w 747117"/>
                <a:gd name="connsiteY1" fmla="*/ 574675 h 815975"/>
                <a:gd name="connsiteX2" fmla="*/ 413742 w 747117"/>
                <a:gd name="connsiteY2" fmla="*/ 3175 h 815975"/>
                <a:gd name="connsiteX3" fmla="*/ 597892 w 747117"/>
                <a:gd name="connsiteY3" fmla="*/ 19050 h 815975"/>
                <a:gd name="connsiteX4" fmla="*/ 747117 w 747117"/>
                <a:gd name="connsiteY4" fmla="*/ 654050 h 815975"/>
                <a:gd name="connsiteX5" fmla="*/ 639167 w 747117"/>
                <a:gd name="connsiteY5" fmla="*/ 657225 h 815975"/>
                <a:gd name="connsiteX6" fmla="*/ 588367 w 747117"/>
                <a:gd name="connsiteY6" fmla="*/ 285750 h 815975"/>
                <a:gd name="connsiteX7" fmla="*/ 559792 w 747117"/>
                <a:gd name="connsiteY7" fmla="*/ 815975 h 815975"/>
                <a:gd name="connsiteX8" fmla="*/ 108942 w 747117"/>
                <a:gd name="connsiteY8" fmla="*/ 815975 h 815975"/>
                <a:gd name="connsiteX9" fmla="*/ 93067 w 747117"/>
                <a:gd name="connsiteY9" fmla="*/ 285750 h 815975"/>
                <a:gd name="connsiteX10" fmla="*/ 26392 w 747117"/>
                <a:gd name="connsiteY10" fmla="*/ 660400 h 815975"/>
                <a:gd name="connsiteX11" fmla="*/ 0 w 747117"/>
                <a:gd name="connsiteY11" fmla="*/ 382884 h 815975"/>
                <a:gd name="connsiteX12" fmla="*/ 70842 w 747117"/>
                <a:gd name="connsiteY12" fmla="*/ 28575 h 815975"/>
                <a:gd name="connsiteX13" fmla="*/ 258167 w 747117"/>
                <a:gd name="connsiteY13" fmla="*/ 0 h 815975"/>
                <a:gd name="connsiteX0" fmla="*/ 357697 w 846647"/>
                <a:gd name="connsiteY0" fmla="*/ 0 h 815975"/>
                <a:gd name="connsiteX1" fmla="*/ 437072 w 846647"/>
                <a:gd name="connsiteY1" fmla="*/ 574675 h 815975"/>
                <a:gd name="connsiteX2" fmla="*/ 513272 w 846647"/>
                <a:gd name="connsiteY2" fmla="*/ 3175 h 815975"/>
                <a:gd name="connsiteX3" fmla="*/ 697422 w 846647"/>
                <a:gd name="connsiteY3" fmla="*/ 19050 h 815975"/>
                <a:gd name="connsiteX4" fmla="*/ 846647 w 846647"/>
                <a:gd name="connsiteY4" fmla="*/ 654050 h 815975"/>
                <a:gd name="connsiteX5" fmla="*/ 738697 w 846647"/>
                <a:gd name="connsiteY5" fmla="*/ 657225 h 815975"/>
                <a:gd name="connsiteX6" fmla="*/ 687897 w 846647"/>
                <a:gd name="connsiteY6" fmla="*/ 285750 h 815975"/>
                <a:gd name="connsiteX7" fmla="*/ 659322 w 846647"/>
                <a:gd name="connsiteY7" fmla="*/ 815975 h 815975"/>
                <a:gd name="connsiteX8" fmla="*/ 208472 w 846647"/>
                <a:gd name="connsiteY8" fmla="*/ 815975 h 815975"/>
                <a:gd name="connsiteX9" fmla="*/ 192597 w 846647"/>
                <a:gd name="connsiteY9" fmla="*/ 285750 h 815975"/>
                <a:gd name="connsiteX10" fmla="*/ 125922 w 846647"/>
                <a:gd name="connsiteY10" fmla="*/ 660400 h 815975"/>
                <a:gd name="connsiteX11" fmla="*/ 99530 w 846647"/>
                <a:gd name="connsiteY11" fmla="*/ 382884 h 815975"/>
                <a:gd name="connsiteX12" fmla="*/ 917 w 846647"/>
                <a:gd name="connsiteY12" fmla="*/ 255839 h 815975"/>
                <a:gd name="connsiteX13" fmla="*/ 170372 w 846647"/>
                <a:gd name="connsiteY13" fmla="*/ 28575 h 815975"/>
                <a:gd name="connsiteX14" fmla="*/ 357697 w 846647"/>
                <a:gd name="connsiteY14" fmla="*/ 0 h 815975"/>
                <a:gd name="connsiteX0" fmla="*/ 357697 w 846647"/>
                <a:gd name="connsiteY0" fmla="*/ 0 h 815975"/>
                <a:gd name="connsiteX1" fmla="*/ 437072 w 846647"/>
                <a:gd name="connsiteY1" fmla="*/ 574675 h 815975"/>
                <a:gd name="connsiteX2" fmla="*/ 513272 w 846647"/>
                <a:gd name="connsiteY2" fmla="*/ 3175 h 815975"/>
                <a:gd name="connsiteX3" fmla="*/ 697422 w 846647"/>
                <a:gd name="connsiteY3" fmla="*/ 19050 h 815975"/>
                <a:gd name="connsiteX4" fmla="*/ 846647 w 846647"/>
                <a:gd name="connsiteY4" fmla="*/ 654050 h 815975"/>
                <a:gd name="connsiteX5" fmla="*/ 738697 w 846647"/>
                <a:gd name="connsiteY5" fmla="*/ 657225 h 815975"/>
                <a:gd name="connsiteX6" fmla="*/ 687897 w 846647"/>
                <a:gd name="connsiteY6" fmla="*/ 285750 h 815975"/>
                <a:gd name="connsiteX7" fmla="*/ 659322 w 846647"/>
                <a:gd name="connsiteY7" fmla="*/ 815975 h 815975"/>
                <a:gd name="connsiteX8" fmla="*/ 208472 w 846647"/>
                <a:gd name="connsiteY8" fmla="*/ 815975 h 815975"/>
                <a:gd name="connsiteX9" fmla="*/ 192597 w 846647"/>
                <a:gd name="connsiteY9" fmla="*/ 285750 h 815975"/>
                <a:gd name="connsiteX10" fmla="*/ 151397 w 846647"/>
                <a:gd name="connsiteY10" fmla="*/ 401736 h 815975"/>
                <a:gd name="connsiteX11" fmla="*/ 99530 w 846647"/>
                <a:gd name="connsiteY11" fmla="*/ 382884 h 815975"/>
                <a:gd name="connsiteX12" fmla="*/ 917 w 846647"/>
                <a:gd name="connsiteY12" fmla="*/ 255839 h 815975"/>
                <a:gd name="connsiteX13" fmla="*/ 170372 w 846647"/>
                <a:gd name="connsiteY13" fmla="*/ 28575 h 815975"/>
                <a:gd name="connsiteX14" fmla="*/ 357697 w 846647"/>
                <a:gd name="connsiteY14" fmla="*/ 0 h 815975"/>
                <a:gd name="connsiteX0" fmla="*/ 357697 w 846647"/>
                <a:gd name="connsiteY0" fmla="*/ 0 h 815975"/>
                <a:gd name="connsiteX1" fmla="*/ 437072 w 846647"/>
                <a:gd name="connsiteY1" fmla="*/ 574675 h 815975"/>
                <a:gd name="connsiteX2" fmla="*/ 513272 w 846647"/>
                <a:gd name="connsiteY2" fmla="*/ 3175 h 815975"/>
                <a:gd name="connsiteX3" fmla="*/ 697422 w 846647"/>
                <a:gd name="connsiteY3" fmla="*/ 19050 h 815975"/>
                <a:gd name="connsiteX4" fmla="*/ 846647 w 846647"/>
                <a:gd name="connsiteY4" fmla="*/ 654050 h 815975"/>
                <a:gd name="connsiteX5" fmla="*/ 738697 w 846647"/>
                <a:gd name="connsiteY5" fmla="*/ 657225 h 815975"/>
                <a:gd name="connsiteX6" fmla="*/ 687897 w 846647"/>
                <a:gd name="connsiteY6" fmla="*/ 285750 h 815975"/>
                <a:gd name="connsiteX7" fmla="*/ 659322 w 846647"/>
                <a:gd name="connsiteY7" fmla="*/ 815975 h 815975"/>
                <a:gd name="connsiteX8" fmla="*/ 208472 w 846647"/>
                <a:gd name="connsiteY8" fmla="*/ 815975 h 815975"/>
                <a:gd name="connsiteX9" fmla="*/ 192597 w 846647"/>
                <a:gd name="connsiteY9" fmla="*/ 285750 h 815975"/>
                <a:gd name="connsiteX10" fmla="*/ 126331 w 846647"/>
                <a:gd name="connsiteY10" fmla="*/ 236243 h 815975"/>
                <a:gd name="connsiteX11" fmla="*/ 151397 w 846647"/>
                <a:gd name="connsiteY11" fmla="*/ 401736 h 815975"/>
                <a:gd name="connsiteX12" fmla="*/ 99530 w 846647"/>
                <a:gd name="connsiteY12" fmla="*/ 382884 h 815975"/>
                <a:gd name="connsiteX13" fmla="*/ 917 w 846647"/>
                <a:gd name="connsiteY13" fmla="*/ 255839 h 815975"/>
                <a:gd name="connsiteX14" fmla="*/ 170372 w 846647"/>
                <a:gd name="connsiteY14" fmla="*/ 28575 h 815975"/>
                <a:gd name="connsiteX15" fmla="*/ 357697 w 846647"/>
                <a:gd name="connsiteY15" fmla="*/ 0 h 815975"/>
                <a:gd name="connsiteX0" fmla="*/ 357697 w 846647"/>
                <a:gd name="connsiteY0" fmla="*/ 0 h 815975"/>
                <a:gd name="connsiteX1" fmla="*/ 437072 w 846647"/>
                <a:gd name="connsiteY1" fmla="*/ 574675 h 815975"/>
                <a:gd name="connsiteX2" fmla="*/ 513272 w 846647"/>
                <a:gd name="connsiteY2" fmla="*/ 3175 h 815975"/>
                <a:gd name="connsiteX3" fmla="*/ 697422 w 846647"/>
                <a:gd name="connsiteY3" fmla="*/ 19050 h 815975"/>
                <a:gd name="connsiteX4" fmla="*/ 846647 w 846647"/>
                <a:gd name="connsiteY4" fmla="*/ 654050 h 815975"/>
                <a:gd name="connsiteX5" fmla="*/ 738697 w 846647"/>
                <a:gd name="connsiteY5" fmla="*/ 657225 h 815975"/>
                <a:gd name="connsiteX6" fmla="*/ 687897 w 846647"/>
                <a:gd name="connsiteY6" fmla="*/ 285750 h 815975"/>
                <a:gd name="connsiteX7" fmla="*/ 659322 w 846647"/>
                <a:gd name="connsiteY7" fmla="*/ 815975 h 815975"/>
                <a:gd name="connsiteX8" fmla="*/ 208472 w 846647"/>
                <a:gd name="connsiteY8" fmla="*/ 815975 h 815975"/>
                <a:gd name="connsiteX9" fmla="*/ 192597 w 846647"/>
                <a:gd name="connsiteY9" fmla="*/ 285750 h 815975"/>
                <a:gd name="connsiteX10" fmla="*/ 126331 w 846647"/>
                <a:gd name="connsiteY10" fmla="*/ 236243 h 815975"/>
                <a:gd name="connsiteX11" fmla="*/ 165114 w 846647"/>
                <a:gd name="connsiteY11" fmla="*/ 364504 h 815975"/>
                <a:gd name="connsiteX12" fmla="*/ 99530 w 846647"/>
                <a:gd name="connsiteY12" fmla="*/ 382884 h 815975"/>
                <a:gd name="connsiteX13" fmla="*/ 917 w 846647"/>
                <a:gd name="connsiteY13" fmla="*/ 255839 h 815975"/>
                <a:gd name="connsiteX14" fmla="*/ 170372 w 846647"/>
                <a:gd name="connsiteY14" fmla="*/ 28575 h 815975"/>
                <a:gd name="connsiteX15" fmla="*/ 357697 w 846647"/>
                <a:gd name="connsiteY15" fmla="*/ 0 h 815975"/>
                <a:gd name="connsiteX0" fmla="*/ 357564 w 846514"/>
                <a:gd name="connsiteY0" fmla="*/ 0 h 815975"/>
                <a:gd name="connsiteX1" fmla="*/ 436939 w 846514"/>
                <a:gd name="connsiteY1" fmla="*/ 574675 h 815975"/>
                <a:gd name="connsiteX2" fmla="*/ 513139 w 846514"/>
                <a:gd name="connsiteY2" fmla="*/ 3175 h 815975"/>
                <a:gd name="connsiteX3" fmla="*/ 697289 w 846514"/>
                <a:gd name="connsiteY3" fmla="*/ 19050 h 815975"/>
                <a:gd name="connsiteX4" fmla="*/ 846514 w 846514"/>
                <a:gd name="connsiteY4" fmla="*/ 654050 h 815975"/>
                <a:gd name="connsiteX5" fmla="*/ 738564 w 846514"/>
                <a:gd name="connsiteY5" fmla="*/ 657225 h 815975"/>
                <a:gd name="connsiteX6" fmla="*/ 687764 w 846514"/>
                <a:gd name="connsiteY6" fmla="*/ 285750 h 815975"/>
                <a:gd name="connsiteX7" fmla="*/ 659189 w 846514"/>
                <a:gd name="connsiteY7" fmla="*/ 815975 h 815975"/>
                <a:gd name="connsiteX8" fmla="*/ 208339 w 846514"/>
                <a:gd name="connsiteY8" fmla="*/ 815975 h 815975"/>
                <a:gd name="connsiteX9" fmla="*/ 192464 w 846514"/>
                <a:gd name="connsiteY9" fmla="*/ 285750 h 815975"/>
                <a:gd name="connsiteX10" fmla="*/ 126198 w 846514"/>
                <a:gd name="connsiteY10" fmla="*/ 236243 h 815975"/>
                <a:gd name="connsiteX11" fmla="*/ 164981 w 846514"/>
                <a:gd name="connsiteY11" fmla="*/ 364504 h 815975"/>
                <a:gd name="connsiteX12" fmla="*/ 118993 w 846514"/>
                <a:gd name="connsiteY12" fmla="*/ 382884 h 815975"/>
                <a:gd name="connsiteX13" fmla="*/ 784 w 846514"/>
                <a:gd name="connsiteY13" fmla="*/ 255839 h 815975"/>
                <a:gd name="connsiteX14" fmla="*/ 170239 w 846514"/>
                <a:gd name="connsiteY14" fmla="*/ 28575 h 815975"/>
                <a:gd name="connsiteX15" fmla="*/ 357564 w 846514"/>
                <a:gd name="connsiteY15" fmla="*/ 0 h 815975"/>
                <a:gd name="connsiteX0" fmla="*/ 357816 w 846766"/>
                <a:gd name="connsiteY0" fmla="*/ 0 h 815975"/>
                <a:gd name="connsiteX1" fmla="*/ 437191 w 846766"/>
                <a:gd name="connsiteY1" fmla="*/ 574675 h 815975"/>
                <a:gd name="connsiteX2" fmla="*/ 513391 w 846766"/>
                <a:gd name="connsiteY2" fmla="*/ 3175 h 815975"/>
                <a:gd name="connsiteX3" fmla="*/ 697541 w 846766"/>
                <a:gd name="connsiteY3" fmla="*/ 19050 h 815975"/>
                <a:gd name="connsiteX4" fmla="*/ 846766 w 846766"/>
                <a:gd name="connsiteY4" fmla="*/ 654050 h 815975"/>
                <a:gd name="connsiteX5" fmla="*/ 738816 w 846766"/>
                <a:gd name="connsiteY5" fmla="*/ 657225 h 815975"/>
                <a:gd name="connsiteX6" fmla="*/ 688016 w 846766"/>
                <a:gd name="connsiteY6" fmla="*/ 285750 h 815975"/>
                <a:gd name="connsiteX7" fmla="*/ 659441 w 846766"/>
                <a:gd name="connsiteY7" fmla="*/ 815975 h 815975"/>
                <a:gd name="connsiteX8" fmla="*/ 208591 w 846766"/>
                <a:gd name="connsiteY8" fmla="*/ 815975 h 815975"/>
                <a:gd name="connsiteX9" fmla="*/ 192716 w 846766"/>
                <a:gd name="connsiteY9" fmla="*/ 285750 h 815975"/>
                <a:gd name="connsiteX10" fmla="*/ 126450 w 846766"/>
                <a:gd name="connsiteY10" fmla="*/ 236243 h 815975"/>
                <a:gd name="connsiteX11" fmla="*/ 165233 w 846766"/>
                <a:gd name="connsiteY11" fmla="*/ 364504 h 815975"/>
                <a:gd name="connsiteX12" fmla="*/ 119245 w 846766"/>
                <a:gd name="connsiteY12" fmla="*/ 382884 h 815975"/>
                <a:gd name="connsiteX13" fmla="*/ 1036 w 846766"/>
                <a:gd name="connsiteY13" fmla="*/ 255839 h 815975"/>
                <a:gd name="connsiteX14" fmla="*/ 170491 w 846766"/>
                <a:gd name="connsiteY14" fmla="*/ 28575 h 815975"/>
                <a:gd name="connsiteX15" fmla="*/ 357816 w 846766"/>
                <a:gd name="connsiteY15" fmla="*/ 0 h 815975"/>
                <a:gd name="connsiteX0" fmla="*/ 357816 w 846766"/>
                <a:gd name="connsiteY0" fmla="*/ 0 h 815975"/>
                <a:gd name="connsiteX1" fmla="*/ 437191 w 846766"/>
                <a:gd name="connsiteY1" fmla="*/ 574675 h 815975"/>
                <a:gd name="connsiteX2" fmla="*/ 513391 w 846766"/>
                <a:gd name="connsiteY2" fmla="*/ 3175 h 815975"/>
                <a:gd name="connsiteX3" fmla="*/ 697541 w 846766"/>
                <a:gd name="connsiteY3" fmla="*/ 19050 h 815975"/>
                <a:gd name="connsiteX4" fmla="*/ 846766 w 846766"/>
                <a:gd name="connsiteY4" fmla="*/ 654050 h 815975"/>
                <a:gd name="connsiteX5" fmla="*/ 738816 w 846766"/>
                <a:gd name="connsiteY5" fmla="*/ 657225 h 815975"/>
                <a:gd name="connsiteX6" fmla="*/ 688016 w 846766"/>
                <a:gd name="connsiteY6" fmla="*/ 285750 h 815975"/>
                <a:gd name="connsiteX7" fmla="*/ 659441 w 846766"/>
                <a:gd name="connsiteY7" fmla="*/ 815975 h 815975"/>
                <a:gd name="connsiteX8" fmla="*/ 208591 w 846766"/>
                <a:gd name="connsiteY8" fmla="*/ 815975 h 815975"/>
                <a:gd name="connsiteX9" fmla="*/ 192716 w 846766"/>
                <a:gd name="connsiteY9" fmla="*/ 285750 h 815975"/>
                <a:gd name="connsiteX10" fmla="*/ 104895 w 846766"/>
                <a:gd name="connsiteY10" fmla="*/ 251920 h 815975"/>
                <a:gd name="connsiteX11" fmla="*/ 165233 w 846766"/>
                <a:gd name="connsiteY11" fmla="*/ 364504 h 815975"/>
                <a:gd name="connsiteX12" fmla="*/ 119245 w 846766"/>
                <a:gd name="connsiteY12" fmla="*/ 382884 h 815975"/>
                <a:gd name="connsiteX13" fmla="*/ 1036 w 846766"/>
                <a:gd name="connsiteY13" fmla="*/ 255839 h 815975"/>
                <a:gd name="connsiteX14" fmla="*/ 170491 w 846766"/>
                <a:gd name="connsiteY14" fmla="*/ 28575 h 815975"/>
                <a:gd name="connsiteX15" fmla="*/ 357816 w 846766"/>
                <a:gd name="connsiteY15" fmla="*/ 0 h 815975"/>
                <a:gd name="connsiteX0" fmla="*/ 357816 w 846766"/>
                <a:gd name="connsiteY0" fmla="*/ 0 h 815975"/>
                <a:gd name="connsiteX1" fmla="*/ 437191 w 846766"/>
                <a:gd name="connsiteY1" fmla="*/ 574675 h 815975"/>
                <a:gd name="connsiteX2" fmla="*/ 513391 w 846766"/>
                <a:gd name="connsiteY2" fmla="*/ 3175 h 815975"/>
                <a:gd name="connsiteX3" fmla="*/ 697541 w 846766"/>
                <a:gd name="connsiteY3" fmla="*/ 19050 h 815975"/>
                <a:gd name="connsiteX4" fmla="*/ 846766 w 846766"/>
                <a:gd name="connsiteY4" fmla="*/ 654050 h 815975"/>
                <a:gd name="connsiteX5" fmla="*/ 738816 w 846766"/>
                <a:gd name="connsiteY5" fmla="*/ 657225 h 815975"/>
                <a:gd name="connsiteX6" fmla="*/ 688016 w 846766"/>
                <a:gd name="connsiteY6" fmla="*/ 285750 h 815975"/>
                <a:gd name="connsiteX7" fmla="*/ 659441 w 846766"/>
                <a:gd name="connsiteY7" fmla="*/ 815975 h 815975"/>
                <a:gd name="connsiteX8" fmla="*/ 208591 w 846766"/>
                <a:gd name="connsiteY8" fmla="*/ 815975 h 815975"/>
                <a:gd name="connsiteX9" fmla="*/ 192716 w 846766"/>
                <a:gd name="connsiteY9" fmla="*/ 285750 h 815975"/>
                <a:gd name="connsiteX10" fmla="*/ 104895 w 846766"/>
                <a:gd name="connsiteY10" fmla="*/ 251920 h 815975"/>
                <a:gd name="connsiteX11" fmla="*/ 171112 w 846766"/>
                <a:gd name="connsiteY11" fmla="*/ 350787 h 815975"/>
                <a:gd name="connsiteX12" fmla="*/ 119245 w 846766"/>
                <a:gd name="connsiteY12" fmla="*/ 382884 h 815975"/>
                <a:gd name="connsiteX13" fmla="*/ 1036 w 846766"/>
                <a:gd name="connsiteY13" fmla="*/ 255839 h 815975"/>
                <a:gd name="connsiteX14" fmla="*/ 170491 w 846766"/>
                <a:gd name="connsiteY14" fmla="*/ 28575 h 815975"/>
                <a:gd name="connsiteX15" fmla="*/ 357816 w 846766"/>
                <a:gd name="connsiteY15" fmla="*/ 0 h 815975"/>
                <a:gd name="connsiteX0" fmla="*/ 357816 w 846766"/>
                <a:gd name="connsiteY0" fmla="*/ 0 h 815975"/>
                <a:gd name="connsiteX1" fmla="*/ 437191 w 846766"/>
                <a:gd name="connsiteY1" fmla="*/ 574675 h 815975"/>
                <a:gd name="connsiteX2" fmla="*/ 513391 w 846766"/>
                <a:gd name="connsiteY2" fmla="*/ 3175 h 815975"/>
                <a:gd name="connsiteX3" fmla="*/ 697541 w 846766"/>
                <a:gd name="connsiteY3" fmla="*/ 19050 h 815975"/>
                <a:gd name="connsiteX4" fmla="*/ 846766 w 846766"/>
                <a:gd name="connsiteY4" fmla="*/ 654050 h 815975"/>
                <a:gd name="connsiteX5" fmla="*/ 738816 w 846766"/>
                <a:gd name="connsiteY5" fmla="*/ 657225 h 815975"/>
                <a:gd name="connsiteX6" fmla="*/ 688016 w 846766"/>
                <a:gd name="connsiteY6" fmla="*/ 285750 h 815975"/>
                <a:gd name="connsiteX7" fmla="*/ 659441 w 846766"/>
                <a:gd name="connsiteY7" fmla="*/ 815975 h 815975"/>
                <a:gd name="connsiteX8" fmla="*/ 208591 w 846766"/>
                <a:gd name="connsiteY8" fmla="*/ 815975 h 815975"/>
                <a:gd name="connsiteX9" fmla="*/ 192716 w 846766"/>
                <a:gd name="connsiteY9" fmla="*/ 285750 h 815975"/>
                <a:gd name="connsiteX10" fmla="*/ 104895 w 846766"/>
                <a:gd name="connsiteY10" fmla="*/ 251920 h 815975"/>
                <a:gd name="connsiteX11" fmla="*/ 171112 w 846766"/>
                <a:gd name="connsiteY11" fmla="*/ 350787 h 815975"/>
                <a:gd name="connsiteX12" fmla="*/ 119245 w 846766"/>
                <a:gd name="connsiteY12" fmla="*/ 382884 h 815975"/>
                <a:gd name="connsiteX13" fmla="*/ 1036 w 846766"/>
                <a:gd name="connsiteY13" fmla="*/ 255839 h 815975"/>
                <a:gd name="connsiteX14" fmla="*/ 170491 w 846766"/>
                <a:gd name="connsiteY14" fmla="*/ 28575 h 815975"/>
                <a:gd name="connsiteX15" fmla="*/ 357816 w 846766"/>
                <a:gd name="connsiteY15" fmla="*/ 0 h 815975"/>
                <a:gd name="connsiteX0" fmla="*/ 357816 w 846766"/>
                <a:gd name="connsiteY0" fmla="*/ 0 h 815975"/>
                <a:gd name="connsiteX1" fmla="*/ 437191 w 846766"/>
                <a:gd name="connsiteY1" fmla="*/ 574675 h 815975"/>
                <a:gd name="connsiteX2" fmla="*/ 513391 w 846766"/>
                <a:gd name="connsiteY2" fmla="*/ 3175 h 815975"/>
                <a:gd name="connsiteX3" fmla="*/ 697541 w 846766"/>
                <a:gd name="connsiteY3" fmla="*/ 19050 h 815975"/>
                <a:gd name="connsiteX4" fmla="*/ 846766 w 846766"/>
                <a:gd name="connsiteY4" fmla="*/ 654050 h 815975"/>
                <a:gd name="connsiteX5" fmla="*/ 738816 w 846766"/>
                <a:gd name="connsiteY5" fmla="*/ 657225 h 815975"/>
                <a:gd name="connsiteX6" fmla="*/ 688016 w 846766"/>
                <a:gd name="connsiteY6" fmla="*/ 285750 h 815975"/>
                <a:gd name="connsiteX7" fmla="*/ 659441 w 846766"/>
                <a:gd name="connsiteY7" fmla="*/ 815975 h 815975"/>
                <a:gd name="connsiteX8" fmla="*/ 208591 w 846766"/>
                <a:gd name="connsiteY8" fmla="*/ 815975 h 815975"/>
                <a:gd name="connsiteX9" fmla="*/ 192716 w 846766"/>
                <a:gd name="connsiteY9" fmla="*/ 285750 h 815975"/>
                <a:gd name="connsiteX10" fmla="*/ 104895 w 846766"/>
                <a:gd name="connsiteY10" fmla="*/ 251920 h 815975"/>
                <a:gd name="connsiteX11" fmla="*/ 165234 w 846766"/>
                <a:gd name="connsiteY11" fmla="*/ 303757 h 815975"/>
                <a:gd name="connsiteX12" fmla="*/ 119245 w 846766"/>
                <a:gd name="connsiteY12" fmla="*/ 382884 h 815975"/>
                <a:gd name="connsiteX13" fmla="*/ 1036 w 846766"/>
                <a:gd name="connsiteY13" fmla="*/ 255839 h 815975"/>
                <a:gd name="connsiteX14" fmla="*/ 170491 w 846766"/>
                <a:gd name="connsiteY14" fmla="*/ 28575 h 815975"/>
                <a:gd name="connsiteX15" fmla="*/ 357816 w 846766"/>
                <a:gd name="connsiteY15" fmla="*/ 0 h 815975"/>
                <a:gd name="connsiteX0" fmla="*/ 375299 w 864249"/>
                <a:gd name="connsiteY0" fmla="*/ 0 h 815975"/>
                <a:gd name="connsiteX1" fmla="*/ 454674 w 864249"/>
                <a:gd name="connsiteY1" fmla="*/ 574675 h 815975"/>
                <a:gd name="connsiteX2" fmla="*/ 530874 w 864249"/>
                <a:gd name="connsiteY2" fmla="*/ 3175 h 815975"/>
                <a:gd name="connsiteX3" fmla="*/ 715024 w 864249"/>
                <a:gd name="connsiteY3" fmla="*/ 19050 h 815975"/>
                <a:gd name="connsiteX4" fmla="*/ 864249 w 864249"/>
                <a:gd name="connsiteY4" fmla="*/ 654050 h 815975"/>
                <a:gd name="connsiteX5" fmla="*/ 756299 w 864249"/>
                <a:gd name="connsiteY5" fmla="*/ 657225 h 815975"/>
                <a:gd name="connsiteX6" fmla="*/ 705499 w 864249"/>
                <a:gd name="connsiteY6" fmla="*/ 285750 h 815975"/>
                <a:gd name="connsiteX7" fmla="*/ 676924 w 864249"/>
                <a:gd name="connsiteY7" fmla="*/ 815975 h 815975"/>
                <a:gd name="connsiteX8" fmla="*/ 226074 w 864249"/>
                <a:gd name="connsiteY8" fmla="*/ 815975 h 815975"/>
                <a:gd name="connsiteX9" fmla="*/ 210199 w 864249"/>
                <a:gd name="connsiteY9" fmla="*/ 285750 h 815975"/>
                <a:gd name="connsiteX10" fmla="*/ 122378 w 864249"/>
                <a:gd name="connsiteY10" fmla="*/ 251920 h 815975"/>
                <a:gd name="connsiteX11" fmla="*/ 182717 w 864249"/>
                <a:gd name="connsiteY11" fmla="*/ 303757 h 815975"/>
                <a:gd name="connsiteX12" fmla="*/ 136728 w 864249"/>
                <a:gd name="connsiteY12" fmla="*/ 382884 h 815975"/>
                <a:gd name="connsiteX13" fmla="*/ 883 w 864249"/>
                <a:gd name="connsiteY13" fmla="*/ 366065 h 815975"/>
                <a:gd name="connsiteX14" fmla="*/ 187974 w 864249"/>
                <a:gd name="connsiteY14" fmla="*/ 28575 h 815975"/>
                <a:gd name="connsiteX15" fmla="*/ 375299 w 864249"/>
                <a:gd name="connsiteY15" fmla="*/ 0 h 815975"/>
                <a:gd name="connsiteX0" fmla="*/ 375154 w 864104"/>
                <a:gd name="connsiteY0" fmla="*/ 0 h 815975"/>
                <a:gd name="connsiteX1" fmla="*/ 454529 w 864104"/>
                <a:gd name="connsiteY1" fmla="*/ 574675 h 815975"/>
                <a:gd name="connsiteX2" fmla="*/ 530729 w 864104"/>
                <a:gd name="connsiteY2" fmla="*/ 3175 h 815975"/>
                <a:gd name="connsiteX3" fmla="*/ 714879 w 864104"/>
                <a:gd name="connsiteY3" fmla="*/ 19050 h 815975"/>
                <a:gd name="connsiteX4" fmla="*/ 864104 w 864104"/>
                <a:gd name="connsiteY4" fmla="*/ 654050 h 815975"/>
                <a:gd name="connsiteX5" fmla="*/ 756154 w 864104"/>
                <a:gd name="connsiteY5" fmla="*/ 657225 h 815975"/>
                <a:gd name="connsiteX6" fmla="*/ 705354 w 864104"/>
                <a:gd name="connsiteY6" fmla="*/ 285750 h 815975"/>
                <a:gd name="connsiteX7" fmla="*/ 676779 w 864104"/>
                <a:gd name="connsiteY7" fmla="*/ 815975 h 815975"/>
                <a:gd name="connsiteX8" fmla="*/ 225929 w 864104"/>
                <a:gd name="connsiteY8" fmla="*/ 815975 h 815975"/>
                <a:gd name="connsiteX9" fmla="*/ 210054 w 864104"/>
                <a:gd name="connsiteY9" fmla="*/ 285750 h 815975"/>
                <a:gd name="connsiteX10" fmla="*/ 122233 w 864104"/>
                <a:gd name="connsiteY10" fmla="*/ 251920 h 815975"/>
                <a:gd name="connsiteX11" fmla="*/ 182572 w 864104"/>
                <a:gd name="connsiteY11" fmla="*/ 303757 h 815975"/>
                <a:gd name="connsiteX12" fmla="*/ 160098 w 864104"/>
                <a:gd name="connsiteY12" fmla="*/ 375536 h 815975"/>
                <a:gd name="connsiteX13" fmla="*/ 738 w 864104"/>
                <a:gd name="connsiteY13" fmla="*/ 366065 h 815975"/>
                <a:gd name="connsiteX14" fmla="*/ 187829 w 864104"/>
                <a:gd name="connsiteY14" fmla="*/ 28575 h 815975"/>
                <a:gd name="connsiteX15" fmla="*/ 375154 w 864104"/>
                <a:gd name="connsiteY15" fmla="*/ 0 h 815975"/>
                <a:gd name="connsiteX0" fmla="*/ 375139 w 864089"/>
                <a:gd name="connsiteY0" fmla="*/ 0 h 815975"/>
                <a:gd name="connsiteX1" fmla="*/ 454514 w 864089"/>
                <a:gd name="connsiteY1" fmla="*/ 574675 h 815975"/>
                <a:gd name="connsiteX2" fmla="*/ 530714 w 864089"/>
                <a:gd name="connsiteY2" fmla="*/ 3175 h 815975"/>
                <a:gd name="connsiteX3" fmla="*/ 714864 w 864089"/>
                <a:gd name="connsiteY3" fmla="*/ 19050 h 815975"/>
                <a:gd name="connsiteX4" fmla="*/ 864089 w 864089"/>
                <a:gd name="connsiteY4" fmla="*/ 654050 h 815975"/>
                <a:gd name="connsiteX5" fmla="*/ 756139 w 864089"/>
                <a:gd name="connsiteY5" fmla="*/ 657225 h 815975"/>
                <a:gd name="connsiteX6" fmla="*/ 705339 w 864089"/>
                <a:gd name="connsiteY6" fmla="*/ 285750 h 815975"/>
                <a:gd name="connsiteX7" fmla="*/ 676764 w 864089"/>
                <a:gd name="connsiteY7" fmla="*/ 815975 h 815975"/>
                <a:gd name="connsiteX8" fmla="*/ 225914 w 864089"/>
                <a:gd name="connsiteY8" fmla="*/ 815975 h 815975"/>
                <a:gd name="connsiteX9" fmla="*/ 210039 w 864089"/>
                <a:gd name="connsiteY9" fmla="*/ 285750 h 815975"/>
                <a:gd name="connsiteX10" fmla="*/ 122218 w 864089"/>
                <a:gd name="connsiteY10" fmla="*/ 251920 h 815975"/>
                <a:gd name="connsiteX11" fmla="*/ 182557 w 864089"/>
                <a:gd name="connsiteY11" fmla="*/ 303757 h 815975"/>
                <a:gd name="connsiteX12" fmla="*/ 160083 w 864089"/>
                <a:gd name="connsiteY12" fmla="*/ 375536 h 815975"/>
                <a:gd name="connsiteX13" fmla="*/ 723 w 864089"/>
                <a:gd name="connsiteY13" fmla="*/ 366065 h 815975"/>
                <a:gd name="connsiteX14" fmla="*/ 187814 w 864089"/>
                <a:gd name="connsiteY14" fmla="*/ 28575 h 815975"/>
                <a:gd name="connsiteX15" fmla="*/ 375139 w 864089"/>
                <a:gd name="connsiteY15" fmla="*/ 0 h 815975"/>
                <a:gd name="connsiteX0" fmla="*/ 375139 w 864089"/>
                <a:gd name="connsiteY0" fmla="*/ 0 h 815975"/>
                <a:gd name="connsiteX1" fmla="*/ 454514 w 864089"/>
                <a:gd name="connsiteY1" fmla="*/ 574675 h 815975"/>
                <a:gd name="connsiteX2" fmla="*/ 530714 w 864089"/>
                <a:gd name="connsiteY2" fmla="*/ 3175 h 815975"/>
                <a:gd name="connsiteX3" fmla="*/ 714864 w 864089"/>
                <a:gd name="connsiteY3" fmla="*/ 19050 h 815975"/>
                <a:gd name="connsiteX4" fmla="*/ 864089 w 864089"/>
                <a:gd name="connsiteY4" fmla="*/ 654050 h 815975"/>
                <a:gd name="connsiteX5" fmla="*/ 756139 w 864089"/>
                <a:gd name="connsiteY5" fmla="*/ 657225 h 815975"/>
                <a:gd name="connsiteX6" fmla="*/ 705339 w 864089"/>
                <a:gd name="connsiteY6" fmla="*/ 285750 h 815975"/>
                <a:gd name="connsiteX7" fmla="*/ 676764 w 864089"/>
                <a:gd name="connsiteY7" fmla="*/ 815975 h 815975"/>
                <a:gd name="connsiteX8" fmla="*/ 225914 w 864089"/>
                <a:gd name="connsiteY8" fmla="*/ 815975 h 815975"/>
                <a:gd name="connsiteX9" fmla="*/ 210039 w 864089"/>
                <a:gd name="connsiteY9" fmla="*/ 285750 h 815975"/>
                <a:gd name="connsiteX10" fmla="*/ 114870 w 864089"/>
                <a:gd name="connsiteY10" fmla="*/ 310708 h 815975"/>
                <a:gd name="connsiteX11" fmla="*/ 182557 w 864089"/>
                <a:gd name="connsiteY11" fmla="*/ 303757 h 815975"/>
                <a:gd name="connsiteX12" fmla="*/ 160083 w 864089"/>
                <a:gd name="connsiteY12" fmla="*/ 375536 h 815975"/>
                <a:gd name="connsiteX13" fmla="*/ 723 w 864089"/>
                <a:gd name="connsiteY13" fmla="*/ 366065 h 815975"/>
                <a:gd name="connsiteX14" fmla="*/ 187814 w 864089"/>
                <a:gd name="connsiteY14" fmla="*/ 28575 h 815975"/>
                <a:gd name="connsiteX15" fmla="*/ 375139 w 864089"/>
                <a:gd name="connsiteY15" fmla="*/ 0 h 815975"/>
                <a:gd name="connsiteX0" fmla="*/ 375139 w 864089"/>
                <a:gd name="connsiteY0" fmla="*/ 0 h 815975"/>
                <a:gd name="connsiteX1" fmla="*/ 454514 w 864089"/>
                <a:gd name="connsiteY1" fmla="*/ 574675 h 815975"/>
                <a:gd name="connsiteX2" fmla="*/ 530714 w 864089"/>
                <a:gd name="connsiteY2" fmla="*/ 3175 h 815975"/>
                <a:gd name="connsiteX3" fmla="*/ 714864 w 864089"/>
                <a:gd name="connsiteY3" fmla="*/ 19050 h 815975"/>
                <a:gd name="connsiteX4" fmla="*/ 864089 w 864089"/>
                <a:gd name="connsiteY4" fmla="*/ 654050 h 815975"/>
                <a:gd name="connsiteX5" fmla="*/ 756139 w 864089"/>
                <a:gd name="connsiteY5" fmla="*/ 657225 h 815975"/>
                <a:gd name="connsiteX6" fmla="*/ 705339 w 864089"/>
                <a:gd name="connsiteY6" fmla="*/ 285750 h 815975"/>
                <a:gd name="connsiteX7" fmla="*/ 676764 w 864089"/>
                <a:gd name="connsiteY7" fmla="*/ 815975 h 815975"/>
                <a:gd name="connsiteX8" fmla="*/ 225914 w 864089"/>
                <a:gd name="connsiteY8" fmla="*/ 815975 h 815975"/>
                <a:gd name="connsiteX9" fmla="*/ 210039 w 864089"/>
                <a:gd name="connsiteY9" fmla="*/ 285750 h 815975"/>
                <a:gd name="connsiteX10" fmla="*/ 120749 w 864089"/>
                <a:gd name="connsiteY10" fmla="*/ 312178 h 815975"/>
                <a:gd name="connsiteX11" fmla="*/ 182557 w 864089"/>
                <a:gd name="connsiteY11" fmla="*/ 303757 h 815975"/>
                <a:gd name="connsiteX12" fmla="*/ 160083 w 864089"/>
                <a:gd name="connsiteY12" fmla="*/ 375536 h 815975"/>
                <a:gd name="connsiteX13" fmla="*/ 723 w 864089"/>
                <a:gd name="connsiteY13" fmla="*/ 366065 h 815975"/>
                <a:gd name="connsiteX14" fmla="*/ 187814 w 864089"/>
                <a:gd name="connsiteY14" fmla="*/ 28575 h 815975"/>
                <a:gd name="connsiteX15" fmla="*/ 375139 w 864089"/>
                <a:gd name="connsiteY15" fmla="*/ 0 h 815975"/>
                <a:gd name="connsiteX0" fmla="*/ 375033 w 863983"/>
                <a:gd name="connsiteY0" fmla="*/ 0 h 815975"/>
                <a:gd name="connsiteX1" fmla="*/ 454408 w 863983"/>
                <a:gd name="connsiteY1" fmla="*/ 574675 h 815975"/>
                <a:gd name="connsiteX2" fmla="*/ 530608 w 863983"/>
                <a:gd name="connsiteY2" fmla="*/ 3175 h 815975"/>
                <a:gd name="connsiteX3" fmla="*/ 714758 w 863983"/>
                <a:gd name="connsiteY3" fmla="*/ 19050 h 815975"/>
                <a:gd name="connsiteX4" fmla="*/ 863983 w 863983"/>
                <a:gd name="connsiteY4" fmla="*/ 654050 h 815975"/>
                <a:gd name="connsiteX5" fmla="*/ 756033 w 863983"/>
                <a:gd name="connsiteY5" fmla="*/ 657225 h 815975"/>
                <a:gd name="connsiteX6" fmla="*/ 705233 w 863983"/>
                <a:gd name="connsiteY6" fmla="*/ 285750 h 815975"/>
                <a:gd name="connsiteX7" fmla="*/ 676658 w 863983"/>
                <a:gd name="connsiteY7" fmla="*/ 815975 h 815975"/>
                <a:gd name="connsiteX8" fmla="*/ 225808 w 863983"/>
                <a:gd name="connsiteY8" fmla="*/ 815975 h 815975"/>
                <a:gd name="connsiteX9" fmla="*/ 209933 w 863983"/>
                <a:gd name="connsiteY9" fmla="*/ 285750 h 815975"/>
                <a:gd name="connsiteX10" fmla="*/ 120643 w 863983"/>
                <a:gd name="connsiteY10" fmla="*/ 312178 h 815975"/>
                <a:gd name="connsiteX11" fmla="*/ 182451 w 863983"/>
                <a:gd name="connsiteY11" fmla="*/ 303757 h 815975"/>
                <a:gd name="connsiteX12" fmla="*/ 184962 w 863983"/>
                <a:gd name="connsiteY12" fmla="*/ 384354 h 815975"/>
                <a:gd name="connsiteX13" fmla="*/ 617 w 863983"/>
                <a:gd name="connsiteY13" fmla="*/ 366065 h 815975"/>
                <a:gd name="connsiteX14" fmla="*/ 187708 w 863983"/>
                <a:gd name="connsiteY14" fmla="*/ 28575 h 815975"/>
                <a:gd name="connsiteX15" fmla="*/ 375033 w 863983"/>
                <a:gd name="connsiteY15" fmla="*/ 0 h 815975"/>
                <a:gd name="connsiteX0" fmla="*/ 374416 w 863366"/>
                <a:gd name="connsiteY0" fmla="*/ 0 h 815975"/>
                <a:gd name="connsiteX1" fmla="*/ 453791 w 863366"/>
                <a:gd name="connsiteY1" fmla="*/ 574675 h 815975"/>
                <a:gd name="connsiteX2" fmla="*/ 529991 w 863366"/>
                <a:gd name="connsiteY2" fmla="*/ 3175 h 815975"/>
                <a:gd name="connsiteX3" fmla="*/ 714141 w 863366"/>
                <a:gd name="connsiteY3" fmla="*/ 19050 h 815975"/>
                <a:gd name="connsiteX4" fmla="*/ 863366 w 863366"/>
                <a:gd name="connsiteY4" fmla="*/ 654050 h 815975"/>
                <a:gd name="connsiteX5" fmla="*/ 755416 w 863366"/>
                <a:gd name="connsiteY5" fmla="*/ 657225 h 815975"/>
                <a:gd name="connsiteX6" fmla="*/ 704616 w 863366"/>
                <a:gd name="connsiteY6" fmla="*/ 285750 h 815975"/>
                <a:gd name="connsiteX7" fmla="*/ 676041 w 863366"/>
                <a:gd name="connsiteY7" fmla="*/ 815975 h 815975"/>
                <a:gd name="connsiteX8" fmla="*/ 225191 w 863366"/>
                <a:gd name="connsiteY8" fmla="*/ 815975 h 815975"/>
                <a:gd name="connsiteX9" fmla="*/ 209316 w 863366"/>
                <a:gd name="connsiteY9" fmla="*/ 285750 h 815975"/>
                <a:gd name="connsiteX10" fmla="*/ 120026 w 863366"/>
                <a:gd name="connsiteY10" fmla="*/ 312178 h 815975"/>
                <a:gd name="connsiteX11" fmla="*/ 181834 w 863366"/>
                <a:gd name="connsiteY11" fmla="*/ 303757 h 815975"/>
                <a:gd name="connsiteX12" fmla="*/ 184345 w 863366"/>
                <a:gd name="connsiteY12" fmla="*/ 384354 h 815975"/>
                <a:gd name="connsiteX13" fmla="*/ 0 w 863366"/>
                <a:gd name="connsiteY13" fmla="*/ 366065 h 815975"/>
                <a:gd name="connsiteX14" fmla="*/ 187091 w 863366"/>
                <a:gd name="connsiteY14" fmla="*/ 28575 h 815975"/>
                <a:gd name="connsiteX15" fmla="*/ 374416 w 863366"/>
                <a:gd name="connsiteY15" fmla="*/ 0 h 815975"/>
                <a:gd name="connsiteX0" fmla="*/ 374416 w 757668"/>
                <a:gd name="connsiteY0" fmla="*/ 0 h 815975"/>
                <a:gd name="connsiteX1" fmla="*/ 453791 w 757668"/>
                <a:gd name="connsiteY1" fmla="*/ 574675 h 815975"/>
                <a:gd name="connsiteX2" fmla="*/ 529991 w 757668"/>
                <a:gd name="connsiteY2" fmla="*/ 3175 h 815975"/>
                <a:gd name="connsiteX3" fmla="*/ 714141 w 757668"/>
                <a:gd name="connsiteY3" fmla="*/ 19050 h 815975"/>
                <a:gd name="connsiteX4" fmla="*/ 755416 w 757668"/>
                <a:gd name="connsiteY4" fmla="*/ 657225 h 815975"/>
                <a:gd name="connsiteX5" fmla="*/ 704616 w 757668"/>
                <a:gd name="connsiteY5" fmla="*/ 285750 h 815975"/>
                <a:gd name="connsiteX6" fmla="*/ 676041 w 757668"/>
                <a:gd name="connsiteY6" fmla="*/ 815975 h 815975"/>
                <a:gd name="connsiteX7" fmla="*/ 225191 w 757668"/>
                <a:gd name="connsiteY7" fmla="*/ 815975 h 815975"/>
                <a:gd name="connsiteX8" fmla="*/ 209316 w 757668"/>
                <a:gd name="connsiteY8" fmla="*/ 285750 h 815975"/>
                <a:gd name="connsiteX9" fmla="*/ 120026 w 757668"/>
                <a:gd name="connsiteY9" fmla="*/ 312178 h 815975"/>
                <a:gd name="connsiteX10" fmla="*/ 181834 w 757668"/>
                <a:gd name="connsiteY10" fmla="*/ 303757 h 815975"/>
                <a:gd name="connsiteX11" fmla="*/ 184345 w 757668"/>
                <a:gd name="connsiteY11" fmla="*/ 384354 h 815975"/>
                <a:gd name="connsiteX12" fmla="*/ 0 w 757668"/>
                <a:gd name="connsiteY12" fmla="*/ 366065 h 815975"/>
                <a:gd name="connsiteX13" fmla="*/ 187091 w 757668"/>
                <a:gd name="connsiteY13" fmla="*/ 28575 h 815975"/>
                <a:gd name="connsiteX14" fmla="*/ 374416 w 757668"/>
                <a:gd name="connsiteY14" fmla="*/ 0 h 815975"/>
                <a:gd name="connsiteX0" fmla="*/ 374416 w 726119"/>
                <a:gd name="connsiteY0" fmla="*/ 0 h 815975"/>
                <a:gd name="connsiteX1" fmla="*/ 453791 w 726119"/>
                <a:gd name="connsiteY1" fmla="*/ 574675 h 815975"/>
                <a:gd name="connsiteX2" fmla="*/ 529991 w 726119"/>
                <a:gd name="connsiteY2" fmla="*/ 3175 h 815975"/>
                <a:gd name="connsiteX3" fmla="*/ 714141 w 726119"/>
                <a:gd name="connsiteY3" fmla="*/ 19050 h 815975"/>
                <a:gd name="connsiteX4" fmla="*/ 704616 w 726119"/>
                <a:gd name="connsiteY4" fmla="*/ 285750 h 815975"/>
                <a:gd name="connsiteX5" fmla="*/ 676041 w 726119"/>
                <a:gd name="connsiteY5" fmla="*/ 815975 h 815975"/>
                <a:gd name="connsiteX6" fmla="*/ 225191 w 726119"/>
                <a:gd name="connsiteY6" fmla="*/ 815975 h 815975"/>
                <a:gd name="connsiteX7" fmla="*/ 209316 w 726119"/>
                <a:gd name="connsiteY7" fmla="*/ 285750 h 815975"/>
                <a:gd name="connsiteX8" fmla="*/ 120026 w 726119"/>
                <a:gd name="connsiteY8" fmla="*/ 312178 h 815975"/>
                <a:gd name="connsiteX9" fmla="*/ 181834 w 726119"/>
                <a:gd name="connsiteY9" fmla="*/ 303757 h 815975"/>
                <a:gd name="connsiteX10" fmla="*/ 184345 w 726119"/>
                <a:gd name="connsiteY10" fmla="*/ 384354 h 815975"/>
                <a:gd name="connsiteX11" fmla="*/ 0 w 726119"/>
                <a:gd name="connsiteY11" fmla="*/ 366065 h 815975"/>
                <a:gd name="connsiteX12" fmla="*/ 187091 w 726119"/>
                <a:gd name="connsiteY12" fmla="*/ 28575 h 815975"/>
                <a:gd name="connsiteX13" fmla="*/ 374416 w 726119"/>
                <a:gd name="connsiteY13" fmla="*/ 0 h 815975"/>
                <a:gd name="connsiteX0" fmla="*/ 374416 w 714141"/>
                <a:gd name="connsiteY0" fmla="*/ 0 h 815975"/>
                <a:gd name="connsiteX1" fmla="*/ 453791 w 714141"/>
                <a:gd name="connsiteY1" fmla="*/ 574675 h 815975"/>
                <a:gd name="connsiteX2" fmla="*/ 529991 w 714141"/>
                <a:gd name="connsiteY2" fmla="*/ 3175 h 815975"/>
                <a:gd name="connsiteX3" fmla="*/ 714141 w 714141"/>
                <a:gd name="connsiteY3" fmla="*/ 19050 h 815975"/>
                <a:gd name="connsiteX4" fmla="*/ 704616 w 714141"/>
                <a:gd name="connsiteY4" fmla="*/ 285750 h 815975"/>
                <a:gd name="connsiteX5" fmla="*/ 676041 w 714141"/>
                <a:gd name="connsiteY5" fmla="*/ 815975 h 815975"/>
                <a:gd name="connsiteX6" fmla="*/ 225191 w 714141"/>
                <a:gd name="connsiteY6" fmla="*/ 815975 h 815975"/>
                <a:gd name="connsiteX7" fmla="*/ 209316 w 714141"/>
                <a:gd name="connsiteY7" fmla="*/ 285750 h 815975"/>
                <a:gd name="connsiteX8" fmla="*/ 120026 w 714141"/>
                <a:gd name="connsiteY8" fmla="*/ 312178 h 815975"/>
                <a:gd name="connsiteX9" fmla="*/ 181834 w 714141"/>
                <a:gd name="connsiteY9" fmla="*/ 303757 h 815975"/>
                <a:gd name="connsiteX10" fmla="*/ 184345 w 714141"/>
                <a:gd name="connsiteY10" fmla="*/ 384354 h 815975"/>
                <a:gd name="connsiteX11" fmla="*/ 0 w 714141"/>
                <a:gd name="connsiteY11" fmla="*/ 366065 h 815975"/>
                <a:gd name="connsiteX12" fmla="*/ 187091 w 714141"/>
                <a:gd name="connsiteY12" fmla="*/ 28575 h 815975"/>
                <a:gd name="connsiteX13" fmla="*/ 374416 w 714141"/>
                <a:gd name="connsiteY13" fmla="*/ 0 h 815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14141" h="815975">
                  <a:moveTo>
                    <a:pt x="374416" y="0"/>
                  </a:moveTo>
                  <a:lnTo>
                    <a:pt x="453791" y="574675"/>
                  </a:lnTo>
                  <a:lnTo>
                    <a:pt x="529991" y="3175"/>
                  </a:lnTo>
                  <a:lnTo>
                    <a:pt x="714141" y="19050"/>
                  </a:lnTo>
                  <a:cubicBezTo>
                    <a:pt x="709378" y="152400"/>
                    <a:pt x="710966" y="152929"/>
                    <a:pt x="704616" y="285750"/>
                  </a:cubicBezTo>
                  <a:lnTo>
                    <a:pt x="676041" y="815975"/>
                  </a:lnTo>
                  <a:lnTo>
                    <a:pt x="225191" y="815975"/>
                  </a:lnTo>
                  <a:lnTo>
                    <a:pt x="209316" y="285750"/>
                  </a:lnTo>
                  <a:cubicBezTo>
                    <a:pt x="202811" y="204151"/>
                    <a:pt x="126893" y="292847"/>
                    <a:pt x="120026" y="312178"/>
                  </a:cubicBezTo>
                  <a:cubicBezTo>
                    <a:pt x="101401" y="329550"/>
                    <a:pt x="193486" y="294340"/>
                    <a:pt x="181834" y="303757"/>
                  </a:cubicBezTo>
                  <a:cubicBezTo>
                    <a:pt x="146909" y="302699"/>
                    <a:pt x="219270" y="385412"/>
                    <a:pt x="184345" y="384354"/>
                  </a:cubicBezTo>
                  <a:cubicBezTo>
                    <a:pt x="149467" y="405109"/>
                    <a:pt x="7298" y="410420"/>
                    <a:pt x="0" y="366065"/>
                  </a:cubicBezTo>
                  <a:cubicBezTo>
                    <a:pt x="11807" y="307014"/>
                    <a:pt x="143958" y="66316"/>
                    <a:pt x="187091" y="28575"/>
                  </a:cubicBezTo>
                  <a:lnTo>
                    <a:pt x="374416" y="0"/>
                  </a:lnTo>
                  <a:close/>
                </a:path>
              </a:pathLst>
            </a:custGeom>
            <a:solidFill>
              <a:srgbClr val="FEA83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3247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 smtClean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2" name="Freeform 161"/>
            <p:cNvSpPr/>
            <p:nvPr/>
          </p:nvSpPr>
          <p:spPr bwMode="auto">
            <a:xfrm>
              <a:off x="5579416" y="5706555"/>
              <a:ext cx="124294" cy="61617"/>
            </a:xfrm>
            <a:custGeom>
              <a:avLst/>
              <a:gdLst>
                <a:gd name="connsiteX0" fmla="*/ 93857 w 187714"/>
                <a:gd name="connsiteY0" fmla="*/ 0 h 93056"/>
                <a:gd name="connsiteX1" fmla="*/ 180525 w 187714"/>
                <a:gd name="connsiteY1" fmla="*/ 57448 h 93056"/>
                <a:gd name="connsiteX2" fmla="*/ 187714 w 187714"/>
                <a:gd name="connsiteY2" fmla="*/ 93056 h 93056"/>
                <a:gd name="connsiteX3" fmla="*/ 0 w 187714"/>
                <a:gd name="connsiteY3" fmla="*/ 93056 h 93056"/>
                <a:gd name="connsiteX4" fmla="*/ 7189 w 187714"/>
                <a:gd name="connsiteY4" fmla="*/ 57448 h 93056"/>
                <a:gd name="connsiteX5" fmla="*/ 93857 w 187714"/>
                <a:gd name="connsiteY5" fmla="*/ 0 h 93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7714" h="93056">
                  <a:moveTo>
                    <a:pt x="93857" y="0"/>
                  </a:moveTo>
                  <a:cubicBezTo>
                    <a:pt x="132818" y="0"/>
                    <a:pt x="166246" y="23688"/>
                    <a:pt x="180525" y="57448"/>
                  </a:cubicBezTo>
                  <a:lnTo>
                    <a:pt x="187714" y="93056"/>
                  </a:lnTo>
                  <a:lnTo>
                    <a:pt x="0" y="93056"/>
                  </a:lnTo>
                  <a:lnTo>
                    <a:pt x="7189" y="57448"/>
                  </a:lnTo>
                  <a:cubicBezTo>
                    <a:pt x="21468" y="23688"/>
                    <a:pt x="54896" y="0"/>
                    <a:pt x="93857" y="0"/>
                  </a:cubicBezTo>
                  <a:close/>
                </a:path>
              </a:pathLst>
            </a:custGeom>
            <a:solidFill>
              <a:srgbClr val="66330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3247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" name="Freeform 162"/>
            <p:cNvSpPr/>
            <p:nvPr/>
          </p:nvSpPr>
          <p:spPr bwMode="auto">
            <a:xfrm>
              <a:off x="5726252" y="5706555"/>
              <a:ext cx="124294" cy="61617"/>
            </a:xfrm>
            <a:custGeom>
              <a:avLst/>
              <a:gdLst>
                <a:gd name="connsiteX0" fmla="*/ 93857 w 187714"/>
                <a:gd name="connsiteY0" fmla="*/ 0 h 93056"/>
                <a:gd name="connsiteX1" fmla="*/ 180525 w 187714"/>
                <a:gd name="connsiteY1" fmla="*/ 57448 h 93056"/>
                <a:gd name="connsiteX2" fmla="*/ 187714 w 187714"/>
                <a:gd name="connsiteY2" fmla="*/ 93056 h 93056"/>
                <a:gd name="connsiteX3" fmla="*/ 0 w 187714"/>
                <a:gd name="connsiteY3" fmla="*/ 93056 h 93056"/>
                <a:gd name="connsiteX4" fmla="*/ 7189 w 187714"/>
                <a:gd name="connsiteY4" fmla="*/ 57448 h 93056"/>
                <a:gd name="connsiteX5" fmla="*/ 93857 w 187714"/>
                <a:gd name="connsiteY5" fmla="*/ 0 h 93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7714" h="93056">
                  <a:moveTo>
                    <a:pt x="93857" y="0"/>
                  </a:moveTo>
                  <a:cubicBezTo>
                    <a:pt x="132818" y="0"/>
                    <a:pt x="166246" y="23688"/>
                    <a:pt x="180525" y="57448"/>
                  </a:cubicBezTo>
                  <a:lnTo>
                    <a:pt x="187714" y="93056"/>
                  </a:lnTo>
                  <a:lnTo>
                    <a:pt x="0" y="93056"/>
                  </a:lnTo>
                  <a:lnTo>
                    <a:pt x="7189" y="57448"/>
                  </a:lnTo>
                  <a:cubicBezTo>
                    <a:pt x="21468" y="23688"/>
                    <a:pt x="54896" y="0"/>
                    <a:pt x="93857" y="0"/>
                  </a:cubicBezTo>
                  <a:close/>
                </a:path>
              </a:pathLst>
            </a:custGeom>
            <a:solidFill>
              <a:srgbClr val="66330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3247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" name="Freeform 163"/>
            <p:cNvSpPr/>
            <p:nvPr/>
          </p:nvSpPr>
          <p:spPr bwMode="auto">
            <a:xfrm rot="5400000">
              <a:off x="5539816" y="3715143"/>
              <a:ext cx="351129" cy="276648"/>
            </a:xfrm>
            <a:custGeom>
              <a:avLst/>
              <a:gdLst>
                <a:gd name="connsiteX0" fmla="*/ 0 w 392904"/>
                <a:gd name="connsiteY0" fmla="*/ 184191 h 309562"/>
                <a:gd name="connsiteX1" fmla="*/ 0 w 392904"/>
                <a:gd name="connsiteY1" fmla="*/ 125371 h 309562"/>
                <a:gd name="connsiteX2" fmla="*/ 95323 w 392904"/>
                <a:gd name="connsiteY2" fmla="*/ 30048 h 309562"/>
                <a:gd name="connsiteX3" fmla="*/ 107911 w 392904"/>
                <a:gd name="connsiteY3" fmla="*/ 30048 h 309562"/>
                <a:gd name="connsiteX4" fmla="*/ 116458 w 392904"/>
                <a:gd name="connsiteY4" fmla="*/ 9416 h 309562"/>
                <a:gd name="connsiteX5" fmla="*/ 139189 w 392904"/>
                <a:gd name="connsiteY5" fmla="*/ 0 h 309562"/>
                <a:gd name="connsiteX6" fmla="*/ 182279 w 392904"/>
                <a:gd name="connsiteY6" fmla="*/ 0 h 309562"/>
                <a:gd name="connsiteX7" fmla="*/ 205010 w 392904"/>
                <a:gd name="connsiteY7" fmla="*/ 9416 h 309562"/>
                <a:gd name="connsiteX8" fmla="*/ 213557 w 392904"/>
                <a:gd name="connsiteY8" fmla="*/ 30048 h 309562"/>
                <a:gd name="connsiteX9" fmla="*/ 252339 w 392904"/>
                <a:gd name="connsiteY9" fmla="*/ 30048 h 309562"/>
                <a:gd name="connsiteX10" fmla="*/ 319742 w 392904"/>
                <a:gd name="connsiteY10" fmla="*/ 57968 h 309562"/>
                <a:gd name="connsiteX11" fmla="*/ 336441 w 392904"/>
                <a:gd name="connsiteY11" fmla="*/ 82735 h 309562"/>
                <a:gd name="connsiteX12" fmla="*/ 357186 w 392904"/>
                <a:gd name="connsiteY12" fmla="*/ 80848 h 309562"/>
                <a:gd name="connsiteX13" fmla="*/ 392904 w 392904"/>
                <a:gd name="connsiteY13" fmla="*/ 152286 h 309562"/>
                <a:gd name="connsiteX14" fmla="*/ 357186 w 392904"/>
                <a:gd name="connsiteY14" fmla="*/ 235629 h 309562"/>
                <a:gd name="connsiteX15" fmla="*/ 330992 w 392904"/>
                <a:gd name="connsiteY15" fmla="*/ 235629 h 309562"/>
                <a:gd name="connsiteX16" fmla="*/ 330992 w 392904"/>
                <a:gd name="connsiteY16" fmla="*/ 234909 h 309562"/>
                <a:gd name="connsiteX17" fmla="*/ 319742 w 392904"/>
                <a:gd name="connsiteY17" fmla="*/ 251594 h 309562"/>
                <a:gd name="connsiteX18" fmla="*/ 252339 w 392904"/>
                <a:gd name="connsiteY18" fmla="*/ 279514 h 309562"/>
                <a:gd name="connsiteX19" fmla="*/ 213557 w 392904"/>
                <a:gd name="connsiteY19" fmla="*/ 279514 h 309562"/>
                <a:gd name="connsiteX20" fmla="*/ 205010 w 392904"/>
                <a:gd name="connsiteY20" fmla="*/ 300146 h 309562"/>
                <a:gd name="connsiteX21" fmla="*/ 182279 w 392904"/>
                <a:gd name="connsiteY21" fmla="*/ 309562 h 309562"/>
                <a:gd name="connsiteX22" fmla="*/ 139189 w 392904"/>
                <a:gd name="connsiteY22" fmla="*/ 309562 h 309562"/>
                <a:gd name="connsiteX23" fmla="*/ 116458 w 392904"/>
                <a:gd name="connsiteY23" fmla="*/ 300146 h 309562"/>
                <a:gd name="connsiteX24" fmla="*/ 107911 w 392904"/>
                <a:gd name="connsiteY24" fmla="*/ 279514 h 309562"/>
                <a:gd name="connsiteX25" fmla="*/ 95323 w 392904"/>
                <a:gd name="connsiteY25" fmla="*/ 279514 h 309562"/>
                <a:gd name="connsiteX26" fmla="*/ 0 w 392904"/>
                <a:gd name="connsiteY26" fmla="*/ 184191 h 309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92904" h="309562">
                  <a:moveTo>
                    <a:pt x="0" y="184191"/>
                  </a:moveTo>
                  <a:lnTo>
                    <a:pt x="0" y="125371"/>
                  </a:lnTo>
                  <a:cubicBezTo>
                    <a:pt x="0" y="72726"/>
                    <a:pt x="42678" y="30048"/>
                    <a:pt x="95323" y="30048"/>
                  </a:cubicBezTo>
                  <a:lnTo>
                    <a:pt x="107911" y="30048"/>
                  </a:lnTo>
                  <a:lnTo>
                    <a:pt x="116458" y="9416"/>
                  </a:lnTo>
                  <a:cubicBezTo>
                    <a:pt x="122275" y="3598"/>
                    <a:pt x="130312" y="0"/>
                    <a:pt x="139189" y="0"/>
                  </a:cubicBezTo>
                  <a:lnTo>
                    <a:pt x="182279" y="0"/>
                  </a:lnTo>
                  <a:cubicBezTo>
                    <a:pt x="191156" y="0"/>
                    <a:pt x="199193" y="3598"/>
                    <a:pt x="205010" y="9416"/>
                  </a:cubicBezTo>
                  <a:lnTo>
                    <a:pt x="213557" y="30048"/>
                  </a:lnTo>
                  <a:lnTo>
                    <a:pt x="252339" y="30048"/>
                  </a:lnTo>
                  <a:cubicBezTo>
                    <a:pt x="278662" y="30048"/>
                    <a:pt x="302492" y="40718"/>
                    <a:pt x="319742" y="57968"/>
                  </a:cubicBezTo>
                  <a:lnTo>
                    <a:pt x="336441" y="82735"/>
                  </a:lnTo>
                  <a:lnTo>
                    <a:pt x="357186" y="80848"/>
                  </a:lnTo>
                  <a:lnTo>
                    <a:pt x="392904" y="152286"/>
                  </a:lnTo>
                  <a:lnTo>
                    <a:pt x="357186" y="235629"/>
                  </a:lnTo>
                  <a:lnTo>
                    <a:pt x="330992" y="235629"/>
                  </a:lnTo>
                  <a:lnTo>
                    <a:pt x="330992" y="234909"/>
                  </a:lnTo>
                  <a:lnTo>
                    <a:pt x="319742" y="251594"/>
                  </a:lnTo>
                  <a:cubicBezTo>
                    <a:pt x="302492" y="268845"/>
                    <a:pt x="278662" y="279514"/>
                    <a:pt x="252339" y="279514"/>
                  </a:cubicBezTo>
                  <a:lnTo>
                    <a:pt x="213557" y="279514"/>
                  </a:lnTo>
                  <a:lnTo>
                    <a:pt x="205010" y="300146"/>
                  </a:lnTo>
                  <a:cubicBezTo>
                    <a:pt x="199193" y="305964"/>
                    <a:pt x="191156" y="309562"/>
                    <a:pt x="182279" y="309562"/>
                  </a:cubicBezTo>
                  <a:lnTo>
                    <a:pt x="139189" y="309562"/>
                  </a:lnTo>
                  <a:cubicBezTo>
                    <a:pt x="130312" y="309562"/>
                    <a:pt x="122275" y="305964"/>
                    <a:pt x="116458" y="300146"/>
                  </a:cubicBezTo>
                  <a:lnTo>
                    <a:pt x="107911" y="279514"/>
                  </a:lnTo>
                  <a:lnTo>
                    <a:pt x="95323" y="279514"/>
                  </a:lnTo>
                  <a:cubicBezTo>
                    <a:pt x="42678" y="279514"/>
                    <a:pt x="0" y="236836"/>
                    <a:pt x="0" y="184191"/>
                  </a:cubicBezTo>
                  <a:close/>
                </a:path>
              </a:pathLst>
            </a:custGeom>
            <a:solidFill>
              <a:srgbClr val="FFC00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3247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 smtClean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5" name="Freeform 164"/>
            <p:cNvSpPr/>
            <p:nvPr/>
          </p:nvSpPr>
          <p:spPr bwMode="auto">
            <a:xfrm>
              <a:off x="5544846" y="3573009"/>
              <a:ext cx="325993" cy="253146"/>
            </a:xfrm>
            <a:custGeom>
              <a:avLst/>
              <a:gdLst>
                <a:gd name="connsiteX0" fmla="*/ 300038 w 300038"/>
                <a:gd name="connsiteY0" fmla="*/ 190500 h 190500"/>
                <a:gd name="connsiteX1" fmla="*/ 271463 w 300038"/>
                <a:gd name="connsiteY1" fmla="*/ 116681 h 190500"/>
                <a:gd name="connsiteX2" fmla="*/ 195263 w 300038"/>
                <a:gd name="connsiteY2" fmla="*/ 107156 h 190500"/>
                <a:gd name="connsiteX3" fmla="*/ 52388 w 300038"/>
                <a:gd name="connsiteY3" fmla="*/ 100012 h 190500"/>
                <a:gd name="connsiteX4" fmla="*/ 21431 w 300038"/>
                <a:gd name="connsiteY4" fmla="*/ 119062 h 190500"/>
                <a:gd name="connsiteX5" fmla="*/ 23813 w 300038"/>
                <a:gd name="connsiteY5" fmla="*/ 164306 h 190500"/>
                <a:gd name="connsiteX6" fmla="*/ 0 w 300038"/>
                <a:gd name="connsiteY6" fmla="*/ 171450 h 190500"/>
                <a:gd name="connsiteX7" fmla="*/ 97631 w 300038"/>
                <a:gd name="connsiteY7" fmla="*/ 0 h 190500"/>
                <a:gd name="connsiteX8" fmla="*/ 214313 w 300038"/>
                <a:gd name="connsiteY8" fmla="*/ 40481 h 190500"/>
                <a:gd name="connsiteX9" fmla="*/ 300038 w 300038"/>
                <a:gd name="connsiteY9" fmla="*/ 190500 h 190500"/>
                <a:gd name="connsiteX0" fmla="*/ 300038 w 300038"/>
                <a:gd name="connsiteY0" fmla="*/ 190500 h 190500"/>
                <a:gd name="connsiteX1" fmla="*/ 271463 w 300038"/>
                <a:gd name="connsiteY1" fmla="*/ 116681 h 190500"/>
                <a:gd name="connsiteX2" fmla="*/ 195263 w 300038"/>
                <a:gd name="connsiteY2" fmla="*/ 107156 h 190500"/>
                <a:gd name="connsiteX3" fmla="*/ 52388 w 300038"/>
                <a:gd name="connsiteY3" fmla="*/ 100012 h 190500"/>
                <a:gd name="connsiteX4" fmla="*/ 21431 w 300038"/>
                <a:gd name="connsiteY4" fmla="*/ 119062 h 190500"/>
                <a:gd name="connsiteX5" fmla="*/ 23813 w 300038"/>
                <a:gd name="connsiteY5" fmla="*/ 164306 h 190500"/>
                <a:gd name="connsiteX6" fmla="*/ 0 w 300038"/>
                <a:gd name="connsiteY6" fmla="*/ 171450 h 190500"/>
                <a:gd name="connsiteX7" fmla="*/ 97631 w 300038"/>
                <a:gd name="connsiteY7" fmla="*/ 0 h 190500"/>
                <a:gd name="connsiteX8" fmla="*/ 214313 w 300038"/>
                <a:gd name="connsiteY8" fmla="*/ 40481 h 190500"/>
                <a:gd name="connsiteX9" fmla="*/ 300038 w 300038"/>
                <a:gd name="connsiteY9" fmla="*/ 190500 h 190500"/>
                <a:gd name="connsiteX0" fmla="*/ 300038 w 300038"/>
                <a:gd name="connsiteY0" fmla="*/ 190500 h 190500"/>
                <a:gd name="connsiteX1" fmla="*/ 271463 w 300038"/>
                <a:gd name="connsiteY1" fmla="*/ 116681 h 190500"/>
                <a:gd name="connsiteX2" fmla="*/ 195263 w 300038"/>
                <a:gd name="connsiteY2" fmla="*/ 107156 h 190500"/>
                <a:gd name="connsiteX3" fmla="*/ 52388 w 300038"/>
                <a:gd name="connsiteY3" fmla="*/ 100012 h 190500"/>
                <a:gd name="connsiteX4" fmla="*/ 21431 w 300038"/>
                <a:gd name="connsiteY4" fmla="*/ 119062 h 190500"/>
                <a:gd name="connsiteX5" fmla="*/ 23813 w 300038"/>
                <a:gd name="connsiteY5" fmla="*/ 164306 h 190500"/>
                <a:gd name="connsiteX6" fmla="*/ 0 w 300038"/>
                <a:gd name="connsiteY6" fmla="*/ 171450 h 190500"/>
                <a:gd name="connsiteX7" fmla="*/ 97631 w 300038"/>
                <a:gd name="connsiteY7" fmla="*/ 0 h 190500"/>
                <a:gd name="connsiteX8" fmla="*/ 214313 w 300038"/>
                <a:gd name="connsiteY8" fmla="*/ 40481 h 190500"/>
                <a:gd name="connsiteX9" fmla="*/ 300038 w 300038"/>
                <a:gd name="connsiteY9" fmla="*/ 190500 h 190500"/>
                <a:gd name="connsiteX0" fmla="*/ 300038 w 301649"/>
                <a:gd name="connsiteY0" fmla="*/ 190500 h 190500"/>
                <a:gd name="connsiteX1" fmla="*/ 271463 w 301649"/>
                <a:gd name="connsiteY1" fmla="*/ 116681 h 190500"/>
                <a:gd name="connsiteX2" fmla="*/ 195263 w 301649"/>
                <a:gd name="connsiteY2" fmla="*/ 107156 h 190500"/>
                <a:gd name="connsiteX3" fmla="*/ 52388 w 301649"/>
                <a:gd name="connsiteY3" fmla="*/ 100012 h 190500"/>
                <a:gd name="connsiteX4" fmla="*/ 21431 w 301649"/>
                <a:gd name="connsiteY4" fmla="*/ 119062 h 190500"/>
                <a:gd name="connsiteX5" fmla="*/ 23813 w 301649"/>
                <a:gd name="connsiteY5" fmla="*/ 164306 h 190500"/>
                <a:gd name="connsiteX6" fmla="*/ 0 w 301649"/>
                <a:gd name="connsiteY6" fmla="*/ 171450 h 190500"/>
                <a:gd name="connsiteX7" fmla="*/ 97631 w 301649"/>
                <a:gd name="connsiteY7" fmla="*/ 0 h 190500"/>
                <a:gd name="connsiteX8" fmla="*/ 214313 w 301649"/>
                <a:gd name="connsiteY8" fmla="*/ 40481 h 190500"/>
                <a:gd name="connsiteX9" fmla="*/ 300038 w 301649"/>
                <a:gd name="connsiteY9" fmla="*/ 190500 h 190500"/>
                <a:gd name="connsiteX0" fmla="*/ 300038 w 301649"/>
                <a:gd name="connsiteY0" fmla="*/ 194507 h 194507"/>
                <a:gd name="connsiteX1" fmla="*/ 271463 w 301649"/>
                <a:gd name="connsiteY1" fmla="*/ 120688 h 194507"/>
                <a:gd name="connsiteX2" fmla="*/ 195263 w 301649"/>
                <a:gd name="connsiteY2" fmla="*/ 111163 h 194507"/>
                <a:gd name="connsiteX3" fmla="*/ 52388 w 301649"/>
                <a:gd name="connsiteY3" fmla="*/ 104019 h 194507"/>
                <a:gd name="connsiteX4" fmla="*/ 21431 w 301649"/>
                <a:gd name="connsiteY4" fmla="*/ 123069 h 194507"/>
                <a:gd name="connsiteX5" fmla="*/ 23813 w 301649"/>
                <a:gd name="connsiteY5" fmla="*/ 168313 h 194507"/>
                <a:gd name="connsiteX6" fmla="*/ 0 w 301649"/>
                <a:gd name="connsiteY6" fmla="*/ 175457 h 194507"/>
                <a:gd name="connsiteX7" fmla="*/ 97631 w 301649"/>
                <a:gd name="connsiteY7" fmla="*/ 4007 h 194507"/>
                <a:gd name="connsiteX8" fmla="*/ 214313 w 301649"/>
                <a:gd name="connsiteY8" fmla="*/ 44488 h 194507"/>
                <a:gd name="connsiteX9" fmla="*/ 300038 w 301649"/>
                <a:gd name="connsiteY9" fmla="*/ 194507 h 194507"/>
                <a:gd name="connsiteX0" fmla="*/ 300038 w 301649"/>
                <a:gd name="connsiteY0" fmla="*/ 195665 h 195665"/>
                <a:gd name="connsiteX1" fmla="*/ 271463 w 301649"/>
                <a:gd name="connsiteY1" fmla="*/ 121846 h 195665"/>
                <a:gd name="connsiteX2" fmla="*/ 195263 w 301649"/>
                <a:gd name="connsiteY2" fmla="*/ 112321 h 195665"/>
                <a:gd name="connsiteX3" fmla="*/ 52388 w 301649"/>
                <a:gd name="connsiteY3" fmla="*/ 105177 h 195665"/>
                <a:gd name="connsiteX4" fmla="*/ 21431 w 301649"/>
                <a:gd name="connsiteY4" fmla="*/ 124227 h 195665"/>
                <a:gd name="connsiteX5" fmla="*/ 23813 w 301649"/>
                <a:gd name="connsiteY5" fmla="*/ 169471 h 195665"/>
                <a:gd name="connsiteX6" fmla="*/ 0 w 301649"/>
                <a:gd name="connsiteY6" fmla="*/ 176615 h 195665"/>
                <a:gd name="connsiteX7" fmla="*/ 97631 w 301649"/>
                <a:gd name="connsiteY7" fmla="*/ 5165 h 195665"/>
                <a:gd name="connsiteX8" fmla="*/ 214313 w 301649"/>
                <a:gd name="connsiteY8" fmla="*/ 45646 h 195665"/>
                <a:gd name="connsiteX9" fmla="*/ 300038 w 301649"/>
                <a:gd name="connsiteY9" fmla="*/ 195665 h 195665"/>
                <a:gd name="connsiteX0" fmla="*/ 300038 w 301649"/>
                <a:gd name="connsiteY0" fmla="*/ 195665 h 195665"/>
                <a:gd name="connsiteX1" fmla="*/ 271463 w 301649"/>
                <a:gd name="connsiteY1" fmla="*/ 121846 h 195665"/>
                <a:gd name="connsiteX2" fmla="*/ 195263 w 301649"/>
                <a:gd name="connsiteY2" fmla="*/ 112321 h 195665"/>
                <a:gd name="connsiteX3" fmla="*/ 52388 w 301649"/>
                <a:gd name="connsiteY3" fmla="*/ 105177 h 195665"/>
                <a:gd name="connsiteX4" fmla="*/ 45243 w 301649"/>
                <a:gd name="connsiteY4" fmla="*/ 150420 h 195665"/>
                <a:gd name="connsiteX5" fmla="*/ 23813 w 301649"/>
                <a:gd name="connsiteY5" fmla="*/ 169471 h 195665"/>
                <a:gd name="connsiteX6" fmla="*/ 0 w 301649"/>
                <a:gd name="connsiteY6" fmla="*/ 176615 h 195665"/>
                <a:gd name="connsiteX7" fmla="*/ 97631 w 301649"/>
                <a:gd name="connsiteY7" fmla="*/ 5165 h 195665"/>
                <a:gd name="connsiteX8" fmla="*/ 214313 w 301649"/>
                <a:gd name="connsiteY8" fmla="*/ 45646 h 195665"/>
                <a:gd name="connsiteX9" fmla="*/ 300038 w 301649"/>
                <a:gd name="connsiteY9" fmla="*/ 195665 h 195665"/>
                <a:gd name="connsiteX0" fmla="*/ 300483 w 302094"/>
                <a:gd name="connsiteY0" fmla="*/ 195665 h 195665"/>
                <a:gd name="connsiteX1" fmla="*/ 271908 w 302094"/>
                <a:gd name="connsiteY1" fmla="*/ 121846 h 195665"/>
                <a:gd name="connsiteX2" fmla="*/ 195708 w 302094"/>
                <a:gd name="connsiteY2" fmla="*/ 112321 h 195665"/>
                <a:gd name="connsiteX3" fmla="*/ 52833 w 302094"/>
                <a:gd name="connsiteY3" fmla="*/ 105177 h 195665"/>
                <a:gd name="connsiteX4" fmla="*/ 45688 w 302094"/>
                <a:gd name="connsiteY4" fmla="*/ 150420 h 195665"/>
                <a:gd name="connsiteX5" fmla="*/ 24258 w 302094"/>
                <a:gd name="connsiteY5" fmla="*/ 169471 h 195665"/>
                <a:gd name="connsiteX6" fmla="*/ 445 w 302094"/>
                <a:gd name="connsiteY6" fmla="*/ 176615 h 195665"/>
                <a:gd name="connsiteX7" fmla="*/ 98076 w 302094"/>
                <a:gd name="connsiteY7" fmla="*/ 5165 h 195665"/>
                <a:gd name="connsiteX8" fmla="*/ 214758 w 302094"/>
                <a:gd name="connsiteY8" fmla="*/ 45646 h 195665"/>
                <a:gd name="connsiteX9" fmla="*/ 300483 w 302094"/>
                <a:gd name="connsiteY9" fmla="*/ 195665 h 195665"/>
                <a:gd name="connsiteX0" fmla="*/ 300483 w 302094"/>
                <a:gd name="connsiteY0" fmla="*/ 195665 h 195665"/>
                <a:gd name="connsiteX1" fmla="*/ 271908 w 302094"/>
                <a:gd name="connsiteY1" fmla="*/ 121846 h 195665"/>
                <a:gd name="connsiteX2" fmla="*/ 195708 w 302094"/>
                <a:gd name="connsiteY2" fmla="*/ 112321 h 195665"/>
                <a:gd name="connsiteX3" fmla="*/ 52833 w 302094"/>
                <a:gd name="connsiteY3" fmla="*/ 105177 h 195665"/>
                <a:gd name="connsiteX4" fmla="*/ 45688 w 302094"/>
                <a:gd name="connsiteY4" fmla="*/ 150420 h 195665"/>
                <a:gd name="connsiteX5" fmla="*/ 21877 w 302094"/>
                <a:gd name="connsiteY5" fmla="*/ 131371 h 195665"/>
                <a:gd name="connsiteX6" fmla="*/ 445 w 302094"/>
                <a:gd name="connsiteY6" fmla="*/ 176615 h 195665"/>
                <a:gd name="connsiteX7" fmla="*/ 98076 w 302094"/>
                <a:gd name="connsiteY7" fmla="*/ 5165 h 195665"/>
                <a:gd name="connsiteX8" fmla="*/ 214758 w 302094"/>
                <a:gd name="connsiteY8" fmla="*/ 45646 h 195665"/>
                <a:gd name="connsiteX9" fmla="*/ 300483 w 302094"/>
                <a:gd name="connsiteY9" fmla="*/ 195665 h 195665"/>
                <a:gd name="connsiteX0" fmla="*/ 300483 w 302094"/>
                <a:gd name="connsiteY0" fmla="*/ 195665 h 195665"/>
                <a:gd name="connsiteX1" fmla="*/ 271908 w 302094"/>
                <a:gd name="connsiteY1" fmla="*/ 121846 h 195665"/>
                <a:gd name="connsiteX2" fmla="*/ 195708 w 302094"/>
                <a:gd name="connsiteY2" fmla="*/ 112321 h 195665"/>
                <a:gd name="connsiteX3" fmla="*/ 52833 w 302094"/>
                <a:gd name="connsiteY3" fmla="*/ 105177 h 195665"/>
                <a:gd name="connsiteX4" fmla="*/ 43307 w 302094"/>
                <a:gd name="connsiteY4" fmla="*/ 126608 h 195665"/>
                <a:gd name="connsiteX5" fmla="*/ 21877 w 302094"/>
                <a:gd name="connsiteY5" fmla="*/ 131371 h 195665"/>
                <a:gd name="connsiteX6" fmla="*/ 445 w 302094"/>
                <a:gd name="connsiteY6" fmla="*/ 176615 h 195665"/>
                <a:gd name="connsiteX7" fmla="*/ 98076 w 302094"/>
                <a:gd name="connsiteY7" fmla="*/ 5165 h 195665"/>
                <a:gd name="connsiteX8" fmla="*/ 214758 w 302094"/>
                <a:gd name="connsiteY8" fmla="*/ 45646 h 195665"/>
                <a:gd name="connsiteX9" fmla="*/ 300483 w 302094"/>
                <a:gd name="connsiteY9" fmla="*/ 195665 h 195665"/>
                <a:gd name="connsiteX0" fmla="*/ 300483 w 302094"/>
                <a:gd name="connsiteY0" fmla="*/ 195665 h 195665"/>
                <a:gd name="connsiteX1" fmla="*/ 271908 w 302094"/>
                <a:gd name="connsiteY1" fmla="*/ 121846 h 195665"/>
                <a:gd name="connsiteX2" fmla="*/ 195708 w 302094"/>
                <a:gd name="connsiteY2" fmla="*/ 112321 h 195665"/>
                <a:gd name="connsiteX3" fmla="*/ 52833 w 302094"/>
                <a:gd name="connsiteY3" fmla="*/ 105177 h 195665"/>
                <a:gd name="connsiteX4" fmla="*/ 43307 w 302094"/>
                <a:gd name="connsiteY4" fmla="*/ 126608 h 195665"/>
                <a:gd name="connsiteX5" fmla="*/ 12352 w 302094"/>
                <a:gd name="connsiteY5" fmla="*/ 171852 h 195665"/>
                <a:gd name="connsiteX6" fmla="*/ 445 w 302094"/>
                <a:gd name="connsiteY6" fmla="*/ 176615 h 195665"/>
                <a:gd name="connsiteX7" fmla="*/ 98076 w 302094"/>
                <a:gd name="connsiteY7" fmla="*/ 5165 h 195665"/>
                <a:gd name="connsiteX8" fmla="*/ 214758 w 302094"/>
                <a:gd name="connsiteY8" fmla="*/ 45646 h 195665"/>
                <a:gd name="connsiteX9" fmla="*/ 300483 w 302094"/>
                <a:gd name="connsiteY9" fmla="*/ 195665 h 195665"/>
                <a:gd name="connsiteX0" fmla="*/ 300483 w 302094"/>
                <a:gd name="connsiteY0" fmla="*/ 195665 h 195665"/>
                <a:gd name="connsiteX1" fmla="*/ 271908 w 302094"/>
                <a:gd name="connsiteY1" fmla="*/ 121846 h 195665"/>
                <a:gd name="connsiteX2" fmla="*/ 195708 w 302094"/>
                <a:gd name="connsiteY2" fmla="*/ 112321 h 195665"/>
                <a:gd name="connsiteX3" fmla="*/ 52833 w 302094"/>
                <a:gd name="connsiteY3" fmla="*/ 105177 h 195665"/>
                <a:gd name="connsiteX4" fmla="*/ 43307 w 302094"/>
                <a:gd name="connsiteY4" fmla="*/ 126608 h 195665"/>
                <a:gd name="connsiteX5" fmla="*/ 12352 w 302094"/>
                <a:gd name="connsiteY5" fmla="*/ 171852 h 195665"/>
                <a:gd name="connsiteX6" fmla="*/ 445 w 302094"/>
                <a:gd name="connsiteY6" fmla="*/ 176615 h 195665"/>
                <a:gd name="connsiteX7" fmla="*/ 98076 w 302094"/>
                <a:gd name="connsiteY7" fmla="*/ 5165 h 195665"/>
                <a:gd name="connsiteX8" fmla="*/ 214758 w 302094"/>
                <a:gd name="connsiteY8" fmla="*/ 45646 h 195665"/>
                <a:gd name="connsiteX9" fmla="*/ 300483 w 302094"/>
                <a:gd name="connsiteY9" fmla="*/ 195665 h 195665"/>
                <a:gd name="connsiteX0" fmla="*/ 300483 w 302094"/>
                <a:gd name="connsiteY0" fmla="*/ 195665 h 195665"/>
                <a:gd name="connsiteX1" fmla="*/ 271908 w 302094"/>
                <a:gd name="connsiteY1" fmla="*/ 121846 h 195665"/>
                <a:gd name="connsiteX2" fmla="*/ 195708 w 302094"/>
                <a:gd name="connsiteY2" fmla="*/ 112321 h 195665"/>
                <a:gd name="connsiteX3" fmla="*/ 52833 w 302094"/>
                <a:gd name="connsiteY3" fmla="*/ 105177 h 195665"/>
                <a:gd name="connsiteX4" fmla="*/ 43307 w 302094"/>
                <a:gd name="connsiteY4" fmla="*/ 126608 h 195665"/>
                <a:gd name="connsiteX5" fmla="*/ 12352 w 302094"/>
                <a:gd name="connsiteY5" fmla="*/ 171852 h 195665"/>
                <a:gd name="connsiteX6" fmla="*/ 445 w 302094"/>
                <a:gd name="connsiteY6" fmla="*/ 176615 h 195665"/>
                <a:gd name="connsiteX7" fmla="*/ 98076 w 302094"/>
                <a:gd name="connsiteY7" fmla="*/ 5165 h 195665"/>
                <a:gd name="connsiteX8" fmla="*/ 214758 w 302094"/>
                <a:gd name="connsiteY8" fmla="*/ 45646 h 195665"/>
                <a:gd name="connsiteX9" fmla="*/ 300483 w 302094"/>
                <a:gd name="connsiteY9" fmla="*/ 195665 h 195665"/>
                <a:gd name="connsiteX0" fmla="*/ 300483 w 302094"/>
                <a:gd name="connsiteY0" fmla="*/ 195665 h 195665"/>
                <a:gd name="connsiteX1" fmla="*/ 271908 w 302094"/>
                <a:gd name="connsiteY1" fmla="*/ 121846 h 195665"/>
                <a:gd name="connsiteX2" fmla="*/ 195708 w 302094"/>
                <a:gd name="connsiteY2" fmla="*/ 112321 h 195665"/>
                <a:gd name="connsiteX3" fmla="*/ 52833 w 302094"/>
                <a:gd name="connsiteY3" fmla="*/ 105177 h 195665"/>
                <a:gd name="connsiteX4" fmla="*/ 43307 w 302094"/>
                <a:gd name="connsiteY4" fmla="*/ 126608 h 195665"/>
                <a:gd name="connsiteX5" fmla="*/ 12352 w 302094"/>
                <a:gd name="connsiteY5" fmla="*/ 171852 h 195665"/>
                <a:gd name="connsiteX6" fmla="*/ 445 w 302094"/>
                <a:gd name="connsiteY6" fmla="*/ 176615 h 195665"/>
                <a:gd name="connsiteX7" fmla="*/ 98076 w 302094"/>
                <a:gd name="connsiteY7" fmla="*/ 5165 h 195665"/>
                <a:gd name="connsiteX8" fmla="*/ 214758 w 302094"/>
                <a:gd name="connsiteY8" fmla="*/ 45646 h 195665"/>
                <a:gd name="connsiteX9" fmla="*/ 300483 w 302094"/>
                <a:gd name="connsiteY9" fmla="*/ 195665 h 195665"/>
                <a:gd name="connsiteX0" fmla="*/ 300483 w 302094"/>
                <a:gd name="connsiteY0" fmla="*/ 195665 h 195665"/>
                <a:gd name="connsiteX1" fmla="*/ 271908 w 302094"/>
                <a:gd name="connsiteY1" fmla="*/ 121846 h 195665"/>
                <a:gd name="connsiteX2" fmla="*/ 195708 w 302094"/>
                <a:gd name="connsiteY2" fmla="*/ 112321 h 195665"/>
                <a:gd name="connsiteX3" fmla="*/ 52833 w 302094"/>
                <a:gd name="connsiteY3" fmla="*/ 105177 h 195665"/>
                <a:gd name="connsiteX4" fmla="*/ 43307 w 302094"/>
                <a:gd name="connsiteY4" fmla="*/ 126608 h 195665"/>
                <a:gd name="connsiteX5" fmla="*/ 12352 w 302094"/>
                <a:gd name="connsiteY5" fmla="*/ 171852 h 195665"/>
                <a:gd name="connsiteX6" fmla="*/ 445 w 302094"/>
                <a:gd name="connsiteY6" fmla="*/ 176615 h 195665"/>
                <a:gd name="connsiteX7" fmla="*/ 98076 w 302094"/>
                <a:gd name="connsiteY7" fmla="*/ 5165 h 195665"/>
                <a:gd name="connsiteX8" fmla="*/ 214758 w 302094"/>
                <a:gd name="connsiteY8" fmla="*/ 45646 h 195665"/>
                <a:gd name="connsiteX9" fmla="*/ 300483 w 302094"/>
                <a:gd name="connsiteY9" fmla="*/ 195665 h 195665"/>
                <a:gd name="connsiteX0" fmla="*/ 300483 w 301906"/>
                <a:gd name="connsiteY0" fmla="*/ 195665 h 195665"/>
                <a:gd name="connsiteX1" fmla="*/ 271908 w 301906"/>
                <a:gd name="connsiteY1" fmla="*/ 121846 h 195665"/>
                <a:gd name="connsiteX2" fmla="*/ 195708 w 301906"/>
                <a:gd name="connsiteY2" fmla="*/ 112321 h 195665"/>
                <a:gd name="connsiteX3" fmla="*/ 52833 w 301906"/>
                <a:gd name="connsiteY3" fmla="*/ 105177 h 195665"/>
                <a:gd name="connsiteX4" fmla="*/ 43307 w 301906"/>
                <a:gd name="connsiteY4" fmla="*/ 126608 h 195665"/>
                <a:gd name="connsiteX5" fmla="*/ 12352 w 301906"/>
                <a:gd name="connsiteY5" fmla="*/ 171852 h 195665"/>
                <a:gd name="connsiteX6" fmla="*/ 445 w 301906"/>
                <a:gd name="connsiteY6" fmla="*/ 176615 h 195665"/>
                <a:gd name="connsiteX7" fmla="*/ 98076 w 301906"/>
                <a:gd name="connsiteY7" fmla="*/ 5165 h 195665"/>
                <a:gd name="connsiteX8" fmla="*/ 214758 w 301906"/>
                <a:gd name="connsiteY8" fmla="*/ 45646 h 195665"/>
                <a:gd name="connsiteX9" fmla="*/ 300483 w 301906"/>
                <a:gd name="connsiteY9" fmla="*/ 195665 h 195665"/>
                <a:gd name="connsiteX0" fmla="*/ 300483 w 301906"/>
                <a:gd name="connsiteY0" fmla="*/ 195665 h 195665"/>
                <a:gd name="connsiteX1" fmla="*/ 271908 w 301906"/>
                <a:gd name="connsiteY1" fmla="*/ 121846 h 195665"/>
                <a:gd name="connsiteX2" fmla="*/ 195708 w 301906"/>
                <a:gd name="connsiteY2" fmla="*/ 112321 h 195665"/>
                <a:gd name="connsiteX3" fmla="*/ 52833 w 301906"/>
                <a:gd name="connsiteY3" fmla="*/ 105177 h 195665"/>
                <a:gd name="connsiteX4" fmla="*/ 43307 w 301906"/>
                <a:gd name="connsiteY4" fmla="*/ 126608 h 195665"/>
                <a:gd name="connsiteX5" fmla="*/ 12352 w 301906"/>
                <a:gd name="connsiteY5" fmla="*/ 171852 h 195665"/>
                <a:gd name="connsiteX6" fmla="*/ 445 w 301906"/>
                <a:gd name="connsiteY6" fmla="*/ 176615 h 195665"/>
                <a:gd name="connsiteX7" fmla="*/ 98076 w 301906"/>
                <a:gd name="connsiteY7" fmla="*/ 5165 h 195665"/>
                <a:gd name="connsiteX8" fmla="*/ 214758 w 301906"/>
                <a:gd name="connsiteY8" fmla="*/ 45646 h 195665"/>
                <a:gd name="connsiteX9" fmla="*/ 300483 w 301906"/>
                <a:gd name="connsiteY9" fmla="*/ 195665 h 195665"/>
                <a:gd name="connsiteX0" fmla="*/ 300157 w 305426"/>
                <a:gd name="connsiteY0" fmla="*/ 207197 h 207197"/>
                <a:gd name="connsiteX1" fmla="*/ 271582 w 305426"/>
                <a:gd name="connsiteY1" fmla="*/ 133378 h 207197"/>
                <a:gd name="connsiteX2" fmla="*/ 195382 w 305426"/>
                <a:gd name="connsiteY2" fmla="*/ 123853 h 207197"/>
                <a:gd name="connsiteX3" fmla="*/ 52507 w 305426"/>
                <a:gd name="connsiteY3" fmla="*/ 116709 h 207197"/>
                <a:gd name="connsiteX4" fmla="*/ 42981 w 305426"/>
                <a:gd name="connsiteY4" fmla="*/ 138140 h 207197"/>
                <a:gd name="connsiteX5" fmla="*/ 12026 w 305426"/>
                <a:gd name="connsiteY5" fmla="*/ 183384 h 207197"/>
                <a:gd name="connsiteX6" fmla="*/ 119 w 305426"/>
                <a:gd name="connsiteY6" fmla="*/ 188147 h 207197"/>
                <a:gd name="connsiteX7" fmla="*/ 97750 w 305426"/>
                <a:gd name="connsiteY7" fmla="*/ 16697 h 207197"/>
                <a:gd name="connsiteX8" fmla="*/ 236657 w 305426"/>
                <a:gd name="connsiteY8" fmla="*/ 25428 h 207197"/>
                <a:gd name="connsiteX9" fmla="*/ 300157 w 305426"/>
                <a:gd name="connsiteY9" fmla="*/ 207197 h 207197"/>
                <a:gd name="connsiteX0" fmla="*/ 301589 w 306858"/>
                <a:gd name="connsiteY0" fmla="*/ 228594 h 228594"/>
                <a:gd name="connsiteX1" fmla="*/ 273014 w 306858"/>
                <a:gd name="connsiteY1" fmla="*/ 154775 h 228594"/>
                <a:gd name="connsiteX2" fmla="*/ 196814 w 306858"/>
                <a:gd name="connsiteY2" fmla="*/ 145250 h 228594"/>
                <a:gd name="connsiteX3" fmla="*/ 53939 w 306858"/>
                <a:gd name="connsiteY3" fmla="*/ 138106 h 228594"/>
                <a:gd name="connsiteX4" fmla="*/ 44413 w 306858"/>
                <a:gd name="connsiteY4" fmla="*/ 159537 h 228594"/>
                <a:gd name="connsiteX5" fmla="*/ 13458 w 306858"/>
                <a:gd name="connsiteY5" fmla="*/ 204781 h 228594"/>
                <a:gd name="connsiteX6" fmla="*/ 1551 w 306858"/>
                <a:gd name="connsiteY6" fmla="*/ 209544 h 228594"/>
                <a:gd name="connsiteX7" fmla="*/ 35682 w 306858"/>
                <a:gd name="connsiteY7" fmla="*/ 9519 h 228594"/>
                <a:gd name="connsiteX8" fmla="*/ 238089 w 306858"/>
                <a:gd name="connsiteY8" fmla="*/ 46825 h 228594"/>
                <a:gd name="connsiteX9" fmla="*/ 301589 w 306858"/>
                <a:gd name="connsiteY9" fmla="*/ 228594 h 228594"/>
                <a:gd name="connsiteX0" fmla="*/ 309678 w 314947"/>
                <a:gd name="connsiteY0" fmla="*/ 254831 h 254831"/>
                <a:gd name="connsiteX1" fmla="*/ 281103 w 314947"/>
                <a:gd name="connsiteY1" fmla="*/ 181012 h 254831"/>
                <a:gd name="connsiteX2" fmla="*/ 204903 w 314947"/>
                <a:gd name="connsiteY2" fmla="*/ 171487 h 254831"/>
                <a:gd name="connsiteX3" fmla="*/ 62028 w 314947"/>
                <a:gd name="connsiteY3" fmla="*/ 164343 h 254831"/>
                <a:gd name="connsiteX4" fmla="*/ 52502 w 314947"/>
                <a:gd name="connsiteY4" fmla="*/ 185774 h 254831"/>
                <a:gd name="connsiteX5" fmla="*/ 21547 w 314947"/>
                <a:gd name="connsiteY5" fmla="*/ 231018 h 254831"/>
                <a:gd name="connsiteX6" fmla="*/ 9640 w 314947"/>
                <a:gd name="connsiteY6" fmla="*/ 235781 h 254831"/>
                <a:gd name="connsiteX7" fmla="*/ 43771 w 314947"/>
                <a:gd name="connsiteY7" fmla="*/ 35756 h 254831"/>
                <a:gd name="connsiteX8" fmla="*/ 246178 w 314947"/>
                <a:gd name="connsiteY8" fmla="*/ 73062 h 254831"/>
                <a:gd name="connsiteX9" fmla="*/ 309678 w 314947"/>
                <a:gd name="connsiteY9" fmla="*/ 254831 h 254831"/>
                <a:gd name="connsiteX0" fmla="*/ 322378 w 324871"/>
                <a:gd name="connsiteY0" fmla="*/ 280231 h 280231"/>
                <a:gd name="connsiteX1" fmla="*/ 281103 w 324871"/>
                <a:gd name="connsiteY1" fmla="*/ 181012 h 280231"/>
                <a:gd name="connsiteX2" fmla="*/ 204903 w 324871"/>
                <a:gd name="connsiteY2" fmla="*/ 171487 h 280231"/>
                <a:gd name="connsiteX3" fmla="*/ 62028 w 324871"/>
                <a:gd name="connsiteY3" fmla="*/ 164343 h 280231"/>
                <a:gd name="connsiteX4" fmla="*/ 52502 w 324871"/>
                <a:gd name="connsiteY4" fmla="*/ 185774 h 280231"/>
                <a:gd name="connsiteX5" fmla="*/ 21547 w 324871"/>
                <a:gd name="connsiteY5" fmla="*/ 231018 h 280231"/>
                <a:gd name="connsiteX6" fmla="*/ 9640 w 324871"/>
                <a:gd name="connsiteY6" fmla="*/ 235781 h 280231"/>
                <a:gd name="connsiteX7" fmla="*/ 43771 w 324871"/>
                <a:gd name="connsiteY7" fmla="*/ 35756 h 280231"/>
                <a:gd name="connsiteX8" fmla="*/ 246178 w 324871"/>
                <a:gd name="connsiteY8" fmla="*/ 73062 h 280231"/>
                <a:gd name="connsiteX9" fmla="*/ 322378 w 324871"/>
                <a:gd name="connsiteY9" fmla="*/ 280231 h 280231"/>
                <a:gd name="connsiteX0" fmla="*/ 322378 w 335881"/>
                <a:gd name="connsiteY0" fmla="*/ 280231 h 280231"/>
                <a:gd name="connsiteX1" fmla="*/ 281103 w 335881"/>
                <a:gd name="connsiteY1" fmla="*/ 181012 h 280231"/>
                <a:gd name="connsiteX2" fmla="*/ 204903 w 335881"/>
                <a:gd name="connsiteY2" fmla="*/ 171487 h 280231"/>
                <a:gd name="connsiteX3" fmla="*/ 62028 w 335881"/>
                <a:gd name="connsiteY3" fmla="*/ 164343 h 280231"/>
                <a:gd name="connsiteX4" fmla="*/ 52502 w 335881"/>
                <a:gd name="connsiteY4" fmla="*/ 185774 h 280231"/>
                <a:gd name="connsiteX5" fmla="*/ 21547 w 335881"/>
                <a:gd name="connsiteY5" fmla="*/ 231018 h 280231"/>
                <a:gd name="connsiteX6" fmla="*/ 9640 w 335881"/>
                <a:gd name="connsiteY6" fmla="*/ 235781 h 280231"/>
                <a:gd name="connsiteX7" fmla="*/ 43771 w 335881"/>
                <a:gd name="connsiteY7" fmla="*/ 35756 h 280231"/>
                <a:gd name="connsiteX8" fmla="*/ 246178 w 335881"/>
                <a:gd name="connsiteY8" fmla="*/ 73062 h 280231"/>
                <a:gd name="connsiteX9" fmla="*/ 322378 w 335881"/>
                <a:gd name="connsiteY9" fmla="*/ 280231 h 280231"/>
                <a:gd name="connsiteX0" fmla="*/ 320006 w 333509"/>
                <a:gd name="connsiteY0" fmla="*/ 256912 h 256912"/>
                <a:gd name="connsiteX1" fmla="*/ 278731 w 333509"/>
                <a:gd name="connsiteY1" fmla="*/ 157693 h 256912"/>
                <a:gd name="connsiteX2" fmla="*/ 202531 w 333509"/>
                <a:gd name="connsiteY2" fmla="*/ 148168 h 256912"/>
                <a:gd name="connsiteX3" fmla="*/ 59656 w 333509"/>
                <a:gd name="connsiteY3" fmla="*/ 141024 h 256912"/>
                <a:gd name="connsiteX4" fmla="*/ 50130 w 333509"/>
                <a:gd name="connsiteY4" fmla="*/ 162455 h 256912"/>
                <a:gd name="connsiteX5" fmla="*/ 19175 w 333509"/>
                <a:gd name="connsiteY5" fmla="*/ 207699 h 256912"/>
                <a:gd name="connsiteX6" fmla="*/ 918 w 333509"/>
                <a:gd name="connsiteY6" fmla="*/ 253737 h 256912"/>
                <a:gd name="connsiteX7" fmla="*/ 41399 w 333509"/>
                <a:gd name="connsiteY7" fmla="*/ 12437 h 256912"/>
                <a:gd name="connsiteX8" fmla="*/ 243806 w 333509"/>
                <a:gd name="connsiteY8" fmla="*/ 49743 h 256912"/>
                <a:gd name="connsiteX9" fmla="*/ 320006 w 333509"/>
                <a:gd name="connsiteY9" fmla="*/ 256912 h 256912"/>
                <a:gd name="connsiteX0" fmla="*/ 340397 w 353900"/>
                <a:gd name="connsiteY0" fmla="*/ 256912 h 256912"/>
                <a:gd name="connsiteX1" fmla="*/ 299122 w 353900"/>
                <a:gd name="connsiteY1" fmla="*/ 157693 h 256912"/>
                <a:gd name="connsiteX2" fmla="*/ 222922 w 353900"/>
                <a:gd name="connsiteY2" fmla="*/ 148168 h 256912"/>
                <a:gd name="connsiteX3" fmla="*/ 80047 w 353900"/>
                <a:gd name="connsiteY3" fmla="*/ 141024 h 256912"/>
                <a:gd name="connsiteX4" fmla="*/ 70521 w 353900"/>
                <a:gd name="connsiteY4" fmla="*/ 162455 h 256912"/>
                <a:gd name="connsiteX5" fmla="*/ 39566 w 353900"/>
                <a:gd name="connsiteY5" fmla="*/ 207699 h 256912"/>
                <a:gd name="connsiteX6" fmla="*/ 21309 w 353900"/>
                <a:gd name="connsiteY6" fmla="*/ 253737 h 256912"/>
                <a:gd name="connsiteX7" fmla="*/ 61790 w 353900"/>
                <a:gd name="connsiteY7" fmla="*/ 12437 h 256912"/>
                <a:gd name="connsiteX8" fmla="*/ 264197 w 353900"/>
                <a:gd name="connsiteY8" fmla="*/ 49743 h 256912"/>
                <a:gd name="connsiteX9" fmla="*/ 340397 w 353900"/>
                <a:gd name="connsiteY9" fmla="*/ 256912 h 256912"/>
                <a:gd name="connsiteX0" fmla="*/ 351275 w 364778"/>
                <a:gd name="connsiteY0" fmla="*/ 283264 h 283264"/>
                <a:gd name="connsiteX1" fmla="*/ 310000 w 364778"/>
                <a:gd name="connsiteY1" fmla="*/ 184045 h 283264"/>
                <a:gd name="connsiteX2" fmla="*/ 233800 w 364778"/>
                <a:gd name="connsiteY2" fmla="*/ 174520 h 283264"/>
                <a:gd name="connsiteX3" fmla="*/ 90925 w 364778"/>
                <a:gd name="connsiteY3" fmla="*/ 167376 h 283264"/>
                <a:gd name="connsiteX4" fmla="*/ 81399 w 364778"/>
                <a:gd name="connsiteY4" fmla="*/ 188807 h 283264"/>
                <a:gd name="connsiteX5" fmla="*/ 50444 w 364778"/>
                <a:gd name="connsiteY5" fmla="*/ 234051 h 283264"/>
                <a:gd name="connsiteX6" fmla="*/ 32187 w 364778"/>
                <a:gd name="connsiteY6" fmla="*/ 280089 h 283264"/>
                <a:gd name="connsiteX7" fmla="*/ 72668 w 364778"/>
                <a:gd name="connsiteY7" fmla="*/ 38789 h 283264"/>
                <a:gd name="connsiteX8" fmla="*/ 275075 w 364778"/>
                <a:gd name="connsiteY8" fmla="*/ 76095 h 283264"/>
                <a:gd name="connsiteX9" fmla="*/ 351275 w 364778"/>
                <a:gd name="connsiteY9" fmla="*/ 283264 h 283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778" h="283264">
                  <a:moveTo>
                    <a:pt x="351275" y="283264"/>
                  </a:moveTo>
                  <a:cubicBezTo>
                    <a:pt x="282218" y="246752"/>
                    <a:pt x="319525" y="208651"/>
                    <a:pt x="310000" y="184045"/>
                  </a:cubicBezTo>
                  <a:cubicBezTo>
                    <a:pt x="284600" y="192777"/>
                    <a:pt x="259200" y="177695"/>
                    <a:pt x="233800" y="174520"/>
                  </a:cubicBezTo>
                  <a:cubicBezTo>
                    <a:pt x="155219" y="200714"/>
                    <a:pt x="124262" y="186426"/>
                    <a:pt x="90925" y="167376"/>
                  </a:cubicBezTo>
                  <a:lnTo>
                    <a:pt x="81399" y="188807"/>
                  </a:lnTo>
                  <a:cubicBezTo>
                    <a:pt x="71081" y="203888"/>
                    <a:pt x="70287" y="240402"/>
                    <a:pt x="50444" y="234051"/>
                  </a:cubicBezTo>
                  <a:lnTo>
                    <a:pt x="32187" y="280089"/>
                  </a:lnTo>
                  <a:cubicBezTo>
                    <a:pt x="-18613" y="186426"/>
                    <a:pt x="-12263" y="133113"/>
                    <a:pt x="72668" y="38789"/>
                  </a:cubicBezTo>
                  <a:cubicBezTo>
                    <a:pt x="157599" y="-55535"/>
                    <a:pt x="264756" y="48313"/>
                    <a:pt x="275075" y="76095"/>
                  </a:cubicBezTo>
                  <a:cubicBezTo>
                    <a:pt x="363181" y="61807"/>
                    <a:pt x="381438" y="253102"/>
                    <a:pt x="351275" y="283264"/>
                  </a:cubicBezTo>
                  <a:close/>
                </a:path>
              </a:pathLst>
            </a:custGeom>
            <a:solidFill>
              <a:srgbClr val="3F3F3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3247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 smtClean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166" name="Group 165"/>
            <p:cNvGrpSpPr/>
            <p:nvPr/>
          </p:nvGrpSpPr>
          <p:grpSpPr>
            <a:xfrm flipH="1">
              <a:off x="2672401" y="1927396"/>
              <a:ext cx="2633871" cy="716072"/>
              <a:chOff x="9225313" y="1845071"/>
              <a:chExt cx="2633871" cy="716072"/>
            </a:xfrm>
          </p:grpSpPr>
          <p:sp>
            <p:nvSpPr>
              <p:cNvPr id="225" name="Freeform 224"/>
              <p:cNvSpPr>
                <a:spLocks/>
              </p:cNvSpPr>
              <p:nvPr/>
            </p:nvSpPr>
            <p:spPr bwMode="auto">
              <a:xfrm rot="20813856" flipH="1">
                <a:off x="9351002" y="1860594"/>
                <a:ext cx="2486005" cy="676952"/>
              </a:xfrm>
              <a:custGeom>
                <a:avLst/>
                <a:gdLst>
                  <a:gd name="T0" fmla="*/ 1685 w 2153"/>
                  <a:gd name="T1" fmla="*/ 339 h 587"/>
                  <a:gd name="T2" fmla="*/ 2153 w 2153"/>
                  <a:gd name="T3" fmla="*/ 308 h 587"/>
                  <a:gd name="T4" fmla="*/ 1939 w 2153"/>
                  <a:gd name="T5" fmla="*/ 385 h 587"/>
                  <a:gd name="T6" fmla="*/ 1717 w 2153"/>
                  <a:gd name="T7" fmla="*/ 448 h 587"/>
                  <a:gd name="T8" fmla="*/ 1148 w 2153"/>
                  <a:gd name="T9" fmla="*/ 546 h 587"/>
                  <a:gd name="T10" fmla="*/ 475 w 2153"/>
                  <a:gd name="T11" fmla="*/ 489 h 587"/>
                  <a:gd name="T12" fmla="*/ 353 w 2153"/>
                  <a:gd name="T13" fmla="*/ 587 h 587"/>
                  <a:gd name="T14" fmla="*/ 235 w 2153"/>
                  <a:gd name="T15" fmla="*/ 512 h 587"/>
                  <a:gd name="T16" fmla="*/ 230 w 2153"/>
                  <a:gd name="T17" fmla="*/ 493 h 587"/>
                  <a:gd name="T18" fmla="*/ 211 w 2153"/>
                  <a:gd name="T19" fmla="*/ 489 h 587"/>
                  <a:gd name="T20" fmla="*/ 180 w 2153"/>
                  <a:gd name="T21" fmla="*/ 478 h 587"/>
                  <a:gd name="T22" fmla="*/ 141 w 2153"/>
                  <a:gd name="T23" fmla="*/ 463 h 587"/>
                  <a:gd name="T24" fmla="*/ 98 w 2153"/>
                  <a:gd name="T25" fmla="*/ 442 h 587"/>
                  <a:gd name="T26" fmla="*/ 59 w 2153"/>
                  <a:gd name="T27" fmla="*/ 416 h 587"/>
                  <a:gd name="T28" fmla="*/ 26 w 2153"/>
                  <a:gd name="T29" fmla="*/ 384 h 587"/>
                  <a:gd name="T30" fmla="*/ 5 w 2153"/>
                  <a:gd name="T31" fmla="*/ 347 h 587"/>
                  <a:gd name="T32" fmla="*/ 2 w 2153"/>
                  <a:gd name="T33" fmla="*/ 324 h 587"/>
                  <a:gd name="T34" fmla="*/ 13 w 2153"/>
                  <a:gd name="T35" fmla="*/ 307 h 587"/>
                  <a:gd name="T36" fmla="*/ 33 w 2153"/>
                  <a:gd name="T37" fmla="*/ 280 h 587"/>
                  <a:gd name="T38" fmla="*/ 56 w 2153"/>
                  <a:gd name="T39" fmla="*/ 256 h 587"/>
                  <a:gd name="T40" fmla="*/ 81 w 2153"/>
                  <a:gd name="T41" fmla="*/ 238 h 587"/>
                  <a:gd name="T42" fmla="*/ 108 w 2153"/>
                  <a:gd name="T43" fmla="*/ 218 h 587"/>
                  <a:gd name="T44" fmla="*/ 132 w 2153"/>
                  <a:gd name="T45" fmla="*/ 198 h 587"/>
                  <a:gd name="T46" fmla="*/ 147 w 2153"/>
                  <a:gd name="T47" fmla="*/ 186 h 587"/>
                  <a:gd name="T48" fmla="*/ 153 w 2153"/>
                  <a:gd name="T49" fmla="*/ 182 h 587"/>
                  <a:gd name="T50" fmla="*/ 173 w 2153"/>
                  <a:gd name="T51" fmla="*/ 178 h 587"/>
                  <a:gd name="T52" fmla="*/ 209 w 2153"/>
                  <a:gd name="T53" fmla="*/ 171 h 587"/>
                  <a:gd name="T54" fmla="*/ 254 w 2153"/>
                  <a:gd name="T55" fmla="*/ 171 h 587"/>
                  <a:gd name="T56" fmla="*/ 292 w 2153"/>
                  <a:gd name="T57" fmla="*/ 175 h 587"/>
                  <a:gd name="T58" fmla="*/ 328 w 2153"/>
                  <a:gd name="T59" fmla="*/ 181 h 587"/>
                  <a:gd name="T60" fmla="*/ 374 w 2153"/>
                  <a:gd name="T61" fmla="*/ 188 h 587"/>
                  <a:gd name="T62" fmla="*/ 426 w 2153"/>
                  <a:gd name="T63" fmla="*/ 196 h 587"/>
                  <a:gd name="T64" fmla="*/ 477 w 2153"/>
                  <a:gd name="T65" fmla="*/ 205 h 587"/>
                  <a:gd name="T66" fmla="*/ 529 w 2153"/>
                  <a:gd name="T67" fmla="*/ 215 h 587"/>
                  <a:gd name="T68" fmla="*/ 575 w 2153"/>
                  <a:gd name="T69" fmla="*/ 225 h 587"/>
                  <a:gd name="T70" fmla="*/ 611 w 2153"/>
                  <a:gd name="T71" fmla="*/ 235 h 587"/>
                  <a:gd name="T72" fmla="*/ 1382 w 2153"/>
                  <a:gd name="T73" fmla="*/ 331 h 587"/>
                  <a:gd name="T74" fmla="*/ 1385 w 2153"/>
                  <a:gd name="T75" fmla="*/ 327 h 587"/>
                  <a:gd name="T76" fmla="*/ 1396 w 2153"/>
                  <a:gd name="T77" fmla="*/ 318 h 587"/>
                  <a:gd name="T78" fmla="*/ 1413 w 2153"/>
                  <a:gd name="T79" fmla="*/ 301 h 587"/>
                  <a:gd name="T80" fmla="*/ 1437 w 2153"/>
                  <a:gd name="T81" fmla="*/ 276 h 587"/>
                  <a:gd name="T82" fmla="*/ 1458 w 2153"/>
                  <a:gd name="T83" fmla="*/ 253 h 587"/>
                  <a:gd name="T84" fmla="*/ 1490 w 2153"/>
                  <a:gd name="T85" fmla="*/ 216 h 587"/>
                  <a:gd name="T86" fmla="*/ 1528 w 2153"/>
                  <a:gd name="T87" fmla="*/ 171 h 587"/>
                  <a:gd name="T88" fmla="*/ 1570 w 2153"/>
                  <a:gd name="T89" fmla="*/ 122 h 587"/>
                  <a:gd name="T90" fmla="*/ 1609 w 2153"/>
                  <a:gd name="T91" fmla="*/ 76 h 587"/>
                  <a:gd name="T92" fmla="*/ 1641 w 2153"/>
                  <a:gd name="T93" fmla="*/ 37 h 587"/>
                  <a:gd name="T94" fmla="*/ 1665 w 2153"/>
                  <a:gd name="T95" fmla="*/ 11 h 587"/>
                  <a:gd name="T96" fmla="*/ 1673 w 2153"/>
                  <a:gd name="T97" fmla="*/ 0 h 5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153" h="587">
                    <a:moveTo>
                      <a:pt x="1771" y="8"/>
                    </a:moveTo>
                    <a:lnTo>
                      <a:pt x="1685" y="339"/>
                    </a:lnTo>
                    <a:lnTo>
                      <a:pt x="2072" y="302"/>
                    </a:lnTo>
                    <a:lnTo>
                      <a:pt x="2153" y="308"/>
                    </a:lnTo>
                    <a:lnTo>
                      <a:pt x="1951" y="360"/>
                    </a:lnTo>
                    <a:lnTo>
                      <a:pt x="1939" y="385"/>
                    </a:lnTo>
                    <a:lnTo>
                      <a:pt x="1746" y="420"/>
                    </a:lnTo>
                    <a:lnTo>
                      <a:pt x="1717" y="448"/>
                    </a:lnTo>
                    <a:lnTo>
                      <a:pt x="1558" y="472"/>
                    </a:lnTo>
                    <a:lnTo>
                      <a:pt x="1148" y="546"/>
                    </a:lnTo>
                    <a:lnTo>
                      <a:pt x="982" y="529"/>
                    </a:lnTo>
                    <a:lnTo>
                      <a:pt x="475" y="489"/>
                    </a:lnTo>
                    <a:lnTo>
                      <a:pt x="370" y="573"/>
                    </a:lnTo>
                    <a:lnTo>
                      <a:pt x="353" y="587"/>
                    </a:lnTo>
                    <a:lnTo>
                      <a:pt x="192" y="569"/>
                    </a:lnTo>
                    <a:lnTo>
                      <a:pt x="235" y="512"/>
                    </a:lnTo>
                    <a:lnTo>
                      <a:pt x="232" y="495"/>
                    </a:lnTo>
                    <a:lnTo>
                      <a:pt x="230" y="493"/>
                    </a:lnTo>
                    <a:lnTo>
                      <a:pt x="223" y="492"/>
                    </a:lnTo>
                    <a:lnTo>
                      <a:pt x="211" y="489"/>
                    </a:lnTo>
                    <a:lnTo>
                      <a:pt x="197" y="484"/>
                    </a:lnTo>
                    <a:lnTo>
                      <a:pt x="180" y="478"/>
                    </a:lnTo>
                    <a:lnTo>
                      <a:pt x="162" y="472"/>
                    </a:lnTo>
                    <a:lnTo>
                      <a:pt x="141" y="463"/>
                    </a:lnTo>
                    <a:lnTo>
                      <a:pt x="120" y="453"/>
                    </a:lnTo>
                    <a:lnTo>
                      <a:pt x="98" y="442"/>
                    </a:lnTo>
                    <a:lnTo>
                      <a:pt x="79" y="430"/>
                    </a:lnTo>
                    <a:lnTo>
                      <a:pt x="59" y="416"/>
                    </a:lnTo>
                    <a:lnTo>
                      <a:pt x="41" y="401"/>
                    </a:lnTo>
                    <a:lnTo>
                      <a:pt x="26" y="384"/>
                    </a:lnTo>
                    <a:lnTo>
                      <a:pt x="13" y="367"/>
                    </a:lnTo>
                    <a:lnTo>
                      <a:pt x="5" y="347"/>
                    </a:lnTo>
                    <a:lnTo>
                      <a:pt x="0" y="326"/>
                    </a:lnTo>
                    <a:lnTo>
                      <a:pt x="2" y="324"/>
                    </a:lnTo>
                    <a:lnTo>
                      <a:pt x="6" y="317"/>
                    </a:lnTo>
                    <a:lnTo>
                      <a:pt x="13" y="307"/>
                    </a:lnTo>
                    <a:lnTo>
                      <a:pt x="22" y="294"/>
                    </a:lnTo>
                    <a:lnTo>
                      <a:pt x="33" y="280"/>
                    </a:lnTo>
                    <a:lnTo>
                      <a:pt x="44" y="268"/>
                    </a:lnTo>
                    <a:lnTo>
                      <a:pt x="56" y="256"/>
                    </a:lnTo>
                    <a:lnTo>
                      <a:pt x="68" y="247"/>
                    </a:lnTo>
                    <a:lnTo>
                      <a:pt x="81" y="238"/>
                    </a:lnTo>
                    <a:lnTo>
                      <a:pt x="94" y="228"/>
                    </a:lnTo>
                    <a:lnTo>
                      <a:pt x="108" y="218"/>
                    </a:lnTo>
                    <a:lnTo>
                      <a:pt x="120" y="208"/>
                    </a:lnTo>
                    <a:lnTo>
                      <a:pt x="132" y="198"/>
                    </a:lnTo>
                    <a:lnTo>
                      <a:pt x="141" y="190"/>
                    </a:lnTo>
                    <a:lnTo>
                      <a:pt x="147" y="186"/>
                    </a:lnTo>
                    <a:lnTo>
                      <a:pt x="149" y="183"/>
                    </a:lnTo>
                    <a:lnTo>
                      <a:pt x="153" y="182"/>
                    </a:lnTo>
                    <a:lnTo>
                      <a:pt x="161" y="180"/>
                    </a:lnTo>
                    <a:lnTo>
                      <a:pt x="173" y="178"/>
                    </a:lnTo>
                    <a:lnTo>
                      <a:pt x="189" y="174"/>
                    </a:lnTo>
                    <a:lnTo>
                      <a:pt x="209" y="171"/>
                    </a:lnTo>
                    <a:lnTo>
                      <a:pt x="231" y="170"/>
                    </a:lnTo>
                    <a:lnTo>
                      <a:pt x="254" y="171"/>
                    </a:lnTo>
                    <a:lnTo>
                      <a:pt x="278" y="173"/>
                    </a:lnTo>
                    <a:lnTo>
                      <a:pt x="292" y="175"/>
                    </a:lnTo>
                    <a:lnTo>
                      <a:pt x="308" y="178"/>
                    </a:lnTo>
                    <a:lnTo>
                      <a:pt x="328" y="181"/>
                    </a:lnTo>
                    <a:lnTo>
                      <a:pt x="351" y="183"/>
                    </a:lnTo>
                    <a:lnTo>
                      <a:pt x="374" y="188"/>
                    </a:lnTo>
                    <a:lnTo>
                      <a:pt x="399" y="191"/>
                    </a:lnTo>
                    <a:lnTo>
                      <a:pt x="426" y="196"/>
                    </a:lnTo>
                    <a:lnTo>
                      <a:pt x="452" y="200"/>
                    </a:lnTo>
                    <a:lnTo>
                      <a:pt x="477" y="205"/>
                    </a:lnTo>
                    <a:lnTo>
                      <a:pt x="504" y="210"/>
                    </a:lnTo>
                    <a:lnTo>
                      <a:pt x="529" y="215"/>
                    </a:lnTo>
                    <a:lnTo>
                      <a:pt x="553" y="219"/>
                    </a:lnTo>
                    <a:lnTo>
                      <a:pt x="575" y="225"/>
                    </a:lnTo>
                    <a:lnTo>
                      <a:pt x="595" y="231"/>
                    </a:lnTo>
                    <a:lnTo>
                      <a:pt x="611" y="235"/>
                    </a:lnTo>
                    <a:lnTo>
                      <a:pt x="625" y="241"/>
                    </a:lnTo>
                    <a:lnTo>
                      <a:pt x="1382" y="331"/>
                    </a:lnTo>
                    <a:lnTo>
                      <a:pt x="1383" y="330"/>
                    </a:lnTo>
                    <a:lnTo>
                      <a:pt x="1385" y="327"/>
                    </a:lnTo>
                    <a:lnTo>
                      <a:pt x="1389" y="324"/>
                    </a:lnTo>
                    <a:lnTo>
                      <a:pt x="1396" y="318"/>
                    </a:lnTo>
                    <a:lnTo>
                      <a:pt x="1403" y="311"/>
                    </a:lnTo>
                    <a:lnTo>
                      <a:pt x="1413" y="301"/>
                    </a:lnTo>
                    <a:lnTo>
                      <a:pt x="1423" y="289"/>
                    </a:lnTo>
                    <a:lnTo>
                      <a:pt x="1437" y="276"/>
                    </a:lnTo>
                    <a:lnTo>
                      <a:pt x="1446" y="266"/>
                    </a:lnTo>
                    <a:lnTo>
                      <a:pt x="1458" y="253"/>
                    </a:lnTo>
                    <a:lnTo>
                      <a:pt x="1473" y="235"/>
                    </a:lnTo>
                    <a:lnTo>
                      <a:pt x="1490" y="216"/>
                    </a:lnTo>
                    <a:lnTo>
                      <a:pt x="1509" y="194"/>
                    </a:lnTo>
                    <a:lnTo>
                      <a:pt x="1528" y="171"/>
                    </a:lnTo>
                    <a:lnTo>
                      <a:pt x="1549" y="147"/>
                    </a:lnTo>
                    <a:lnTo>
                      <a:pt x="1570" y="122"/>
                    </a:lnTo>
                    <a:lnTo>
                      <a:pt x="1589" y="99"/>
                    </a:lnTo>
                    <a:lnTo>
                      <a:pt x="1609" y="76"/>
                    </a:lnTo>
                    <a:lnTo>
                      <a:pt x="1626" y="56"/>
                    </a:lnTo>
                    <a:lnTo>
                      <a:pt x="1641" y="37"/>
                    </a:lnTo>
                    <a:lnTo>
                      <a:pt x="1655" y="22"/>
                    </a:lnTo>
                    <a:lnTo>
                      <a:pt x="1665" y="11"/>
                    </a:lnTo>
                    <a:lnTo>
                      <a:pt x="1671" y="2"/>
                    </a:lnTo>
                    <a:lnTo>
                      <a:pt x="1673" y="0"/>
                    </a:lnTo>
                    <a:lnTo>
                      <a:pt x="1771" y="8"/>
                    </a:lnTo>
                    <a:close/>
                  </a:path>
                </a:pathLst>
              </a:custGeom>
              <a:solidFill>
                <a:srgbClr val="AB008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6" name="Freeform 225"/>
              <p:cNvSpPr>
                <a:spLocks/>
              </p:cNvSpPr>
              <p:nvPr/>
            </p:nvSpPr>
            <p:spPr bwMode="auto">
              <a:xfrm rot="20813856" flipH="1">
                <a:off x="10531854" y="2136768"/>
                <a:ext cx="1319247" cy="152487"/>
              </a:xfrm>
              <a:custGeom>
                <a:avLst/>
                <a:gdLst>
                  <a:gd name="T0" fmla="*/ 2 w 1142"/>
                  <a:gd name="T1" fmla="*/ 1 h 133"/>
                  <a:gd name="T2" fmla="*/ 19 w 1142"/>
                  <a:gd name="T3" fmla="*/ 6 h 133"/>
                  <a:gd name="T4" fmla="*/ 53 w 1142"/>
                  <a:gd name="T5" fmla="*/ 15 h 133"/>
                  <a:gd name="T6" fmla="*/ 101 w 1142"/>
                  <a:gd name="T7" fmla="*/ 28 h 133"/>
                  <a:gd name="T8" fmla="*/ 162 w 1142"/>
                  <a:gd name="T9" fmla="*/ 39 h 133"/>
                  <a:gd name="T10" fmla="*/ 234 w 1142"/>
                  <a:gd name="T11" fmla="*/ 52 h 133"/>
                  <a:gd name="T12" fmla="*/ 314 w 1142"/>
                  <a:gd name="T13" fmla="*/ 61 h 133"/>
                  <a:gd name="T14" fmla="*/ 403 w 1142"/>
                  <a:gd name="T15" fmla="*/ 66 h 133"/>
                  <a:gd name="T16" fmla="*/ 494 w 1142"/>
                  <a:gd name="T17" fmla="*/ 67 h 133"/>
                  <a:gd name="T18" fmla="*/ 563 w 1142"/>
                  <a:gd name="T19" fmla="*/ 69 h 133"/>
                  <a:gd name="T20" fmla="*/ 609 w 1142"/>
                  <a:gd name="T21" fmla="*/ 72 h 133"/>
                  <a:gd name="T22" fmla="*/ 639 w 1142"/>
                  <a:gd name="T23" fmla="*/ 75 h 133"/>
                  <a:gd name="T24" fmla="*/ 659 w 1142"/>
                  <a:gd name="T25" fmla="*/ 80 h 133"/>
                  <a:gd name="T26" fmla="*/ 670 w 1142"/>
                  <a:gd name="T27" fmla="*/ 83 h 133"/>
                  <a:gd name="T28" fmla="*/ 682 w 1142"/>
                  <a:gd name="T29" fmla="*/ 87 h 133"/>
                  <a:gd name="T30" fmla="*/ 697 w 1142"/>
                  <a:gd name="T31" fmla="*/ 89 h 133"/>
                  <a:gd name="T32" fmla="*/ 721 w 1142"/>
                  <a:gd name="T33" fmla="*/ 90 h 133"/>
                  <a:gd name="T34" fmla="*/ 760 w 1142"/>
                  <a:gd name="T35" fmla="*/ 89 h 133"/>
                  <a:gd name="T36" fmla="*/ 811 w 1142"/>
                  <a:gd name="T37" fmla="*/ 86 h 133"/>
                  <a:gd name="T38" fmla="*/ 866 w 1142"/>
                  <a:gd name="T39" fmla="*/ 82 h 133"/>
                  <a:gd name="T40" fmla="*/ 920 w 1142"/>
                  <a:gd name="T41" fmla="*/ 78 h 133"/>
                  <a:gd name="T42" fmla="*/ 970 w 1142"/>
                  <a:gd name="T43" fmla="*/ 73 h 133"/>
                  <a:gd name="T44" fmla="*/ 1008 w 1142"/>
                  <a:gd name="T45" fmla="*/ 69 h 133"/>
                  <a:gd name="T46" fmla="*/ 1029 w 1142"/>
                  <a:gd name="T47" fmla="*/ 67 h 133"/>
                  <a:gd name="T48" fmla="*/ 1120 w 1142"/>
                  <a:gd name="T49" fmla="*/ 53 h 133"/>
                  <a:gd name="T50" fmla="*/ 1075 w 1142"/>
                  <a:gd name="T51" fmla="*/ 81 h 133"/>
                  <a:gd name="T52" fmla="*/ 1007 w 1142"/>
                  <a:gd name="T53" fmla="*/ 80 h 133"/>
                  <a:gd name="T54" fmla="*/ 988 w 1142"/>
                  <a:gd name="T55" fmla="*/ 87 h 133"/>
                  <a:gd name="T56" fmla="*/ 978 w 1142"/>
                  <a:gd name="T57" fmla="*/ 98 h 133"/>
                  <a:gd name="T58" fmla="*/ 957 w 1142"/>
                  <a:gd name="T59" fmla="*/ 105 h 133"/>
                  <a:gd name="T60" fmla="*/ 923 w 1142"/>
                  <a:gd name="T61" fmla="*/ 111 h 133"/>
                  <a:gd name="T62" fmla="*/ 880 w 1142"/>
                  <a:gd name="T63" fmla="*/ 118 h 133"/>
                  <a:gd name="T64" fmla="*/ 833 w 1142"/>
                  <a:gd name="T65" fmla="*/ 124 h 133"/>
                  <a:gd name="T66" fmla="*/ 786 w 1142"/>
                  <a:gd name="T67" fmla="*/ 128 h 133"/>
                  <a:gd name="T68" fmla="*/ 744 w 1142"/>
                  <a:gd name="T69" fmla="*/ 132 h 133"/>
                  <a:gd name="T70" fmla="*/ 712 w 1142"/>
                  <a:gd name="T71" fmla="*/ 133 h 133"/>
                  <a:gd name="T72" fmla="*/ 687 w 1142"/>
                  <a:gd name="T73" fmla="*/ 133 h 133"/>
                  <a:gd name="T74" fmla="*/ 625 w 1142"/>
                  <a:gd name="T75" fmla="*/ 133 h 133"/>
                  <a:gd name="T76" fmla="*/ 531 w 1142"/>
                  <a:gd name="T77" fmla="*/ 131 h 133"/>
                  <a:gd name="T78" fmla="*/ 418 w 1142"/>
                  <a:gd name="T79" fmla="*/ 126 h 133"/>
                  <a:gd name="T80" fmla="*/ 297 w 1142"/>
                  <a:gd name="T81" fmla="*/ 114 h 133"/>
                  <a:gd name="T82" fmla="*/ 182 w 1142"/>
                  <a:gd name="T83" fmla="*/ 96 h 133"/>
                  <a:gd name="T84" fmla="*/ 85 w 1142"/>
                  <a:gd name="T85" fmla="*/ 67 h 133"/>
                  <a:gd name="T86" fmla="*/ 18 w 1142"/>
                  <a:gd name="T87" fmla="*/ 26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142" h="133">
                    <a:moveTo>
                      <a:pt x="0" y="0"/>
                    </a:moveTo>
                    <a:lnTo>
                      <a:pt x="2" y="1"/>
                    </a:lnTo>
                    <a:lnTo>
                      <a:pt x="9" y="3"/>
                    </a:lnTo>
                    <a:lnTo>
                      <a:pt x="19" y="6"/>
                    </a:lnTo>
                    <a:lnTo>
                      <a:pt x="34" y="11"/>
                    </a:lnTo>
                    <a:lnTo>
                      <a:pt x="53" y="15"/>
                    </a:lnTo>
                    <a:lnTo>
                      <a:pt x="76" y="21"/>
                    </a:lnTo>
                    <a:lnTo>
                      <a:pt x="101" y="28"/>
                    </a:lnTo>
                    <a:lnTo>
                      <a:pt x="130" y="34"/>
                    </a:lnTo>
                    <a:lnTo>
                      <a:pt x="162" y="39"/>
                    </a:lnTo>
                    <a:lnTo>
                      <a:pt x="197" y="46"/>
                    </a:lnTo>
                    <a:lnTo>
                      <a:pt x="234" y="52"/>
                    </a:lnTo>
                    <a:lnTo>
                      <a:pt x="273" y="57"/>
                    </a:lnTo>
                    <a:lnTo>
                      <a:pt x="314" y="61"/>
                    </a:lnTo>
                    <a:lnTo>
                      <a:pt x="358" y="65"/>
                    </a:lnTo>
                    <a:lnTo>
                      <a:pt x="403" y="66"/>
                    </a:lnTo>
                    <a:lnTo>
                      <a:pt x="450" y="67"/>
                    </a:lnTo>
                    <a:lnTo>
                      <a:pt x="494" y="67"/>
                    </a:lnTo>
                    <a:lnTo>
                      <a:pt x="531" y="68"/>
                    </a:lnTo>
                    <a:lnTo>
                      <a:pt x="563" y="69"/>
                    </a:lnTo>
                    <a:lnTo>
                      <a:pt x="589" y="71"/>
                    </a:lnTo>
                    <a:lnTo>
                      <a:pt x="609" y="72"/>
                    </a:lnTo>
                    <a:lnTo>
                      <a:pt x="627" y="74"/>
                    </a:lnTo>
                    <a:lnTo>
                      <a:pt x="639" y="75"/>
                    </a:lnTo>
                    <a:lnTo>
                      <a:pt x="650" y="78"/>
                    </a:lnTo>
                    <a:lnTo>
                      <a:pt x="659" y="80"/>
                    </a:lnTo>
                    <a:lnTo>
                      <a:pt x="665" y="81"/>
                    </a:lnTo>
                    <a:lnTo>
                      <a:pt x="670" y="83"/>
                    </a:lnTo>
                    <a:lnTo>
                      <a:pt x="676" y="86"/>
                    </a:lnTo>
                    <a:lnTo>
                      <a:pt x="682" y="87"/>
                    </a:lnTo>
                    <a:lnTo>
                      <a:pt x="689" y="88"/>
                    </a:lnTo>
                    <a:lnTo>
                      <a:pt x="697" y="89"/>
                    </a:lnTo>
                    <a:lnTo>
                      <a:pt x="707" y="90"/>
                    </a:lnTo>
                    <a:lnTo>
                      <a:pt x="721" y="90"/>
                    </a:lnTo>
                    <a:lnTo>
                      <a:pt x="740" y="90"/>
                    </a:lnTo>
                    <a:lnTo>
                      <a:pt x="760" y="89"/>
                    </a:lnTo>
                    <a:lnTo>
                      <a:pt x="784" y="88"/>
                    </a:lnTo>
                    <a:lnTo>
                      <a:pt x="811" y="86"/>
                    </a:lnTo>
                    <a:lnTo>
                      <a:pt x="837" y="84"/>
                    </a:lnTo>
                    <a:lnTo>
                      <a:pt x="866" y="82"/>
                    </a:lnTo>
                    <a:lnTo>
                      <a:pt x="894" y="80"/>
                    </a:lnTo>
                    <a:lnTo>
                      <a:pt x="920" y="78"/>
                    </a:lnTo>
                    <a:lnTo>
                      <a:pt x="946" y="75"/>
                    </a:lnTo>
                    <a:lnTo>
                      <a:pt x="970" y="73"/>
                    </a:lnTo>
                    <a:lnTo>
                      <a:pt x="991" y="71"/>
                    </a:lnTo>
                    <a:lnTo>
                      <a:pt x="1008" y="69"/>
                    </a:lnTo>
                    <a:lnTo>
                      <a:pt x="1021" y="68"/>
                    </a:lnTo>
                    <a:lnTo>
                      <a:pt x="1029" y="67"/>
                    </a:lnTo>
                    <a:lnTo>
                      <a:pt x="1032" y="67"/>
                    </a:lnTo>
                    <a:lnTo>
                      <a:pt x="1120" y="53"/>
                    </a:lnTo>
                    <a:lnTo>
                      <a:pt x="1142" y="61"/>
                    </a:lnTo>
                    <a:lnTo>
                      <a:pt x="1075" y="81"/>
                    </a:lnTo>
                    <a:lnTo>
                      <a:pt x="1010" y="79"/>
                    </a:lnTo>
                    <a:lnTo>
                      <a:pt x="1007" y="80"/>
                    </a:lnTo>
                    <a:lnTo>
                      <a:pt x="998" y="82"/>
                    </a:lnTo>
                    <a:lnTo>
                      <a:pt x="988" y="87"/>
                    </a:lnTo>
                    <a:lnTo>
                      <a:pt x="981" y="96"/>
                    </a:lnTo>
                    <a:lnTo>
                      <a:pt x="978" y="98"/>
                    </a:lnTo>
                    <a:lnTo>
                      <a:pt x="970" y="102"/>
                    </a:lnTo>
                    <a:lnTo>
                      <a:pt x="957" y="105"/>
                    </a:lnTo>
                    <a:lnTo>
                      <a:pt x="942" y="107"/>
                    </a:lnTo>
                    <a:lnTo>
                      <a:pt x="923" y="111"/>
                    </a:lnTo>
                    <a:lnTo>
                      <a:pt x="902" y="114"/>
                    </a:lnTo>
                    <a:lnTo>
                      <a:pt x="880" y="118"/>
                    </a:lnTo>
                    <a:lnTo>
                      <a:pt x="857" y="121"/>
                    </a:lnTo>
                    <a:lnTo>
                      <a:pt x="833" y="124"/>
                    </a:lnTo>
                    <a:lnTo>
                      <a:pt x="809" y="126"/>
                    </a:lnTo>
                    <a:lnTo>
                      <a:pt x="786" y="128"/>
                    </a:lnTo>
                    <a:lnTo>
                      <a:pt x="764" y="131"/>
                    </a:lnTo>
                    <a:lnTo>
                      <a:pt x="744" y="132"/>
                    </a:lnTo>
                    <a:lnTo>
                      <a:pt x="727" y="133"/>
                    </a:lnTo>
                    <a:lnTo>
                      <a:pt x="712" y="133"/>
                    </a:lnTo>
                    <a:lnTo>
                      <a:pt x="702" y="133"/>
                    </a:lnTo>
                    <a:lnTo>
                      <a:pt x="687" y="133"/>
                    </a:lnTo>
                    <a:lnTo>
                      <a:pt x="661" y="133"/>
                    </a:lnTo>
                    <a:lnTo>
                      <a:pt x="625" y="133"/>
                    </a:lnTo>
                    <a:lnTo>
                      <a:pt x="582" y="132"/>
                    </a:lnTo>
                    <a:lnTo>
                      <a:pt x="531" y="131"/>
                    </a:lnTo>
                    <a:lnTo>
                      <a:pt x="476" y="128"/>
                    </a:lnTo>
                    <a:lnTo>
                      <a:pt x="418" y="126"/>
                    </a:lnTo>
                    <a:lnTo>
                      <a:pt x="358" y="121"/>
                    </a:lnTo>
                    <a:lnTo>
                      <a:pt x="297" y="114"/>
                    </a:lnTo>
                    <a:lnTo>
                      <a:pt x="238" y="106"/>
                    </a:lnTo>
                    <a:lnTo>
                      <a:pt x="182" y="96"/>
                    </a:lnTo>
                    <a:lnTo>
                      <a:pt x="130" y="83"/>
                    </a:lnTo>
                    <a:lnTo>
                      <a:pt x="85" y="67"/>
                    </a:lnTo>
                    <a:lnTo>
                      <a:pt x="47" y="49"/>
                    </a:lnTo>
                    <a:lnTo>
                      <a:pt x="18" y="2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B0086">
                  <a:lumMod val="75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7" name="Freeform 226"/>
              <p:cNvSpPr>
                <a:spLocks/>
              </p:cNvSpPr>
              <p:nvPr/>
            </p:nvSpPr>
            <p:spPr bwMode="auto">
              <a:xfrm rot="20813856" flipH="1">
                <a:off x="10171067" y="2373667"/>
                <a:ext cx="512912" cy="136315"/>
              </a:xfrm>
              <a:custGeom>
                <a:avLst/>
                <a:gdLst>
                  <a:gd name="T0" fmla="*/ 144 w 443"/>
                  <a:gd name="T1" fmla="*/ 117 h 117"/>
                  <a:gd name="T2" fmla="*/ 6 w 443"/>
                  <a:gd name="T3" fmla="*/ 102 h 117"/>
                  <a:gd name="T4" fmla="*/ 0 w 443"/>
                  <a:gd name="T5" fmla="*/ 57 h 117"/>
                  <a:gd name="T6" fmla="*/ 94 w 443"/>
                  <a:gd name="T7" fmla="*/ 66 h 117"/>
                  <a:gd name="T8" fmla="*/ 119 w 443"/>
                  <a:gd name="T9" fmla="*/ 40 h 117"/>
                  <a:gd name="T10" fmla="*/ 443 w 443"/>
                  <a:gd name="T11" fmla="*/ 0 h 117"/>
                  <a:gd name="T12" fmla="*/ 430 w 443"/>
                  <a:gd name="T13" fmla="*/ 19 h 117"/>
                  <a:gd name="T14" fmla="*/ 144 w 443"/>
                  <a:gd name="T15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43" h="117">
                    <a:moveTo>
                      <a:pt x="144" y="117"/>
                    </a:moveTo>
                    <a:lnTo>
                      <a:pt x="6" y="102"/>
                    </a:lnTo>
                    <a:lnTo>
                      <a:pt x="0" y="57"/>
                    </a:lnTo>
                    <a:lnTo>
                      <a:pt x="94" y="66"/>
                    </a:lnTo>
                    <a:lnTo>
                      <a:pt x="119" y="40"/>
                    </a:lnTo>
                    <a:lnTo>
                      <a:pt x="443" y="0"/>
                    </a:lnTo>
                    <a:lnTo>
                      <a:pt x="430" y="19"/>
                    </a:lnTo>
                    <a:lnTo>
                      <a:pt x="144" y="117"/>
                    </a:lnTo>
                    <a:close/>
                  </a:path>
                </a:pathLst>
              </a:custGeom>
              <a:solidFill>
                <a:srgbClr val="AB0086">
                  <a:lumMod val="75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8" name="Freeform 227"/>
              <p:cNvSpPr>
                <a:spLocks/>
              </p:cNvSpPr>
              <p:nvPr/>
            </p:nvSpPr>
            <p:spPr bwMode="auto">
              <a:xfrm rot="20813856" flipH="1">
                <a:off x="9459474" y="2421743"/>
                <a:ext cx="457462" cy="87796"/>
              </a:xfrm>
              <a:custGeom>
                <a:avLst/>
                <a:gdLst>
                  <a:gd name="T0" fmla="*/ 395 w 395"/>
                  <a:gd name="T1" fmla="*/ 0 h 75"/>
                  <a:gd name="T2" fmla="*/ 0 w 395"/>
                  <a:gd name="T3" fmla="*/ 69 h 75"/>
                  <a:gd name="T4" fmla="*/ 133 w 395"/>
                  <a:gd name="T5" fmla="*/ 75 h 75"/>
                  <a:gd name="T6" fmla="*/ 395 w 395"/>
                  <a:gd name="T7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95" h="75">
                    <a:moveTo>
                      <a:pt x="395" y="0"/>
                    </a:moveTo>
                    <a:lnTo>
                      <a:pt x="0" y="69"/>
                    </a:lnTo>
                    <a:lnTo>
                      <a:pt x="133" y="75"/>
                    </a:lnTo>
                    <a:lnTo>
                      <a:pt x="395" y="0"/>
                    </a:lnTo>
                    <a:close/>
                  </a:path>
                </a:pathLst>
              </a:custGeom>
              <a:solidFill>
                <a:srgbClr val="AB0086">
                  <a:lumMod val="75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9" name="Freeform 228"/>
              <p:cNvSpPr>
                <a:spLocks/>
              </p:cNvSpPr>
              <p:nvPr/>
            </p:nvSpPr>
            <p:spPr bwMode="auto">
              <a:xfrm rot="20813856" flipH="1">
                <a:off x="9787518" y="2012821"/>
                <a:ext cx="436669" cy="404323"/>
              </a:xfrm>
              <a:custGeom>
                <a:avLst/>
                <a:gdLst>
                  <a:gd name="T0" fmla="*/ 0 w 377"/>
                  <a:gd name="T1" fmla="*/ 323 h 350"/>
                  <a:gd name="T2" fmla="*/ 5 w 377"/>
                  <a:gd name="T3" fmla="*/ 324 h 350"/>
                  <a:gd name="T4" fmla="*/ 18 w 377"/>
                  <a:gd name="T5" fmla="*/ 326 h 350"/>
                  <a:gd name="T6" fmla="*/ 35 w 377"/>
                  <a:gd name="T7" fmla="*/ 330 h 350"/>
                  <a:gd name="T8" fmla="*/ 57 w 377"/>
                  <a:gd name="T9" fmla="*/ 335 h 350"/>
                  <a:gd name="T10" fmla="*/ 78 w 377"/>
                  <a:gd name="T11" fmla="*/ 339 h 350"/>
                  <a:gd name="T12" fmla="*/ 97 w 377"/>
                  <a:gd name="T13" fmla="*/ 344 h 350"/>
                  <a:gd name="T14" fmla="*/ 113 w 377"/>
                  <a:gd name="T15" fmla="*/ 347 h 350"/>
                  <a:gd name="T16" fmla="*/ 123 w 377"/>
                  <a:gd name="T17" fmla="*/ 350 h 350"/>
                  <a:gd name="T18" fmla="*/ 134 w 377"/>
                  <a:gd name="T19" fmla="*/ 350 h 350"/>
                  <a:gd name="T20" fmla="*/ 156 w 377"/>
                  <a:gd name="T21" fmla="*/ 348 h 350"/>
                  <a:gd name="T22" fmla="*/ 184 w 377"/>
                  <a:gd name="T23" fmla="*/ 346 h 350"/>
                  <a:gd name="T24" fmla="*/ 215 w 377"/>
                  <a:gd name="T25" fmla="*/ 343 h 350"/>
                  <a:gd name="T26" fmla="*/ 246 w 377"/>
                  <a:gd name="T27" fmla="*/ 340 h 350"/>
                  <a:gd name="T28" fmla="*/ 271 w 377"/>
                  <a:gd name="T29" fmla="*/ 337 h 350"/>
                  <a:gd name="T30" fmla="*/ 290 w 377"/>
                  <a:gd name="T31" fmla="*/ 336 h 350"/>
                  <a:gd name="T32" fmla="*/ 296 w 377"/>
                  <a:gd name="T33" fmla="*/ 335 h 350"/>
                  <a:gd name="T34" fmla="*/ 377 w 377"/>
                  <a:gd name="T35" fmla="*/ 0 h 350"/>
                  <a:gd name="T36" fmla="*/ 134 w 377"/>
                  <a:gd name="T37" fmla="*/ 303 h 350"/>
                  <a:gd name="T38" fmla="*/ 0 w 377"/>
                  <a:gd name="T39" fmla="*/ 323 h 3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77" h="350">
                    <a:moveTo>
                      <a:pt x="0" y="323"/>
                    </a:moveTo>
                    <a:lnTo>
                      <a:pt x="5" y="324"/>
                    </a:lnTo>
                    <a:lnTo>
                      <a:pt x="18" y="326"/>
                    </a:lnTo>
                    <a:lnTo>
                      <a:pt x="35" y="330"/>
                    </a:lnTo>
                    <a:lnTo>
                      <a:pt x="57" y="335"/>
                    </a:lnTo>
                    <a:lnTo>
                      <a:pt x="78" y="339"/>
                    </a:lnTo>
                    <a:lnTo>
                      <a:pt x="97" y="344"/>
                    </a:lnTo>
                    <a:lnTo>
                      <a:pt x="113" y="347"/>
                    </a:lnTo>
                    <a:lnTo>
                      <a:pt x="123" y="350"/>
                    </a:lnTo>
                    <a:lnTo>
                      <a:pt x="134" y="350"/>
                    </a:lnTo>
                    <a:lnTo>
                      <a:pt x="156" y="348"/>
                    </a:lnTo>
                    <a:lnTo>
                      <a:pt x="184" y="346"/>
                    </a:lnTo>
                    <a:lnTo>
                      <a:pt x="215" y="343"/>
                    </a:lnTo>
                    <a:lnTo>
                      <a:pt x="246" y="340"/>
                    </a:lnTo>
                    <a:lnTo>
                      <a:pt x="271" y="337"/>
                    </a:lnTo>
                    <a:lnTo>
                      <a:pt x="290" y="336"/>
                    </a:lnTo>
                    <a:lnTo>
                      <a:pt x="296" y="335"/>
                    </a:lnTo>
                    <a:lnTo>
                      <a:pt x="377" y="0"/>
                    </a:lnTo>
                    <a:lnTo>
                      <a:pt x="134" y="303"/>
                    </a:lnTo>
                    <a:lnTo>
                      <a:pt x="0" y="323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0" name="Freeform 229"/>
              <p:cNvSpPr>
                <a:spLocks/>
              </p:cNvSpPr>
              <p:nvPr/>
            </p:nvSpPr>
            <p:spPr bwMode="auto">
              <a:xfrm rot="20813856" flipH="1">
                <a:off x="9364894" y="2214426"/>
                <a:ext cx="2474453" cy="314216"/>
              </a:xfrm>
              <a:custGeom>
                <a:avLst/>
                <a:gdLst>
                  <a:gd name="T0" fmla="*/ 24 w 2140"/>
                  <a:gd name="T1" fmla="*/ 94 h 271"/>
                  <a:gd name="T2" fmla="*/ 128 w 2140"/>
                  <a:gd name="T3" fmla="*/ 117 h 271"/>
                  <a:gd name="T4" fmla="*/ 300 w 2140"/>
                  <a:gd name="T5" fmla="*/ 140 h 271"/>
                  <a:gd name="T6" fmla="*/ 534 w 2140"/>
                  <a:gd name="T7" fmla="*/ 147 h 271"/>
                  <a:gd name="T8" fmla="*/ 607 w 2140"/>
                  <a:gd name="T9" fmla="*/ 147 h 271"/>
                  <a:gd name="T10" fmla="*/ 638 w 2140"/>
                  <a:gd name="T11" fmla="*/ 154 h 271"/>
                  <a:gd name="T12" fmla="*/ 692 w 2140"/>
                  <a:gd name="T13" fmla="*/ 159 h 271"/>
                  <a:gd name="T14" fmla="*/ 766 w 2140"/>
                  <a:gd name="T15" fmla="*/ 158 h 271"/>
                  <a:gd name="T16" fmla="*/ 893 w 2140"/>
                  <a:gd name="T17" fmla="*/ 148 h 271"/>
                  <a:gd name="T18" fmla="*/ 950 w 2140"/>
                  <a:gd name="T19" fmla="*/ 148 h 271"/>
                  <a:gd name="T20" fmla="*/ 958 w 2140"/>
                  <a:gd name="T21" fmla="*/ 202 h 271"/>
                  <a:gd name="T22" fmla="*/ 999 w 2140"/>
                  <a:gd name="T23" fmla="*/ 208 h 271"/>
                  <a:gd name="T24" fmla="*/ 1024 w 2140"/>
                  <a:gd name="T25" fmla="*/ 195 h 271"/>
                  <a:gd name="T26" fmla="*/ 1122 w 2140"/>
                  <a:gd name="T27" fmla="*/ 211 h 271"/>
                  <a:gd name="T28" fmla="*/ 1156 w 2140"/>
                  <a:gd name="T29" fmla="*/ 196 h 271"/>
                  <a:gd name="T30" fmla="*/ 1197 w 2140"/>
                  <a:gd name="T31" fmla="*/ 139 h 271"/>
                  <a:gd name="T32" fmla="*/ 1454 w 2140"/>
                  <a:gd name="T33" fmla="*/ 131 h 271"/>
                  <a:gd name="T34" fmla="*/ 1473 w 2140"/>
                  <a:gd name="T35" fmla="*/ 162 h 271"/>
                  <a:gd name="T36" fmla="*/ 1493 w 2140"/>
                  <a:gd name="T37" fmla="*/ 161 h 271"/>
                  <a:gd name="T38" fmla="*/ 1522 w 2140"/>
                  <a:gd name="T39" fmla="*/ 149 h 271"/>
                  <a:gd name="T40" fmla="*/ 1661 w 2140"/>
                  <a:gd name="T41" fmla="*/ 87 h 271"/>
                  <a:gd name="T42" fmla="*/ 1966 w 2140"/>
                  <a:gd name="T43" fmla="*/ 64 h 271"/>
                  <a:gd name="T44" fmla="*/ 1684 w 2140"/>
                  <a:gd name="T45" fmla="*/ 144 h 271"/>
                  <a:gd name="T46" fmla="*/ 1671 w 2140"/>
                  <a:gd name="T47" fmla="*/ 162 h 271"/>
                  <a:gd name="T48" fmla="*/ 1621 w 2140"/>
                  <a:gd name="T49" fmla="*/ 185 h 271"/>
                  <a:gd name="T50" fmla="*/ 1549 w 2140"/>
                  <a:gd name="T51" fmla="*/ 196 h 271"/>
                  <a:gd name="T52" fmla="*/ 1502 w 2140"/>
                  <a:gd name="T53" fmla="*/ 200 h 271"/>
                  <a:gd name="T54" fmla="*/ 1216 w 2140"/>
                  <a:gd name="T55" fmla="*/ 265 h 271"/>
                  <a:gd name="T56" fmla="*/ 1160 w 2140"/>
                  <a:gd name="T57" fmla="*/ 263 h 271"/>
                  <a:gd name="T58" fmla="*/ 1079 w 2140"/>
                  <a:gd name="T59" fmla="*/ 262 h 271"/>
                  <a:gd name="T60" fmla="*/ 1012 w 2140"/>
                  <a:gd name="T61" fmla="*/ 260 h 271"/>
                  <a:gd name="T62" fmla="*/ 970 w 2140"/>
                  <a:gd name="T63" fmla="*/ 259 h 271"/>
                  <a:gd name="T64" fmla="*/ 845 w 2140"/>
                  <a:gd name="T65" fmla="*/ 252 h 271"/>
                  <a:gd name="T66" fmla="*/ 686 w 2140"/>
                  <a:gd name="T67" fmla="*/ 241 h 271"/>
                  <a:gd name="T68" fmla="*/ 563 w 2140"/>
                  <a:gd name="T69" fmla="*/ 232 h 271"/>
                  <a:gd name="T70" fmla="*/ 512 w 2140"/>
                  <a:gd name="T71" fmla="*/ 224 h 271"/>
                  <a:gd name="T72" fmla="*/ 463 w 2140"/>
                  <a:gd name="T73" fmla="*/ 215 h 271"/>
                  <a:gd name="T74" fmla="*/ 409 w 2140"/>
                  <a:gd name="T75" fmla="*/ 224 h 271"/>
                  <a:gd name="T76" fmla="*/ 409 w 2140"/>
                  <a:gd name="T77" fmla="*/ 245 h 271"/>
                  <a:gd name="T78" fmla="*/ 401 w 2140"/>
                  <a:gd name="T79" fmla="*/ 262 h 271"/>
                  <a:gd name="T80" fmla="*/ 333 w 2140"/>
                  <a:gd name="T81" fmla="*/ 257 h 271"/>
                  <a:gd name="T82" fmla="*/ 265 w 2140"/>
                  <a:gd name="T83" fmla="*/ 263 h 271"/>
                  <a:gd name="T84" fmla="*/ 226 w 2140"/>
                  <a:gd name="T85" fmla="*/ 268 h 271"/>
                  <a:gd name="T86" fmla="*/ 214 w 2140"/>
                  <a:gd name="T87" fmla="*/ 194 h 271"/>
                  <a:gd name="T88" fmla="*/ 185 w 2140"/>
                  <a:gd name="T89" fmla="*/ 184 h 271"/>
                  <a:gd name="T90" fmla="*/ 120 w 2140"/>
                  <a:gd name="T91" fmla="*/ 157 h 271"/>
                  <a:gd name="T92" fmla="*/ 47 w 2140"/>
                  <a:gd name="T93" fmla="*/ 123 h 271"/>
                  <a:gd name="T94" fmla="*/ 0 w 2140"/>
                  <a:gd name="T95" fmla="*/ 87 h 2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140" h="271">
                    <a:moveTo>
                      <a:pt x="0" y="87"/>
                    </a:moveTo>
                    <a:lnTo>
                      <a:pt x="2" y="88"/>
                    </a:lnTo>
                    <a:lnTo>
                      <a:pt x="11" y="90"/>
                    </a:lnTo>
                    <a:lnTo>
                      <a:pt x="24" y="94"/>
                    </a:lnTo>
                    <a:lnTo>
                      <a:pt x="42" y="98"/>
                    </a:lnTo>
                    <a:lnTo>
                      <a:pt x="67" y="104"/>
                    </a:lnTo>
                    <a:lnTo>
                      <a:pt x="94" y="111"/>
                    </a:lnTo>
                    <a:lnTo>
                      <a:pt x="128" y="117"/>
                    </a:lnTo>
                    <a:lnTo>
                      <a:pt x="164" y="124"/>
                    </a:lnTo>
                    <a:lnTo>
                      <a:pt x="206" y="130"/>
                    </a:lnTo>
                    <a:lnTo>
                      <a:pt x="252" y="135"/>
                    </a:lnTo>
                    <a:lnTo>
                      <a:pt x="300" y="140"/>
                    </a:lnTo>
                    <a:lnTo>
                      <a:pt x="355" y="144"/>
                    </a:lnTo>
                    <a:lnTo>
                      <a:pt x="411" y="147"/>
                    </a:lnTo>
                    <a:lnTo>
                      <a:pt x="471" y="148"/>
                    </a:lnTo>
                    <a:lnTo>
                      <a:pt x="534" y="147"/>
                    </a:lnTo>
                    <a:lnTo>
                      <a:pt x="600" y="144"/>
                    </a:lnTo>
                    <a:lnTo>
                      <a:pt x="601" y="144"/>
                    </a:lnTo>
                    <a:lnTo>
                      <a:pt x="603" y="146"/>
                    </a:lnTo>
                    <a:lnTo>
                      <a:pt x="607" y="147"/>
                    </a:lnTo>
                    <a:lnTo>
                      <a:pt x="613" y="148"/>
                    </a:lnTo>
                    <a:lnTo>
                      <a:pt x="620" y="150"/>
                    </a:lnTo>
                    <a:lnTo>
                      <a:pt x="628" y="153"/>
                    </a:lnTo>
                    <a:lnTo>
                      <a:pt x="638" y="154"/>
                    </a:lnTo>
                    <a:lnTo>
                      <a:pt x="649" y="156"/>
                    </a:lnTo>
                    <a:lnTo>
                      <a:pt x="662" y="157"/>
                    </a:lnTo>
                    <a:lnTo>
                      <a:pt x="676" y="159"/>
                    </a:lnTo>
                    <a:lnTo>
                      <a:pt x="692" y="159"/>
                    </a:lnTo>
                    <a:lnTo>
                      <a:pt x="708" y="161"/>
                    </a:lnTo>
                    <a:lnTo>
                      <a:pt x="727" y="161"/>
                    </a:lnTo>
                    <a:lnTo>
                      <a:pt x="745" y="159"/>
                    </a:lnTo>
                    <a:lnTo>
                      <a:pt x="766" y="158"/>
                    </a:lnTo>
                    <a:lnTo>
                      <a:pt x="788" y="156"/>
                    </a:lnTo>
                    <a:lnTo>
                      <a:pt x="829" y="151"/>
                    </a:lnTo>
                    <a:lnTo>
                      <a:pt x="864" y="149"/>
                    </a:lnTo>
                    <a:lnTo>
                      <a:pt x="893" y="148"/>
                    </a:lnTo>
                    <a:lnTo>
                      <a:pt x="914" y="147"/>
                    </a:lnTo>
                    <a:lnTo>
                      <a:pt x="932" y="147"/>
                    </a:lnTo>
                    <a:lnTo>
                      <a:pt x="943" y="147"/>
                    </a:lnTo>
                    <a:lnTo>
                      <a:pt x="950" y="148"/>
                    </a:lnTo>
                    <a:lnTo>
                      <a:pt x="952" y="148"/>
                    </a:lnTo>
                    <a:lnTo>
                      <a:pt x="949" y="185"/>
                    </a:lnTo>
                    <a:lnTo>
                      <a:pt x="951" y="191"/>
                    </a:lnTo>
                    <a:lnTo>
                      <a:pt x="958" y="202"/>
                    </a:lnTo>
                    <a:lnTo>
                      <a:pt x="967" y="215"/>
                    </a:lnTo>
                    <a:lnTo>
                      <a:pt x="981" y="223"/>
                    </a:lnTo>
                    <a:lnTo>
                      <a:pt x="992" y="219"/>
                    </a:lnTo>
                    <a:lnTo>
                      <a:pt x="999" y="208"/>
                    </a:lnTo>
                    <a:lnTo>
                      <a:pt x="1002" y="196"/>
                    </a:lnTo>
                    <a:lnTo>
                      <a:pt x="1003" y="191"/>
                    </a:lnTo>
                    <a:lnTo>
                      <a:pt x="1009" y="192"/>
                    </a:lnTo>
                    <a:lnTo>
                      <a:pt x="1024" y="195"/>
                    </a:lnTo>
                    <a:lnTo>
                      <a:pt x="1046" y="200"/>
                    </a:lnTo>
                    <a:lnTo>
                      <a:pt x="1071" y="204"/>
                    </a:lnTo>
                    <a:lnTo>
                      <a:pt x="1098" y="208"/>
                    </a:lnTo>
                    <a:lnTo>
                      <a:pt x="1122" y="211"/>
                    </a:lnTo>
                    <a:lnTo>
                      <a:pt x="1140" y="212"/>
                    </a:lnTo>
                    <a:lnTo>
                      <a:pt x="1151" y="211"/>
                    </a:lnTo>
                    <a:lnTo>
                      <a:pt x="1156" y="204"/>
                    </a:lnTo>
                    <a:lnTo>
                      <a:pt x="1156" y="196"/>
                    </a:lnTo>
                    <a:lnTo>
                      <a:pt x="1153" y="191"/>
                    </a:lnTo>
                    <a:lnTo>
                      <a:pt x="1151" y="188"/>
                    </a:lnTo>
                    <a:lnTo>
                      <a:pt x="1139" y="162"/>
                    </a:lnTo>
                    <a:lnTo>
                      <a:pt x="1197" y="139"/>
                    </a:lnTo>
                    <a:lnTo>
                      <a:pt x="1381" y="121"/>
                    </a:lnTo>
                    <a:lnTo>
                      <a:pt x="1458" y="113"/>
                    </a:lnTo>
                    <a:lnTo>
                      <a:pt x="1456" y="118"/>
                    </a:lnTo>
                    <a:lnTo>
                      <a:pt x="1454" y="131"/>
                    </a:lnTo>
                    <a:lnTo>
                      <a:pt x="1454" y="144"/>
                    </a:lnTo>
                    <a:lnTo>
                      <a:pt x="1462" y="156"/>
                    </a:lnTo>
                    <a:lnTo>
                      <a:pt x="1467" y="159"/>
                    </a:lnTo>
                    <a:lnTo>
                      <a:pt x="1473" y="162"/>
                    </a:lnTo>
                    <a:lnTo>
                      <a:pt x="1478" y="162"/>
                    </a:lnTo>
                    <a:lnTo>
                      <a:pt x="1482" y="162"/>
                    </a:lnTo>
                    <a:lnTo>
                      <a:pt x="1487" y="162"/>
                    </a:lnTo>
                    <a:lnTo>
                      <a:pt x="1493" y="161"/>
                    </a:lnTo>
                    <a:lnTo>
                      <a:pt x="1497" y="161"/>
                    </a:lnTo>
                    <a:lnTo>
                      <a:pt x="1503" y="161"/>
                    </a:lnTo>
                    <a:lnTo>
                      <a:pt x="1514" y="157"/>
                    </a:lnTo>
                    <a:lnTo>
                      <a:pt x="1522" y="149"/>
                    </a:lnTo>
                    <a:lnTo>
                      <a:pt x="1527" y="140"/>
                    </a:lnTo>
                    <a:lnTo>
                      <a:pt x="1529" y="136"/>
                    </a:lnTo>
                    <a:lnTo>
                      <a:pt x="1668" y="135"/>
                    </a:lnTo>
                    <a:lnTo>
                      <a:pt x="1661" y="87"/>
                    </a:lnTo>
                    <a:lnTo>
                      <a:pt x="2085" y="0"/>
                    </a:lnTo>
                    <a:lnTo>
                      <a:pt x="2140" y="10"/>
                    </a:lnTo>
                    <a:lnTo>
                      <a:pt x="1943" y="50"/>
                    </a:lnTo>
                    <a:lnTo>
                      <a:pt x="1966" y="64"/>
                    </a:lnTo>
                    <a:lnTo>
                      <a:pt x="1952" y="75"/>
                    </a:lnTo>
                    <a:lnTo>
                      <a:pt x="1767" y="104"/>
                    </a:lnTo>
                    <a:lnTo>
                      <a:pt x="1770" y="125"/>
                    </a:lnTo>
                    <a:lnTo>
                      <a:pt x="1684" y="144"/>
                    </a:lnTo>
                    <a:lnTo>
                      <a:pt x="1683" y="146"/>
                    </a:lnTo>
                    <a:lnTo>
                      <a:pt x="1682" y="149"/>
                    </a:lnTo>
                    <a:lnTo>
                      <a:pt x="1677" y="155"/>
                    </a:lnTo>
                    <a:lnTo>
                      <a:pt x="1671" y="162"/>
                    </a:lnTo>
                    <a:lnTo>
                      <a:pt x="1663" y="169"/>
                    </a:lnTo>
                    <a:lnTo>
                      <a:pt x="1653" y="176"/>
                    </a:lnTo>
                    <a:lnTo>
                      <a:pt x="1638" y="180"/>
                    </a:lnTo>
                    <a:lnTo>
                      <a:pt x="1621" y="185"/>
                    </a:lnTo>
                    <a:lnTo>
                      <a:pt x="1601" y="188"/>
                    </a:lnTo>
                    <a:lnTo>
                      <a:pt x="1583" y="192"/>
                    </a:lnTo>
                    <a:lnTo>
                      <a:pt x="1565" y="194"/>
                    </a:lnTo>
                    <a:lnTo>
                      <a:pt x="1549" y="196"/>
                    </a:lnTo>
                    <a:lnTo>
                      <a:pt x="1535" y="199"/>
                    </a:lnTo>
                    <a:lnTo>
                      <a:pt x="1522" y="200"/>
                    </a:lnTo>
                    <a:lnTo>
                      <a:pt x="1511" y="200"/>
                    </a:lnTo>
                    <a:lnTo>
                      <a:pt x="1502" y="200"/>
                    </a:lnTo>
                    <a:lnTo>
                      <a:pt x="1476" y="202"/>
                    </a:lnTo>
                    <a:lnTo>
                      <a:pt x="1226" y="265"/>
                    </a:lnTo>
                    <a:lnTo>
                      <a:pt x="1223" y="265"/>
                    </a:lnTo>
                    <a:lnTo>
                      <a:pt x="1216" y="265"/>
                    </a:lnTo>
                    <a:lnTo>
                      <a:pt x="1206" y="265"/>
                    </a:lnTo>
                    <a:lnTo>
                      <a:pt x="1193" y="264"/>
                    </a:lnTo>
                    <a:lnTo>
                      <a:pt x="1177" y="264"/>
                    </a:lnTo>
                    <a:lnTo>
                      <a:pt x="1160" y="263"/>
                    </a:lnTo>
                    <a:lnTo>
                      <a:pt x="1140" y="263"/>
                    </a:lnTo>
                    <a:lnTo>
                      <a:pt x="1120" y="262"/>
                    </a:lnTo>
                    <a:lnTo>
                      <a:pt x="1099" y="262"/>
                    </a:lnTo>
                    <a:lnTo>
                      <a:pt x="1079" y="262"/>
                    </a:lnTo>
                    <a:lnTo>
                      <a:pt x="1060" y="261"/>
                    </a:lnTo>
                    <a:lnTo>
                      <a:pt x="1042" y="261"/>
                    </a:lnTo>
                    <a:lnTo>
                      <a:pt x="1026" y="260"/>
                    </a:lnTo>
                    <a:lnTo>
                      <a:pt x="1012" y="260"/>
                    </a:lnTo>
                    <a:lnTo>
                      <a:pt x="1002" y="260"/>
                    </a:lnTo>
                    <a:lnTo>
                      <a:pt x="995" y="260"/>
                    </a:lnTo>
                    <a:lnTo>
                      <a:pt x="986" y="260"/>
                    </a:lnTo>
                    <a:lnTo>
                      <a:pt x="970" y="259"/>
                    </a:lnTo>
                    <a:lnTo>
                      <a:pt x="946" y="257"/>
                    </a:lnTo>
                    <a:lnTo>
                      <a:pt x="917" y="255"/>
                    </a:lnTo>
                    <a:lnTo>
                      <a:pt x="883" y="254"/>
                    </a:lnTo>
                    <a:lnTo>
                      <a:pt x="845" y="252"/>
                    </a:lnTo>
                    <a:lnTo>
                      <a:pt x="806" y="249"/>
                    </a:lnTo>
                    <a:lnTo>
                      <a:pt x="766" y="246"/>
                    </a:lnTo>
                    <a:lnTo>
                      <a:pt x="726" y="244"/>
                    </a:lnTo>
                    <a:lnTo>
                      <a:pt x="686" y="241"/>
                    </a:lnTo>
                    <a:lnTo>
                      <a:pt x="649" y="238"/>
                    </a:lnTo>
                    <a:lnTo>
                      <a:pt x="616" y="236"/>
                    </a:lnTo>
                    <a:lnTo>
                      <a:pt x="586" y="233"/>
                    </a:lnTo>
                    <a:lnTo>
                      <a:pt x="563" y="232"/>
                    </a:lnTo>
                    <a:lnTo>
                      <a:pt x="546" y="230"/>
                    </a:lnTo>
                    <a:lnTo>
                      <a:pt x="537" y="229"/>
                    </a:lnTo>
                    <a:lnTo>
                      <a:pt x="526" y="226"/>
                    </a:lnTo>
                    <a:lnTo>
                      <a:pt x="512" y="224"/>
                    </a:lnTo>
                    <a:lnTo>
                      <a:pt x="500" y="222"/>
                    </a:lnTo>
                    <a:lnTo>
                      <a:pt x="486" y="219"/>
                    </a:lnTo>
                    <a:lnTo>
                      <a:pt x="473" y="217"/>
                    </a:lnTo>
                    <a:lnTo>
                      <a:pt x="463" y="215"/>
                    </a:lnTo>
                    <a:lnTo>
                      <a:pt x="456" y="214"/>
                    </a:lnTo>
                    <a:lnTo>
                      <a:pt x="454" y="214"/>
                    </a:lnTo>
                    <a:lnTo>
                      <a:pt x="410" y="223"/>
                    </a:lnTo>
                    <a:lnTo>
                      <a:pt x="409" y="224"/>
                    </a:lnTo>
                    <a:lnTo>
                      <a:pt x="408" y="227"/>
                    </a:lnTo>
                    <a:lnTo>
                      <a:pt x="406" y="232"/>
                    </a:lnTo>
                    <a:lnTo>
                      <a:pt x="408" y="240"/>
                    </a:lnTo>
                    <a:lnTo>
                      <a:pt x="409" y="245"/>
                    </a:lnTo>
                    <a:lnTo>
                      <a:pt x="408" y="249"/>
                    </a:lnTo>
                    <a:lnTo>
                      <a:pt x="406" y="254"/>
                    </a:lnTo>
                    <a:lnTo>
                      <a:pt x="404" y="259"/>
                    </a:lnTo>
                    <a:lnTo>
                      <a:pt x="401" y="262"/>
                    </a:lnTo>
                    <a:lnTo>
                      <a:pt x="394" y="264"/>
                    </a:lnTo>
                    <a:lnTo>
                      <a:pt x="386" y="265"/>
                    </a:lnTo>
                    <a:lnTo>
                      <a:pt x="375" y="265"/>
                    </a:lnTo>
                    <a:lnTo>
                      <a:pt x="333" y="257"/>
                    </a:lnTo>
                    <a:lnTo>
                      <a:pt x="326" y="271"/>
                    </a:lnTo>
                    <a:lnTo>
                      <a:pt x="272" y="260"/>
                    </a:lnTo>
                    <a:lnTo>
                      <a:pt x="269" y="261"/>
                    </a:lnTo>
                    <a:lnTo>
                      <a:pt x="265" y="263"/>
                    </a:lnTo>
                    <a:lnTo>
                      <a:pt x="258" y="265"/>
                    </a:lnTo>
                    <a:lnTo>
                      <a:pt x="249" y="268"/>
                    </a:lnTo>
                    <a:lnTo>
                      <a:pt x="237" y="269"/>
                    </a:lnTo>
                    <a:lnTo>
                      <a:pt x="226" y="268"/>
                    </a:lnTo>
                    <a:lnTo>
                      <a:pt x="214" y="264"/>
                    </a:lnTo>
                    <a:lnTo>
                      <a:pt x="204" y="259"/>
                    </a:lnTo>
                    <a:lnTo>
                      <a:pt x="202" y="240"/>
                    </a:lnTo>
                    <a:lnTo>
                      <a:pt x="214" y="194"/>
                    </a:lnTo>
                    <a:lnTo>
                      <a:pt x="212" y="193"/>
                    </a:lnTo>
                    <a:lnTo>
                      <a:pt x="206" y="192"/>
                    </a:lnTo>
                    <a:lnTo>
                      <a:pt x="197" y="188"/>
                    </a:lnTo>
                    <a:lnTo>
                      <a:pt x="185" y="184"/>
                    </a:lnTo>
                    <a:lnTo>
                      <a:pt x="171" y="178"/>
                    </a:lnTo>
                    <a:lnTo>
                      <a:pt x="155" y="172"/>
                    </a:lnTo>
                    <a:lnTo>
                      <a:pt x="137" y="165"/>
                    </a:lnTo>
                    <a:lnTo>
                      <a:pt x="120" y="157"/>
                    </a:lnTo>
                    <a:lnTo>
                      <a:pt x="100" y="149"/>
                    </a:lnTo>
                    <a:lnTo>
                      <a:pt x="81" y="141"/>
                    </a:lnTo>
                    <a:lnTo>
                      <a:pt x="64" y="132"/>
                    </a:lnTo>
                    <a:lnTo>
                      <a:pt x="47" y="123"/>
                    </a:lnTo>
                    <a:lnTo>
                      <a:pt x="32" y="113"/>
                    </a:lnTo>
                    <a:lnTo>
                      <a:pt x="18" y="104"/>
                    </a:lnTo>
                    <a:lnTo>
                      <a:pt x="8" y="96"/>
                    </a:lnTo>
                    <a:lnTo>
                      <a:pt x="0" y="87"/>
                    </a:lnTo>
                    <a:close/>
                  </a:path>
                </a:pathLst>
              </a:custGeom>
              <a:solidFill>
                <a:srgbClr val="AB008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1" name="Freeform 230"/>
              <p:cNvSpPr>
                <a:spLocks/>
              </p:cNvSpPr>
              <p:nvPr/>
            </p:nvSpPr>
            <p:spPr bwMode="auto">
              <a:xfrm rot="20813856" flipH="1">
                <a:off x="11317575" y="2208210"/>
                <a:ext cx="286491" cy="71624"/>
              </a:xfrm>
              <a:custGeom>
                <a:avLst/>
                <a:gdLst>
                  <a:gd name="T0" fmla="*/ 0 w 247"/>
                  <a:gd name="T1" fmla="*/ 0 h 64"/>
                  <a:gd name="T2" fmla="*/ 5 w 247"/>
                  <a:gd name="T3" fmla="*/ 0 h 64"/>
                  <a:gd name="T4" fmla="*/ 20 w 247"/>
                  <a:gd name="T5" fmla="*/ 0 h 64"/>
                  <a:gd name="T6" fmla="*/ 43 w 247"/>
                  <a:gd name="T7" fmla="*/ 1 h 64"/>
                  <a:gd name="T8" fmla="*/ 71 w 247"/>
                  <a:gd name="T9" fmla="*/ 3 h 64"/>
                  <a:gd name="T10" fmla="*/ 101 w 247"/>
                  <a:gd name="T11" fmla="*/ 4 h 64"/>
                  <a:gd name="T12" fmla="*/ 130 w 247"/>
                  <a:gd name="T13" fmla="*/ 6 h 64"/>
                  <a:gd name="T14" fmla="*/ 158 w 247"/>
                  <a:gd name="T15" fmla="*/ 8 h 64"/>
                  <a:gd name="T16" fmla="*/ 181 w 247"/>
                  <a:gd name="T17" fmla="*/ 12 h 64"/>
                  <a:gd name="T18" fmla="*/ 199 w 247"/>
                  <a:gd name="T19" fmla="*/ 15 h 64"/>
                  <a:gd name="T20" fmla="*/ 213 w 247"/>
                  <a:gd name="T21" fmla="*/ 18 h 64"/>
                  <a:gd name="T22" fmla="*/ 226 w 247"/>
                  <a:gd name="T23" fmla="*/ 21 h 64"/>
                  <a:gd name="T24" fmla="*/ 234 w 247"/>
                  <a:gd name="T25" fmla="*/ 23 h 64"/>
                  <a:gd name="T26" fmla="*/ 240 w 247"/>
                  <a:gd name="T27" fmla="*/ 26 h 64"/>
                  <a:gd name="T28" fmla="*/ 244 w 247"/>
                  <a:gd name="T29" fmla="*/ 28 h 64"/>
                  <a:gd name="T30" fmla="*/ 246 w 247"/>
                  <a:gd name="T31" fmla="*/ 29 h 64"/>
                  <a:gd name="T32" fmla="*/ 247 w 247"/>
                  <a:gd name="T33" fmla="*/ 29 h 64"/>
                  <a:gd name="T34" fmla="*/ 167 w 247"/>
                  <a:gd name="T35" fmla="*/ 64 h 64"/>
                  <a:gd name="T36" fmla="*/ 92 w 247"/>
                  <a:gd name="T37" fmla="*/ 54 h 64"/>
                  <a:gd name="T38" fmla="*/ 92 w 247"/>
                  <a:gd name="T39" fmla="*/ 53 h 64"/>
                  <a:gd name="T40" fmla="*/ 90 w 247"/>
                  <a:gd name="T41" fmla="*/ 51 h 64"/>
                  <a:gd name="T42" fmla="*/ 87 w 247"/>
                  <a:gd name="T43" fmla="*/ 47 h 64"/>
                  <a:gd name="T44" fmla="*/ 84 w 247"/>
                  <a:gd name="T45" fmla="*/ 43 h 64"/>
                  <a:gd name="T46" fmla="*/ 79 w 247"/>
                  <a:gd name="T47" fmla="*/ 38 h 64"/>
                  <a:gd name="T48" fmla="*/ 73 w 247"/>
                  <a:gd name="T49" fmla="*/ 35 h 64"/>
                  <a:gd name="T50" fmla="*/ 67 w 247"/>
                  <a:gd name="T51" fmla="*/ 33 h 64"/>
                  <a:gd name="T52" fmla="*/ 57 w 247"/>
                  <a:gd name="T53" fmla="*/ 31 h 64"/>
                  <a:gd name="T54" fmla="*/ 47 w 247"/>
                  <a:gd name="T55" fmla="*/ 30 h 64"/>
                  <a:gd name="T56" fmla="*/ 37 w 247"/>
                  <a:gd name="T57" fmla="*/ 27 h 64"/>
                  <a:gd name="T58" fmla="*/ 27 w 247"/>
                  <a:gd name="T59" fmla="*/ 21 h 64"/>
                  <a:gd name="T60" fmla="*/ 18 w 247"/>
                  <a:gd name="T61" fmla="*/ 15 h 64"/>
                  <a:gd name="T62" fmla="*/ 11 w 247"/>
                  <a:gd name="T63" fmla="*/ 11 h 64"/>
                  <a:gd name="T64" fmla="*/ 5 w 247"/>
                  <a:gd name="T65" fmla="*/ 5 h 64"/>
                  <a:gd name="T66" fmla="*/ 1 w 247"/>
                  <a:gd name="T67" fmla="*/ 1 h 64"/>
                  <a:gd name="T68" fmla="*/ 0 w 247"/>
                  <a:gd name="T69" fmla="*/ 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47" h="64">
                    <a:moveTo>
                      <a:pt x="0" y="0"/>
                    </a:moveTo>
                    <a:lnTo>
                      <a:pt x="5" y="0"/>
                    </a:lnTo>
                    <a:lnTo>
                      <a:pt x="20" y="0"/>
                    </a:lnTo>
                    <a:lnTo>
                      <a:pt x="43" y="1"/>
                    </a:lnTo>
                    <a:lnTo>
                      <a:pt x="71" y="3"/>
                    </a:lnTo>
                    <a:lnTo>
                      <a:pt x="101" y="4"/>
                    </a:lnTo>
                    <a:lnTo>
                      <a:pt x="130" y="6"/>
                    </a:lnTo>
                    <a:lnTo>
                      <a:pt x="158" y="8"/>
                    </a:lnTo>
                    <a:lnTo>
                      <a:pt x="181" y="12"/>
                    </a:lnTo>
                    <a:lnTo>
                      <a:pt x="199" y="15"/>
                    </a:lnTo>
                    <a:lnTo>
                      <a:pt x="213" y="18"/>
                    </a:lnTo>
                    <a:lnTo>
                      <a:pt x="226" y="21"/>
                    </a:lnTo>
                    <a:lnTo>
                      <a:pt x="234" y="23"/>
                    </a:lnTo>
                    <a:lnTo>
                      <a:pt x="240" y="26"/>
                    </a:lnTo>
                    <a:lnTo>
                      <a:pt x="244" y="28"/>
                    </a:lnTo>
                    <a:lnTo>
                      <a:pt x="246" y="29"/>
                    </a:lnTo>
                    <a:lnTo>
                      <a:pt x="247" y="29"/>
                    </a:lnTo>
                    <a:lnTo>
                      <a:pt x="167" y="64"/>
                    </a:lnTo>
                    <a:lnTo>
                      <a:pt x="92" y="54"/>
                    </a:lnTo>
                    <a:lnTo>
                      <a:pt x="92" y="53"/>
                    </a:lnTo>
                    <a:lnTo>
                      <a:pt x="90" y="51"/>
                    </a:lnTo>
                    <a:lnTo>
                      <a:pt x="87" y="47"/>
                    </a:lnTo>
                    <a:lnTo>
                      <a:pt x="84" y="43"/>
                    </a:lnTo>
                    <a:lnTo>
                      <a:pt x="79" y="38"/>
                    </a:lnTo>
                    <a:lnTo>
                      <a:pt x="73" y="35"/>
                    </a:lnTo>
                    <a:lnTo>
                      <a:pt x="67" y="33"/>
                    </a:lnTo>
                    <a:lnTo>
                      <a:pt x="57" y="31"/>
                    </a:lnTo>
                    <a:lnTo>
                      <a:pt x="47" y="30"/>
                    </a:lnTo>
                    <a:lnTo>
                      <a:pt x="37" y="27"/>
                    </a:lnTo>
                    <a:lnTo>
                      <a:pt x="27" y="21"/>
                    </a:lnTo>
                    <a:lnTo>
                      <a:pt x="18" y="15"/>
                    </a:lnTo>
                    <a:lnTo>
                      <a:pt x="11" y="11"/>
                    </a:lnTo>
                    <a:lnTo>
                      <a:pt x="5" y="5"/>
                    </a:lnTo>
                    <a:lnTo>
                      <a:pt x="1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B0086">
                  <a:lumMod val="75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2" name="Freeform 231"/>
              <p:cNvSpPr>
                <a:spLocks/>
              </p:cNvSpPr>
              <p:nvPr/>
            </p:nvSpPr>
            <p:spPr bwMode="auto">
              <a:xfrm rot="20813856" flipH="1">
                <a:off x="9608154" y="2467050"/>
                <a:ext cx="321148" cy="87796"/>
              </a:xfrm>
              <a:custGeom>
                <a:avLst/>
                <a:gdLst>
                  <a:gd name="T0" fmla="*/ 0 w 279"/>
                  <a:gd name="T1" fmla="*/ 35 h 75"/>
                  <a:gd name="T2" fmla="*/ 8 w 279"/>
                  <a:gd name="T3" fmla="*/ 75 h 75"/>
                  <a:gd name="T4" fmla="*/ 279 w 279"/>
                  <a:gd name="T5" fmla="*/ 20 h 75"/>
                  <a:gd name="T6" fmla="*/ 219 w 279"/>
                  <a:gd name="T7" fmla="*/ 0 h 75"/>
                  <a:gd name="T8" fmla="*/ 0 w 279"/>
                  <a:gd name="T9" fmla="*/ 35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9" h="75">
                    <a:moveTo>
                      <a:pt x="0" y="35"/>
                    </a:moveTo>
                    <a:lnTo>
                      <a:pt x="8" y="75"/>
                    </a:lnTo>
                    <a:lnTo>
                      <a:pt x="279" y="20"/>
                    </a:lnTo>
                    <a:lnTo>
                      <a:pt x="219" y="0"/>
                    </a:lnTo>
                    <a:lnTo>
                      <a:pt x="0" y="35"/>
                    </a:lnTo>
                    <a:close/>
                  </a:path>
                </a:pathLst>
              </a:custGeom>
              <a:solidFill>
                <a:srgbClr val="AB0086">
                  <a:lumMod val="75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3" name="Freeform 232"/>
              <p:cNvSpPr>
                <a:spLocks/>
              </p:cNvSpPr>
              <p:nvPr/>
            </p:nvSpPr>
            <p:spPr bwMode="auto">
              <a:xfrm rot="20813856" flipH="1">
                <a:off x="10142897" y="2440357"/>
                <a:ext cx="402012" cy="120141"/>
              </a:xfrm>
              <a:custGeom>
                <a:avLst/>
                <a:gdLst>
                  <a:gd name="T0" fmla="*/ 12 w 348"/>
                  <a:gd name="T1" fmla="*/ 46 h 104"/>
                  <a:gd name="T2" fmla="*/ 14 w 348"/>
                  <a:gd name="T3" fmla="*/ 46 h 104"/>
                  <a:gd name="T4" fmla="*/ 20 w 348"/>
                  <a:gd name="T5" fmla="*/ 45 h 104"/>
                  <a:gd name="T6" fmla="*/ 29 w 348"/>
                  <a:gd name="T7" fmla="*/ 43 h 104"/>
                  <a:gd name="T8" fmla="*/ 42 w 348"/>
                  <a:gd name="T9" fmla="*/ 42 h 104"/>
                  <a:gd name="T10" fmla="*/ 55 w 348"/>
                  <a:gd name="T11" fmla="*/ 38 h 104"/>
                  <a:gd name="T12" fmla="*/ 72 w 348"/>
                  <a:gd name="T13" fmla="*/ 36 h 104"/>
                  <a:gd name="T14" fmla="*/ 89 w 348"/>
                  <a:gd name="T15" fmla="*/ 32 h 104"/>
                  <a:gd name="T16" fmla="*/ 107 w 348"/>
                  <a:gd name="T17" fmla="*/ 30 h 104"/>
                  <a:gd name="T18" fmla="*/ 125 w 348"/>
                  <a:gd name="T19" fmla="*/ 27 h 104"/>
                  <a:gd name="T20" fmla="*/ 143 w 348"/>
                  <a:gd name="T21" fmla="*/ 23 h 104"/>
                  <a:gd name="T22" fmla="*/ 160 w 348"/>
                  <a:gd name="T23" fmla="*/ 21 h 104"/>
                  <a:gd name="T24" fmla="*/ 175 w 348"/>
                  <a:gd name="T25" fmla="*/ 19 h 104"/>
                  <a:gd name="T26" fmla="*/ 189 w 348"/>
                  <a:gd name="T27" fmla="*/ 16 h 104"/>
                  <a:gd name="T28" fmla="*/ 201 w 348"/>
                  <a:gd name="T29" fmla="*/ 14 h 104"/>
                  <a:gd name="T30" fmla="*/ 209 w 348"/>
                  <a:gd name="T31" fmla="*/ 13 h 104"/>
                  <a:gd name="T32" fmla="*/ 213 w 348"/>
                  <a:gd name="T33" fmla="*/ 12 h 104"/>
                  <a:gd name="T34" fmla="*/ 221 w 348"/>
                  <a:gd name="T35" fmla="*/ 11 h 104"/>
                  <a:gd name="T36" fmla="*/ 235 w 348"/>
                  <a:gd name="T37" fmla="*/ 8 h 104"/>
                  <a:gd name="T38" fmla="*/ 251 w 348"/>
                  <a:gd name="T39" fmla="*/ 7 h 104"/>
                  <a:gd name="T40" fmla="*/ 269 w 348"/>
                  <a:gd name="T41" fmla="*/ 5 h 104"/>
                  <a:gd name="T42" fmla="*/ 286 w 348"/>
                  <a:gd name="T43" fmla="*/ 2 h 104"/>
                  <a:gd name="T44" fmla="*/ 300 w 348"/>
                  <a:gd name="T45" fmla="*/ 1 h 104"/>
                  <a:gd name="T46" fmla="*/ 310 w 348"/>
                  <a:gd name="T47" fmla="*/ 0 h 104"/>
                  <a:gd name="T48" fmla="*/ 313 w 348"/>
                  <a:gd name="T49" fmla="*/ 0 h 104"/>
                  <a:gd name="T50" fmla="*/ 348 w 348"/>
                  <a:gd name="T51" fmla="*/ 35 h 104"/>
                  <a:gd name="T52" fmla="*/ 58 w 348"/>
                  <a:gd name="T53" fmla="*/ 104 h 104"/>
                  <a:gd name="T54" fmla="*/ 0 w 348"/>
                  <a:gd name="T55" fmla="*/ 87 h 104"/>
                  <a:gd name="T56" fmla="*/ 4 w 348"/>
                  <a:gd name="T57" fmla="*/ 85 h 104"/>
                  <a:gd name="T58" fmla="*/ 9 w 348"/>
                  <a:gd name="T59" fmla="*/ 80 h 104"/>
                  <a:gd name="T60" fmla="*/ 13 w 348"/>
                  <a:gd name="T61" fmla="*/ 67 h 104"/>
                  <a:gd name="T62" fmla="*/ 12 w 348"/>
                  <a:gd name="T63" fmla="*/ 46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48" h="104">
                    <a:moveTo>
                      <a:pt x="12" y="46"/>
                    </a:moveTo>
                    <a:lnTo>
                      <a:pt x="14" y="46"/>
                    </a:lnTo>
                    <a:lnTo>
                      <a:pt x="20" y="45"/>
                    </a:lnTo>
                    <a:lnTo>
                      <a:pt x="29" y="43"/>
                    </a:lnTo>
                    <a:lnTo>
                      <a:pt x="42" y="42"/>
                    </a:lnTo>
                    <a:lnTo>
                      <a:pt x="55" y="38"/>
                    </a:lnTo>
                    <a:lnTo>
                      <a:pt x="72" y="36"/>
                    </a:lnTo>
                    <a:lnTo>
                      <a:pt x="89" y="32"/>
                    </a:lnTo>
                    <a:lnTo>
                      <a:pt x="107" y="30"/>
                    </a:lnTo>
                    <a:lnTo>
                      <a:pt x="125" y="27"/>
                    </a:lnTo>
                    <a:lnTo>
                      <a:pt x="143" y="23"/>
                    </a:lnTo>
                    <a:lnTo>
                      <a:pt x="160" y="21"/>
                    </a:lnTo>
                    <a:lnTo>
                      <a:pt x="175" y="19"/>
                    </a:lnTo>
                    <a:lnTo>
                      <a:pt x="189" y="16"/>
                    </a:lnTo>
                    <a:lnTo>
                      <a:pt x="201" y="14"/>
                    </a:lnTo>
                    <a:lnTo>
                      <a:pt x="209" y="13"/>
                    </a:lnTo>
                    <a:lnTo>
                      <a:pt x="213" y="12"/>
                    </a:lnTo>
                    <a:lnTo>
                      <a:pt x="221" y="11"/>
                    </a:lnTo>
                    <a:lnTo>
                      <a:pt x="235" y="8"/>
                    </a:lnTo>
                    <a:lnTo>
                      <a:pt x="251" y="7"/>
                    </a:lnTo>
                    <a:lnTo>
                      <a:pt x="269" y="5"/>
                    </a:lnTo>
                    <a:lnTo>
                      <a:pt x="286" y="2"/>
                    </a:lnTo>
                    <a:lnTo>
                      <a:pt x="300" y="1"/>
                    </a:lnTo>
                    <a:lnTo>
                      <a:pt x="310" y="0"/>
                    </a:lnTo>
                    <a:lnTo>
                      <a:pt x="313" y="0"/>
                    </a:lnTo>
                    <a:lnTo>
                      <a:pt x="348" y="35"/>
                    </a:lnTo>
                    <a:lnTo>
                      <a:pt x="58" y="104"/>
                    </a:lnTo>
                    <a:lnTo>
                      <a:pt x="0" y="87"/>
                    </a:lnTo>
                    <a:lnTo>
                      <a:pt x="4" y="85"/>
                    </a:lnTo>
                    <a:lnTo>
                      <a:pt x="9" y="80"/>
                    </a:lnTo>
                    <a:lnTo>
                      <a:pt x="13" y="67"/>
                    </a:lnTo>
                    <a:lnTo>
                      <a:pt x="12" y="46"/>
                    </a:lnTo>
                    <a:close/>
                  </a:path>
                </a:pathLst>
              </a:custGeom>
              <a:solidFill>
                <a:srgbClr val="AB0086">
                  <a:lumMod val="75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4" name="Freeform 233"/>
              <p:cNvSpPr>
                <a:spLocks/>
              </p:cNvSpPr>
              <p:nvPr/>
            </p:nvSpPr>
            <p:spPr bwMode="auto">
              <a:xfrm rot="20813856" flipH="1">
                <a:off x="10711312" y="2320785"/>
                <a:ext cx="471324" cy="78554"/>
              </a:xfrm>
              <a:custGeom>
                <a:avLst/>
                <a:gdLst>
                  <a:gd name="T0" fmla="*/ 59 w 408"/>
                  <a:gd name="T1" fmla="*/ 0 h 70"/>
                  <a:gd name="T2" fmla="*/ 58 w 408"/>
                  <a:gd name="T3" fmla="*/ 2 h 70"/>
                  <a:gd name="T4" fmla="*/ 55 w 408"/>
                  <a:gd name="T5" fmla="*/ 6 h 70"/>
                  <a:gd name="T6" fmla="*/ 50 w 408"/>
                  <a:gd name="T7" fmla="*/ 12 h 70"/>
                  <a:gd name="T8" fmla="*/ 43 w 408"/>
                  <a:gd name="T9" fmla="*/ 19 h 70"/>
                  <a:gd name="T10" fmla="*/ 35 w 408"/>
                  <a:gd name="T11" fmla="*/ 26 h 70"/>
                  <a:gd name="T12" fmla="*/ 25 w 408"/>
                  <a:gd name="T13" fmla="*/ 33 h 70"/>
                  <a:gd name="T14" fmla="*/ 14 w 408"/>
                  <a:gd name="T15" fmla="*/ 39 h 70"/>
                  <a:gd name="T16" fmla="*/ 2 w 408"/>
                  <a:gd name="T17" fmla="*/ 43 h 70"/>
                  <a:gd name="T18" fmla="*/ 0 w 408"/>
                  <a:gd name="T19" fmla="*/ 45 h 70"/>
                  <a:gd name="T20" fmla="*/ 9 w 408"/>
                  <a:gd name="T21" fmla="*/ 47 h 70"/>
                  <a:gd name="T22" fmla="*/ 25 w 408"/>
                  <a:gd name="T23" fmla="*/ 49 h 70"/>
                  <a:gd name="T24" fmla="*/ 48 w 408"/>
                  <a:gd name="T25" fmla="*/ 51 h 70"/>
                  <a:gd name="T26" fmla="*/ 75 w 408"/>
                  <a:gd name="T27" fmla="*/ 53 h 70"/>
                  <a:gd name="T28" fmla="*/ 109 w 408"/>
                  <a:gd name="T29" fmla="*/ 56 h 70"/>
                  <a:gd name="T30" fmla="*/ 144 w 408"/>
                  <a:gd name="T31" fmla="*/ 58 h 70"/>
                  <a:gd name="T32" fmla="*/ 181 w 408"/>
                  <a:gd name="T33" fmla="*/ 59 h 70"/>
                  <a:gd name="T34" fmla="*/ 219 w 408"/>
                  <a:gd name="T35" fmla="*/ 62 h 70"/>
                  <a:gd name="T36" fmla="*/ 256 w 408"/>
                  <a:gd name="T37" fmla="*/ 64 h 70"/>
                  <a:gd name="T38" fmla="*/ 291 w 408"/>
                  <a:gd name="T39" fmla="*/ 65 h 70"/>
                  <a:gd name="T40" fmla="*/ 322 w 408"/>
                  <a:gd name="T41" fmla="*/ 67 h 70"/>
                  <a:gd name="T42" fmla="*/ 350 w 408"/>
                  <a:gd name="T43" fmla="*/ 68 h 70"/>
                  <a:gd name="T44" fmla="*/ 369 w 408"/>
                  <a:gd name="T45" fmla="*/ 68 h 70"/>
                  <a:gd name="T46" fmla="*/ 383 w 408"/>
                  <a:gd name="T47" fmla="*/ 70 h 70"/>
                  <a:gd name="T48" fmla="*/ 388 w 408"/>
                  <a:gd name="T49" fmla="*/ 70 h 70"/>
                  <a:gd name="T50" fmla="*/ 408 w 408"/>
                  <a:gd name="T51" fmla="*/ 64 h 70"/>
                  <a:gd name="T52" fmla="*/ 406 w 408"/>
                  <a:gd name="T53" fmla="*/ 62 h 70"/>
                  <a:gd name="T54" fmla="*/ 399 w 408"/>
                  <a:gd name="T55" fmla="*/ 57 h 70"/>
                  <a:gd name="T56" fmla="*/ 391 w 408"/>
                  <a:gd name="T57" fmla="*/ 47 h 70"/>
                  <a:gd name="T58" fmla="*/ 384 w 408"/>
                  <a:gd name="T59" fmla="*/ 33 h 70"/>
                  <a:gd name="T60" fmla="*/ 381 w 408"/>
                  <a:gd name="T61" fmla="*/ 33 h 70"/>
                  <a:gd name="T62" fmla="*/ 371 w 408"/>
                  <a:gd name="T63" fmla="*/ 33 h 70"/>
                  <a:gd name="T64" fmla="*/ 358 w 408"/>
                  <a:gd name="T65" fmla="*/ 33 h 70"/>
                  <a:gd name="T66" fmla="*/ 338 w 408"/>
                  <a:gd name="T67" fmla="*/ 33 h 70"/>
                  <a:gd name="T68" fmla="*/ 316 w 408"/>
                  <a:gd name="T69" fmla="*/ 33 h 70"/>
                  <a:gd name="T70" fmla="*/ 291 w 408"/>
                  <a:gd name="T71" fmla="*/ 33 h 70"/>
                  <a:gd name="T72" fmla="*/ 264 w 408"/>
                  <a:gd name="T73" fmla="*/ 32 h 70"/>
                  <a:gd name="T74" fmla="*/ 235 w 408"/>
                  <a:gd name="T75" fmla="*/ 30 h 70"/>
                  <a:gd name="T76" fmla="*/ 207 w 408"/>
                  <a:gd name="T77" fmla="*/ 29 h 70"/>
                  <a:gd name="T78" fmla="*/ 178 w 408"/>
                  <a:gd name="T79" fmla="*/ 27 h 70"/>
                  <a:gd name="T80" fmla="*/ 151 w 408"/>
                  <a:gd name="T81" fmla="*/ 25 h 70"/>
                  <a:gd name="T82" fmla="*/ 126 w 408"/>
                  <a:gd name="T83" fmla="*/ 21 h 70"/>
                  <a:gd name="T84" fmla="*/ 103 w 408"/>
                  <a:gd name="T85" fmla="*/ 17 h 70"/>
                  <a:gd name="T86" fmla="*/ 83 w 408"/>
                  <a:gd name="T87" fmla="*/ 12 h 70"/>
                  <a:gd name="T88" fmla="*/ 68 w 408"/>
                  <a:gd name="T89" fmla="*/ 7 h 70"/>
                  <a:gd name="T90" fmla="*/ 59 w 408"/>
                  <a:gd name="T91" fmla="*/ 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08" h="70">
                    <a:moveTo>
                      <a:pt x="59" y="0"/>
                    </a:moveTo>
                    <a:lnTo>
                      <a:pt x="58" y="2"/>
                    </a:lnTo>
                    <a:lnTo>
                      <a:pt x="55" y="6"/>
                    </a:lnTo>
                    <a:lnTo>
                      <a:pt x="50" y="12"/>
                    </a:lnTo>
                    <a:lnTo>
                      <a:pt x="43" y="19"/>
                    </a:lnTo>
                    <a:lnTo>
                      <a:pt x="35" y="26"/>
                    </a:lnTo>
                    <a:lnTo>
                      <a:pt x="25" y="33"/>
                    </a:lnTo>
                    <a:lnTo>
                      <a:pt x="14" y="39"/>
                    </a:lnTo>
                    <a:lnTo>
                      <a:pt x="2" y="43"/>
                    </a:lnTo>
                    <a:lnTo>
                      <a:pt x="0" y="45"/>
                    </a:lnTo>
                    <a:lnTo>
                      <a:pt x="9" y="47"/>
                    </a:lnTo>
                    <a:lnTo>
                      <a:pt x="25" y="49"/>
                    </a:lnTo>
                    <a:lnTo>
                      <a:pt x="48" y="51"/>
                    </a:lnTo>
                    <a:lnTo>
                      <a:pt x="75" y="53"/>
                    </a:lnTo>
                    <a:lnTo>
                      <a:pt x="109" y="56"/>
                    </a:lnTo>
                    <a:lnTo>
                      <a:pt x="144" y="58"/>
                    </a:lnTo>
                    <a:lnTo>
                      <a:pt x="181" y="59"/>
                    </a:lnTo>
                    <a:lnTo>
                      <a:pt x="219" y="62"/>
                    </a:lnTo>
                    <a:lnTo>
                      <a:pt x="256" y="64"/>
                    </a:lnTo>
                    <a:lnTo>
                      <a:pt x="291" y="65"/>
                    </a:lnTo>
                    <a:lnTo>
                      <a:pt x="322" y="67"/>
                    </a:lnTo>
                    <a:lnTo>
                      <a:pt x="350" y="68"/>
                    </a:lnTo>
                    <a:lnTo>
                      <a:pt x="369" y="68"/>
                    </a:lnTo>
                    <a:lnTo>
                      <a:pt x="383" y="70"/>
                    </a:lnTo>
                    <a:lnTo>
                      <a:pt x="388" y="70"/>
                    </a:lnTo>
                    <a:lnTo>
                      <a:pt x="408" y="64"/>
                    </a:lnTo>
                    <a:lnTo>
                      <a:pt x="406" y="62"/>
                    </a:lnTo>
                    <a:lnTo>
                      <a:pt x="399" y="57"/>
                    </a:lnTo>
                    <a:lnTo>
                      <a:pt x="391" y="47"/>
                    </a:lnTo>
                    <a:lnTo>
                      <a:pt x="384" y="33"/>
                    </a:lnTo>
                    <a:lnTo>
                      <a:pt x="381" y="33"/>
                    </a:lnTo>
                    <a:lnTo>
                      <a:pt x="371" y="33"/>
                    </a:lnTo>
                    <a:lnTo>
                      <a:pt x="358" y="33"/>
                    </a:lnTo>
                    <a:lnTo>
                      <a:pt x="338" y="33"/>
                    </a:lnTo>
                    <a:lnTo>
                      <a:pt x="316" y="33"/>
                    </a:lnTo>
                    <a:lnTo>
                      <a:pt x="291" y="33"/>
                    </a:lnTo>
                    <a:lnTo>
                      <a:pt x="264" y="32"/>
                    </a:lnTo>
                    <a:lnTo>
                      <a:pt x="235" y="30"/>
                    </a:lnTo>
                    <a:lnTo>
                      <a:pt x="207" y="29"/>
                    </a:lnTo>
                    <a:lnTo>
                      <a:pt x="178" y="27"/>
                    </a:lnTo>
                    <a:lnTo>
                      <a:pt x="151" y="25"/>
                    </a:lnTo>
                    <a:lnTo>
                      <a:pt x="126" y="21"/>
                    </a:lnTo>
                    <a:lnTo>
                      <a:pt x="103" y="17"/>
                    </a:lnTo>
                    <a:lnTo>
                      <a:pt x="83" y="12"/>
                    </a:lnTo>
                    <a:lnTo>
                      <a:pt x="68" y="7"/>
                    </a:lnTo>
                    <a:lnTo>
                      <a:pt x="59" y="0"/>
                    </a:lnTo>
                    <a:close/>
                  </a:path>
                </a:pathLst>
              </a:custGeom>
              <a:solidFill>
                <a:srgbClr val="AB0086">
                  <a:lumMod val="75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5" name="Freeform 234"/>
              <p:cNvSpPr>
                <a:spLocks/>
              </p:cNvSpPr>
              <p:nvPr/>
            </p:nvSpPr>
            <p:spPr bwMode="auto">
              <a:xfrm rot="20813856" flipH="1">
                <a:off x="10681344" y="2355360"/>
                <a:ext cx="71624" cy="83175"/>
              </a:xfrm>
              <a:custGeom>
                <a:avLst/>
                <a:gdLst>
                  <a:gd name="T0" fmla="*/ 62 w 62"/>
                  <a:gd name="T1" fmla="*/ 36 h 73"/>
                  <a:gd name="T2" fmla="*/ 60 w 62"/>
                  <a:gd name="T3" fmla="*/ 51 h 73"/>
                  <a:gd name="T4" fmla="*/ 53 w 62"/>
                  <a:gd name="T5" fmla="*/ 63 h 73"/>
                  <a:gd name="T6" fmla="*/ 43 w 62"/>
                  <a:gd name="T7" fmla="*/ 71 h 73"/>
                  <a:gd name="T8" fmla="*/ 31 w 62"/>
                  <a:gd name="T9" fmla="*/ 73 h 73"/>
                  <a:gd name="T10" fmla="*/ 18 w 62"/>
                  <a:gd name="T11" fmla="*/ 71 h 73"/>
                  <a:gd name="T12" fmla="*/ 9 w 62"/>
                  <a:gd name="T13" fmla="*/ 63 h 73"/>
                  <a:gd name="T14" fmla="*/ 2 w 62"/>
                  <a:gd name="T15" fmla="*/ 51 h 73"/>
                  <a:gd name="T16" fmla="*/ 0 w 62"/>
                  <a:gd name="T17" fmla="*/ 36 h 73"/>
                  <a:gd name="T18" fmla="*/ 2 w 62"/>
                  <a:gd name="T19" fmla="*/ 22 h 73"/>
                  <a:gd name="T20" fmla="*/ 9 w 62"/>
                  <a:gd name="T21" fmla="*/ 11 h 73"/>
                  <a:gd name="T22" fmla="*/ 18 w 62"/>
                  <a:gd name="T23" fmla="*/ 3 h 73"/>
                  <a:gd name="T24" fmla="*/ 31 w 62"/>
                  <a:gd name="T25" fmla="*/ 0 h 73"/>
                  <a:gd name="T26" fmla="*/ 43 w 62"/>
                  <a:gd name="T27" fmla="*/ 3 h 73"/>
                  <a:gd name="T28" fmla="*/ 53 w 62"/>
                  <a:gd name="T29" fmla="*/ 11 h 73"/>
                  <a:gd name="T30" fmla="*/ 60 w 62"/>
                  <a:gd name="T31" fmla="*/ 22 h 73"/>
                  <a:gd name="T32" fmla="*/ 62 w 62"/>
                  <a:gd name="T33" fmla="*/ 36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2" h="73">
                    <a:moveTo>
                      <a:pt x="62" y="36"/>
                    </a:moveTo>
                    <a:lnTo>
                      <a:pt x="60" y="51"/>
                    </a:lnTo>
                    <a:lnTo>
                      <a:pt x="53" y="63"/>
                    </a:lnTo>
                    <a:lnTo>
                      <a:pt x="43" y="71"/>
                    </a:lnTo>
                    <a:lnTo>
                      <a:pt x="31" y="73"/>
                    </a:lnTo>
                    <a:lnTo>
                      <a:pt x="18" y="71"/>
                    </a:lnTo>
                    <a:lnTo>
                      <a:pt x="9" y="63"/>
                    </a:lnTo>
                    <a:lnTo>
                      <a:pt x="2" y="51"/>
                    </a:lnTo>
                    <a:lnTo>
                      <a:pt x="0" y="36"/>
                    </a:lnTo>
                    <a:lnTo>
                      <a:pt x="2" y="22"/>
                    </a:lnTo>
                    <a:lnTo>
                      <a:pt x="9" y="11"/>
                    </a:lnTo>
                    <a:lnTo>
                      <a:pt x="18" y="3"/>
                    </a:lnTo>
                    <a:lnTo>
                      <a:pt x="31" y="0"/>
                    </a:lnTo>
                    <a:lnTo>
                      <a:pt x="43" y="3"/>
                    </a:lnTo>
                    <a:lnTo>
                      <a:pt x="53" y="11"/>
                    </a:lnTo>
                    <a:lnTo>
                      <a:pt x="60" y="22"/>
                    </a:lnTo>
                    <a:lnTo>
                      <a:pt x="62" y="36"/>
                    </a:lnTo>
                    <a:close/>
                  </a:path>
                </a:pathLst>
              </a:custGeom>
              <a:solidFill>
                <a:srgbClr val="4B004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6" name="Freeform 235"/>
              <p:cNvSpPr>
                <a:spLocks/>
              </p:cNvSpPr>
              <p:nvPr/>
            </p:nvSpPr>
            <p:spPr bwMode="auto">
              <a:xfrm rot="20813856" flipH="1">
                <a:off x="10435833" y="2085646"/>
                <a:ext cx="1337730" cy="140936"/>
              </a:xfrm>
              <a:custGeom>
                <a:avLst/>
                <a:gdLst>
                  <a:gd name="T0" fmla="*/ 0 w 1158"/>
                  <a:gd name="T1" fmla="*/ 38 h 121"/>
                  <a:gd name="T2" fmla="*/ 12 w 1158"/>
                  <a:gd name="T3" fmla="*/ 40 h 121"/>
                  <a:gd name="T4" fmla="*/ 44 w 1158"/>
                  <a:gd name="T5" fmla="*/ 42 h 121"/>
                  <a:gd name="T6" fmla="*/ 93 w 1158"/>
                  <a:gd name="T7" fmla="*/ 45 h 121"/>
                  <a:gd name="T8" fmla="*/ 159 w 1158"/>
                  <a:gd name="T9" fmla="*/ 50 h 121"/>
                  <a:gd name="T10" fmla="*/ 236 w 1158"/>
                  <a:gd name="T11" fmla="*/ 55 h 121"/>
                  <a:gd name="T12" fmla="*/ 324 w 1158"/>
                  <a:gd name="T13" fmla="*/ 61 h 121"/>
                  <a:gd name="T14" fmla="*/ 417 w 1158"/>
                  <a:gd name="T15" fmla="*/ 68 h 121"/>
                  <a:gd name="T16" fmla="*/ 515 w 1158"/>
                  <a:gd name="T17" fmla="*/ 75 h 121"/>
                  <a:gd name="T18" fmla="*/ 613 w 1158"/>
                  <a:gd name="T19" fmla="*/ 82 h 121"/>
                  <a:gd name="T20" fmla="*/ 710 w 1158"/>
                  <a:gd name="T21" fmla="*/ 89 h 121"/>
                  <a:gd name="T22" fmla="*/ 801 w 1158"/>
                  <a:gd name="T23" fmla="*/ 96 h 121"/>
                  <a:gd name="T24" fmla="*/ 885 w 1158"/>
                  <a:gd name="T25" fmla="*/ 103 h 121"/>
                  <a:gd name="T26" fmla="*/ 959 w 1158"/>
                  <a:gd name="T27" fmla="*/ 109 h 121"/>
                  <a:gd name="T28" fmla="*/ 1018 w 1158"/>
                  <a:gd name="T29" fmla="*/ 114 h 121"/>
                  <a:gd name="T30" fmla="*/ 1062 w 1158"/>
                  <a:gd name="T31" fmla="*/ 118 h 121"/>
                  <a:gd name="T32" fmla="*/ 1088 w 1158"/>
                  <a:gd name="T33" fmla="*/ 121 h 121"/>
                  <a:gd name="T34" fmla="*/ 1156 w 1158"/>
                  <a:gd name="T35" fmla="*/ 106 h 121"/>
                  <a:gd name="T36" fmla="*/ 1137 w 1158"/>
                  <a:gd name="T37" fmla="*/ 104 h 121"/>
                  <a:gd name="T38" fmla="*/ 1103 w 1158"/>
                  <a:gd name="T39" fmla="*/ 99 h 121"/>
                  <a:gd name="T40" fmla="*/ 1053 w 1158"/>
                  <a:gd name="T41" fmla="*/ 94 h 121"/>
                  <a:gd name="T42" fmla="*/ 991 w 1158"/>
                  <a:gd name="T43" fmla="*/ 86 h 121"/>
                  <a:gd name="T44" fmla="*/ 918 w 1158"/>
                  <a:gd name="T45" fmla="*/ 78 h 121"/>
                  <a:gd name="T46" fmla="*/ 838 w 1158"/>
                  <a:gd name="T47" fmla="*/ 68 h 121"/>
                  <a:gd name="T48" fmla="*/ 750 w 1158"/>
                  <a:gd name="T49" fmla="*/ 58 h 121"/>
                  <a:gd name="T50" fmla="*/ 658 w 1158"/>
                  <a:gd name="T51" fmla="*/ 49 h 121"/>
                  <a:gd name="T52" fmla="*/ 562 w 1158"/>
                  <a:gd name="T53" fmla="*/ 38 h 121"/>
                  <a:gd name="T54" fmla="*/ 465 w 1158"/>
                  <a:gd name="T55" fmla="*/ 29 h 121"/>
                  <a:gd name="T56" fmla="*/ 371 w 1158"/>
                  <a:gd name="T57" fmla="*/ 21 h 121"/>
                  <a:gd name="T58" fmla="*/ 279 w 1158"/>
                  <a:gd name="T59" fmla="*/ 13 h 121"/>
                  <a:gd name="T60" fmla="*/ 192 w 1158"/>
                  <a:gd name="T61" fmla="*/ 7 h 121"/>
                  <a:gd name="T62" fmla="*/ 112 w 1158"/>
                  <a:gd name="T63" fmla="*/ 3 h 121"/>
                  <a:gd name="T64" fmla="*/ 40 w 1158"/>
                  <a:gd name="T65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158" h="121">
                    <a:moveTo>
                      <a:pt x="9" y="0"/>
                    </a:moveTo>
                    <a:lnTo>
                      <a:pt x="0" y="38"/>
                    </a:lnTo>
                    <a:lnTo>
                      <a:pt x="3" y="38"/>
                    </a:lnTo>
                    <a:lnTo>
                      <a:pt x="12" y="40"/>
                    </a:lnTo>
                    <a:lnTo>
                      <a:pt x="25" y="41"/>
                    </a:lnTo>
                    <a:lnTo>
                      <a:pt x="44" y="42"/>
                    </a:lnTo>
                    <a:lnTo>
                      <a:pt x="67" y="43"/>
                    </a:lnTo>
                    <a:lnTo>
                      <a:pt x="93" y="45"/>
                    </a:lnTo>
                    <a:lnTo>
                      <a:pt x="124" y="48"/>
                    </a:lnTo>
                    <a:lnTo>
                      <a:pt x="159" y="50"/>
                    </a:lnTo>
                    <a:lnTo>
                      <a:pt x="197" y="52"/>
                    </a:lnTo>
                    <a:lnTo>
                      <a:pt x="236" y="55"/>
                    </a:lnTo>
                    <a:lnTo>
                      <a:pt x="279" y="58"/>
                    </a:lnTo>
                    <a:lnTo>
                      <a:pt x="324" y="61"/>
                    </a:lnTo>
                    <a:lnTo>
                      <a:pt x="370" y="65"/>
                    </a:lnTo>
                    <a:lnTo>
                      <a:pt x="417" y="68"/>
                    </a:lnTo>
                    <a:lnTo>
                      <a:pt x="465" y="72"/>
                    </a:lnTo>
                    <a:lnTo>
                      <a:pt x="515" y="75"/>
                    </a:lnTo>
                    <a:lnTo>
                      <a:pt x="565" y="79"/>
                    </a:lnTo>
                    <a:lnTo>
                      <a:pt x="613" y="82"/>
                    </a:lnTo>
                    <a:lnTo>
                      <a:pt x="661" y="86"/>
                    </a:lnTo>
                    <a:lnTo>
                      <a:pt x="710" y="89"/>
                    </a:lnTo>
                    <a:lnTo>
                      <a:pt x="756" y="93"/>
                    </a:lnTo>
                    <a:lnTo>
                      <a:pt x="801" y="96"/>
                    </a:lnTo>
                    <a:lnTo>
                      <a:pt x="845" y="99"/>
                    </a:lnTo>
                    <a:lnTo>
                      <a:pt x="885" y="103"/>
                    </a:lnTo>
                    <a:lnTo>
                      <a:pt x="923" y="106"/>
                    </a:lnTo>
                    <a:lnTo>
                      <a:pt x="959" y="109"/>
                    </a:lnTo>
                    <a:lnTo>
                      <a:pt x="991" y="112"/>
                    </a:lnTo>
                    <a:lnTo>
                      <a:pt x="1018" y="114"/>
                    </a:lnTo>
                    <a:lnTo>
                      <a:pt x="1043" y="117"/>
                    </a:lnTo>
                    <a:lnTo>
                      <a:pt x="1062" y="118"/>
                    </a:lnTo>
                    <a:lnTo>
                      <a:pt x="1077" y="120"/>
                    </a:lnTo>
                    <a:lnTo>
                      <a:pt x="1088" y="121"/>
                    </a:lnTo>
                    <a:lnTo>
                      <a:pt x="1158" y="106"/>
                    </a:lnTo>
                    <a:lnTo>
                      <a:pt x="1156" y="106"/>
                    </a:lnTo>
                    <a:lnTo>
                      <a:pt x="1149" y="105"/>
                    </a:lnTo>
                    <a:lnTo>
                      <a:pt x="1137" y="104"/>
                    </a:lnTo>
                    <a:lnTo>
                      <a:pt x="1122" y="102"/>
                    </a:lnTo>
                    <a:lnTo>
                      <a:pt x="1103" y="99"/>
                    </a:lnTo>
                    <a:lnTo>
                      <a:pt x="1080" y="97"/>
                    </a:lnTo>
                    <a:lnTo>
                      <a:pt x="1053" y="94"/>
                    </a:lnTo>
                    <a:lnTo>
                      <a:pt x="1023" y="90"/>
                    </a:lnTo>
                    <a:lnTo>
                      <a:pt x="991" y="86"/>
                    </a:lnTo>
                    <a:lnTo>
                      <a:pt x="956" y="82"/>
                    </a:lnTo>
                    <a:lnTo>
                      <a:pt x="918" y="78"/>
                    </a:lnTo>
                    <a:lnTo>
                      <a:pt x="879" y="73"/>
                    </a:lnTo>
                    <a:lnTo>
                      <a:pt x="838" y="68"/>
                    </a:lnTo>
                    <a:lnTo>
                      <a:pt x="795" y="64"/>
                    </a:lnTo>
                    <a:lnTo>
                      <a:pt x="750" y="58"/>
                    </a:lnTo>
                    <a:lnTo>
                      <a:pt x="704" y="53"/>
                    </a:lnTo>
                    <a:lnTo>
                      <a:pt x="658" y="49"/>
                    </a:lnTo>
                    <a:lnTo>
                      <a:pt x="609" y="43"/>
                    </a:lnTo>
                    <a:lnTo>
                      <a:pt x="562" y="38"/>
                    </a:lnTo>
                    <a:lnTo>
                      <a:pt x="514" y="34"/>
                    </a:lnTo>
                    <a:lnTo>
                      <a:pt x="465" y="29"/>
                    </a:lnTo>
                    <a:lnTo>
                      <a:pt x="418" y="25"/>
                    </a:lnTo>
                    <a:lnTo>
                      <a:pt x="371" y="21"/>
                    </a:lnTo>
                    <a:lnTo>
                      <a:pt x="324" y="17"/>
                    </a:lnTo>
                    <a:lnTo>
                      <a:pt x="279" y="13"/>
                    </a:lnTo>
                    <a:lnTo>
                      <a:pt x="235" y="10"/>
                    </a:lnTo>
                    <a:lnTo>
                      <a:pt x="192" y="7"/>
                    </a:lnTo>
                    <a:lnTo>
                      <a:pt x="151" y="5"/>
                    </a:lnTo>
                    <a:lnTo>
                      <a:pt x="112" y="3"/>
                    </a:lnTo>
                    <a:lnTo>
                      <a:pt x="75" y="2"/>
                    </a:lnTo>
                    <a:lnTo>
                      <a:pt x="40" y="0"/>
                    </a:lnTo>
                    <a:lnTo>
                      <a:pt x="9" y="0"/>
                    </a:lnTo>
                    <a:close/>
                  </a:path>
                </a:pathLst>
              </a:custGeom>
              <a:solidFill>
                <a:srgbClr val="AB008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7" name="Freeform 24"/>
              <p:cNvSpPr>
                <a:spLocks/>
              </p:cNvSpPr>
              <p:nvPr/>
            </p:nvSpPr>
            <p:spPr bwMode="auto">
              <a:xfrm rot="20813856" flipH="1">
                <a:off x="10088700" y="2438469"/>
                <a:ext cx="73933" cy="83175"/>
              </a:xfrm>
              <a:prstGeom prst="ellipse">
                <a:avLst/>
              </a:prstGeom>
              <a:solidFill>
                <a:srgbClr val="4B004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8" name="Freeform 237"/>
              <p:cNvSpPr>
                <a:spLocks/>
              </p:cNvSpPr>
              <p:nvPr/>
            </p:nvSpPr>
            <p:spPr bwMode="auto">
              <a:xfrm rot="20813856" flipH="1">
                <a:off x="9225313" y="1861087"/>
                <a:ext cx="2633871" cy="700056"/>
              </a:xfrm>
              <a:custGeom>
                <a:avLst/>
                <a:gdLst>
                  <a:gd name="T0" fmla="*/ 1424 w 2280"/>
                  <a:gd name="T1" fmla="*/ 315 h 605"/>
                  <a:gd name="T2" fmla="*/ 1008 w 2280"/>
                  <a:gd name="T3" fmla="*/ 287 h 605"/>
                  <a:gd name="T4" fmla="*/ 576 w 2280"/>
                  <a:gd name="T5" fmla="*/ 222 h 605"/>
                  <a:gd name="T6" fmla="*/ 202 w 2280"/>
                  <a:gd name="T7" fmla="*/ 173 h 605"/>
                  <a:gd name="T8" fmla="*/ 228 w 2280"/>
                  <a:gd name="T9" fmla="*/ 224 h 605"/>
                  <a:gd name="T10" fmla="*/ 62 w 2280"/>
                  <a:gd name="T11" fmla="*/ 264 h 605"/>
                  <a:gd name="T12" fmla="*/ 26 w 2280"/>
                  <a:gd name="T13" fmla="*/ 396 h 605"/>
                  <a:gd name="T14" fmla="*/ 241 w 2280"/>
                  <a:gd name="T15" fmla="*/ 516 h 605"/>
                  <a:gd name="T16" fmla="*/ 319 w 2280"/>
                  <a:gd name="T17" fmla="*/ 534 h 605"/>
                  <a:gd name="T18" fmla="*/ 397 w 2280"/>
                  <a:gd name="T19" fmla="*/ 590 h 605"/>
                  <a:gd name="T20" fmla="*/ 471 w 2280"/>
                  <a:gd name="T21" fmla="*/ 555 h 605"/>
                  <a:gd name="T22" fmla="*/ 1016 w 2280"/>
                  <a:gd name="T23" fmla="*/ 580 h 605"/>
                  <a:gd name="T24" fmla="*/ 1067 w 2280"/>
                  <a:gd name="T25" fmla="*/ 476 h 605"/>
                  <a:gd name="T26" fmla="*/ 945 w 2280"/>
                  <a:gd name="T27" fmla="*/ 492 h 605"/>
                  <a:gd name="T28" fmla="*/ 676 w 2280"/>
                  <a:gd name="T29" fmla="*/ 461 h 605"/>
                  <a:gd name="T30" fmla="*/ 910 w 2280"/>
                  <a:gd name="T31" fmla="*/ 428 h 605"/>
                  <a:gd name="T32" fmla="*/ 255 w 2280"/>
                  <a:gd name="T33" fmla="*/ 303 h 605"/>
                  <a:gd name="T34" fmla="*/ 202 w 2280"/>
                  <a:gd name="T35" fmla="*/ 364 h 605"/>
                  <a:gd name="T36" fmla="*/ 391 w 2280"/>
                  <a:gd name="T37" fmla="*/ 357 h 605"/>
                  <a:gd name="T38" fmla="*/ 183 w 2280"/>
                  <a:gd name="T39" fmla="*/ 318 h 605"/>
                  <a:gd name="T40" fmla="*/ 782 w 2280"/>
                  <a:gd name="T41" fmla="*/ 370 h 605"/>
                  <a:gd name="T42" fmla="*/ 798 w 2280"/>
                  <a:gd name="T43" fmla="*/ 417 h 605"/>
                  <a:gd name="T44" fmla="*/ 667 w 2280"/>
                  <a:gd name="T45" fmla="*/ 477 h 605"/>
                  <a:gd name="T46" fmla="*/ 1010 w 2280"/>
                  <a:gd name="T47" fmla="*/ 484 h 605"/>
                  <a:gd name="T48" fmla="*/ 992 w 2280"/>
                  <a:gd name="T49" fmla="*/ 549 h 605"/>
                  <a:gd name="T50" fmla="*/ 865 w 2280"/>
                  <a:gd name="T51" fmla="*/ 553 h 605"/>
                  <a:gd name="T52" fmla="*/ 447 w 2280"/>
                  <a:gd name="T53" fmla="*/ 569 h 605"/>
                  <a:gd name="T54" fmla="*/ 340 w 2280"/>
                  <a:gd name="T55" fmla="*/ 549 h 605"/>
                  <a:gd name="T56" fmla="*/ 255 w 2280"/>
                  <a:gd name="T57" fmla="*/ 575 h 605"/>
                  <a:gd name="T58" fmla="*/ 211 w 2280"/>
                  <a:gd name="T59" fmla="*/ 479 h 605"/>
                  <a:gd name="T60" fmla="*/ 22 w 2280"/>
                  <a:gd name="T61" fmla="*/ 320 h 605"/>
                  <a:gd name="T62" fmla="*/ 154 w 2280"/>
                  <a:gd name="T63" fmla="*/ 239 h 605"/>
                  <a:gd name="T64" fmla="*/ 220 w 2280"/>
                  <a:gd name="T65" fmla="*/ 195 h 605"/>
                  <a:gd name="T66" fmla="*/ 460 w 2280"/>
                  <a:gd name="T67" fmla="*/ 214 h 605"/>
                  <a:gd name="T68" fmla="*/ 824 w 2280"/>
                  <a:gd name="T69" fmla="*/ 285 h 605"/>
                  <a:gd name="T70" fmla="*/ 1388 w 2280"/>
                  <a:gd name="T71" fmla="*/ 347 h 605"/>
                  <a:gd name="T72" fmla="*/ 1595 w 2280"/>
                  <a:gd name="T73" fmla="*/ 142 h 605"/>
                  <a:gd name="T74" fmla="*/ 1715 w 2280"/>
                  <a:gd name="T75" fmla="*/ 262 h 605"/>
                  <a:gd name="T76" fmla="*/ 2105 w 2280"/>
                  <a:gd name="T77" fmla="*/ 322 h 605"/>
                  <a:gd name="T78" fmla="*/ 1999 w 2280"/>
                  <a:gd name="T79" fmla="*/ 355 h 605"/>
                  <a:gd name="T80" fmla="*/ 1869 w 2280"/>
                  <a:gd name="T81" fmla="*/ 402 h 605"/>
                  <a:gd name="T82" fmla="*/ 1719 w 2280"/>
                  <a:gd name="T83" fmla="*/ 448 h 605"/>
                  <a:gd name="T84" fmla="*/ 1593 w 2280"/>
                  <a:gd name="T85" fmla="*/ 505 h 605"/>
                  <a:gd name="T86" fmla="*/ 1297 w 2280"/>
                  <a:gd name="T87" fmla="*/ 565 h 605"/>
                  <a:gd name="T88" fmla="*/ 1203 w 2280"/>
                  <a:gd name="T89" fmla="*/ 546 h 605"/>
                  <a:gd name="T90" fmla="*/ 1152 w 2280"/>
                  <a:gd name="T91" fmla="*/ 468 h 605"/>
                  <a:gd name="T92" fmla="*/ 1244 w 2280"/>
                  <a:gd name="T93" fmla="*/ 424 h 605"/>
                  <a:gd name="T94" fmla="*/ 1700 w 2280"/>
                  <a:gd name="T95" fmla="*/ 389 h 605"/>
                  <a:gd name="T96" fmla="*/ 1695 w 2280"/>
                  <a:gd name="T97" fmla="*/ 411 h 605"/>
                  <a:gd name="T98" fmla="*/ 1562 w 2280"/>
                  <a:gd name="T99" fmla="*/ 470 h 605"/>
                  <a:gd name="T100" fmla="*/ 1330 w 2280"/>
                  <a:gd name="T101" fmla="*/ 453 h 605"/>
                  <a:gd name="T102" fmla="*/ 1521 w 2280"/>
                  <a:gd name="T103" fmla="*/ 489 h 605"/>
                  <a:gd name="T104" fmla="*/ 1612 w 2280"/>
                  <a:gd name="T105" fmla="*/ 429 h 605"/>
                  <a:gd name="T106" fmla="*/ 1677 w 2280"/>
                  <a:gd name="T107" fmla="*/ 364 h 605"/>
                  <a:gd name="T108" fmla="*/ 1138 w 2280"/>
                  <a:gd name="T109" fmla="*/ 482 h 605"/>
                  <a:gd name="T110" fmla="*/ 1189 w 2280"/>
                  <a:gd name="T111" fmla="*/ 534 h 605"/>
                  <a:gd name="T112" fmla="*/ 1311 w 2280"/>
                  <a:gd name="T113" fmla="*/ 580 h 605"/>
                  <a:gd name="T114" fmla="*/ 1628 w 2280"/>
                  <a:gd name="T115" fmla="*/ 515 h 605"/>
                  <a:gd name="T116" fmla="*/ 1740 w 2280"/>
                  <a:gd name="T117" fmla="*/ 474 h 605"/>
                  <a:gd name="T118" fmla="*/ 1914 w 2280"/>
                  <a:gd name="T119" fmla="*/ 415 h 605"/>
                  <a:gd name="T120" fmla="*/ 2045 w 2280"/>
                  <a:gd name="T121" fmla="*/ 368 h 605"/>
                  <a:gd name="T122" fmla="*/ 2068 w 2280"/>
                  <a:gd name="T123" fmla="*/ 307 h 605"/>
                  <a:gd name="T124" fmla="*/ 1802 w 2280"/>
                  <a:gd name="T125" fmla="*/ 23 h 6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280" h="605">
                    <a:moveTo>
                      <a:pt x="1686" y="3"/>
                    </a:moveTo>
                    <a:lnTo>
                      <a:pt x="1682" y="8"/>
                    </a:lnTo>
                    <a:lnTo>
                      <a:pt x="1673" y="18"/>
                    </a:lnTo>
                    <a:lnTo>
                      <a:pt x="1661" y="32"/>
                    </a:lnTo>
                    <a:lnTo>
                      <a:pt x="1646" y="50"/>
                    </a:lnTo>
                    <a:lnTo>
                      <a:pt x="1629" y="70"/>
                    </a:lnTo>
                    <a:lnTo>
                      <a:pt x="1609" y="93"/>
                    </a:lnTo>
                    <a:lnTo>
                      <a:pt x="1590" y="118"/>
                    </a:lnTo>
                    <a:lnTo>
                      <a:pt x="1568" y="143"/>
                    </a:lnTo>
                    <a:lnTo>
                      <a:pt x="1547" y="168"/>
                    </a:lnTo>
                    <a:lnTo>
                      <a:pt x="1525" y="194"/>
                    </a:lnTo>
                    <a:lnTo>
                      <a:pt x="1506" y="218"/>
                    </a:lnTo>
                    <a:lnTo>
                      <a:pt x="1487" y="240"/>
                    </a:lnTo>
                    <a:lnTo>
                      <a:pt x="1471" y="259"/>
                    </a:lnTo>
                    <a:lnTo>
                      <a:pt x="1457" y="275"/>
                    </a:lnTo>
                    <a:lnTo>
                      <a:pt x="1447" y="287"/>
                    </a:lnTo>
                    <a:lnTo>
                      <a:pt x="1441" y="295"/>
                    </a:lnTo>
                    <a:lnTo>
                      <a:pt x="1436" y="302"/>
                    </a:lnTo>
                    <a:lnTo>
                      <a:pt x="1430" y="309"/>
                    </a:lnTo>
                    <a:lnTo>
                      <a:pt x="1424" y="315"/>
                    </a:lnTo>
                    <a:lnTo>
                      <a:pt x="1418" y="319"/>
                    </a:lnTo>
                    <a:lnTo>
                      <a:pt x="1414" y="323"/>
                    </a:lnTo>
                    <a:lnTo>
                      <a:pt x="1409" y="326"/>
                    </a:lnTo>
                    <a:lnTo>
                      <a:pt x="1406" y="328"/>
                    </a:lnTo>
                    <a:lnTo>
                      <a:pt x="1403" y="330"/>
                    </a:lnTo>
                    <a:lnTo>
                      <a:pt x="1387" y="328"/>
                    </a:lnTo>
                    <a:lnTo>
                      <a:pt x="1369" y="326"/>
                    </a:lnTo>
                    <a:lnTo>
                      <a:pt x="1349" y="324"/>
                    </a:lnTo>
                    <a:lnTo>
                      <a:pt x="1326" y="322"/>
                    </a:lnTo>
                    <a:lnTo>
                      <a:pt x="1303" y="319"/>
                    </a:lnTo>
                    <a:lnTo>
                      <a:pt x="1278" y="317"/>
                    </a:lnTo>
                    <a:lnTo>
                      <a:pt x="1250" y="313"/>
                    </a:lnTo>
                    <a:lnTo>
                      <a:pt x="1222" y="311"/>
                    </a:lnTo>
                    <a:lnTo>
                      <a:pt x="1194" y="308"/>
                    </a:lnTo>
                    <a:lnTo>
                      <a:pt x="1164" y="304"/>
                    </a:lnTo>
                    <a:lnTo>
                      <a:pt x="1134" y="301"/>
                    </a:lnTo>
                    <a:lnTo>
                      <a:pt x="1103" y="297"/>
                    </a:lnTo>
                    <a:lnTo>
                      <a:pt x="1071" y="294"/>
                    </a:lnTo>
                    <a:lnTo>
                      <a:pt x="1040" y="290"/>
                    </a:lnTo>
                    <a:lnTo>
                      <a:pt x="1008" y="287"/>
                    </a:lnTo>
                    <a:lnTo>
                      <a:pt x="977" y="283"/>
                    </a:lnTo>
                    <a:lnTo>
                      <a:pt x="947" y="280"/>
                    </a:lnTo>
                    <a:lnTo>
                      <a:pt x="917" y="277"/>
                    </a:lnTo>
                    <a:lnTo>
                      <a:pt x="887" y="273"/>
                    </a:lnTo>
                    <a:lnTo>
                      <a:pt x="858" y="270"/>
                    </a:lnTo>
                    <a:lnTo>
                      <a:pt x="832" y="266"/>
                    </a:lnTo>
                    <a:lnTo>
                      <a:pt x="805" y="263"/>
                    </a:lnTo>
                    <a:lnTo>
                      <a:pt x="781" y="260"/>
                    </a:lnTo>
                    <a:lnTo>
                      <a:pt x="758" y="258"/>
                    </a:lnTo>
                    <a:lnTo>
                      <a:pt x="737" y="255"/>
                    </a:lnTo>
                    <a:lnTo>
                      <a:pt x="718" y="252"/>
                    </a:lnTo>
                    <a:lnTo>
                      <a:pt x="700" y="251"/>
                    </a:lnTo>
                    <a:lnTo>
                      <a:pt x="685" y="249"/>
                    </a:lnTo>
                    <a:lnTo>
                      <a:pt x="674" y="248"/>
                    </a:lnTo>
                    <a:lnTo>
                      <a:pt x="665" y="247"/>
                    </a:lnTo>
                    <a:lnTo>
                      <a:pt x="658" y="245"/>
                    </a:lnTo>
                    <a:lnTo>
                      <a:pt x="654" y="245"/>
                    </a:lnTo>
                    <a:lnTo>
                      <a:pt x="629" y="237"/>
                    </a:lnTo>
                    <a:lnTo>
                      <a:pt x="603" y="229"/>
                    </a:lnTo>
                    <a:lnTo>
                      <a:pt x="576" y="222"/>
                    </a:lnTo>
                    <a:lnTo>
                      <a:pt x="547" y="214"/>
                    </a:lnTo>
                    <a:lnTo>
                      <a:pt x="520" y="209"/>
                    </a:lnTo>
                    <a:lnTo>
                      <a:pt x="491" y="202"/>
                    </a:lnTo>
                    <a:lnTo>
                      <a:pt x="462" y="196"/>
                    </a:lnTo>
                    <a:lnTo>
                      <a:pt x="434" y="191"/>
                    </a:lnTo>
                    <a:lnTo>
                      <a:pt x="407" y="186"/>
                    </a:lnTo>
                    <a:lnTo>
                      <a:pt x="380" y="182"/>
                    </a:lnTo>
                    <a:lnTo>
                      <a:pt x="354" y="179"/>
                    </a:lnTo>
                    <a:lnTo>
                      <a:pt x="329" y="175"/>
                    </a:lnTo>
                    <a:lnTo>
                      <a:pt x="308" y="173"/>
                    </a:lnTo>
                    <a:lnTo>
                      <a:pt x="287" y="171"/>
                    </a:lnTo>
                    <a:lnTo>
                      <a:pt x="267" y="169"/>
                    </a:lnTo>
                    <a:lnTo>
                      <a:pt x="251" y="168"/>
                    </a:lnTo>
                    <a:lnTo>
                      <a:pt x="248" y="168"/>
                    </a:lnTo>
                    <a:lnTo>
                      <a:pt x="244" y="168"/>
                    </a:lnTo>
                    <a:lnTo>
                      <a:pt x="241" y="168"/>
                    </a:lnTo>
                    <a:lnTo>
                      <a:pt x="237" y="168"/>
                    </a:lnTo>
                    <a:lnTo>
                      <a:pt x="225" y="169"/>
                    </a:lnTo>
                    <a:lnTo>
                      <a:pt x="213" y="171"/>
                    </a:lnTo>
                    <a:lnTo>
                      <a:pt x="202" y="173"/>
                    </a:lnTo>
                    <a:lnTo>
                      <a:pt x="190" y="175"/>
                    </a:lnTo>
                    <a:lnTo>
                      <a:pt x="180" y="179"/>
                    </a:lnTo>
                    <a:lnTo>
                      <a:pt x="171" y="182"/>
                    </a:lnTo>
                    <a:lnTo>
                      <a:pt x="161" y="187"/>
                    </a:lnTo>
                    <a:lnTo>
                      <a:pt x="152" y="192"/>
                    </a:lnTo>
                    <a:lnTo>
                      <a:pt x="134" y="205"/>
                    </a:lnTo>
                    <a:lnTo>
                      <a:pt x="172" y="212"/>
                    </a:lnTo>
                    <a:lnTo>
                      <a:pt x="173" y="212"/>
                    </a:lnTo>
                    <a:lnTo>
                      <a:pt x="182" y="211"/>
                    </a:lnTo>
                    <a:lnTo>
                      <a:pt x="191" y="211"/>
                    </a:lnTo>
                    <a:lnTo>
                      <a:pt x="199" y="211"/>
                    </a:lnTo>
                    <a:lnTo>
                      <a:pt x="206" y="211"/>
                    </a:lnTo>
                    <a:lnTo>
                      <a:pt x="212" y="212"/>
                    </a:lnTo>
                    <a:lnTo>
                      <a:pt x="218" y="212"/>
                    </a:lnTo>
                    <a:lnTo>
                      <a:pt x="222" y="213"/>
                    </a:lnTo>
                    <a:lnTo>
                      <a:pt x="226" y="214"/>
                    </a:lnTo>
                    <a:lnTo>
                      <a:pt x="227" y="217"/>
                    </a:lnTo>
                    <a:lnTo>
                      <a:pt x="227" y="219"/>
                    </a:lnTo>
                    <a:lnTo>
                      <a:pt x="227" y="220"/>
                    </a:lnTo>
                    <a:lnTo>
                      <a:pt x="228" y="224"/>
                    </a:lnTo>
                    <a:lnTo>
                      <a:pt x="221" y="222"/>
                    </a:lnTo>
                    <a:lnTo>
                      <a:pt x="213" y="221"/>
                    </a:lnTo>
                    <a:lnTo>
                      <a:pt x="206" y="221"/>
                    </a:lnTo>
                    <a:lnTo>
                      <a:pt x="199" y="220"/>
                    </a:lnTo>
                    <a:lnTo>
                      <a:pt x="191" y="220"/>
                    </a:lnTo>
                    <a:lnTo>
                      <a:pt x="184" y="220"/>
                    </a:lnTo>
                    <a:lnTo>
                      <a:pt x="176" y="220"/>
                    </a:lnTo>
                    <a:lnTo>
                      <a:pt x="169" y="220"/>
                    </a:lnTo>
                    <a:lnTo>
                      <a:pt x="153" y="220"/>
                    </a:lnTo>
                    <a:lnTo>
                      <a:pt x="121" y="222"/>
                    </a:lnTo>
                    <a:lnTo>
                      <a:pt x="119" y="225"/>
                    </a:lnTo>
                    <a:lnTo>
                      <a:pt x="114" y="229"/>
                    </a:lnTo>
                    <a:lnTo>
                      <a:pt x="107" y="234"/>
                    </a:lnTo>
                    <a:lnTo>
                      <a:pt x="98" y="240"/>
                    </a:lnTo>
                    <a:lnTo>
                      <a:pt x="88" y="247"/>
                    </a:lnTo>
                    <a:lnTo>
                      <a:pt x="83" y="250"/>
                    </a:lnTo>
                    <a:lnTo>
                      <a:pt x="78" y="254"/>
                    </a:lnTo>
                    <a:lnTo>
                      <a:pt x="73" y="257"/>
                    </a:lnTo>
                    <a:lnTo>
                      <a:pt x="68" y="260"/>
                    </a:lnTo>
                    <a:lnTo>
                      <a:pt x="62" y="264"/>
                    </a:lnTo>
                    <a:lnTo>
                      <a:pt x="58" y="267"/>
                    </a:lnTo>
                    <a:lnTo>
                      <a:pt x="52" y="271"/>
                    </a:lnTo>
                    <a:lnTo>
                      <a:pt x="47" y="274"/>
                    </a:lnTo>
                    <a:lnTo>
                      <a:pt x="40" y="280"/>
                    </a:lnTo>
                    <a:lnTo>
                      <a:pt x="33" y="285"/>
                    </a:lnTo>
                    <a:lnTo>
                      <a:pt x="28" y="289"/>
                    </a:lnTo>
                    <a:lnTo>
                      <a:pt x="21" y="294"/>
                    </a:lnTo>
                    <a:lnTo>
                      <a:pt x="15" y="300"/>
                    </a:lnTo>
                    <a:lnTo>
                      <a:pt x="9" y="305"/>
                    </a:lnTo>
                    <a:lnTo>
                      <a:pt x="6" y="312"/>
                    </a:lnTo>
                    <a:lnTo>
                      <a:pt x="2" y="319"/>
                    </a:lnTo>
                    <a:lnTo>
                      <a:pt x="0" y="327"/>
                    </a:lnTo>
                    <a:lnTo>
                      <a:pt x="0" y="330"/>
                    </a:lnTo>
                    <a:lnTo>
                      <a:pt x="0" y="332"/>
                    </a:lnTo>
                    <a:lnTo>
                      <a:pt x="0" y="333"/>
                    </a:lnTo>
                    <a:lnTo>
                      <a:pt x="0" y="335"/>
                    </a:lnTo>
                    <a:lnTo>
                      <a:pt x="1" y="349"/>
                    </a:lnTo>
                    <a:lnTo>
                      <a:pt x="7" y="364"/>
                    </a:lnTo>
                    <a:lnTo>
                      <a:pt x="15" y="379"/>
                    </a:lnTo>
                    <a:lnTo>
                      <a:pt x="26" y="396"/>
                    </a:lnTo>
                    <a:lnTo>
                      <a:pt x="37" y="408"/>
                    </a:lnTo>
                    <a:lnTo>
                      <a:pt x="48" y="419"/>
                    </a:lnTo>
                    <a:lnTo>
                      <a:pt x="61" y="430"/>
                    </a:lnTo>
                    <a:lnTo>
                      <a:pt x="76" y="439"/>
                    </a:lnTo>
                    <a:lnTo>
                      <a:pt x="91" y="448"/>
                    </a:lnTo>
                    <a:lnTo>
                      <a:pt x="107" y="457"/>
                    </a:lnTo>
                    <a:lnTo>
                      <a:pt x="123" y="466"/>
                    </a:lnTo>
                    <a:lnTo>
                      <a:pt x="139" y="472"/>
                    </a:lnTo>
                    <a:lnTo>
                      <a:pt x="156" y="479"/>
                    </a:lnTo>
                    <a:lnTo>
                      <a:pt x="172" y="486"/>
                    </a:lnTo>
                    <a:lnTo>
                      <a:pt x="187" y="491"/>
                    </a:lnTo>
                    <a:lnTo>
                      <a:pt x="200" y="497"/>
                    </a:lnTo>
                    <a:lnTo>
                      <a:pt x="213" y="500"/>
                    </a:lnTo>
                    <a:lnTo>
                      <a:pt x="224" y="504"/>
                    </a:lnTo>
                    <a:lnTo>
                      <a:pt x="233" y="506"/>
                    </a:lnTo>
                    <a:lnTo>
                      <a:pt x="240" y="508"/>
                    </a:lnTo>
                    <a:lnTo>
                      <a:pt x="241" y="511"/>
                    </a:lnTo>
                    <a:lnTo>
                      <a:pt x="241" y="512"/>
                    </a:lnTo>
                    <a:lnTo>
                      <a:pt x="241" y="514"/>
                    </a:lnTo>
                    <a:lnTo>
                      <a:pt x="241" y="516"/>
                    </a:lnTo>
                    <a:lnTo>
                      <a:pt x="237" y="521"/>
                    </a:lnTo>
                    <a:lnTo>
                      <a:pt x="232" y="530"/>
                    </a:lnTo>
                    <a:lnTo>
                      <a:pt x="222" y="543"/>
                    </a:lnTo>
                    <a:lnTo>
                      <a:pt x="213" y="557"/>
                    </a:lnTo>
                    <a:lnTo>
                      <a:pt x="204" y="570"/>
                    </a:lnTo>
                    <a:lnTo>
                      <a:pt x="196" y="582"/>
                    </a:lnTo>
                    <a:lnTo>
                      <a:pt x="190" y="590"/>
                    </a:lnTo>
                    <a:lnTo>
                      <a:pt x="188" y="593"/>
                    </a:lnTo>
                    <a:lnTo>
                      <a:pt x="275" y="595"/>
                    </a:lnTo>
                    <a:lnTo>
                      <a:pt x="274" y="584"/>
                    </a:lnTo>
                    <a:lnTo>
                      <a:pt x="273" y="573"/>
                    </a:lnTo>
                    <a:lnTo>
                      <a:pt x="274" y="557"/>
                    </a:lnTo>
                    <a:lnTo>
                      <a:pt x="278" y="540"/>
                    </a:lnTo>
                    <a:lnTo>
                      <a:pt x="286" y="528"/>
                    </a:lnTo>
                    <a:lnTo>
                      <a:pt x="289" y="524"/>
                    </a:lnTo>
                    <a:lnTo>
                      <a:pt x="293" y="523"/>
                    </a:lnTo>
                    <a:lnTo>
                      <a:pt x="298" y="522"/>
                    </a:lnTo>
                    <a:lnTo>
                      <a:pt x="303" y="522"/>
                    </a:lnTo>
                    <a:lnTo>
                      <a:pt x="313" y="525"/>
                    </a:lnTo>
                    <a:lnTo>
                      <a:pt x="319" y="534"/>
                    </a:lnTo>
                    <a:lnTo>
                      <a:pt x="321" y="543"/>
                    </a:lnTo>
                    <a:lnTo>
                      <a:pt x="321" y="549"/>
                    </a:lnTo>
                    <a:lnTo>
                      <a:pt x="320" y="560"/>
                    </a:lnTo>
                    <a:lnTo>
                      <a:pt x="316" y="569"/>
                    </a:lnTo>
                    <a:lnTo>
                      <a:pt x="309" y="577"/>
                    </a:lnTo>
                    <a:lnTo>
                      <a:pt x="301" y="581"/>
                    </a:lnTo>
                    <a:lnTo>
                      <a:pt x="291" y="581"/>
                    </a:lnTo>
                    <a:lnTo>
                      <a:pt x="291" y="590"/>
                    </a:lnTo>
                    <a:lnTo>
                      <a:pt x="293" y="595"/>
                    </a:lnTo>
                    <a:lnTo>
                      <a:pt x="296" y="598"/>
                    </a:lnTo>
                    <a:lnTo>
                      <a:pt x="302" y="599"/>
                    </a:lnTo>
                    <a:lnTo>
                      <a:pt x="309" y="600"/>
                    </a:lnTo>
                    <a:lnTo>
                      <a:pt x="331" y="603"/>
                    </a:lnTo>
                    <a:lnTo>
                      <a:pt x="362" y="605"/>
                    </a:lnTo>
                    <a:lnTo>
                      <a:pt x="362" y="605"/>
                    </a:lnTo>
                    <a:lnTo>
                      <a:pt x="373" y="603"/>
                    </a:lnTo>
                    <a:lnTo>
                      <a:pt x="381" y="599"/>
                    </a:lnTo>
                    <a:lnTo>
                      <a:pt x="388" y="595"/>
                    </a:lnTo>
                    <a:lnTo>
                      <a:pt x="393" y="590"/>
                    </a:lnTo>
                    <a:lnTo>
                      <a:pt x="397" y="590"/>
                    </a:lnTo>
                    <a:lnTo>
                      <a:pt x="403" y="590"/>
                    </a:lnTo>
                    <a:lnTo>
                      <a:pt x="410" y="590"/>
                    </a:lnTo>
                    <a:lnTo>
                      <a:pt x="417" y="590"/>
                    </a:lnTo>
                    <a:lnTo>
                      <a:pt x="424" y="590"/>
                    </a:lnTo>
                    <a:lnTo>
                      <a:pt x="430" y="590"/>
                    </a:lnTo>
                    <a:lnTo>
                      <a:pt x="434" y="590"/>
                    </a:lnTo>
                    <a:lnTo>
                      <a:pt x="435" y="590"/>
                    </a:lnTo>
                    <a:lnTo>
                      <a:pt x="444" y="589"/>
                    </a:lnTo>
                    <a:lnTo>
                      <a:pt x="452" y="588"/>
                    </a:lnTo>
                    <a:lnTo>
                      <a:pt x="457" y="584"/>
                    </a:lnTo>
                    <a:lnTo>
                      <a:pt x="463" y="580"/>
                    </a:lnTo>
                    <a:lnTo>
                      <a:pt x="468" y="573"/>
                    </a:lnTo>
                    <a:lnTo>
                      <a:pt x="470" y="567"/>
                    </a:lnTo>
                    <a:lnTo>
                      <a:pt x="471" y="561"/>
                    </a:lnTo>
                    <a:lnTo>
                      <a:pt x="471" y="558"/>
                    </a:lnTo>
                    <a:lnTo>
                      <a:pt x="471" y="558"/>
                    </a:lnTo>
                    <a:lnTo>
                      <a:pt x="471" y="557"/>
                    </a:lnTo>
                    <a:lnTo>
                      <a:pt x="471" y="557"/>
                    </a:lnTo>
                    <a:lnTo>
                      <a:pt x="471" y="557"/>
                    </a:lnTo>
                    <a:lnTo>
                      <a:pt x="471" y="555"/>
                    </a:lnTo>
                    <a:lnTo>
                      <a:pt x="471" y="554"/>
                    </a:lnTo>
                    <a:lnTo>
                      <a:pt x="470" y="553"/>
                    </a:lnTo>
                    <a:lnTo>
                      <a:pt x="469" y="550"/>
                    </a:lnTo>
                    <a:lnTo>
                      <a:pt x="468" y="547"/>
                    </a:lnTo>
                    <a:lnTo>
                      <a:pt x="477" y="544"/>
                    </a:lnTo>
                    <a:lnTo>
                      <a:pt x="486" y="540"/>
                    </a:lnTo>
                    <a:lnTo>
                      <a:pt x="494" y="538"/>
                    </a:lnTo>
                    <a:lnTo>
                      <a:pt x="499" y="536"/>
                    </a:lnTo>
                    <a:lnTo>
                      <a:pt x="539" y="542"/>
                    </a:lnTo>
                    <a:lnTo>
                      <a:pt x="583" y="547"/>
                    </a:lnTo>
                    <a:lnTo>
                      <a:pt x="629" y="553"/>
                    </a:lnTo>
                    <a:lnTo>
                      <a:pt x="676" y="558"/>
                    </a:lnTo>
                    <a:lnTo>
                      <a:pt x="725" y="562"/>
                    </a:lnTo>
                    <a:lnTo>
                      <a:pt x="773" y="566"/>
                    </a:lnTo>
                    <a:lnTo>
                      <a:pt x="820" y="569"/>
                    </a:lnTo>
                    <a:lnTo>
                      <a:pt x="865" y="572"/>
                    </a:lnTo>
                    <a:lnTo>
                      <a:pt x="909" y="574"/>
                    </a:lnTo>
                    <a:lnTo>
                      <a:pt x="949" y="576"/>
                    </a:lnTo>
                    <a:lnTo>
                      <a:pt x="985" y="578"/>
                    </a:lnTo>
                    <a:lnTo>
                      <a:pt x="1016" y="580"/>
                    </a:lnTo>
                    <a:lnTo>
                      <a:pt x="1043" y="581"/>
                    </a:lnTo>
                    <a:lnTo>
                      <a:pt x="1062" y="582"/>
                    </a:lnTo>
                    <a:lnTo>
                      <a:pt x="1075" y="582"/>
                    </a:lnTo>
                    <a:lnTo>
                      <a:pt x="1080" y="582"/>
                    </a:lnTo>
                    <a:lnTo>
                      <a:pt x="1094" y="582"/>
                    </a:lnTo>
                    <a:lnTo>
                      <a:pt x="1078" y="545"/>
                    </a:lnTo>
                    <a:lnTo>
                      <a:pt x="1076" y="545"/>
                    </a:lnTo>
                    <a:lnTo>
                      <a:pt x="1068" y="543"/>
                    </a:lnTo>
                    <a:lnTo>
                      <a:pt x="1059" y="542"/>
                    </a:lnTo>
                    <a:lnTo>
                      <a:pt x="1050" y="540"/>
                    </a:lnTo>
                    <a:lnTo>
                      <a:pt x="1054" y="536"/>
                    </a:lnTo>
                    <a:lnTo>
                      <a:pt x="1058" y="530"/>
                    </a:lnTo>
                    <a:lnTo>
                      <a:pt x="1062" y="524"/>
                    </a:lnTo>
                    <a:lnTo>
                      <a:pt x="1066" y="517"/>
                    </a:lnTo>
                    <a:lnTo>
                      <a:pt x="1067" y="512"/>
                    </a:lnTo>
                    <a:lnTo>
                      <a:pt x="1068" y="507"/>
                    </a:lnTo>
                    <a:lnTo>
                      <a:pt x="1069" y="501"/>
                    </a:lnTo>
                    <a:lnTo>
                      <a:pt x="1069" y="496"/>
                    </a:lnTo>
                    <a:lnTo>
                      <a:pt x="1068" y="486"/>
                    </a:lnTo>
                    <a:lnTo>
                      <a:pt x="1067" y="476"/>
                    </a:lnTo>
                    <a:lnTo>
                      <a:pt x="1063" y="466"/>
                    </a:lnTo>
                    <a:lnTo>
                      <a:pt x="1058" y="454"/>
                    </a:lnTo>
                    <a:lnTo>
                      <a:pt x="1056" y="452"/>
                    </a:lnTo>
                    <a:lnTo>
                      <a:pt x="1054" y="451"/>
                    </a:lnTo>
                    <a:lnTo>
                      <a:pt x="1053" y="449"/>
                    </a:lnTo>
                    <a:lnTo>
                      <a:pt x="1051" y="448"/>
                    </a:lnTo>
                    <a:lnTo>
                      <a:pt x="1046" y="446"/>
                    </a:lnTo>
                    <a:lnTo>
                      <a:pt x="1040" y="444"/>
                    </a:lnTo>
                    <a:lnTo>
                      <a:pt x="1035" y="443"/>
                    </a:lnTo>
                    <a:lnTo>
                      <a:pt x="1028" y="443"/>
                    </a:lnTo>
                    <a:lnTo>
                      <a:pt x="1020" y="444"/>
                    </a:lnTo>
                    <a:lnTo>
                      <a:pt x="1013" y="446"/>
                    </a:lnTo>
                    <a:lnTo>
                      <a:pt x="1005" y="453"/>
                    </a:lnTo>
                    <a:lnTo>
                      <a:pt x="998" y="461"/>
                    </a:lnTo>
                    <a:lnTo>
                      <a:pt x="993" y="474"/>
                    </a:lnTo>
                    <a:lnTo>
                      <a:pt x="991" y="487"/>
                    </a:lnTo>
                    <a:lnTo>
                      <a:pt x="984" y="489"/>
                    </a:lnTo>
                    <a:lnTo>
                      <a:pt x="972" y="490"/>
                    </a:lnTo>
                    <a:lnTo>
                      <a:pt x="959" y="491"/>
                    </a:lnTo>
                    <a:lnTo>
                      <a:pt x="945" y="492"/>
                    </a:lnTo>
                    <a:lnTo>
                      <a:pt x="931" y="493"/>
                    </a:lnTo>
                    <a:lnTo>
                      <a:pt x="918" y="494"/>
                    </a:lnTo>
                    <a:lnTo>
                      <a:pt x="910" y="496"/>
                    </a:lnTo>
                    <a:lnTo>
                      <a:pt x="907" y="496"/>
                    </a:lnTo>
                    <a:lnTo>
                      <a:pt x="904" y="496"/>
                    </a:lnTo>
                    <a:lnTo>
                      <a:pt x="897" y="496"/>
                    </a:lnTo>
                    <a:lnTo>
                      <a:pt x="888" y="496"/>
                    </a:lnTo>
                    <a:lnTo>
                      <a:pt x="877" y="494"/>
                    </a:lnTo>
                    <a:lnTo>
                      <a:pt x="863" y="494"/>
                    </a:lnTo>
                    <a:lnTo>
                      <a:pt x="847" y="493"/>
                    </a:lnTo>
                    <a:lnTo>
                      <a:pt x="830" y="492"/>
                    </a:lnTo>
                    <a:lnTo>
                      <a:pt x="812" y="491"/>
                    </a:lnTo>
                    <a:lnTo>
                      <a:pt x="793" y="489"/>
                    </a:lnTo>
                    <a:lnTo>
                      <a:pt x="774" y="486"/>
                    </a:lnTo>
                    <a:lnTo>
                      <a:pt x="755" y="484"/>
                    </a:lnTo>
                    <a:lnTo>
                      <a:pt x="736" y="481"/>
                    </a:lnTo>
                    <a:lnTo>
                      <a:pt x="719" y="477"/>
                    </a:lnTo>
                    <a:lnTo>
                      <a:pt x="703" y="472"/>
                    </a:lnTo>
                    <a:lnTo>
                      <a:pt x="689" y="467"/>
                    </a:lnTo>
                    <a:lnTo>
                      <a:pt x="676" y="461"/>
                    </a:lnTo>
                    <a:lnTo>
                      <a:pt x="671" y="457"/>
                    </a:lnTo>
                    <a:lnTo>
                      <a:pt x="666" y="455"/>
                    </a:lnTo>
                    <a:lnTo>
                      <a:pt x="664" y="453"/>
                    </a:lnTo>
                    <a:lnTo>
                      <a:pt x="662" y="452"/>
                    </a:lnTo>
                    <a:lnTo>
                      <a:pt x="667" y="449"/>
                    </a:lnTo>
                    <a:lnTo>
                      <a:pt x="674" y="447"/>
                    </a:lnTo>
                    <a:lnTo>
                      <a:pt x="683" y="445"/>
                    </a:lnTo>
                    <a:lnTo>
                      <a:pt x="695" y="443"/>
                    </a:lnTo>
                    <a:lnTo>
                      <a:pt x="707" y="440"/>
                    </a:lnTo>
                    <a:lnTo>
                      <a:pt x="721" y="439"/>
                    </a:lnTo>
                    <a:lnTo>
                      <a:pt x="735" y="438"/>
                    </a:lnTo>
                    <a:lnTo>
                      <a:pt x="750" y="438"/>
                    </a:lnTo>
                    <a:lnTo>
                      <a:pt x="758" y="438"/>
                    </a:lnTo>
                    <a:lnTo>
                      <a:pt x="771" y="437"/>
                    </a:lnTo>
                    <a:lnTo>
                      <a:pt x="788" y="436"/>
                    </a:lnTo>
                    <a:lnTo>
                      <a:pt x="808" y="434"/>
                    </a:lnTo>
                    <a:lnTo>
                      <a:pt x="832" y="433"/>
                    </a:lnTo>
                    <a:lnTo>
                      <a:pt x="857" y="432"/>
                    </a:lnTo>
                    <a:lnTo>
                      <a:pt x="884" y="430"/>
                    </a:lnTo>
                    <a:lnTo>
                      <a:pt x="910" y="428"/>
                    </a:lnTo>
                    <a:lnTo>
                      <a:pt x="938" y="426"/>
                    </a:lnTo>
                    <a:lnTo>
                      <a:pt x="964" y="424"/>
                    </a:lnTo>
                    <a:lnTo>
                      <a:pt x="988" y="423"/>
                    </a:lnTo>
                    <a:lnTo>
                      <a:pt x="1010" y="421"/>
                    </a:lnTo>
                    <a:lnTo>
                      <a:pt x="1029" y="419"/>
                    </a:lnTo>
                    <a:lnTo>
                      <a:pt x="1045" y="418"/>
                    </a:lnTo>
                    <a:lnTo>
                      <a:pt x="1055" y="417"/>
                    </a:lnTo>
                    <a:lnTo>
                      <a:pt x="1060" y="417"/>
                    </a:lnTo>
                    <a:lnTo>
                      <a:pt x="1069" y="416"/>
                    </a:lnTo>
                    <a:lnTo>
                      <a:pt x="1069" y="384"/>
                    </a:lnTo>
                    <a:lnTo>
                      <a:pt x="537" y="324"/>
                    </a:lnTo>
                    <a:lnTo>
                      <a:pt x="520" y="323"/>
                    </a:lnTo>
                    <a:lnTo>
                      <a:pt x="498" y="320"/>
                    </a:lnTo>
                    <a:lnTo>
                      <a:pt x="470" y="318"/>
                    </a:lnTo>
                    <a:lnTo>
                      <a:pt x="439" y="316"/>
                    </a:lnTo>
                    <a:lnTo>
                      <a:pt x="404" y="313"/>
                    </a:lnTo>
                    <a:lnTo>
                      <a:pt x="369" y="311"/>
                    </a:lnTo>
                    <a:lnTo>
                      <a:pt x="331" y="309"/>
                    </a:lnTo>
                    <a:lnTo>
                      <a:pt x="293" y="305"/>
                    </a:lnTo>
                    <a:lnTo>
                      <a:pt x="255" y="303"/>
                    </a:lnTo>
                    <a:lnTo>
                      <a:pt x="219" y="301"/>
                    </a:lnTo>
                    <a:lnTo>
                      <a:pt x="185" y="300"/>
                    </a:lnTo>
                    <a:lnTo>
                      <a:pt x="154" y="297"/>
                    </a:lnTo>
                    <a:lnTo>
                      <a:pt x="128" y="296"/>
                    </a:lnTo>
                    <a:lnTo>
                      <a:pt x="105" y="295"/>
                    </a:lnTo>
                    <a:lnTo>
                      <a:pt x="89" y="294"/>
                    </a:lnTo>
                    <a:lnTo>
                      <a:pt x="79" y="294"/>
                    </a:lnTo>
                    <a:lnTo>
                      <a:pt x="63" y="294"/>
                    </a:lnTo>
                    <a:lnTo>
                      <a:pt x="71" y="309"/>
                    </a:lnTo>
                    <a:lnTo>
                      <a:pt x="73" y="312"/>
                    </a:lnTo>
                    <a:lnTo>
                      <a:pt x="75" y="319"/>
                    </a:lnTo>
                    <a:lnTo>
                      <a:pt x="74" y="330"/>
                    </a:lnTo>
                    <a:lnTo>
                      <a:pt x="67" y="341"/>
                    </a:lnTo>
                    <a:lnTo>
                      <a:pt x="54" y="356"/>
                    </a:lnTo>
                    <a:lnTo>
                      <a:pt x="74" y="356"/>
                    </a:lnTo>
                    <a:lnTo>
                      <a:pt x="81" y="356"/>
                    </a:lnTo>
                    <a:lnTo>
                      <a:pt x="98" y="357"/>
                    </a:lnTo>
                    <a:lnTo>
                      <a:pt x="124" y="360"/>
                    </a:lnTo>
                    <a:lnTo>
                      <a:pt x="159" y="362"/>
                    </a:lnTo>
                    <a:lnTo>
                      <a:pt x="202" y="364"/>
                    </a:lnTo>
                    <a:lnTo>
                      <a:pt x="249" y="368"/>
                    </a:lnTo>
                    <a:lnTo>
                      <a:pt x="301" y="371"/>
                    </a:lnTo>
                    <a:lnTo>
                      <a:pt x="357" y="375"/>
                    </a:lnTo>
                    <a:lnTo>
                      <a:pt x="415" y="379"/>
                    </a:lnTo>
                    <a:lnTo>
                      <a:pt x="475" y="383"/>
                    </a:lnTo>
                    <a:lnTo>
                      <a:pt x="533" y="387"/>
                    </a:lnTo>
                    <a:lnTo>
                      <a:pt x="591" y="392"/>
                    </a:lnTo>
                    <a:lnTo>
                      <a:pt x="646" y="395"/>
                    </a:lnTo>
                    <a:lnTo>
                      <a:pt x="697" y="400"/>
                    </a:lnTo>
                    <a:lnTo>
                      <a:pt x="744" y="404"/>
                    </a:lnTo>
                    <a:lnTo>
                      <a:pt x="785" y="408"/>
                    </a:lnTo>
                    <a:lnTo>
                      <a:pt x="787" y="389"/>
                    </a:lnTo>
                    <a:lnTo>
                      <a:pt x="743" y="385"/>
                    </a:lnTo>
                    <a:lnTo>
                      <a:pt x="697" y="381"/>
                    </a:lnTo>
                    <a:lnTo>
                      <a:pt x="649" y="377"/>
                    </a:lnTo>
                    <a:lnTo>
                      <a:pt x="598" y="373"/>
                    </a:lnTo>
                    <a:lnTo>
                      <a:pt x="546" y="369"/>
                    </a:lnTo>
                    <a:lnTo>
                      <a:pt x="494" y="365"/>
                    </a:lnTo>
                    <a:lnTo>
                      <a:pt x="442" y="362"/>
                    </a:lnTo>
                    <a:lnTo>
                      <a:pt x="391" y="357"/>
                    </a:lnTo>
                    <a:lnTo>
                      <a:pt x="341" y="354"/>
                    </a:lnTo>
                    <a:lnTo>
                      <a:pt x="294" y="351"/>
                    </a:lnTo>
                    <a:lnTo>
                      <a:pt x="249" y="348"/>
                    </a:lnTo>
                    <a:lnTo>
                      <a:pt x="207" y="346"/>
                    </a:lnTo>
                    <a:lnTo>
                      <a:pt x="171" y="343"/>
                    </a:lnTo>
                    <a:lnTo>
                      <a:pt x="138" y="341"/>
                    </a:lnTo>
                    <a:lnTo>
                      <a:pt x="111" y="340"/>
                    </a:lnTo>
                    <a:lnTo>
                      <a:pt x="90" y="339"/>
                    </a:lnTo>
                    <a:lnTo>
                      <a:pt x="92" y="334"/>
                    </a:lnTo>
                    <a:lnTo>
                      <a:pt x="93" y="330"/>
                    </a:lnTo>
                    <a:lnTo>
                      <a:pt x="93" y="326"/>
                    </a:lnTo>
                    <a:lnTo>
                      <a:pt x="93" y="322"/>
                    </a:lnTo>
                    <a:lnTo>
                      <a:pt x="93" y="319"/>
                    </a:lnTo>
                    <a:lnTo>
                      <a:pt x="93" y="317"/>
                    </a:lnTo>
                    <a:lnTo>
                      <a:pt x="93" y="316"/>
                    </a:lnTo>
                    <a:lnTo>
                      <a:pt x="93" y="313"/>
                    </a:lnTo>
                    <a:lnTo>
                      <a:pt x="109" y="315"/>
                    </a:lnTo>
                    <a:lnTo>
                      <a:pt x="130" y="316"/>
                    </a:lnTo>
                    <a:lnTo>
                      <a:pt x="156" y="317"/>
                    </a:lnTo>
                    <a:lnTo>
                      <a:pt x="183" y="318"/>
                    </a:lnTo>
                    <a:lnTo>
                      <a:pt x="214" y="320"/>
                    </a:lnTo>
                    <a:lnTo>
                      <a:pt x="248" y="323"/>
                    </a:lnTo>
                    <a:lnTo>
                      <a:pt x="281" y="325"/>
                    </a:lnTo>
                    <a:lnTo>
                      <a:pt x="317" y="326"/>
                    </a:lnTo>
                    <a:lnTo>
                      <a:pt x="351" y="328"/>
                    </a:lnTo>
                    <a:lnTo>
                      <a:pt x="386" y="331"/>
                    </a:lnTo>
                    <a:lnTo>
                      <a:pt x="418" y="333"/>
                    </a:lnTo>
                    <a:lnTo>
                      <a:pt x="448" y="335"/>
                    </a:lnTo>
                    <a:lnTo>
                      <a:pt x="476" y="338"/>
                    </a:lnTo>
                    <a:lnTo>
                      <a:pt x="500" y="340"/>
                    </a:lnTo>
                    <a:lnTo>
                      <a:pt x="520" y="342"/>
                    </a:lnTo>
                    <a:lnTo>
                      <a:pt x="535" y="343"/>
                    </a:lnTo>
                    <a:lnTo>
                      <a:pt x="540" y="345"/>
                    </a:lnTo>
                    <a:lnTo>
                      <a:pt x="555" y="346"/>
                    </a:lnTo>
                    <a:lnTo>
                      <a:pt x="580" y="348"/>
                    </a:lnTo>
                    <a:lnTo>
                      <a:pt x="612" y="351"/>
                    </a:lnTo>
                    <a:lnTo>
                      <a:pt x="649" y="356"/>
                    </a:lnTo>
                    <a:lnTo>
                      <a:pt x="690" y="361"/>
                    </a:lnTo>
                    <a:lnTo>
                      <a:pt x="735" y="365"/>
                    </a:lnTo>
                    <a:lnTo>
                      <a:pt x="782" y="370"/>
                    </a:lnTo>
                    <a:lnTo>
                      <a:pt x="828" y="376"/>
                    </a:lnTo>
                    <a:lnTo>
                      <a:pt x="874" y="380"/>
                    </a:lnTo>
                    <a:lnTo>
                      <a:pt x="917" y="385"/>
                    </a:lnTo>
                    <a:lnTo>
                      <a:pt x="956" y="389"/>
                    </a:lnTo>
                    <a:lnTo>
                      <a:pt x="991" y="393"/>
                    </a:lnTo>
                    <a:lnTo>
                      <a:pt x="1017" y="396"/>
                    </a:lnTo>
                    <a:lnTo>
                      <a:pt x="1037" y="399"/>
                    </a:lnTo>
                    <a:lnTo>
                      <a:pt x="1046" y="400"/>
                    </a:lnTo>
                    <a:lnTo>
                      <a:pt x="1035" y="401"/>
                    </a:lnTo>
                    <a:lnTo>
                      <a:pt x="1018" y="402"/>
                    </a:lnTo>
                    <a:lnTo>
                      <a:pt x="1001" y="403"/>
                    </a:lnTo>
                    <a:lnTo>
                      <a:pt x="980" y="404"/>
                    </a:lnTo>
                    <a:lnTo>
                      <a:pt x="959" y="406"/>
                    </a:lnTo>
                    <a:lnTo>
                      <a:pt x="934" y="408"/>
                    </a:lnTo>
                    <a:lnTo>
                      <a:pt x="910" y="409"/>
                    </a:lnTo>
                    <a:lnTo>
                      <a:pt x="886" y="411"/>
                    </a:lnTo>
                    <a:lnTo>
                      <a:pt x="863" y="413"/>
                    </a:lnTo>
                    <a:lnTo>
                      <a:pt x="840" y="414"/>
                    </a:lnTo>
                    <a:lnTo>
                      <a:pt x="818" y="416"/>
                    </a:lnTo>
                    <a:lnTo>
                      <a:pt x="798" y="417"/>
                    </a:lnTo>
                    <a:lnTo>
                      <a:pt x="781" y="418"/>
                    </a:lnTo>
                    <a:lnTo>
                      <a:pt x="767" y="418"/>
                    </a:lnTo>
                    <a:lnTo>
                      <a:pt x="757" y="419"/>
                    </a:lnTo>
                    <a:lnTo>
                      <a:pt x="750" y="419"/>
                    </a:lnTo>
                    <a:lnTo>
                      <a:pt x="737" y="419"/>
                    </a:lnTo>
                    <a:lnTo>
                      <a:pt x="722" y="421"/>
                    </a:lnTo>
                    <a:lnTo>
                      <a:pt x="705" y="422"/>
                    </a:lnTo>
                    <a:lnTo>
                      <a:pt x="689" y="424"/>
                    </a:lnTo>
                    <a:lnTo>
                      <a:pt x="673" y="428"/>
                    </a:lnTo>
                    <a:lnTo>
                      <a:pt x="659" y="432"/>
                    </a:lnTo>
                    <a:lnTo>
                      <a:pt x="650" y="439"/>
                    </a:lnTo>
                    <a:lnTo>
                      <a:pt x="644" y="447"/>
                    </a:lnTo>
                    <a:lnTo>
                      <a:pt x="644" y="448"/>
                    </a:lnTo>
                    <a:lnTo>
                      <a:pt x="644" y="448"/>
                    </a:lnTo>
                    <a:lnTo>
                      <a:pt x="643" y="449"/>
                    </a:lnTo>
                    <a:lnTo>
                      <a:pt x="643" y="451"/>
                    </a:lnTo>
                    <a:lnTo>
                      <a:pt x="645" y="460"/>
                    </a:lnTo>
                    <a:lnTo>
                      <a:pt x="652" y="468"/>
                    </a:lnTo>
                    <a:lnTo>
                      <a:pt x="660" y="474"/>
                    </a:lnTo>
                    <a:lnTo>
                      <a:pt x="667" y="477"/>
                    </a:lnTo>
                    <a:lnTo>
                      <a:pt x="680" y="484"/>
                    </a:lnTo>
                    <a:lnTo>
                      <a:pt x="695" y="490"/>
                    </a:lnTo>
                    <a:lnTo>
                      <a:pt x="712" y="494"/>
                    </a:lnTo>
                    <a:lnTo>
                      <a:pt x="730" y="498"/>
                    </a:lnTo>
                    <a:lnTo>
                      <a:pt x="749" y="502"/>
                    </a:lnTo>
                    <a:lnTo>
                      <a:pt x="768" y="505"/>
                    </a:lnTo>
                    <a:lnTo>
                      <a:pt x="789" y="507"/>
                    </a:lnTo>
                    <a:lnTo>
                      <a:pt x="808" y="509"/>
                    </a:lnTo>
                    <a:lnTo>
                      <a:pt x="827" y="511"/>
                    </a:lnTo>
                    <a:lnTo>
                      <a:pt x="844" y="512"/>
                    </a:lnTo>
                    <a:lnTo>
                      <a:pt x="861" y="513"/>
                    </a:lnTo>
                    <a:lnTo>
                      <a:pt x="876" y="513"/>
                    </a:lnTo>
                    <a:lnTo>
                      <a:pt x="887" y="514"/>
                    </a:lnTo>
                    <a:lnTo>
                      <a:pt x="897" y="514"/>
                    </a:lnTo>
                    <a:lnTo>
                      <a:pt x="903" y="514"/>
                    </a:lnTo>
                    <a:lnTo>
                      <a:pt x="907" y="514"/>
                    </a:lnTo>
                    <a:lnTo>
                      <a:pt x="908" y="514"/>
                    </a:lnTo>
                    <a:lnTo>
                      <a:pt x="1008" y="505"/>
                    </a:lnTo>
                    <a:lnTo>
                      <a:pt x="1009" y="497"/>
                    </a:lnTo>
                    <a:lnTo>
                      <a:pt x="1010" y="484"/>
                    </a:lnTo>
                    <a:lnTo>
                      <a:pt x="1013" y="475"/>
                    </a:lnTo>
                    <a:lnTo>
                      <a:pt x="1016" y="468"/>
                    </a:lnTo>
                    <a:lnTo>
                      <a:pt x="1021" y="463"/>
                    </a:lnTo>
                    <a:lnTo>
                      <a:pt x="1027" y="461"/>
                    </a:lnTo>
                    <a:lnTo>
                      <a:pt x="1032" y="461"/>
                    </a:lnTo>
                    <a:lnTo>
                      <a:pt x="1039" y="463"/>
                    </a:lnTo>
                    <a:lnTo>
                      <a:pt x="1044" y="466"/>
                    </a:lnTo>
                    <a:lnTo>
                      <a:pt x="1046" y="474"/>
                    </a:lnTo>
                    <a:lnTo>
                      <a:pt x="1048" y="481"/>
                    </a:lnTo>
                    <a:lnTo>
                      <a:pt x="1050" y="489"/>
                    </a:lnTo>
                    <a:lnTo>
                      <a:pt x="1051" y="496"/>
                    </a:lnTo>
                    <a:lnTo>
                      <a:pt x="1051" y="500"/>
                    </a:lnTo>
                    <a:lnTo>
                      <a:pt x="1050" y="504"/>
                    </a:lnTo>
                    <a:lnTo>
                      <a:pt x="1048" y="507"/>
                    </a:lnTo>
                    <a:lnTo>
                      <a:pt x="1047" y="511"/>
                    </a:lnTo>
                    <a:lnTo>
                      <a:pt x="1041" y="522"/>
                    </a:lnTo>
                    <a:lnTo>
                      <a:pt x="1033" y="530"/>
                    </a:lnTo>
                    <a:lnTo>
                      <a:pt x="1027" y="536"/>
                    </a:lnTo>
                    <a:lnTo>
                      <a:pt x="1023" y="537"/>
                    </a:lnTo>
                    <a:lnTo>
                      <a:pt x="992" y="549"/>
                    </a:lnTo>
                    <a:lnTo>
                      <a:pt x="1025" y="554"/>
                    </a:lnTo>
                    <a:lnTo>
                      <a:pt x="1027" y="554"/>
                    </a:lnTo>
                    <a:lnTo>
                      <a:pt x="1030" y="555"/>
                    </a:lnTo>
                    <a:lnTo>
                      <a:pt x="1036" y="557"/>
                    </a:lnTo>
                    <a:lnTo>
                      <a:pt x="1041" y="558"/>
                    </a:lnTo>
                    <a:lnTo>
                      <a:pt x="1048" y="559"/>
                    </a:lnTo>
                    <a:lnTo>
                      <a:pt x="1055" y="560"/>
                    </a:lnTo>
                    <a:lnTo>
                      <a:pt x="1061" y="560"/>
                    </a:lnTo>
                    <a:lnTo>
                      <a:pt x="1065" y="561"/>
                    </a:lnTo>
                    <a:lnTo>
                      <a:pt x="1065" y="562"/>
                    </a:lnTo>
                    <a:lnTo>
                      <a:pt x="1066" y="562"/>
                    </a:lnTo>
                    <a:lnTo>
                      <a:pt x="1066" y="562"/>
                    </a:lnTo>
                    <a:lnTo>
                      <a:pt x="1066" y="562"/>
                    </a:lnTo>
                    <a:lnTo>
                      <a:pt x="1050" y="562"/>
                    </a:lnTo>
                    <a:lnTo>
                      <a:pt x="1029" y="561"/>
                    </a:lnTo>
                    <a:lnTo>
                      <a:pt x="1003" y="560"/>
                    </a:lnTo>
                    <a:lnTo>
                      <a:pt x="974" y="559"/>
                    </a:lnTo>
                    <a:lnTo>
                      <a:pt x="940" y="557"/>
                    </a:lnTo>
                    <a:lnTo>
                      <a:pt x="903" y="555"/>
                    </a:lnTo>
                    <a:lnTo>
                      <a:pt x="865" y="553"/>
                    </a:lnTo>
                    <a:lnTo>
                      <a:pt x="825" y="550"/>
                    </a:lnTo>
                    <a:lnTo>
                      <a:pt x="782" y="547"/>
                    </a:lnTo>
                    <a:lnTo>
                      <a:pt x="740" y="544"/>
                    </a:lnTo>
                    <a:lnTo>
                      <a:pt x="697" y="540"/>
                    </a:lnTo>
                    <a:lnTo>
                      <a:pt x="654" y="537"/>
                    </a:lnTo>
                    <a:lnTo>
                      <a:pt x="613" y="532"/>
                    </a:lnTo>
                    <a:lnTo>
                      <a:pt x="573" y="528"/>
                    </a:lnTo>
                    <a:lnTo>
                      <a:pt x="535" y="523"/>
                    </a:lnTo>
                    <a:lnTo>
                      <a:pt x="499" y="517"/>
                    </a:lnTo>
                    <a:lnTo>
                      <a:pt x="497" y="516"/>
                    </a:lnTo>
                    <a:lnTo>
                      <a:pt x="441" y="537"/>
                    </a:lnTo>
                    <a:lnTo>
                      <a:pt x="442" y="540"/>
                    </a:lnTo>
                    <a:lnTo>
                      <a:pt x="446" y="547"/>
                    </a:lnTo>
                    <a:lnTo>
                      <a:pt x="450" y="555"/>
                    </a:lnTo>
                    <a:lnTo>
                      <a:pt x="453" y="560"/>
                    </a:lnTo>
                    <a:lnTo>
                      <a:pt x="452" y="561"/>
                    </a:lnTo>
                    <a:lnTo>
                      <a:pt x="452" y="564"/>
                    </a:lnTo>
                    <a:lnTo>
                      <a:pt x="450" y="565"/>
                    </a:lnTo>
                    <a:lnTo>
                      <a:pt x="449" y="567"/>
                    </a:lnTo>
                    <a:lnTo>
                      <a:pt x="447" y="569"/>
                    </a:lnTo>
                    <a:lnTo>
                      <a:pt x="444" y="570"/>
                    </a:lnTo>
                    <a:lnTo>
                      <a:pt x="440" y="572"/>
                    </a:lnTo>
                    <a:lnTo>
                      <a:pt x="435" y="572"/>
                    </a:lnTo>
                    <a:lnTo>
                      <a:pt x="384" y="570"/>
                    </a:lnTo>
                    <a:lnTo>
                      <a:pt x="380" y="575"/>
                    </a:lnTo>
                    <a:lnTo>
                      <a:pt x="379" y="577"/>
                    </a:lnTo>
                    <a:lnTo>
                      <a:pt x="376" y="581"/>
                    </a:lnTo>
                    <a:lnTo>
                      <a:pt x="370" y="584"/>
                    </a:lnTo>
                    <a:lnTo>
                      <a:pt x="361" y="587"/>
                    </a:lnTo>
                    <a:lnTo>
                      <a:pt x="353" y="585"/>
                    </a:lnTo>
                    <a:lnTo>
                      <a:pt x="344" y="584"/>
                    </a:lnTo>
                    <a:lnTo>
                      <a:pt x="336" y="584"/>
                    </a:lnTo>
                    <a:lnTo>
                      <a:pt x="329" y="583"/>
                    </a:lnTo>
                    <a:lnTo>
                      <a:pt x="334" y="575"/>
                    </a:lnTo>
                    <a:lnTo>
                      <a:pt x="338" y="567"/>
                    </a:lnTo>
                    <a:lnTo>
                      <a:pt x="339" y="558"/>
                    </a:lnTo>
                    <a:lnTo>
                      <a:pt x="340" y="549"/>
                    </a:lnTo>
                    <a:lnTo>
                      <a:pt x="340" y="549"/>
                    </a:lnTo>
                    <a:lnTo>
                      <a:pt x="340" y="549"/>
                    </a:lnTo>
                    <a:lnTo>
                      <a:pt x="340" y="549"/>
                    </a:lnTo>
                    <a:lnTo>
                      <a:pt x="340" y="547"/>
                    </a:lnTo>
                    <a:lnTo>
                      <a:pt x="339" y="538"/>
                    </a:lnTo>
                    <a:lnTo>
                      <a:pt x="338" y="530"/>
                    </a:lnTo>
                    <a:lnTo>
                      <a:pt x="334" y="523"/>
                    </a:lnTo>
                    <a:lnTo>
                      <a:pt x="331" y="516"/>
                    </a:lnTo>
                    <a:lnTo>
                      <a:pt x="325" y="511"/>
                    </a:lnTo>
                    <a:lnTo>
                      <a:pt x="319" y="507"/>
                    </a:lnTo>
                    <a:lnTo>
                      <a:pt x="312" y="504"/>
                    </a:lnTo>
                    <a:lnTo>
                      <a:pt x="305" y="502"/>
                    </a:lnTo>
                    <a:lnTo>
                      <a:pt x="295" y="504"/>
                    </a:lnTo>
                    <a:lnTo>
                      <a:pt x="287" y="505"/>
                    </a:lnTo>
                    <a:lnTo>
                      <a:pt x="279" y="509"/>
                    </a:lnTo>
                    <a:lnTo>
                      <a:pt x="272" y="515"/>
                    </a:lnTo>
                    <a:lnTo>
                      <a:pt x="263" y="528"/>
                    </a:lnTo>
                    <a:lnTo>
                      <a:pt x="258" y="543"/>
                    </a:lnTo>
                    <a:lnTo>
                      <a:pt x="256" y="558"/>
                    </a:lnTo>
                    <a:lnTo>
                      <a:pt x="255" y="572"/>
                    </a:lnTo>
                    <a:lnTo>
                      <a:pt x="255" y="573"/>
                    </a:lnTo>
                    <a:lnTo>
                      <a:pt x="255" y="574"/>
                    </a:lnTo>
                    <a:lnTo>
                      <a:pt x="255" y="575"/>
                    </a:lnTo>
                    <a:lnTo>
                      <a:pt x="255" y="576"/>
                    </a:lnTo>
                    <a:lnTo>
                      <a:pt x="248" y="576"/>
                    </a:lnTo>
                    <a:lnTo>
                      <a:pt x="241" y="575"/>
                    </a:lnTo>
                    <a:lnTo>
                      <a:pt x="232" y="575"/>
                    </a:lnTo>
                    <a:lnTo>
                      <a:pt x="222" y="575"/>
                    </a:lnTo>
                    <a:lnTo>
                      <a:pt x="228" y="568"/>
                    </a:lnTo>
                    <a:lnTo>
                      <a:pt x="234" y="559"/>
                    </a:lnTo>
                    <a:lnTo>
                      <a:pt x="240" y="551"/>
                    </a:lnTo>
                    <a:lnTo>
                      <a:pt x="247" y="542"/>
                    </a:lnTo>
                    <a:lnTo>
                      <a:pt x="251" y="534"/>
                    </a:lnTo>
                    <a:lnTo>
                      <a:pt x="256" y="527"/>
                    </a:lnTo>
                    <a:lnTo>
                      <a:pt x="259" y="522"/>
                    </a:lnTo>
                    <a:lnTo>
                      <a:pt x="260" y="521"/>
                    </a:lnTo>
                    <a:lnTo>
                      <a:pt x="257" y="493"/>
                    </a:lnTo>
                    <a:lnTo>
                      <a:pt x="251" y="492"/>
                    </a:lnTo>
                    <a:lnTo>
                      <a:pt x="249" y="491"/>
                    </a:lnTo>
                    <a:lnTo>
                      <a:pt x="243" y="490"/>
                    </a:lnTo>
                    <a:lnTo>
                      <a:pt x="235" y="487"/>
                    </a:lnTo>
                    <a:lnTo>
                      <a:pt x="225" y="484"/>
                    </a:lnTo>
                    <a:lnTo>
                      <a:pt x="211" y="479"/>
                    </a:lnTo>
                    <a:lnTo>
                      <a:pt x="197" y="475"/>
                    </a:lnTo>
                    <a:lnTo>
                      <a:pt x="181" y="469"/>
                    </a:lnTo>
                    <a:lnTo>
                      <a:pt x="164" y="462"/>
                    </a:lnTo>
                    <a:lnTo>
                      <a:pt x="146" y="455"/>
                    </a:lnTo>
                    <a:lnTo>
                      <a:pt x="129" y="447"/>
                    </a:lnTo>
                    <a:lnTo>
                      <a:pt x="111" y="438"/>
                    </a:lnTo>
                    <a:lnTo>
                      <a:pt x="94" y="429"/>
                    </a:lnTo>
                    <a:lnTo>
                      <a:pt x="78" y="418"/>
                    </a:lnTo>
                    <a:lnTo>
                      <a:pt x="65" y="408"/>
                    </a:lnTo>
                    <a:lnTo>
                      <a:pt x="52" y="396"/>
                    </a:lnTo>
                    <a:lnTo>
                      <a:pt x="41" y="385"/>
                    </a:lnTo>
                    <a:lnTo>
                      <a:pt x="31" y="371"/>
                    </a:lnTo>
                    <a:lnTo>
                      <a:pt x="24" y="357"/>
                    </a:lnTo>
                    <a:lnTo>
                      <a:pt x="20" y="346"/>
                    </a:lnTo>
                    <a:lnTo>
                      <a:pt x="18" y="335"/>
                    </a:lnTo>
                    <a:lnTo>
                      <a:pt x="18" y="334"/>
                    </a:lnTo>
                    <a:lnTo>
                      <a:pt x="18" y="333"/>
                    </a:lnTo>
                    <a:lnTo>
                      <a:pt x="18" y="332"/>
                    </a:lnTo>
                    <a:lnTo>
                      <a:pt x="18" y="331"/>
                    </a:lnTo>
                    <a:lnTo>
                      <a:pt x="22" y="320"/>
                    </a:lnTo>
                    <a:lnTo>
                      <a:pt x="30" y="311"/>
                    </a:lnTo>
                    <a:lnTo>
                      <a:pt x="39" y="303"/>
                    </a:lnTo>
                    <a:lnTo>
                      <a:pt x="51" y="295"/>
                    </a:lnTo>
                    <a:lnTo>
                      <a:pt x="59" y="289"/>
                    </a:lnTo>
                    <a:lnTo>
                      <a:pt x="63" y="286"/>
                    </a:lnTo>
                    <a:lnTo>
                      <a:pt x="68" y="282"/>
                    </a:lnTo>
                    <a:lnTo>
                      <a:pt x="74" y="279"/>
                    </a:lnTo>
                    <a:lnTo>
                      <a:pt x="78" y="275"/>
                    </a:lnTo>
                    <a:lnTo>
                      <a:pt x="83" y="272"/>
                    </a:lnTo>
                    <a:lnTo>
                      <a:pt x="89" y="268"/>
                    </a:lnTo>
                    <a:lnTo>
                      <a:pt x="93" y="266"/>
                    </a:lnTo>
                    <a:lnTo>
                      <a:pt x="98" y="263"/>
                    </a:lnTo>
                    <a:lnTo>
                      <a:pt x="107" y="256"/>
                    </a:lnTo>
                    <a:lnTo>
                      <a:pt x="116" y="250"/>
                    </a:lnTo>
                    <a:lnTo>
                      <a:pt x="123" y="244"/>
                    </a:lnTo>
                    <a:lnTo>
                      <a:pt x="129" y="241"/>
                    </a:lnTo>
                    <a:lnTo>
                      <a:pt x="135" y="241"/>
                    </a:lnTo>
                    <a:lnTo>
                      <a:pt x="143" y="240"/>
                    </a:lnTo>
                    <a:lnTo>
                      <a:pt x="151" y="239"/>
                    </a:lnTo>
                    <a:lnTo>
                      <a:pt x="154" y="239"/>
                    </a:lnTo>
                    <a:lnTo>
                      <a:pt x="157" y="239"/>
                    </a:lnTo>
                    <a:lnTo>
                      <a:pt x="162" y="239"/>
                    </a:lnTo>
                    <a:lnTo>
                      <a:pt x="167" y="239"/>
                    </a:lnTo>
                    <a:lnTo>
                      <a:pt x="169" y="239"/>
                    </a:lnTo>
                    <a:lnTo>
                      <a:pt x="179" y="239"/>
                    </a:lnTo>
                    <a:lnTo>
                      <a:pt x="188" y="239"/>
                    </a:lnTo>
                    <a:lnTo>
                      <a:pt x="196" y="239"/>
                    </a:lnTo>
                    <a:lnTo>
                      <a:pt x="205" y="240"/>
                    </a:lnTo>
                    <a:lnTo>
                      <a:pt x="213" y="240"/>
                    </a:lnTo>
                    <a:lnTo>
                      <a:pt x="221" y="242"/>
                    </a:lnTo>
                    <a:lnTo>
                      <a:pt x="230" y="243"/>
                    </a:lnTo>
                    <a:lnTo>
                      <a:pt x="238" y="245"/>
                    </a:lnTo>
                    <a:lnTo>
                      <a:pt x="253" y="250"/>
                    </a:lnTo>
                    <a:lnTo>
                      <a:pt x="242" y="200"/>
                    </a:lnTo>
                    <a:lnTo>
                      <a:pt x="237" y="198"/>
                    </a:lnTo>
                    <a:lnTo>
                      <a:pt x="236" y="198"/>
                    </a:lnTo>
                    <a:lnTo>
                      <a:pt x="234" y="197"/>
                    </a:lnTo>
                    <a:lnTo>
                      <a:pt x="230" y="196"/>
                    </a:lnTo>
                    <a:lnTo>
                      <a:pt x="226" y="195"/>
                    </a:lnTo>
                    <a:lnTo>
                      <a:pt x="220" y="195"/>
                    </a:lnTo>
                    <a:lnTo>
                      <a:pt x="213" y="194"/>
                    </a:lnTo>
                    <a:lnTo>
                      <a:pt x="205" y="192"/>
                    </a:lnTo>
                    <a:lnTo>
                      <a:pt x="196" y="192"/>
                    </a:lnTo>
                    <a:lnTo>
                      <a:pt x="202" y="190"/>
                    </a:lnTo>
                    <a:lnTo>
                      <a:pt x="209" y="189"/>
                    </a:lnTo>
                    <a:lnTo>
                      <a:pt x="215" y="188"/>
                    </a:lnTo>
                    <a:lnTo>
                      <a:pt x="221" y="187"/>
                    </a:lnTo>
                    <a:lnTo>
                      <a:pt x="228" y="186"/>
                    </a:lnTo>
                    <a:lnTo>
                      <a:pt x="235" y="186"/>
                    </a:lnTo>
                    <a:lnTo>
                      <a:pt x="243" y="186"/>
                    </a:lnTo>
                    <a:lnTo>
                      <a:pt x="250" y="186"/>
                    </a:lnTo>
                    <a:lnTo>
                      <a:pt x="266" y="187"/>
                    </a:lnTo>
                    <a:lnTo>
                      <a:pt x="285" y="188"/>
                    </a:lnTo>
                    <a:lnTo>
                      <a:pt x="305" y="190"/>
                    </a:lnTo>
                    <a:lnTo>
                      <a:pt x="328" y="192"/>
                    </a:lnTo>
                    <a:lnTo>
                      <a:pt x="353" y="196"/>
                    </a:lnTo>
                    <a:lnTo>
                      <a:pt x="378" y="199"/>
                    </a:lnTo>
                    <a:lnTo>
                      <a:pt x="404" y="204"/>
                    </a:lnTo>
                    <a:lnTo>
                      <a:pt x="432" y="209"/>
                    </a:lnTo>
                    <a:lnTo>
                      <a:pt x="460" y="214"/>
                    </a:lnTo>
                    <a:lnTo>
                      <a:pt x="487" y="220"/>
                    </a:lnTo>
                    <a:lnTo>
                      <a:pt x="516" y="226"/>
                    </a:lnTo>
                    <a:lnTo>
                      <a:pt x="544" y="233"/>
                    </a:lnTo>
                    <a:lnTo>
                      <a:pt x="571" y="240"/>
                    </a:lnTo>
                    <a:lnTo>
                      <a:pt x="598" y="248"/>
                    </a:lnTo>
                    <a:lnTo>
                      <a:pt x="624" y="256"/>
                    </a:lnTo>
                    <a:lnTo>
                      <a:pt x="649" y="264"/>
                    </a:lnTo>
                    <a:lnTo>
                      <a:pt x="650" y="264"/>
                    </a:lnTo>
                    <a:lnTo>
                      <a:pt x="651" y="264"/>
                    </a:lnTo>
                    <a:lnTo>
                      <a:pt x="653" y="264"/>
                    </a:lnTo>
                    <a:lnTo>
                      <a:pt x="659" y="265"/>
                    </a:lnTo>
                    <a:lnTo>
                      <a:pt x="667" y="266"/>
                    </a:lnTo>
                    <a:lnTo>
                      <a:pt x="679" y="267"/>
                    </a:lnTo>
                    <a:lnTo>
                      <a:pt x="692" y="268"/>
                    </a:lnTo>
                    <a:lnTo>
                      <a:pt x="710" y="271"/>
                    </a:lnTo>
                    <a:lnTo>
                      <a:pt x="728" y="273"/>
                    </a:lnTo>
                    <a:lnTo>
                      <a:pt x="749" y="275"/>
                    </a:lnTo>
                    <a:lnTo>
                      <a:pt x="772" y="279"/>
                    </a:lnTo>
                    <a:lnTo>
                      <a:pt x="797" y="281"/>
                    </a:lnTo>
                    <a:lnTo>
                      <a:pt x="824" y="285"/>
                    </a:lnTo>
                    <a:lnTo>
                      <a:pt x="851" y="288"/>
                    </a:lnTo>
                    <a:lnTo>
                      <a:pt x="880" y="292"/>
                    </a:lnTo>
                    <a:lnTo>
                      <a:pt x="909" y="295"/>
                    </a:lnTo>
                    <a:lnTo>
                      <a:pt x="940" y="298"/>
                    </a:lnTo>
                    <a:lnTo>
                      <a:pt x="971" y="302"/>
                    </a:lnTo>
                    <a:lnTo>
                      <a:pt x="1003" y="305"/>
                    </a:lnTo>
                    <a:lnTo>
                      <a:pt x="1036" y="309"/>
                    </a:lnTo>
                    <a:lnTo>
                      <a:pt x="1067" y="312"/>
                    </a:lnTo>
                    <a:lnTo>
                      <a:pt x="1099" y="316"/>
                    </a:lnTo>
                    <a:lnTo>
                      <a:pt x="1130" y="319"/>
                    </a:lnTo>
                    <a:lnTo>
                      <a:pt x="1162" y="323"/>
                    </a:lnTo>
                    <a:lnTo>
                      <a:pt x="1192" y="326"/>
                    </a:lnTo>
                    <a:lnTo>
                      <a:pt x="1222" y="330"/>
                    </a:lnTo>
                    <a:lnTo>
                      <a:pt x="1250" y="333"/>
                    </a:lnTo>
                    <a:lnTo>
                      <a:pt x="1278" y="335"/>
                    </a:lnTo>
                    <a:lnTo>
                      <a:pt x="1303" y="339"/>
                    </a:lnTo>
                    <a:lnTo>
                      <a:pt x="1327" y="341"/>
                    </a:lnTo>
                    <a:lnTo>
                      <a:pt x="1350" y="343"/>
                    </a:lnTo>
                    <a:lnTo>
                      <a:pt x="1370" y="345"/>
                    </a:lnTo>
                    <a:lnTo>
                      <a:pt x="1388" y="347"/>
                    </a:lnTo>
                    <a:lnTo>
                      <a:pt x="1404" y="348"/>
                    </a:lnTo>
                    <a:lnTo>
                      <a:pt x="1407" y="348"/>
                    </a:lnTo>
                    <a:lnTo>
                      <a:pt x="1409" y="347"/>
                    </a:lnTo>
                    <a:lnTo>
                      <a:pt x="1410" y="347"/>
                    </a:lnTo>
                    <a:lnTo>
                      <a:pt x="1414" y="345"/>
                    </a:lnTo>
                    <a:lnTo>
                      <a:pt x="1418" y="342"/>
                    </a:lnTo>
                    <a:lnTo>
                      <a:pt x="1424" y="338"/>
                    </a:lnTo>
                    <a:lnTo>
                      <a:pt x="1432" y="332"/>
                    </a:lnTo>
                    <a:lnTo>
                      <a:pt x="1439" y="325"/>
                    </a:lnTo>
                    <a:lnTo>
                      <a:pt x="1448" y="317"/>
                    </a:lnTo>
                    <a:lnTo>
                      <a:pt x="1456" y="307"/>
                    </a:lnTo>
                    <a:lnTo>
                      <a:pt x="1462" y="300"/>
                    </a:lnTo>
                    <a:lnTo>
                      <a:pt x="1471" y="288"/>
                    </a:lnTo>
                    <a:lnTo>
                      <a:pt x="1484" y="274"/>
                    </a:lnTo>
                    <a:lnTo>
                      <a:pt x="1498" y="256"/>
                    </a:lnTo>
                    <a:lnTo>
                      <a:pt x="1515" y="235"/>
                    </a:lnTo>
                    <a:lnTo>
                      <a:pt x="1533" y="213"/>
                    </a:lnTo>
                    <a:lnTo>
                      <a:pt x="1553" y="190"/>
                    </a:lnTo>
                    <a:lnTo>
                      <a:pt x="1574" y="166"/>
                    </a:lnTo>
                    <a:lnTo>
                      <a:pt x="1595" y="142"/>
                    </a:lnTo>
                    <a:lnTo>
                      <a:pt x="1614" y="118"/>
                    </a:lnTo>
                    <a:lnTo>
                      <a:pt x="1633" y="94"/>
                    </a:lnTo>
                    <a:lnTo>
                      <a:pt x="1651" y="74"/>
                    </a:lnTo>
                    <a:lnTo>
                      <a:pt x="1666" y="55"/>
                    </a:lnTo>
                    <a:lnTo>
                      <a:pt x="1680" y="39"/>
                    </a:lnTo>
                    <a:lnTo>
                      <a:pt x="1690" y="26"/>
                    </a:lnTo>
                    <a:lnTo>
                      <a:pt x="1697" y="18"/>
                    </a:lnTo>
                    <a:lnTo>
                      <a:pt x="1702" y="20"/>
                    </a:lnTo>
                    <a:lnTo>
                      <a:pt x="1711" y="20"/>
                    </a:lnTo>
                    <a:lnTo>
                      <a:pt x="1722" y="21"/>
                    </a:lnTo>
                    <a:lnTo>
                      <a:pt x="1735" y="22"/>
                    </a:lnTo>
                    <a:lnTo>
                      <a:pt x="1749" y="23"/>
                    </a:lnTo>
                    <a:lnTo>
                      <a:pt x="1762" y="24"/>
                    </a:lnTo>
                    <a:lnTo>
                      <a:pt x="1773" y="24"/>
                    </a:lnTo>
                    <a:lnTo>
                      <a:pt x="1781" y="25"/>
                    </a:lnTo>
                    <a:lnTo>
                      <a:pt x="1775" y="46"/>
                    </a:lnTo>
                    <a:lnTo>
                      <a:pt x="1764" y="86"/>
                    </a:lnTo>
                    <a:lnTo>
                      <a:pt x="1749" y="142"/>
                    </a:lnTo>
                    <a:lnTo>
                      <a:pt x="1733" y="202"/>
                    </a:lnTo>
                    <a:lnTo>
                      <a:pt x="1715" y="262"/>
                    </a:lnTo>
                    <a:lnTo>
                      <a:pt x="1702" y="313"/>
                    </a:lnTo>
                    <a:lnTo>
                      <a:pt x="1691" y="349"/>
                    </a:lnTo>
                    <a:lnTo>
                      <a:pt x="1688" y="363"/>
                    </a:lnTo>
                    <a:lnTo>
                      <a:pt x="1692" y="363"/>
                    </a:lnTo>
                    <a:lnTo>
                      <a:pt x="1705" y="361"/>
                    </a:lnTo>
                    <a:lnTo>
                      <a:pt x="1726" y="360"/>
                    </a:lnTo>
                    <a:lnTo>
                      <a:pt x="1752" y="356"/>
                    </a:lnTo>
                    <a:lnTo>
                      <a:pt x="1783" y="354"/>
                    </a:lnTo>
                    <a:lnTo>
                      <a:pt x="1819" y="350"/>
                    </a:lnTo>
                    <a:lnTo>
                      <a:pt x="1856" y="346"/>
                    </a:lnTo>
                    <a:lnTo>
                      <a:pt x="1895" y="342"/>
                    </a:lnTo>
                    <a:lnTo>
                      <a:pt x="1933" y="339"/>
                    </a:lnTo>
                    <a:lnTo>
                      <a:pt x="1971" y="334"/>
                    </a:lnTo>
                    <a:lnTo>
                      <a:pt x="2006" y="331"/>
                    </a:lnTo>
                    <a:lnTo>
                      <a:pt x="2037" y="328"/>
                    </a:lnTo>
                    <a:lnTo>
                      <a:pt x="2063" y="325"/>
                    </a:lnTo>
                    <a:lnTo>
                      <a:pt x="2084" y="324"/>
                    </a:lnTo>
                    <a:lnTo>
                      <a:pt x="2098" y="322"/>
                    </a:lnTo>
                    <a:lnTo>
                      <a:pt x="2103" y="322"/>
                    </a:lnTo>
                    <a:lnTo>
                      <a:pt x="2105" y="322"/>
                    </a:lnTo>
                    <a:lnTo>
                      <a:pt x="2111" y="322"/>
                    </a:lnTo>
                    <a:lnTo>
                      <a:pt x="2120" y="322"/>
                    </a:lnTo>
                    <a:lnTo>
                      <a:pt x="2130" y="322"/>
                    </a:lnTo>
                    <a:lnTo>
                      <a:pt x="2144" y="322"/>
                    </a:lnTo>
                    <a:lnTo>
                      <a:pt x="2159" y="322"/>
                    </a:lnTo>
                    <a:lnTo>
                      <a:pt x="2175" y="323"/>
                    </a:lnTo>
                    <a:lnTo>
                      <a:pt x="2191" y="323"/>
                    </a:lnTo>
                    <a:lnTo>
                      <a:pt x="2174" y="326"/>
                    </a:lnTo>
                    <a:lnTo>
                      <a:pt x="2158" y="330"/>
                    </a:lnTo>
                    <a:lnTo>
                      <a:pt x="2143" y="333"/>
                    </a:lnTo>
                    <a:lnTo>
                      <a:pt x="2129" y="335"/>
                    </a:lnTo>
                    <a:lnTo>
                      <a:pt x="2118" y="338"/>
                    </a:lnTo>
                    <a:lnTo>
                      <a:pt x="2108" y="340"/>
                    </a:lnTo>
                    <a:lnTo>
                      <a:pt x="2103" y="341"/>
                    </a:lnTo>
                    <a:lnTo>
                      <a:pt x="2100" y="341"/>
                    </a:lnTo>
                    <a:lnTo>
                      <a:pt x="2093" y="342"/>
                    </a:lnTo>
                    <a:lnTo>
                      <a:pt x="2077" y="345"/>
                    </a:lnTo>
                    <a:lnTo>
                      <a:pt x="2053" y="348"/>
                    </a:lnTo>
                    <a:lnTo>
                      <a:pt x="2027" y="351"/>
                    </a:lnTo>
                    <a:lnTo>
                      <a:pt x="1999" y="355"/>
                    </a:lnTo>
                    <a:lnTo>
                      <a:pt x="1975" y="358"/>
                    </a:lnTo>
                    <a:lnTo>
                      <a:pt x="1959" y="361"/>
                    </a:lnTo>
                    <a:lnTo>
                      <a:pt x="1952" y="362"/>
                    </a:lnTo>
                    <a:lnTo>
                      <a:pt x="1952" y="381"/>
                    </a:lnTo>
                    <a:lnTo>
                      <a:pt x="1953" y="381"/>
                    </a:lnTo>
                    <a:lnTo>
                      <a:pt x="1955" y="381"/>
                    </a:lnTo>
                    <a:lnTo>
                      <a:pt x="1960" y="381"/>
                    </a:lnTo>
                    <a:lnTo>
                      <a:pt x="1964" y="383"/>
                    </a:lnTo>
                    <a:lnTo>
                      <a:pt x="1971" y="383"/>
                    </a:lnTo>
                    <a:lnTo>
                      <a:pt x="1977" y="384"/>
                    </a:lnTo>
                    <a:lnTo>
                      <a:pt x="1984" y="384"/>
                    </a:lnTo>
                    <a:lnTo>
                      <a:pt x="1991" y="385"/>
                    </a:lnTo>
                    <a:lnTo>
                      <a:pt x="1976" y="387"/>
                    </a:lnTo>
                    <a:lnTo>
                      <a:pt x="1961" y="389"/>
                    </a:lnTo>
                    <a:lnTo>
                      <a:pt x="1946" y="392"/>
                    </a:lnTo>
                    <a:lnTo>
                      <a:pt x="1930" y="394"/>
                    </a:lnTo>
                    <a:lnTo>
                      <a:pt x="1914" y="396"/>
                    </a:lnTo>
                    <a:lnTo>
                      <a:pt x="1899" y="399"/>
                    </a:lnTo>
                    <a:lnTo>
                      <a:pt x="1883" y="400"/>
                    </a:lnTo>
                    <a:lnTo>
                      <a:pt x="1869" y="402"/>
                    </a:lnTo>
                    <a:lnTo>
                      <a:pt x="1855" y="404"/>
                    </a:lnTo>
                    <a:lnTo>
                      <a:pt x="1842" y="407"/>
                    </a:lnTo>
                    <a:lnTo>
                      <a:pt x="1831" y="408"/>
                    </a:lnTo>
                    <a:lnTo>
                      <a:pt x="1820" y="410"/>
                    </a:lnTo>
                    <a:lnTo>
                      <a:pt x="1813" y="411"/>
                    </a:lnTo>
                    <a:lnTo>
                      <a:pt x="1806" y="411"/>
                    </a:lnTo>
                    <a:lnTo>
                      <a:pt x="1803" y="413"/>
                    </a:lnTo>
                    <a:lnTo>
                      <a:pt x="1802" y="413"/>
                    </a:lnTo>
                    <a:lnTo>
                      <a:pt x="1803" y="415"/>
                    </a:lnTo>
                    <a:lnTo>
                      <a:pt x="1805" y="421"/>
                    </a:lnTo>
                    <a:lnTo>
                      <a:pt x="1808" y="428"/>
                    </a:lnTo>
                    <a:lnTo>
                      <a:pt x="1810" y="432"/>
                    </a:lnTo>
                    <a:lnTo>
                      <a:pt x="1801" y="433"/>
                    </a:lnTo>
                    <a:lnTo>
                      <a:pt x="1788" y="436"/>
                    </a:lnTo>
                    <a:lnTo>
                      <a:pt x="1773" y="439"/>
                    </a:lnTo>
                    <a:lnTo>
                      <a:pt x="1758" y="441"/>
                    </a:lnTo>
                    <a:lnTo>
                      <a:pt x="1743" y="444"/>
                    </a:lnTo>
                    <a:lnTo>
                      <a:pt x="1730" y="446"/>
                    </a:lnTo>
                    <a:lnTo>
                      <a:pt x="1722" y="448"/>
                    </a:lnTo>
                    <a:lnTo>
                      <a:pt x="1719" y="448"/>
                    </a:lnTo>
                    <a:lnTo>
                      <a:pt x="1721" y="459"/>
                    </a:lnTo>
                    <a:lnTo>
                      <a:pt x="1721" y="459"/>
                    </a:lnTo>
                    <a:lnTo>
                      <a:pt x="1722" y="460"/>
                    </a:lnTo>
                    <a:lnTo>
                      <a:pt x="1722" y="462"/>
                    </a:lnTo>
                    <a:lnTo>
                      <a:pt x="1722" y="463"/>
                    </a:lnTo>
                    <a:lnTo>
                      <a:pt x="1722" y="466"/>
                    </a:lnTo>
                    <a:lnTo>
                      <a:pt x="1721" y="468"/>
                    </a:lnTo>
                    <a:lnTo>
                      <a:pt x="1720" y="471"/>
                    </a:lnTo>
                    <a:lnTo>
                      <a:pt x="1719" y="474"/>
                    </a:lnTo>
                    <a:lnTo>
                      <a:pt x="1714" y="478"/>
                    </a:lnTo>
                    <a:lnTo>
                      <a:pt x="1707" y="482"/>
                    </a:lnTo>
                    <a:lnTo>
                      <a:pt x="1699" y="485"/>
                    </a:lnTo>
                    <a:lnTo>
                      <a:pt x="1689" y="487"/>
                    </a:lnTo>
                    <a:lnTo>
                      <a:pt x="1636" y="493"/>
                    </a:lnTo>
                    <a:lnTo>
                      <a:pt x="1635" y="493"/>
                    </a:lnTo>
                    <a:lnTo>
                      <a:pt x="1633" y="494"/>
                    </a:lnTo>
                    <a:lnTo>
                      <a:pt x="1627" y="497"/>
                    </a:lnTo>
                    <a:lnTo>
                      <a:pt x="1618" y="499"/>
                    </a:lnTo>
                    <a:lnTo>
                      <a:pt x="1606" y="502"/>
                    </a:lnTo>
                    <a:lnTo>
                      <a:pt x="1593" y="505"/>
                    </a:lnTo>
                    <a:lnTo>
                      <a:pt x="1578" y="506"/>
                    </a:lnTo>
                    <a:lnTo>
                      <a:pt x="1565" y="506"/>
                    </a:lnTo>
                    <a:lnTo>
                      <a:pt x="1552" y="504"/>
                    </a:lnTo>
                    <a:lnTo>
                      <a:pt x="1550" y="502"/>
                    </a:lnTo>
                    <a:lnTo>
                      <a:pt x="1546" y="504"/>
                    </a:lnTo>
                    <a:lnTo>
                      <a:pt x="1543" y="505"/>
                    </a:lnTo>
                    <a:lnTo>
                      <a:pt x="1536" y="506"/>
                    </a:lnTo>
                    <a:lnTo>
                      <a:pt x="1524" y="509"/>
                    </a:lnTo>
                    <a:lnTo>
                      <a:pt x="1509" y="513"/>
                    </a:lnTo>
                    <a:lnTo>
                      <a:pt x="1492" y="517"/>
                    </a:lnTo>
                    <a:lnTo>
                      <a:pt x="1472" y="522"/>
                    </a:lnTo>
                    <a:lnTo>
                      <a:pt x="1452" y="528"/>
                    </a:lnTo>
                    <a:lnTo>
                      <a:pt x="1429" y="532"/>
                    </a:lnTo>
                    <a:lnTo>
                      <a:pt x="1407" y="538"/>
                    </a:lnTo>
                    <a:lnTo>
                      <a:pt x="1384" y="544"/>
                    </a:lnTo>
                    <a:lnTo>
                      <a:pt x="1363" y="549"/>
                    </a:lnTo>
                    <a:lnTo>
                      <a:pt x="1342" y="554"/>
                    </a:lnTo>
                    <a:lnTo>
                      <a:pt x="1325" y="558"/>
                    </a:lnTo>
                    <a:lnTo>
                      <a:pt x="1310" y="561"/>
                    </a:lnTo>
                    <a:lnTo>
                      <a:pt x="1297" y="565"/>
                    </a:lnTo>
                    <a:lnTo>
                      <a:pt x="1289" y="566"/>
                    </a:lnTo>
                    <a:lnTo>
                      <a:pt x="1278" y="567"/>
                    </a:lnTo>
                    <a:lnTo>
                      <a:pt x="1263" y="569"/>
                    </a:lnTo>
                    <a:lnTo>
                      <a:pt x="1245" y="570"/>
                    </a:lnTo>
                    <a:lnTo>
                      <a:pt x="1227" y="572"/>
                    </a:lnTo>
                    <a:lnTo>
                      <a:pt x="1210" y="572"/>
                    </a:lnTo>
                    <a:lnTo>
                      <a:pt x="1194" y="573"/>
                    </a:lnTo>
                    <a:lnTo>
                      <a:pt x="1180" y="574"/>
                    </a:lnTo>
                    <a:lnTo>
                      <a:pt x="1171" y="574"/>
                    </a:lnTo>
                    <a:lnTo>
                      <a:pt x="1168" y="572"/>
                    </a:lnTo>
                    <a:lnTo>
                      <a:pt x="1166" y="567"/>
                    </a:lnTo>
                    <a:lnTo>
                      <a:pt x="1162" y="564"/>
                    </a:lnTo>
                    <a:lnTo>
                      <a:pt x="1158" y="558"/>
                    </a:lnTo>
                    <a:lnTo>
                      <a:pt x="1165" y="558"/>
                    </a:lnTo>
                    <a:lnTo>
                      <a:pt x="1172" y="557"/>
                    </a:lnTo>
                    <a:lnTo>
                      <a:pt x="1179" y="555"/>
                    </a:lnTo>
                    <a:lnTo>
                      <a:pt x="1186" y="554"/>
                    </a:lnTo>
                    <a:lnTo>
                      <a:pt x="1191" y="552"/>
                    </a:lnTo>
                    <a:lnTo>
                      <a:pt x="1197" y="550"/>
                    </a:lnTo>
                    <a:lnTo>
                      <a:pt x="1203" y="546"/>
                    </a:lnTo>
                    <a:lnTo>
                      <a:pt x="1206" y="543"/>
                    </a:lnTo>
                    <a:lnTo>
                      <a:pt x="1211" y="536"/>
                    </a:lnTo>
                    <a:lnTo>
                      <a:pt x="1213" y="529"/>
                    </a:lnTo>
                    <a:lnTo>
                      <a:pt x="1215" y="523"/>
                    </a:lnTo>
                    <a:lnTo>
                      <a:pt x="1215" y="516"/>
                    </a:lnTo>
                    <a:lnTo>
                      <a:pt x="1215" y="512"/>
                    </a:lnTo>
                    <a:lnTo>
                      <a:pt x="1214" y="508"/>
                    </a:lnTo>
                    <a:lnTo>
                      <a:pt x="1214" y="505"/>
                    </a:lnTo>
                    <a:lnTo>
                      <a:pt x="1213" y="502"/>
                    </a:lnTo>
                    <a:lnTo>
                      <a:pt x="1211" y="497"/>
                    </a:lnTo>
                    <a:lnTo>
                      <a:pt x="1207" y="492"/>
                    </a:lnTo>
                    <a:lnTo>
                      <a:pt x="1203" y="489"/>
                    </a:lnTo>
                    <a:lnTo>
                      <a:pt x="1198" y="487"/>
                    </a:lnTo>
                    <a:lnTo>
                      <a:pt x="1195" y="486"/>
                    </a:lnTo>
                    <a:lnTo>
                      <a:pt x="1189" y="484"/>
                    </a:lnTo>
                    <a:lnTo>
                      <a:pt x="1183" y="482"/>
                    </a:lnTo>
                    <a:lnTo>
                      <a:pt x="1175" y="478"/>
                    </a:lnTo>
                    <a:lnTo>
                      <a:pt x="1168" y="475"/>
                    </a:lnTo>
                    <a:lnTo>
                      <a:pt x="1160" y="471"/>
                    </a:lnTo>
                    <a:lnTo>
                      <a:pt x="1152" y="468"/>
                    </a:lnTo>
                    <a:lnTo>
                      <a:pt x="1145" y="464"/>
                    </a:lnTo>
                    <a:lnTo>
                      <a:pt x="1143" y="461"/>
                    </a:lnTo>
                    <a:lnTo>
                      <a:pt x="1138" y="457"/>
                    </a:lnTo>
                    <a:lnTo>
                      <a:pt x="1135" y="453"/>
                    </a:lnTo>
                    <a:lnTo>
                      <a:pt x="1134" y="452"/>
                    </a:lnTo>
                    <a:lnTo>
                      <a:pt x="1133" y="452"/>
                    </a:lnTo>
                    <a:lnTo>
                      <a:pt x="1130" y="451"/>
                    </a:lnTo>
                    <a:lnTo>
                      <a:pt x="1128" y="449"/>
                    </a:lnTo>
                    <a:lnTo>
                      <a:pt x="1127" y="448"/>
                    </a:lnTo>
                    <a:lnTo>
                      <a:pt x="1138" y="446"/>
                    </a:lnTo>
                    <a:lnTo>
                      <a:pt x="1151" y="443"/>
                    </a:lnTo>
                    <a:lnTo>
                      <a:pt x="1164" y="439"/>
                    </a:lnTo>
                    <a:lnTo>
                      <a:pt x="1175" y="436"/>
                    </a:lnTo>
                    <a:lnTo>
                      <a:pt x="1187" y="433"/>
                    </a:lnTo>
                    <a:lnTo>
                      <a:pt x="1195" y="431"/>
                    </a:lnTo>
                    <a:lnTo>
                      <a:pt x="1200" y="429"/>
                    </a:lnTo>
                    <a:lnTo>
                      <a:pt x="1203" y="429"/>
                    </a:lnTo>
                    <a:lnTo>
                      <a:pt x="1209" y="429"/>
                    </a:lnTo>
                    <a:lnTo>
                      <a:pt x="1222" y="426"/>
                    </a:lnTo>
                    <a:lnTo>
                      <a:pt x="1244" y="424"/>
                    </a:lnTo>
                    <a:lnTo>
                      <a:pt x="1273" y="421"/>
                    </a:lnTo>
                    <a:lnTo>
                      <a:pt x="1308" y="417"/>
                    </a:lnTo>
                    <a:lnTo>
                      <a:pt x="1344" y="413"/>
                    </a:lnTo>
                    <a:lnTo>
                      <a:pt x="1385" y="408"/>
                    </a:lnTo>
                    <a:lnTo>
                      <a:pt x="1427" y="403"/>
                    </a:lnTo>
                    <a:lnTo>
                      <a:pt x="1469" y="399"/>
                    </a:lnTo>
                    <a:lnTo>
                      <a:pt x="1509" y="394"/>
                    </a:lnTo>
                    <a:lnTo>
                      <a:pt x="1547" y="391"/>
                    </a:lnTo>
                    <a:lnTo>
                      <a:pt x="1581" y="386"/>
                    </a:lnTo>
                    <a:lnTo>
                      <a:pt x="1609" y="383"/>
                    </a:lnTo>
                    <a:lnTo>
                      <a:pt x="1631" y="380"/>
                    </a:lnTo>
                    <a:lnTo>
                      <a:pt x="1646" y="379"/>
                    </a:lnTo>
                    <a:lnTo>
                      <a:pt x="1652" y="378"/>
                    </a:lnTo>
                    <a:lnTo>
                      <a:pt x="1654" y="379"/>
                    </a:lnTo>
                    <a:lnTo>
                      <a:pt x="1661" y="380"/>
                    </a:lnTo>
                    <a:lnTo>
                      <a:pt x="1669" y="383"/>
                    </a:lnTo>
                    <a:lnTo>
                      <a:pt x="1679" y="384"/>
                    </a:lnTo>
                    <a:lnTo>
                      <a:pt x="1688" y="386"/>
                    </a:lnTo>
                    <a:lnTo>
                      <a:pt x="1695" y="388"/>
                    </a:lnTo>
                    <a:lnTo>
                      <a:pt x="1700" y="389"/>
                    </a:lnTo>
                    <a:lnTo>
                      <a:pt x="1703" y="389"/>
                    </a:lnTo>
                    <a:lnTo>
                      <a:pt x="1705" y="389"/>
                    </a:lnTo>
                    <a:lnTo>
                      <a:pt x="1710" y="389"/>
                    </a:lnTo>
                    <a:lnTo>
                      <a:pt x="1718" y="388"/>
                    </a:lnTo>
                    <a:lnTo>
                      <a:pt x="1728" y="388"/>
                    </a:lnTo>
                    <a:lnTo>
                      <a:pt x="1740" y="387"/>
                    </a:lnTo>
                    <a:lnTo>
                      <a:pt x="1753" y="387"/>
                    </a:lnTo>
                    <a:lnTo>
                      <a:pt x="1767" y="386"/>
                    </a:lnTo>
                    <a:lnTo>
                      <a:pt x="1781" y="386"/>
                    </a:lnTo>
                    <a:lnTo>
                      <a:pt x="1770" y="391"/>
                    </a:lnTo>
                    <a:lnTo>
                      <a:pt x="1759" y="395"/>
                    </a:lnTo>
                    <a:lnTo>
                      <a:pt x="1749" y="400"/>
                    </a:lnTo>
                    <a:lnTo>
                      <a:pt x="1741" y="403"/>
                    </a:lnTo>
                    <a:lnTo>
                      <a:pt x="1733" y="406"/>
                    </a:lnTo>
                    <a:lnTo>
                      <a:pt x="1726" y="409"/>
                    </a:lnTo>
                    <a:lnTo>
                      <a:pt x="1722" y="410"/>
                    </a:lnTo>
                    <a:lnTo>
                      <a:pt x="1720" y="411"/>
                    </a:lnTo>
                    <a:lnTo>
                      <a:pt x="1715" y="411"/>
                    </a:lnTo>
                    <a:lnTo>
                      <a:pt x="1706" y="411"/>
                    </a:lnTo>
                    <a:lnTo>
                      <a:pt x="1695" y="411"/>
                    </a:lnTo>
                    <a:lnTo>
                      <a:pt x="1681" y="411"/>
                    </a:lnTo>
                    <a:lnTo>
                      <a:pt x="1667" y="411"/>
                    </a:lnTo>
                    <a:lnTo>
                      <a:pt x="1656" y="411"/>
                    </a:lnTo>
                    <a:lnTo>
                      <a:pt x="1647" y="411"/>
                    </a:lnTo>
                    <a:lnTo>
                      <a:pt x="1644" y="411"/>
                    </a:lnTo>
                    <a:lnTo>
                      <a:pt x="1641" y="411"/>
                    </a:lnTo>
                    <a:lnTo>
                      <a:pt x="1630" y="411"/>
                    </a:lnTo>
                    <a:lnTo>
                      <a:pt x="1618" y="410"/>
                    </a:lnTo>
                    <a:lnTo>
                      <a:pt x="1601" y="409"/>
                    </a:lnTo>
                    <a:lnTo>
                      <a:pt x="1585" y="409"/>
                    </a:lnTo>
                    <a:lnTo>
                      <a:pt x="1573" y="408"/>
                    </a:lnTo>
                    <a:lnTo>
                      <a:pt x="1562" y="408"/>
                    </a:lnTo>
                    <a:lnTo>
                      <a:pt x="1559" y="408"/>
                    </a:lnTo>
                    <a:lnTo>
                      <a:pt x="1565" y="422"/>
                    </a:lnTo>
                    <a:lnTo>
                      <a:pt x="1567" y="430"/>
                    </a:lnTo>
                    <a:lnTo>
                      <a:pt x="1570" y="440"/>
                    </a:lnTo>
                    <a:lnTo>
                      <a:pt x="1570" y="453"/>
                    </a:lnTo>
                    <a:lnTo>
                      <a:pt x="1568" y="463"/>
                    </a:lnTo>
                    <a:lnTo>
                      <a:pt x="1566" y="467"/>
                    </a:lnTo>
                    <a:lnTo>
                      <a:pt x="1562" y="470"/>
                    </a:lnTo>
                    <a:lnTo>
                      <a:pt x="1559" y="472"/>
                    </a:lnTo>
                    <a:lnTo>
                      <a:pt x="1554" y="474"/>
                    </a:lnTo>
                    <a:lnTo>
                      <a:pt x="1545" y="476"/>
                    </a:lnTo>
                    <a:lnTo>
                      <a:pt x="1537" y="475"/>
                    </a:lnTo>
                    <a:lnTo>
                      <a:pt x="1530" y="472"/>
                    </a:lnTo>
                    <a:lnTo>
                      <a:pt x="1524" y="467"/>
                    </a:lnTo>
                    <a:lnTo>
                      <a:pt x="1520" y="457"/>
                    </a:lnTo>
                    <a:lnTo>
                      <a:pt x="1518" y="446"/>
                    </a:lnTo>
                    <a:lnTo>
                      <a:pt x="1518" y="436"/>
                    </a:lnTo>
                    <a:lnTo>
                      <a:pt x="1522" y="428"/>
                    </a:lnTo>
                    <a:lnTo>
                      <a:pt x="1532" y="411"/>
                    </a:lnTo>
                    <a:lnTo>
                      <a:pt x="1225" y="446"/>
                    </a:lnTo>
                    <a:lnTo>
                      <a:pt x="1227" y="464"/>
                    </a:lnTo>
                    <a:lnTo>
                      <a:pt x="1229" y="464"/>
                    </a:lnTo>
                    <a:lnTo>
                      <a:pt x="1237" y="463"/>
                    </a:lnTo>
                    <a:lnTo>
                      <a:pt x="1250" y="462"/>
                    </a:lnTo>
                    <a:lnTo>
                      <a:pt x="1266" y="460"/>
                    </a:lnTo>
                    <a:lnTo>
                      <a:pt x="1285" y="457"/>
                    </a:lnTo>
                    <a:lnTo>
                      <a:pt x="1306" y="455"/>
                    </a:lnTo>
                    <a:lnTo>
                      <a:pt x="1330" y="453"/>
                    </a:lnTo>
                    <a:lnTo>
                      <a:pt x="1354" y="451"/>
                    </a:lnTo>
                    <a:lnTo>
                      <a:pt x="1378" y="447"/>
                    </a:lnTo>
                    <a:lnTo>
                      <a:pt x="1402" y="445"/>
                    </a:lnTo>
                    <a:lnTo>
                      <a:pt x="1425" y="443"/>
                    </a:lnTo>
                    <a:lnTo>
                      <a:pt x="1446" y="440"/>
                    </a:lnTo>
                    <a:lnTo>
                      <a:pt x="1465" y="438"/>
                    </a:lnTo>
                    <a:lnTo>
                      <a:pt x="1480" y="437"/>
                    </a:lnTo>
                    <a:lnTo>
                      <a:pt x="1493" y="436"/>
                    </a:lnTo>
                    <a:lnTo>
                      <a:pt x="1500" y="434"/>
                    </a:lnTo>
                    <a:lnTo>
                      <a:pt x="1500" y="437"/>
                    </a:lnTo>
                    <a:lnTo>
                      <a:pt x="1500" y="439"/>
                    </a:lnTo>
                    <a:lnTo>
                      <a:pt x="1499" y="443"/>
                    </a:lnTo>
                    <a:lnTo>
                      <a:pt x="1499" y="445"/>
                    </a:lnTo>
                    <a:lnTo>
                      <a:pt x="1500" y="454"/>
                    </a:lnTo>
                    <a:lnTo>
                      <a:pt x="1501" y="462"/>
                    </a:lnTo>
                    <a:lnTo>
                      <a:pt x="1505" y="470"/>
                    </a:lnTo>
                    <a:lnTo>
                      <a:pt x="1509" y="478"/>
                    </a:lnTo>
                    <a:lnTo>
                      <a:pt x="1513" y="482"/>
                    </a:lnTo>
                    <a:lnTo>
                      <a:pt x="1516" y="485"/>
                    </a:lnTo>
                    <a:lnTo>
                      <a:pt x="1521" y="489"/>
                    </a:lnTo>
                    <a:lnTo>
                      <a:pt x="1527" y="491"/>
                    </a:lnTo>
                    <a:lnTo>
                      <a:pt x="1533" y="493"/>
                    </a:lnTo>
                    <a:lnTo>
                      <a:pt x="1540" y="494"/>
                    </a:lnTo>
                    <a:lnTo>
                      <a:pt x="1550" y="494"/>
                    </a:lnTo>
                    <a:lnTo>
                      <a:pt x="1560" y="492"/>
                    </a:lnTo>
                    <a:lnTo>
                      <a:pt x="1568" y="489"/>
                    </a:lnTo>
                    <a:lnTo>
                      <a:pt x="1575" y="484"/>
                    </a:lnTo>
                    <a:lnTo>
                      <a:pt x="1580" y="478"/>
                    </a:lnTo>
                    <a:lnTo>
                      <a:pt x="1584" y="471"/>
                    </a:lnTo>
                    <a:lnTo>
                      <a:pt x="1586" y="466"/>
                    </a:lnTo>
                    <a:lnTo>
                      <a:pt x="1588" y="460"/>
                    </a:lnTo>
                    <a:lnTo>
                      <a:pt x="1589" y="455"/>
                    </a:lnTo>
                    <a:lnTo>
                      <a:pt x="1589" y="449"/>
                    </a:lnTo>
                    <a:lnTo>
                      <a:pt x="1589" y="444"/>
                    </a:lnTo>
                    <a:lnTo>
                      <a:pt x="1588" y="438"/>
                    </a:lnTo>
                    <a:lnTo>
                      <a:pt x="1588" y="432"/>
                    </a:lnTo>
                    <a:lnTo>
                      <a:pt x="1586" y="428"/>
                    </a:lnTo>
                    <a:lnTo>
                      <a:pt x="1593" y="428"/>
                    </a:lnTo>
                    <a:lnTo>
                      <a:pt x="1603" y="429"/>
                    </a:lnTo>
                    <a:lnTo>
                      <a:pt x="1612" y="429"/>
                    </a:lnTo>
                    <a:lnTo>
                      <a:pt x="1622" y="429"/>
                    </a:lnTo>
                    <a:lnTo>
                      <a:pt x="1630" y="430"/>
                    </a:lnTo>
                    <a:lnTo>
                      <a:pt x="1637" y="430"/>
                    </a:lnTo>
                    <a:lnTo>
                      <a:pt x="1642" y="430"/>
                    </a:lnTo>
                    <a:lnTo>
                      <a:pt x="1644" y="430"/>
                    </a:lnTo>
                    <a:lnTo>
                      <a:pt x="1725" y="430"/>
                    </a:lnTo>
                    <a:lnTo>
                      <a:pt x="1838" y="383"/>
                    </a:lnTo>
                    <a:lnTo>
                      <a:pt x="1833" y="365"/>
                    </a:lnTo>
                    <a:lnTo>
                      <a:pt x="1827" y="365"/>
                    </a:lnTo>
                    <a:lnTo>
                      <a:pt x="1813" y="366"/>
                    </a:lnTo>
                    <a:lnTo>
                      <a:pt x="1793" y="366"/>
                    </a:lnTo>
                    <a:lnTo>
                      <a:pt x="1770" y="368"/>
                    </a:lnTo>
                    <a:lnTo>
                      <a:pt x="1745" y="369"/>
                    </a:lnTo>
                    <a:lnTo>
                      <a:pt x="1725" y="369"/>
                    </a:lnTo>
                    <a:lnTo>
                      <a:pt x="1710" y="370"/>
                    </a:lnTo>
                    <a:lnTo>
                      <a:pt x="1704" y="370"/>
                    </a:lnTo>
                    <a:lnTo>
                      <a:pt x="1700" y="370"/>
                    </a:lnTo>
                    <a:lnTo>
                      <a:pt x="1695" y="369"/>
                    </a:lnTo>
                    <a:lnTo>
                      <a:pt x="1687" y="366"/>
                    </a:lnTo>
                    <a:lnTo>
                      <a:pt x="1677" y="364"/>
                    </a:lnTo>
                    <a:lnTo>
                      <a:pt x="1668" y="363"/>
                    </a:lnTo>
                    <a:lnTo>
                      <a:pt x="1660" y="361"/>
                    </a:lnTo>
                    <a:lnTo>
                      <a:pt x="1654" y="360"/>
                    </a:lnTo>
                    <a:lnTo>
                      <a:pt x="1652" y="360"/>
                    </a:lnTo>
                    <a:lnTo>
                      <a:pt x="1199" y="410"/>
                    </a:lnTo>
                    <a:lnTo>
                      <a:pt x="1070" y="445"/>
                    </a:lnTo>
                    <a:lnTo>
                      <a:pt x="1073" y="446"/>
                    </a:lnTo>
                    <a:lnTo>
                      <a:pt x="1078" y="448"/>
                    </a:lnTo>
                    <a:lnTo>
                      <a:pt x="1086" y="452"/>
                    </a:lnTo>
                    <a:lnTo>
                      <a:pt x="1096" y="455"/>
                    </a:lnTo>
                    <a:lnTo>
                      <a:pt x="1105" y="460"/>
                    </a:lnTo>
                    <a:lnTo>
                      <a:pt x="1113" y="463"/>
                    </a:lnTo>
                    <a:lnTo>
                      <a:pt x="1119" y="466"/>
                    </a:lnTo>
                    <a:lnTo>
                      <a:pt x="1122" y="467"/>
                    </a:lnTo>
                    <a:lnTo>
                      <a:pt x="1124" y="470"/>
                    </a:lnTo>
                    <a:lnTo>
                      <a:pt x="1129" y="474"/>
                    </a:lnTo>
                    <a:lnTo>
                      <a:pt x="1133" y="478"/>
                    </a:lnTo>
                    <a:lnTo>
                      <a:pt x="1134" y="479"/>
                    </a:lnTo>
                    <a:lnTo>
                      <a:pt x="1135" y="481"/>
                    </a:lnTo>
                    <a:lnTo>
                      <a:pt x="1138" y="482"/>
                    </a:lnTo>
                    <a:lnTo>
                      <a:pt x="1145" y="485"/>
                    </a:lnTo>
                    <a:lnTo>
                      <a:pt x="1153" y="489"/>
                    </a:lnTo>
                    <a:lnTo>
                      <a:pt x="1162" y="493"/>
                    </a:lnTo>
                    <a:lnTo>
                      <a:pt x="1172" y="497"/>
                    </a:lnTo>
                    <a:lnTo>
                      <a:pt x="1181" y="501"/>
                    </a:lnTo>
                    <a:lnTo>
                      <a:pt x="1188" y="504"/>
                    </a:lnTo>
                    <a:lnTo>
                      <a:pt x="1194" y="506"/>
                    </a:lnTo>
                    <a:lnTo>
                      <a:pt x="1194" y="506"/>
                    </a:lnTo>
                    <a:lnTo>
                      <a:pt x="1195" y="507"/>
                    </a:lnTo>
                    <a:lnTo>
                      <a:pt x="1196" y="509"/>
                    </a:lnTo>
                    <a:lnTo>
                      <a:pt x="1196" y="512"/>
                    </a:lnTo>
                    <a:lnTo>
                      <a:pt x="1196" y="513"/>
                    </a:lnTo>
                    <a:lnTo>
                      <a:pt x="1197" y="513"/>
                    </a:lnTo>
                    <a:lnTo>
                      <a:pt x="1197" y="514"/>
                    </a:lnTo>
                    <a:lnTo>
                      <a:pt x="1197" y="515"/>
                    </a:lnTo>
                    <a:lnTo>
                      <a:pt x="1197" y="520"/>
                    </a:lnTo>
                    <a:lnTo>
                      <a:pt x="1196" y="523"/>
                    </a:lnTo>
                    <a:lnTo>
                      <a:pt x="1194" y="528"/>
                    </a:lnTo>
                    <a:lnTo>
                      <a:pt x="1191" y="531"/>
                    </a:lnTo>
                    <a:lnTo>
                      <a:pt x="1189" y="534"/>
                    </a:lnTo>
                    <a:lnTo>
                      <a:pt x="1184" y="535"/>
                    </a:lnTo>
                    <a:lnTo>
                      <a:pt x="1179" y="536"/>
                    </a:lnTo>
                    <a:lnTo>
                      <a:pt x="1172" y="537"/>
                    </a:lnTo>
                    <a:lnTo>
                      <a:pt x="1164" y="538"/>
                    </a:lnTo>
                    <a:lnTo>
                      <a:pt x="1156" y="538"/>
                    </a:lnTo>
                    <a:lnTo>
                      <a:pt x="1147" y="538"/>
                    </a:lnTo>
                    <a:lnTo>
                      <a:pt x="1139" y="538"/>
                    </a:lnTo>
                    <a:lnTo>
                      <a:pt x="1120" y="537"/>
                    </a:lnTo>
                    <a:lnTo>
                      <a:pt x="1162" y="592"/>
                    </a:lnTo>
                    <a:lnTo>
                      <a:pt x="1167" y="592"/>
                    </a:lnTo>
                    <a:lnTo>
                      <a:pt x="1172" y="592"/>
                    </a:lnTo>
                    <a:lnTo>
                      <a:pt x="1183" y="592"/>
                    </a:lnTo>
                    <a:lnTo>
                      <a:pt x="1199" y="591"/>
                    </a:lnTo>
                    <a:lnTo>
                      <a:pt x="1219" y="590"/>
                    </a:lnTo>
                    <a:lnTo>
                      <a:pt x="1240" y="589"/>
                    </a:lnTo>
                    <a:lnTo>
                      <a:pt x="1260" y="588"/>
                    </a:lnTo>
                    <a:lnTo>
                      <a:pt x="1278" y="587"/>
                    </a:lnTo>
                    <a:lnTo>
                      <a:pt x="1293" y="584"/>
                    </a:lnTo>
                    <a:lnTo>
                      <a:pt x="1301" y="583"/>
                    </a:lnTo>
                    <a:lnTo>
                      <a:pt x="1311" y="580"/>
                    </a:lnTo>
                    <a:lnTo>
                      <a:pt x="1326" y="577"/>
                    </a:lnTo>
                    <a:lnTo>
                      <a:pt x="1342" y="573"/>
                    </a:lnTo>
                    <a:lnTo>
                      <a:pt x="1361" y="568"/>
                    </a:lnTo>
                    <a:lnTo>
                      <a:pt x="1381" y="564"/>
                    </a:lnTo>
                    <a:lnTo>
                      <a:pt x="1402" y="559"/>
                    </a:lnTo>
                    <a:lnTo>
                      <a:pt x="1424" y="553"/>
                    </a:lnTo>
                    <a:lnTo>
                      <a:pt x="1445" y="547"/>
                    </a:lnTo>
                    <a:lnTo>
                      <a:pt x="1465" y="543"/>
                    </a:lnTo>
                    <a:lnTo>
                      <a:pt x="1485" y="538"/>
                    </a:lnTo>
                    <a:lnTo>
                      <a:pt x="1503" y="534"/>
                    </a:lnTo>
                    <a:lnTo>
                      <a:pt x="1520" y="529"/>
                    </a:lnTo>
                    <a:lnTo>
                      <a:pt x="1532" y="527"/>
                    </a:lnTo>
                    <a:lnTo>
                      <a:pt x="1543" y="523"/>
                    </a:lnTo>
                    <a:lnTo>
                      <a:pt x="1550" y="522"/>
                    </a:lnTo>
                    <a:lnTo>
                      <a:pt x="1563" y="524"/>
                    </a:lnTo>
                    <a:lnTo>
                      <a:pt x="1578" y="524"/>
                    </a:lnTo>
                    <a:lnTo>
                      <a:pt x="1592" y="523"/>
                    </a:lnTo>
                    <a:lnTo>
                      <a:pt x="1606" y="521"/>
                    </a:lnTo>
                    <a:lnTo>
                      <a:pt x="1618" y="519"/>
                    </a:lnTo>
                    <a:lnTo>
                      <a:pt x="1628" y="515"/>
                    </a:lnTo>
                    <a:lnTo>
                      <a:pt x="1636" y="513"/>
                    </a:lnTo>
                    <a:lnTo>
                      <a:pt x="1641" y="511"/>
                    </a:lnTo>
                    <a:lnTo>
                      <a:pt x="1643" y="511"/>
                    </a:lnTo>
                    <a:lnTo>
                      <a:pt x="1650" y="509"/>
                    </a:lnTo>
                    <a:lnTo>
                      <a:pt x="1658" y="509"/>
                    </a:lnTo>
                    <a:lnTo>
                      <a:pt x="1667" y="508"/>
                    </a:lnTo>
                    <a:lnTo>
                      <a:pt x="1676" y="507"/>
                    </a:lnTo>
                    <a:lnTo>
                      <a:pt x="1683" y="507"/>
                    </a:lnTo>
                    <a:lnTo>
                      <a:pt x="1689" y="506"/>
                    </a:lnTo>
                    <a:lnTo>
                      <a:pt x="1691" y="506"/>
                    </a:lnTo>
                    <a:lnTo>
                      <a:pt x="1699" y="505"/>
                    </a:lnTo>
                    <a:lnTo>
                      <a:pt x="1706" y="504"/>
                    </a:lnTo>
                    <a:lnTo>
                      <a:pt x="1712" y="501"/>
                    </a:lnTo>
                    <a:lnTo>
                      <a:pt x="1718" y="499"/>
                    </a:lnTo>
                    <a:lnTo>
                      <a:pt x="1724" y="496"/>
                    </a:lnTo>
                    <a:lnTo>
                      <a:pt x="1728" y="492"/>
                    </a:lnTo>
                    <a:lnTo>
                      <a:pt x="1732" y="489"/>
                    </a:lnTo>
                    <a:lnTo>
                      <a:pt x="1735" y="484"/>
                    </a:lnTo>
                    <a:lnTo>
                      <a:pt x="1737" y="478"/>
                    </a:lnTo>
                    <a:lnTo>
                      <a:pt x="1740" y="474"/>
                    </a:lnTo>
                    <a:lnTo>
                      <a:pt x="1741" y="468"/>
                    </a:lnTo>
                    <a:lnTo>
                      <a:pt x="1741" y="463"/>
                    </a:lnTo>
                    <a:lnTo>
                      <a:pt x="1749" y="462"/>
                    </a:lnTo>
                    <a:lnTo>
                      <a:pt x="1762" y="460"/>
                    </a:lnTo>
                    <a:lnTo>
                      <a:pt x="1778" y="457"/>
                    </a:lnTo>
                    <a:lnTo>
                      <a:pt x="1794" y="454"/>
                    </a:lnTo>
                    <a:lnTo>
                      <a:pt x="1810" y="452"/>
                    </a:lnTo>
                    <a:lnTo>
                      <a:pt x="1824" y="449"/>
                    </a:lnTo>
                    <a:lnTo>
                      <a:pt x="1833" y="448"/>
                    </a:lnTo>
                    <a:lnTo>
                      <a:pt x="1836" y="447"/>
                    </a:lnTo>
                    <a:lnTo>
                      <a:pt x="1835" y="445"/>
                    </a:lnTo>
                    <a:lnTo>
                      <a:pt x="1833" y="439"/>
                    </a:lnTo>
                    <a:lnTo>
                      <a:pt x="1831" y="432"/>
                    </a:lnTo>
                    <a:lnTo>
                      <a:pt x="1828" y="428"/>
                    </a:lnTo>
                    <a:lnTo>
                      <a:pt x="1834" y="426"/>
                    </a:lnTo>
                    <a:lnTo>
                      <a:pt x="1845" y="425"/>
                    </a:lnTo>
                    <a:lnTo>
                      <a:pt x="1858" y="423"/>
                    </a:lnTo>
                    <a:lnTo>
                      <a:pt x="1876" y="421"/>
                    </a:lnTo>
                    <a:lnTo>
                      <a:pt x="1894" y="417"/>
                    </a:lnTo>
                    <a:lnTo>
                      <a:pt x="1914" y="415"/>
                    </a:lnTo>
                    <a:lnTo>
                      <a:pt x="1934" y="411"/>
                    </a:lnTo>
                    <a:lnTo>
                      <a:pt x="1956" y="408"/>
                    </a:lnTo>
                    <a:lnTo>
                      <a:pt x="1978" y="406"/>
                    </a:lnTo>
                    <a:lnTo>
                      <a:pt x="1998" y="402"/>
                    </a:lnTo>
                    <a:lnTo>
                      <a:pt x="2017" y="400"/>
                    </a:lnTo>
                    <a:lnTo>
                      <a:pt x="2033" y="396"/>
                    </a:lnTo>
                    <a:lnTo>
                      <a:pt x="2047" y="395"/>
                    </a:lnTo>
                    <a:lnTo>
                      <a:pt x="2059" y="393"/>
                    </a:lnTo>
                    <a:lnTo>
                      <a:pt x="2066" y="392"/>
                    </a:lnTo>
                    <a:lnTo>
                      <a:pt x="2068" y="392"/>
                    </a:lnTo>
                    <a:lnTo>
                      <a:pt x="2068" y="373"/>
                    </a:lnTo>
                    <a:lnTo>
                      <a:pt x="2067" y="373"/>
                    </a:lnTo>
                    <a:lnTo>
                      <a:pt x="2065" y="373"/>
                    </a:lnTo>
                    <a:lnTo>
                      <a:pt x="2061" y="372"/>
                    </a:lnTo>
                    <a:lnTo>
                      <a:pt x="2055" y="372"/>
                    </a:lnTo>
                    <a:lnTo>
                      <a:pt x="2050" y="371"/>
                    </a:lnTo>
                    <a:lnTo>
                      <a:pt x="2044" y="371"/>
                    </a:lnTo>
                    <a:lnTo>
                      <a:pt x="2037" y="370"/>
                    </a:lnTo>
                    <a:lnTo>
                      <a:pt x="2031" y="370"/>
                    </a:lnTo>
                    <a:lnTo>
                      <a:pt x="2045" y="368"/>
                    </a:lnTo>
                    <a:lnTo>
                      <a:pt x="2058" y="365"/>
                    </a:lnTo>
                    <a:lnTo>
                      <a:pt x="2070" y="364"/>
                    </a:lnTo>
                    <a:lnTo>
                      <a:pt x="2081" y="363"/>
                    </a:lnTo>
                    <a:lnTo>
                      <a:pt x="2090" y="362"/>
                    </a:lnTo>
                    <a:lnTo>
                      <a:pt x="2098" y="361"/>
                    </a:lnTo>
                    <a:lnTo>
                      <a:pt x="2103" y="360"/>
                    </a:lnTo>
                    <a:lnTo>
                      <a:pt x="2104" y="360"/>
                    </a:lnTo>
                    <a:lnTo>
                      <a:pt x="2112" y="358"/>
                    </a:lnTo>
                    <a:lnTo>
                      <a:pt x="2131" y="354"/>
                    </a:lnTo>
                    <a:lnTo>
                      <a:pt x="2159" y="348"/>
                    </a:lnTo>
                    <a:lnTo>
                      <a:pt x="2192" y="341"/>
                    </a:lnTo>
                    <a:lnTo>
                      <a:pt x="2225" y="335"/>
                    </a:lnTo>
                    <a:lnTo>
                      <a:pt x="2252" y="330"/>
                    </a:lnTo>
                    <a:lnTo>
                      <a:pt x="2272" y="325"/>
                    </a:lnTo>
                    <a:lnTo>
                      <a:pt x="2280" y="324"/>
                    </a:lnTo>
                    <a:lnTo>
                      <a:pt x="2279" y="305"/>
                    </a:lnTo>
                    <a:lnTo>
                      <a:pt x="2101" y="303"/>
                    </a:lnTo>
                    <a:lnTo>
                      <a:pt x="2097" y="303"/>
                    </a:lnTo>
                    <a:lnTo>
                      <a:pt x="2085" y="304"/>
                    </a:lnTo>
                    <a:lnTo>
                      <a:pt x="2068" y="307"/>
                    </a:lnTo>
                    <a:lnTo>
                      <a:pt x="2044" y="309"/>
                    </a:lnTo>
                    <a:lnTo>
                      <a:pt x="2016" y="311"/>
                    </a:lnTo>
                    <a:lnTo>
                      <a:pt x="1985" y="315"/>
                    </a:lnTo>
                    <a:lnTo>
                      <a:pt x="1952" y="318"/>
                    </a:lnTo>
                    <a:lnTo>
                      <a:pt x="1917" y="322"/>
                    </a:lnTo>
                    <a:lnTo>
                      <a:pt x="1881" y="325"/>
                    </a:lnTo>
                    <a:lnTo>
                      <a:pt x="1847" y="328"/>
                    </a:lnTo>
                    <a:lnTo>
                      <a:pt x="1815" y="332"/>
                    </a:lnTo>
                    <a:lnTo>
                      <a:pt x="1785" y="334"/>
                    </a:lnTo>
                    <a:lnTo>
                      <a:pt x="1758" y="338"/>
                    </a:lnTo>
                    <a:lnTo>
                      <a:pt x="1737" y="340"/>
                    </a:lnTo>
                    <a:lnTo>
                      <a:pt x="1721" y="341"/>
                    </a:lnTo>
                    <a:lnTo>
                      <a:pt x="1713" y="342"/>
                    </a:lnTo>
                    <a:lnTo>
                      <a:pt x="1719" y="322"/>
                    </a:lnTo>
                    <a:lnTo>
                      <a:pt x="1730" y="280"/>
                    </a:lnTo>
                    <a:lnTo>
                      <a:pt x="1745" y="226"/>
                    </a:lnTo>
                    <a:lnTo>
                      <a:pt x="1762" y="167"/>
                    </a:lnTo>
                    <a:lnTo>
                      <a:pt x="1778" y="108"/>
                    </a:lnTo>
                    <a:lnTo>
                      <a:pt x="1792" y="58"/>
                    </a:lnTo>
                    <a:lnTo>
                      <a:pt x="1802" y="23"/>
                    </a:lnTo>
                    <a:lnTo>
                      <a:pt x="1805" y="9"/>
                    </a:lnTo>
                    <a:lnTo>
                      <a:pt x="1689" y="0"/>
                    </a:lnTo>
                    <a:lnTo>
                      <a:pt x="1686" y="3"/>
                    </a:lnTo>
                    <a:close/>
                  </a:path>
                </a:pathLst>
              </a:custGeom>
              <a:solidFill>
                <a:srgbClr val="AB008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9" name="Freeform 238"/>
              <p:cNvSpPr>
                <a:spLocks/>
              </p:cNvSpPr>
              <p:nvPr/>
            </p:nvSpPr>
            <p:spPr bwMode="auto">
              <a:xfrm rot="20813856" flipH="1">
                <a:off x="9828655" y="2045870"/>
                <a:ext cx="247215" cy="346562"/>
              </a:xfrm>
              <a:custGeom>
                <a:avLst/>
                <a:gdLst>
                  <a:gd name="T0" fmla="*/ 130 w 216"/>
                  <a:gd name="T1" fmla="*/ 199 h 299"/>
                  <a:gd name="T2" fmla="*/ 0 w 216"/>
                  <a:gd name="T3" fmla="*/ 299 h 299"/>
                  <a:gd name="T4" fmla="*/ 130 w 216"/>
                  <a:gd name="T5" fmla="*/ 299 h 299"/>
                  <a:gd name="T6" fmla="*/ 216 w 216"/>
                  <a:gd name="T7" fmla="*/ 3 h 299"/>
                  <a:gd name="T8" fmla="*/ 204 w 216"/>
                  <a:gd name="T9" fmla="*/ 0 h 299"/>
                  <a:gd name="T10" fmla="*/ 130 w 216"/>
                  <a:gd name="T11" fmla="*/ 199 h 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6" h="299">
                    <a:moveTo>
                      <a:pt x="130" y="199"/>
                    </a:moveTo>
                    <a:lnTo>
                      <a:pt x="0" y="299"/>
                    </a:lnTo>
                    <a:lnTo>
                      <a:pt x="130" y="299"/>
                    </a:lnTo>
                    <a:lnTo>
                      <a:pt x="216" y="3"/>
                    </a:lnTo>
                    <a:lnTo>
                      <a:pt x="204" y="0"/>
                    </a:lnTo>
                    <a:lnTo>
                      <a:pt x="130" y="199"/>
                    </a:lnTo>
                    <a:close/>
                  </a:path>
                </a:pathLst>
              </a:custGeom>
              <a:solidFill>
                <a:srgbClr val="AB008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0" name="Freeform 239"/>
              <p:cNvSpPr>
                <a:spLocks/>
              </p:cNvSpPr>
              <p:nvPr/>
            </p:nvSpPr>
            <p:spPr bwMode="auto">
              <a:xfrm rot="20813856" flipH="1">
                <a:off x="11305965" y="2080560"/>
                <a:ext cx="13862" cy="13862"/>
              </a:xfrm>
              <a:custGeom>
                <a:avLst/>
                <a:gdLst>
                  <a:gd name="T0" fmla="*/ 10 w 10"/>
                  <a:gd name="T1" fmla="*/ 6 h 13"/>
                  <a:gd name="T2" fmla="*/ 10 w 10"/>
                  <a:gd name="T3" fmla="*/ 8 h 13"/>
                  <a:gd name="T4" fmla="*/ 9 w 10"/>
                  <a:gd name="T5" fmla="*/ 11 h 13"/>
                  <a:gd name="T6" fmla="*/ 7 w 10"/>
                  <a:gd name="T7" fmla="*/ 12 h 13"/>
                  <a:gd name="T8" fmla="*/ 4 w 10"/>
                  <a:gd name="T9" fmla="*/ 13 h 13"/>
                  <a:gd name="T10" fmla="*/ 3 w 10"/>
                  <a:gd name="T11" fmla="*/ 12 h 13"/>
                  <a:gd name="T12" fmla="*/ 1 w 10"/>
                  <a:gd name="T13" fmla="*/ 11 h 13"/>
                  <a:gd name="T14" fmla="*/ 0 w 10"/>
                  <a:gd name="T15" fmla="*/ 8 h 13"/>
                  <a:gd name="T16" fmla="*/ 0 w 10"/>
                  <a:gd name="T17" fmla="*/ 6 h 13"/>
                  <a:gd name="T18" fmla="*/ 0 w 10"/>
                  <a:gd name="T19" fmla="*/ 4 h 13"/>
                  <a:gd name="T20" fmla="*/ 1 w 10"/>
                  <a:gd name="T21" fmla="*/ 1 h 13"/>
                  <a:gd name="T22" fmla="*/ 3 w 10"/>
                  <a:gd name="T23" fmla="*/ 0 h 13"/>
                  <a:gd name="T24" fmla="*/ 4 w 10"/>
                  <a:gd name="T25" fmla="*/ 0 h 13"/>
                  <a:gd name="T26" fmla="*/ 7 w 10"/>
                  <a:gd name="T27" fmla="*/ 0 h 13"/>
                  <a:gd name="T28" fmla="*/ 9 w 10"/>
                  <a:gd name="T29" fmla="*/ 1 h 13"/>
                  <a:gd name="T30" fmla="*/ 10 w 10"/>
                  <a:gd name="T31" fmla="*/ 4 h 13"/>
                  <a:gd name="T32" fmla="*/ 10 w 10"/>
                  <a:gd name="T33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" h="13">
                    <a:moveTo>
                      <a:pt x="10" y="6"/>
                    </a:moveTo>
                    <a:lnTo>
                      <a:pt x="10" y="8"/>
                    </a:lnTo>
                    <a:lnTo>
                      <a:pt x="9" y="11"/>
                    </a:lnTo>
                    <a:lnTo>
                      <a:pt x="7" y="12"/>
                    </a:lnTo>
                    <a:lnTo>
                      <a:pt x="4" y="13"/>
                    </a:lnTo>
                    <a:lnTo>
                      <a:pt x="3" y="12"/>
                    </a:lnTo>
                    <a:lnTo>
                      <a:pt x="1" y="11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1" y="1"/>
                    </a:lnTo>
                    <a:lnTo>
                      <a:pt x="3" y="0"/>
                    </a:lnTo>
                    <a:lnTo>
                      <a:pt x="4" y="0"/>
                    </a:lnTo>
                    <a:lnTo>
                      <a:pt x="7" y="0"/>
                    </a:lnTo>
                    <a:lnTo>
                      <a:pt x="9" y="1"/>
                    </a:lnTo>
                    <a:lnTo>
                      <a:pt x="10" y="4"/>
                    </a:lnTo>
                    <a:lnTo>
                      <a:pt x="10" y="6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1" name="Freeform 240"/>
              <p:cNvSpPr>
                <a:spLocks/>
              </p:cNvSpPr>
              <p:nvPr/>
            </p:nvSpPr>
            <p:spPr bwMode="auto">
              <a:xfrm rot="20813856" flipH="1">
                <a:off x="11286266" y="2087787"/>
                <a:ext cx="11553" cy="13862"/>
              </a:xfrm>
              <a:custGeom>
                <a:avLst/>
                <a:gdLst>
                  <a:gd name="T0" fmla="*/ 11 w 11"/>
                  <a:gd name="T1" fmla="*/ 5 h 11"/>
                  <a:gd name="T2" fmla="*/ 10 w 11"/>
                  <a:gd name="T3" fmla="*/ 8 h 11"/>
                  <a:gd name="T4" fmla="*/ 8 w 11"/>
                  <a:gd name="T5" fmla="*/ 10 h 11"/>
                  <a:gd name="T6" fmla="*/ 6 w 11"/>
                  <a:gd name="T7" fmla="*/ 11 h 11"/>
                  <a:gd name="T8" fmla="*/ 5 w 11"/>
                  <a:gd name="T9" fmla="*/ 11 h 11"/>
                  <a:gd name="T10" fmla="*/ 3 w 11"/>
                  <a:gd name="T11" fmla="*/ 11 h 11"/>
                  <a:gd name="T12" fmla="*/ 2 w 11"/>
                  <a:gd name="T13" fmla="*/ 10 h 11"/>
                  <a:gd name="T14" fmla="*/ 0 w 11"/>
                  <a:gd name="T15" fmla="*/ 8 h 11"/>
                  <a:gd name="T16" fmla="*/ 0 w 11"/>
                  <a:gd name="T17" fmla="*/ 5 h 11"/>
                  <a:gd name="T18" fmla="*/ 0 w 11"/>
                  <a:gd name="T19" fmla="*/ 3 h 11"/>
                  <a:gd name="T20" fmla="*/ 2 w 11"/>
                  <a:gd name="T21" fmla="*/ 1 h 11"/>
                  <a:gd name="T22" fmla="*/ 4 w 11"/>
                  <a:gd name="T23" fmla="*/ 0 h 11"/>
                  <a:gd name="T24" fmla="*/ 5 w 11"/>
                  <a:gd name="T25" fmla="*/ 0 h 11"/>
                  <a:gd name="T26" fmla="*/ 7 w 11"/>
                  <a:gd name="T27" fmla="*/ 0 h 11"/>
                  <a:gd name="T28" fmla="*/ 10 w 11"/>
                  <a:gd name="T29" fmla="*/ 1 h 11"/>
                  <a:gd name="T30" fmla="*/ 11 w 11"/>
                  <a:gd name="T31" fmla="*/ 3 h 11"/>
                  <a:gd name="T32" fmla="*/ 11 w 11"/>
                  <a:gd name="T33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" h="11">
                    <a:moveTo>
                      <a:pt x="11" y="5"/>
                    </a:moveTo>
                    <a:lnTo>
                      <a:pt x="10" y="8"/>
                    </a:lnTo>
                    <a:lnTo>
                      <a:pt x="8" y="10"/>
                    </a:lnTo>
                    <a:lnTo>
                      <a:pt x="6" y="11"/>
                    </a:lnTo>
                    <a:lnTo>
                      <a:pt x="5" y="11"/>
                    </a:lnTo>
                    <a:lnTo>
                      <a:pt x="3" y="11"/>
                    </a:lnTo>
                    <a:lnTo>
                      <a:pt x="2" y="10"/>
                    </a:lnTo>
                    <a:lnTo>
                      <a:pt x="0" y="8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2" y="1"/>
                    </a:lnTo>
                    <a:lnTo>
                      <a:pt x="4" y="0"/>
                    </a:lnTo>
                    <a:lnTo>
                      <a:pt x="5" y="0"/>
                    </a:lnTo>
                    <a:lnTo>
                      <a:pt x="7" y="0"/>
                    </a:lnTo>
                    <a:lnTo>
                      <a:pt x="10" y="1"/>
                    </a:lnTo>
                    <a:lnTo>
                      <a:pt x="11" y="3"/>
                    </a:lnTo>
                    <a:lnTo>
                      <a:pt x="11" y="5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2" name="Freeform 241"/>
              <p:cNvSpPr>
                <a:spLocks/>
              </p:cNvSpPr>
              <p:nvPr/>
            </p:nvSpPr>
            <p:spPr bwMode="auto">
              <a:xfrm rot="20813856" flipH="1">
                <a:off x="11263995" y="2092732"/>
                <a:ext cx="13862" cy="16174"/>
              </a:xfrm>
              <a:custGeom>
                <a:avLst/>
                <a:gdLst>
                  <a:gd name="T0" fmla="*/ 10 w 10"/>
                  <a:gd name="T1" fmla="*/ 7 h 12"/>
                  <a:gd name="T2" fmla="*/ 10 w 10"/>
                  <a:gd name="T3" fmla="*/ 9 h 12"/>
                  <a:gd name="T4" fmla="*/ 9 w 10"/>
                  <a:gd name="T5" fmla="*/ 11 h 12"/>
                  <a:gd name="T6" fmla="*/ 7 w 10"/>
                  <a:gd name="T7" fmla="*/ 12 h 12"/>
                  <a:gd name="T8" fmla="*/ 4 w 10"/>
                  <a:gd name="T9" fmla="*/ 12 h 12"/>
                  <a:gd name="T10" fmla="*/ 3 w 10"/>
                  <a:gd name="T11" fmla="*/ 11 h 12"/>
                  <a:gd name="T12" fmla="*/ 1 w 10"/>
                  <a:gd name="T13" fmla="*/ 10 h 12"/>
                  <a:gd name="T14" fmla="*/ 0 w 10"/>
                  <a:gd name="T15" fmla="*/ 8 h 12"/>
                  <a:gd name="T16" fmla="*/ 0 w 10"/>
                  <a:gd name="T17" fmla="*/ 5 h 12"/>
                  <a:gd name="T18" fmla="*/ 0 w 10"/>
                  <a:gd name="T19" fmla="*/ 3 h 12"/>
                  <a:gd name="T20" fmla="*/ 1 w 10"/>
                  <a:gd name="T21" fmla="*/ 1 h 12"/>
                  <a:gd name="T22" fmla="*/ 3 w 10"/>
                  <a:gd name="T23" fmla="*/ 0 h 12"/>
                  <a:gd name="T24" fmla="*/ 6 w 10"/>
                  <a:gd name="T25" fmla="*/ 0 h 12"/>
                  <a:gd name="T26" fmla="*/ 7 w 10"/>
                  <a:gd name="T27" fmla="*/ 1 h 12"/>
                  <a:gd name="T28" fmla="*/ 9 w 10"/>
                  <a:gd name="T29" fmla="*/ 2 h 12"/>
                  <a:gd name="T30" fmla="*/ 10 w 10"/>
                  <a:gd name="T31" fmla="*/ 4 h 12"/>
                  <a:gd name="T32" fmla="*/ 10 w 10"/>
                  <a:gd name="T33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" h="12">
                    <a:moveTo>
                      <a:pt x="10" y="7"/>
                    </a:moveTo>
                    <a:lnTo>
                      <a:pt x="10" y="9"/>
                    </a:lnTo>
                    <a:lnTo>
                      <a:pt x="9" y="11"/>
                    </a:lnTo>
                    <a:lnTo>
                      <a:pt x="7" y="12"/>
                    </a:lnTo>
                    <a:lnTo>
                      <a:pt x="4" y="12"/>
                    </a:lnTo>
                    <a:lnTo>
                      <a:pt x="3" y="11"/>
                    </a:lnTo>
                    <a:lnTo>
                      <a:pt x="1" y="10"/>
                    </a:lnTo>
                    <a:lnTo>
                      <a:pt x="0" y="8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1" y="1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7" y="1"/>
                    </a:lnTo>
                    <a:lnTo>
                      <a:pt x="9" y="2"/>
                    </a:lnTo>
                    <a:lnTo>
                      <a:pt x="10" y="4"/>
                    </a:lnTo>
                    <a:lnTo>
                      <a:pt x="10" y="7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3" name="Freeform 242"/>
              <p:cNvSpPr>
                <a:spLocks/>
              </p:cNvSpPr>
              <p:nvPr/>
            </p:nvSpPr>
            <p:spPr bwMode="auto">
              <a:xfrm rot="20813856" flipH="1">
                <a:off x="11244296" y="2102269"/>
                <a:ext cx="11553" cy="11553"/>
              </a:xfrm>
              <a:custGeom>
                <a:avLst/>
                <a:gdLst>
                  <a:gd name="T0" fmla="*/ 11 w 11"/>
                  <a:gd name="T1" fmla="*/ 6 h 12"/>
                  <a:gd name="T2" fmla="*/ 11 w 11"/>
                  <a:gd name="T3" fmla="*/ 8 h 12"/>
                  <a:gd name="T4" fmla="*/ 10 w 11"/>
                  <a:gd name="T5" fmla="*/ 10 h 12"/>
                  <a:gd name="T6" fmla="*/ 7 w 11"/>
                  <a:gd name="T7" fmla="*/ 12 h 12"/>
                  <a:gd name="T8" fmla="*/ 6 w 11"/>
                  <a:gd name="T9" fmla="*/ 12 h 12"/>
                  <a:gd name="T10" fmla="*/ 4 w 11"/>
                  <a:gd name="T11" fmla="*/ 12 h 12"/>
                  <a:gd name="T12" fmla="*/ 1 w 11"/>
                  <a:gd name="T13" fmla="*/ 10 h 12"/>
                  <a:gd name="T14" fmla="*/ 0 w 11"/>
                  <a:gd name="T15" fmla="*/ 8 h 12"/>
                  <a:gd name="T16" fmla="*/ 0 w 11"/>
                  <a:gd name="T17" fmla="*/ 6 h 12"/>
                  <a:gd name="T18" fmla="*/ 0 w 11"/>
                  <a:gd name="T19" fmla="*/ 3 h 12"/>
                  <a:gd name="T20" fmla="*/ 1 w 11"/>
                  <a:gd name="T21" fmla="*/ 1 h 12"/>
                  <a:gd name="T22" fmla="*/ 4 w 11"/>
                  <a:gd name="T23" fmla="*/ 0 h 12"/>
                  <a:gd name="T24" fmla="*/ 6 w 11"/>
                  <a:gd name="T25" fmla="*/ 0 h 12"/>
                  <a:gd name="T26" fmla="*/ 7 w 11"/>
                  <a:gd name="T27" fmla="*/ 0 h 12"/>
                  <a:gd name="T28" fmla="*/ 10 w 11"/>
                  <a:gd name="T29" fmla="*/ 1 h 12"/>
                  <a:gd name="T30" fmla="*/ 11 w 11"/>
                  <a:gd name="T31" fmla="*/ 3 h 12"/>
                  <a:gd name="T32" fmla="*/ 11 w 11"/>
                  <a:gd name="T33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" h="12">
                    <a:moveTo>
                      <a:pt x="11" y="6"/>
                    </a:moveTo>
                    <a:lnTo>
                      <a:pt x="11" y="8"/>
                    </a:lnTo>
                    <a:lnTo>
                      <a:pt x="10" y="10"/>
                    </a:lnTo>
                    <a:lnTo>
                      <a:pt x="7" y="12"/>
                    </a:lnTo>
                    <a:lnTo>
                      <a:pt x="6" y="12"/>
                    </a:lnTo>
                    <a:lnTo>
                      <a:pt x="4" y="12"/>
                    </a:lnTo>
                    <a:lnTo>
                      <a:pt x="1" y="10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1" y="1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7" y="0"/>
                    </a:lnTo>
                    <a:lnTo>
                      <a:pt x="10" y="1"/>
                    </a:lnTo>
                    <a:lnTo>
                      <a:pt x="11" y="3"/>
                    </a:lnTo>
                    <a:lnTo>
                      <a:pt x="11" y="6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4" name="Freeform 243"/>
              <p:cNvSpPr>
                <a:spLocks/>
              </p:cNvSpPr>
              <p:nvPr/>
            </p:nvSpPr>
            <p:spPr bwMode="auto">
              <a:xfrm rot="20813856" flipH="1">
                <a:off x="11222026" y="2107214"/>
                <a:ext cx="13862" cy="13862"/>
              </a:xfrm>
              <a:custGeom>
                <a:avLst/>
                <a:gdLst>
                  <a:gd name="T0" fmla="*/ 10 w 10"/>
                  <a:gd name="T1" fmla="*/ 7 h 13"/>
                  <a:gd name="T2" fmla="*/ 9 w 10"/>
                  <a:gd name="T3" fmla="*/ 9 h 13"/>
                  <a:gd name="T4" fmla="*/ 8 w 10"/>
                  <a:gd name="T5" fmla="*/ 12 h 13"/>
                  <a:gd name="T6" fmla="*/ 6 w 10"/>
                  <a:gd name="T7" fmla="*/ 13 h 13"/>
                  <a:gd name="T8" fmla="*/ 4 w 10"/>
                  <a:gd name="T9" fmla="*/ 13 h 13"/>
                  <a:gd name="T10" fmla="*/ 2 w 10"/>
                  <a:gd name="T11" fmla="*/ 12 h 13"/>
                  <a:gd name="T12" fmla="*/ 1 w 10"/>
                  <a:gd name="T13" fmla="*/ 11 h 13"/>
                  <a:gd name="T14" fmla="*/ 0 w 10"/>
                  <a:gd name="T15" fmla="*/ 8 h 13"/>
                  <a:gd name="T16" fmla="*/ 0 w 10"/>
                  <a:gd name="T17" fmla="*/ 6 h 13"/>
                  <a:gd name="T18" fmla="*/ 0 w 10"/>
                  <a:gd name="T19" fmla="*/ 4 h 13"/>
                  <a:gd name="T20" fmla="*/ 1 w 10"/>
                  <a:gd name="T21" fmla="*/ 2 h 13"/>
                  <a:gd name="T22" fmla="*/ 3 w 10"/>
                  <a:gd name="T23" fmla="*/ 0 h 13"/>
                  <a:gd name="T24" fmla="*/ 4 w 10"/>
                  <a:gd name="T25" fmla="*/ 0 h 13"/>
                  <a:gd name="T26" fmla="*/ 7 w 10"/>
                  <a:gd name="T27" fmla="*/ 1 h 13"/>
                  <a:gd name="T28" fmla="*/ 9 w 10"/>
                  <a:gd name="T29" fmla="*/ 2 h 13"/>
                  <a:gd name="T30" fmla="*/ 10 w 10"/>
                  <a:gd name="T31" fmla="*/ 5 h 13"/>
                  <a:gd name="T32" fmla="*/ 10 w 10"/>
                  <a:gd name="T33" fmla="*/ 7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" h="13">
                    <a:moveTo>
                      <a:pt x="10" y="7"/>
                    </a:moveTo>
                    <a:lnTo>
                      <a:pt x="9" y="9"/>
                    </a:lnTo>
                    <a:lnTo>
                      <a:pt x="8" y="12"/>
                    </a:lnTo>
                    <a:lnTo>
                      <a:pt x="6" y="13"/>
                    </a:lnTo>
                    <a:lnTo>
                      <a:pt x="4" y="13"/>
                    </a:lnTo>
                    <a:lnTo>
                      <a:pt x="2" y="12"/>
                    </a:lnTo>
                    <a:lnTo>
                      <a:pt x="1" y="11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1" y="2"/>
                    </a:lnTo>
                    <a:lnTo>
                      <a:pt x="3" y="0"/>
                    </a:lnTo>
                    <a:lnTo>
                      <a:pt x="4" y="0"/>
                    </a:lnTo>
                    <a:lnTo>
                      <a:pt x="7" y="1"/>
                    </a:lnTo>
                    <a:lnTo>
                      <a:pt x="9" y="2"/>
                    </a:lnTo>
                    <a:lnTo>
                      <a:pt x="10" y="5"/>
                    </a:lnTo>
                    <a:lnTo>
                      <a:pt x="10" y="7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5" name="Freeform 244"/>
              <p:cNvSpPr>
                <a:spLocks/>
              </p:cNvSpPr>
              <p:nvPr/>
            </p:nvSpPr>
            <p:spPr bwMode="auto">
              <a:xfrm rot="20813856" flipH="1">
                <a:off x="11202589" y="2114409"/>
                <a:ext cx="11553" cy="16174"/>
              </a:xfrm>
              <a:custGeom>
                <a:avLst/>
                <a:gdLst>
                  <a:gd name="T0" fmla="*/ 11 w 11"/>
                  <a:gd name="T1" fmla="*/ 6 h 13"/>
                  <a:gd name="T2" fmla="*/ 11 w 11"/>
                  <a:gd name="T3" fmla="*/ 9 h 13"/>
                  <a:gd name="T4" fmla="*/ 10 w 11"/>
                  <a:gd name="T5" fmla="*/ 11 h 13"/>
                  <a:gd name="T6" fmla="*/ 7 w 11"/>
                  <a:gd name="T7" fmla="*/ 12 h 13"/>
                  <a:gd name="T8" fmla="*/ 5 w 11"/>
                  <a:gd name="T9" fmla="*/ 13 h 13"/>
                  <a:gd name="T10" fmla="*/ 4 w 11"/>
                  <a:gd name="T11" fmla="*/ 12 h 13"/>
                  <a:gd name="T12" fmla="*/ 1 w 11"/>
                  <a:gd name="T13" fmla="*/ 11 h 13"/>
                  <a:gd name="T14" fmla="*/ 0 w 11"/>
                  <a:gd name="T15" fmla="*/ 9 h 13"/>
                  <a:gd name="T16" fmla="*/ 0 w 11"/>
                  <a:gd name="T17" fmla="*/ 6 h 13"/>
                  <a:gd name="T18" fmla="*/ 0 w 11"/>
                  <a:gd name="T19" fmla="*/ 4 h 13"/>
                  <a:gd name="T20" fmla="*/ 1 w 11"/>
                  <a:gd name="T21" fmla="*/ 2 h 13"/>
                  <a:gd name="T22" fmla="*/ 4 w 11"/>
                  <a:gd name="T23" fmla="*/ 0 h 13"/>
                  <a:gd name="T24" fmla="*/ 6 w 11"/>
                  <a:gd name="T25" fmla="*/ 0 h 13"/>
                  <a:gd name="T26" fmla="*/ 7 w 11"/>
                  <a:gd name="T27" fmla="*/ 0 h 13"/>
                  <a:gd name="T28" fmla="*/ 10 w 11"/>
                  <a:gd name="T29" fmla="*/ 2 h 13"/>
                  <a:gd name="T30" fmla="*/ 11 w 11"/>
                  <a:gd name="T31" fmla="*/ 4 h 13"/>
                  <a:gd name="T32" fmla="*/ 11 w 11"/>
                  <a:gd name="T33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" h="13">
                    <a:moveTo>
                      <a:pt x="11" y="6"/>
                    </a:moveTo>
                    <a:lnTo>
                      <a:pt x="11" y="9"/>
                    </a:lnTo>
                    <a:lnTo>
                      <a:pt x="10" y="11"/>
                    </a:lnTo>
                    <a:lnTo>
                      <a:pt x="7" y="12"/>
                    </a:lnTo>
                    <a:lnTo>
                      <a:pt x="5" y="13"/>
                    </a:lnTo>
                    <a:lnTo>
                      <a:pt x="4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1" y="2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7" y="0"/>
                    </a:lnTo>
                    <a:lnTo>
                      <a:pt x="10" y="2"/>
                    </a:lnTo>
                    <a:lnTo>
                      <a:pt x="11" y="4"/>
                    </a:lnTo>
                    <a:lnTo>
                      <a:pt x="11" y="6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6" name="Freeform 245"/>
              <p:cNvSpPr>
                <a:spLocks/>
              </p:cNvSpPr>
              <p:nvPr/>
            </p:nvSpPr>
            <p:spPr bwMode="auto">
              <a:xfrm rot="20813856" flipH="1">
                <a:off x="11184848" y="2120880"/>
                <a:ext cx="11553" cy="13862"/>
              </a:xfrm>
              <a:custGeom>
                <a:avLst/>
                <a:gdLst>
                  <a:gd name="T0" fmla="*/ 10 w 10"/>
                  <a:gd name="T1" fmla="*/ 5 h 12"/>
                  <a:gd name="T2" fmla="*/ 10 w 10"/>
                  <a:gd name="T3" fmla="*/ 8 h 12"/>
                  <a:gd name="T4" fmla="*/ 8 w 10"/>
                  <a:gd name="T5" fmla="*/ 10 h 12"/>
                  <a:gd name="T6" fmla="*/ 7 w 10"/>
                  <a:gd name="T7" fmla="*/ 11 h 12"/>
                  <a:gd name="T8" fmla="*/ 4 w 10"/>
                  <a:gd name="T9" fmla="*/ 12 h 12"/>
                  <a:gd name="T10" fmla="*/ 3 w 10"/>
                  <a:gd name="T11" fmla="*/ 11 h 12"/>
                  <a:gd name="T12" fmla="*/ 1 w 10"/>
                  <a:gd name="T13" fmla="*/ 10 h 12"/>
                  <a:gd name="T14" fmla="*/ 0 w 10"/>
                  <a:gd name="T15" fmla="*/ 8 h 12"/>
                  <a:gd name="T16" fmla="*/ 0 w 10"/>
                  <a:gd name="T17" fmla="*/ 5 h 12"/>
                  <a:gd name="T18" fmla="*/ 0 w 10"/>
                  <a:gd name="T19" fmla="*/ 3 h 12"/>
                  <a:gd name="T20" fmla="*/ 1 w 10"/>
                  <a:gd name="T21" fmla="*/ 1 h 12"/>
                  <a:gd name="T22" fmla="*/ 3 w 10"/>
                  <a:gd name="T23" fmla="*/ 0 h 12"/>
                  <a:gd name="T24" fmla="*/ 4 w 10"/>
                  <a:gd name="T25" fmla="*/ 0 h 12"/>
                  <a:gd name="T26" fmla="*/ 7 w 10"/>
                  <a:gd name="T27" fmla="*/ 0 h 12"/>
                  <a:gd name="T28" fmla="*/ 9 w 10"/>
                  <a:gd name="T29" fmla="*/ 1 h 12"/>
                  <a:gd name="T30" fmla="*/ 10 w 10"/>
                  <a:gd name="T31" fmla="*/ 3 h 12"/>
                  <a:gd name="T32" fmla="*/ 10 w 10"/>
                  <a:gd name="T33" fmla="*/ 5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" h="12">
                    <a:moveTo>
                      <a:pt x="10" y="5"/>
                    </a:moveTo>
                    <a:lnTo>
                      <a:pt x="10" y="8"/>
                    </a:lnTo>
                    <a:lnTo>
                      <a:pt x="8" y="10"/>
                    </a:lnTo>
                    <a:lnTo>
                      <a:pt x="7" y="11"/>
                    </a:lnTo>
                    <a:lnTo>
                      <a:pt x="4" y="12"/>
                    </a:lnTo>
                    <a:lnTo>
                      <a:pt x="3" y="11"/>
                    </a:lnTo>
                    <a:lnTo>
                      <a:pt x="1" y="10"/>
                    </a:lnTo>
                    <a:lnTo>
                      <a:pt x="0" y="8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1" y="1"/>
                    </a:lnTo>
                    <a:lnTo>
                      <a:pt x="3" y="0"/>
                    </a:lnTo>
                    <a:lnTo>
                      <a:pt x="4" y="0"/>
                    </a:lnTo>
                    <a:lnTo>
                      <a:pt x="7" y="0"/>
                    </a:lnTo>
                    <a:lnTo>
                      <a:pt x="9" y="1"/>
                    </a:lnTo>
                    <a:lnTo>
                      <a:pt x="10" y="3"/>
                    </a:lnTo>
                    <a:lnTo>
                      <a:pt x="10" y="5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7" name="Freeform 246"/>
              <p:cNvSpPr>
                <a:spLocks/>
              </p:cNvSpPr>
              <p:nvPr/>
            </p:nvSpPr>
            <p:spPr bwMode="auto">
              <a:xfrm rot="20813856" flipH="1">
                <a:off x="11162608" y="2126088"/>
                <a:ext cx="11553" cy="16174"/>
              </a:xfrm>
              <a:custGeom>
                <a:avLst/>
                <a:gdLst>
                  <a:gd name="T0" fmla="*/ 10 w 10"/>
                  <a:gd name="T1" fmla="*/ 7 h 12"/>
                  <a:gd name="T2" fmla="*/ 10 w 10"/>
                  <a:gd name="T3" fmla="*/ 9 h 12"/>
                  <a:gd name="T4" fmla="*/ 9 w 10"/>
                  <a:gd name="T5" fmla="*/ 11 h 12"/>
                  <a:gd name="T6" fmla="*/ 7 w 10"/>
                  <a:gd name="T7" fmla="*/ 12 h 12"/>
                  <a:gd name="T8" fmla="*/ 5 w 10"/>
                  <a:gd name="T9" fmla="*/ 12 h 12"/>
                  <a:gd name="T10" fmla="*/ 3 w 10"/>
                  <a:gd name="T11" fmla="*/ 12 h 12"/>
                  <a:gd name="T12" fmla="*/ 1 w 10"/>
                  <a:gd name="T13" fmla="*/ 11 h 12"/>
                  <a:gd name="T14" fmla="*/ 0 w 10"/>
                  <a:gd name="T15" fmla="*/ 9 h 12"/>
                  <a:gd name="T16" fmla="*/ 0 w 10"/>
                  <a:gd name="T17" fmla="*/ 7 h 12"/>
                  <a:gd name="T18" fmla="*/ 0 w 10"/>
                  <a:gd name="T19" fmla="*/ 4 h 12"/>
                  <a:gd name="T20" fmla="*/ 1 w 10"/>
                  <a:gd name="T21" fmla="*/ 2 h 12"/>
                  <a:gd name="T22" fmla="*/ 3 w 10"/>
                  <a:gd name="T23" fmla="*/ 1 h 12"/>
                  <a:gd name="T24" fmla="*/ 6 w 10"/>
                  <a:gd name="T25" fmla="*/ 0 h 12"/>
                  <a:gd name="T26" fmla="*/ 7 w 10"/>
                  <a:gd name="T27" fmla="*/ 1 h 12"/>
                  <a:gd name="T28" fmla="*/ 9 w 10"/>
                  <a:gd name="T29" fmla="*/ 2 h 12"/>
                  <a:gd name="T30" fmla="*/ 10 w 10"/>
                  <a:gd name="T31" fmla="*/ 4 h 12"/>
                  <a:gd name="T32" fmla="*/ 10 w 10"/>
                  <a:gd name="T33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" h="12">
                    <a:moveTo>
                      <a:pt x="10" y="7"/>
                    </a:moveTo>
                    <a:lnTo>
                      <a:pt x="10" y="9"/>
                    </a:lnTo>
                    <a:lnTo>
                      <a:pt x="9" y="11"/>
                    </a:lnTo>
                    <a:lnTo>
                      <a:pt x="7" y="12"/>
                    </a:lnTo>
                    <a:lnTo>
                      <a:pt x="5" y="12"/>
                    </a:lnTo>
                    <a:lnTo>
                      <a:pt x="3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7"/>
                    </a:lnTo>
                    <a:lnTo>
                      <a:pt x="0" y="4"/>
                    </a:lnTo>
                    <a:lnTo>
                      <a:pt x="1" y="2"/>
                    </a:lnTo>
                    <a:lnTo>
                      <a:pt x="3" y="1"/>
                    </a:lnTo>
                    <a:lnTo>
                      <a:pt x="6" y="0"/>
                    </a:lnTo>
                    <a:lnTo>
                      <a:pt x="7" y="1"/>
                    </a:lnTo>
                    <a:lnTo>
                      <a:pt x="9" y="2"/>
                    </a:lnTo>
                    <a:lnTo>
                      <a:pt x="10" y="4"/>
                    </a:lnTo>
                    <a:lnTo>
                      <a:pt x="10" y="7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8" name="Freeform 247"/>
              <p:cNvSpPr>
                <a:spLocks/>
              </p:cNvSpPr>
              <p:nvPr/>
            </p:nvSpPr>
            <p:spPr bwMode="auto">
              <a:xfrm rot="20813856" flipH="1">
                <a:off x="11143140" y="2135332"/>
                <a:ext cx="11553" cy="13862"/>
              </a:xfrm>
              <a:custGeom>
                <a:avLst/>
                <a:gdLst>
                  <a:gd name="T0" fmla="*/ 11 w 11"/>
                  <a:gd name="T1" fmla="*/ 7 h 13"/>
                  <a:gd name="T2" fmla="*/ 11 w 11"/>
                  <a:gd name="T3" fmla="*/ 9 h 13"/>
                  <a:gd name="T4" fmla="*/ 10 w 11"/>
                  <a:gd name="T5" fmla="*/ 12 h 13"/>
                  <a:gd name="T6" fmla="*/ 7 w 11"/>
                  <a:gd name="T7" fmla="*/ 13 h 13"/>
                  <a:gd name="T8" fmla="*/ 6 w 11"/>
                  <a:gd name="T9" fmla="*/ 13 h 13"/>
                  <a:gd name="T10" fmla="*/ 4 w 11"/>
                  <a:gd name="T11" fmla="*/ 12 h 13"/>
                  <a:gd name="T12" fmla="*/ 2 w 11"/>
                  <a:gd name="T13" fmla="*/ 10 h 13"/>
                  <a:gd name="T14" fmla="*/ 0 w 11"/>
                  <a:gd name="T15" fmla="*/ 8 h 13"/>
                  <a:gd name="T16" fmla="*/ 0 w 11"/>
                  <a:gd name="T17" fmla="*/ 6 h 13"/>
                  <a:gd name="T18" fmla="*/ 2 w 11"/>
                  <a:gd name="T19" fmla="*/ 4 h 13"/>
                  <a:gd name="T20" fmla="*/ 3 w 11"/>
                  <a:gd name="T21" fmla="*/ 1 h 13"/>
                  <a:gd name="T22" fmla="*/ 5 w 11"/>
                  <a:gd name="T23" fmla="*/ 0 h 13"/>
                  <a:gd name="T24" fmla="*/ 6 w 11"/>
                  <a:gd name="T25" fmla="*/ 0 h 13"/>
                  <a:gd name="T26" fmla="*/ 9 w 11"/>
                  <a:gd name="T27" fmla="*/ 1 h 13"/>
                  <a:gd name="T28" fmla="*/ 11 w 11"/>
                  <a:gd name="T29" fmla="*/ 2 h 13"/>
                  <a:gd name="T30" fmla="*/ 11 w 11"/>
                  <a:gd name="T31" fmla="*/ 5 h 13"/>
                  <a:gd name="T32" fmla="*/ 11 w 11"/>
                  <a:gd name="T33" fmla="*/ 7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" h="13">
                    <a:moveTo>
                      <a:pt x="11" y="7"/>
                    </a:moveTo>
                    <a:lnTo>
                      <a:pt x="11" y="9"/>
                    </a:lnTo>
                    <a:lnTo>
                      <a:pt x="10" y="12"/>
                    </a:lnTo>
                    <a:lnTo>
                      <a:pt x="7" y="13"/>
                    </a:lnTo>
                    <a:lnTo>
                      <a:pt x="6" y="13"/>
                    </a:lnTo>
                    <a:lnTo>
                      <a:pt x="4" y="12"/>
                    </a:lnTo>
                    <a:lnTo>
                      <a:pt x="2" y="10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2" y="4"/>
                    </a:lnTo>
                    <a:lnTo>
                      <a:pt x="3" y="1"/>
                    </a:lnTo>
                    <a:lnTo>
                      <a:pt x="5" y="0"/>
                    </a:lnTo>
                    <a:lnTo>
                      <a:pt x="6" y="0"/>
                    </a:lnTo>
                    <a:lnTo>
                      <a:pt x="9" y="1"/>
                    </a:lnTo>
                    <a:lnTo>
                      <a:pt x="11" y="2"/>
                    </a:lnTo>
                    <a:lnTo>
                      <a:pt x="11" y="5"/>
                    </a:lnTo>
                    <a:lnTo>
                      <a:pt x="11" y="7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9" name="Freeform 248"/>
              <p:cNvSpPr>
                <a:spLocks/>
              </p:cNvSpPr>
              <p:nvPr/>
            </p:nvSpPr>
            <p:spPr bwMode="auto">
              <a:xfrm rot="20813856" flipH="1">
                <a:off x="11120899" y="2142850"/>
                <a:ext cx="11553" cy="11553"/>
              </a:xfrm>
              <a:custGeom>
                <a:avLst/>
                <a:gdLst>
                  <a:gd name="T0" fmla="*/ 10 w 10"/>
                  <a:gd name="T1" fmla="*/ 6 h 12"/>
                  <a:gd name="T2" fmla="*/ 10 w 10"/>
                  <a:gd name="T3" fmla="*/ 8 h 12"/>
                  <a:gd name="T4" fmla="*/ 9 w 10"/>
                  <a:gd name="T5" fmla="*/ 11 h 12"/>
                  <a:gd name="T6" fmla="*/ 7 w 10"/>
                  <a:gd name="T7" fmla="*/ 12 h 12"/>
                  <a:gd name="T8" fmla="*/ 5 w 10"/>
                  <a:gd name="T9" fmla="*/ 12 h 12"/>
                  <a:gd name="T10" fmla="*/ 4 w 10"/>
                  <a:gd name="T11" fmla="*/ 12 h 12"/>
                  <a:gd name="T12" fmla="*/ 1 w 10"/>
                  <a:gd name="T13" fmla="*/ 11 h 12"/>
                  <a:gd name="T14" fmla="*/ 0 w 10"/>
                  <a:gd name="T15" fmla="*/ 8 h 12"/>
                  <a:gd name="T16" fmla="*/ 0 w 10"/>
                  <a:gd name="T17" fmla="*/ 6 h 12"/>
                  <a:gd name="T18" fmla="*/ 0 w 10"/>
                  <a:gd name="T19" fmla="*/ 4 h 12"/>
                  <a:gd name="T20" fmla="*/ 1 w 10"/>
                  <a:gd name="T21" fmla="*/ 2 h 12"/>
                  <a:gd name="T22" fmla="*/ 4 w 10"/>
                  <a:gd name="T23" fmla="*/ 0 h 12"/>
                  <a:gd name="T24" fmla="*/ 5 w 10"/>
                  <a:gd name="T25" fmla="*/ 0 h 12"/>
                  <a:gd name="T26" fmla="*/ 7 w 10"/>
                  <a:gd name="T27" fmla="*/ 0 h 12"/>
                  <a:gd name="T28" fmla="*/ 9 w 10"/>
                  <a:gd name="T29" fmla="*/ 2 h 12"/>
                  <a:gd name="T30" fmla="*/ 10 w 10"/>
                  <a:gd name="T31" fmla="*/ 4 h 12"/>
                  <a:gd name="T32" fmla="*/ 10 w 10"/>
                  <a:gd name="T33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" h="12">
                    <a:moveTo>
                      <a:pt x="10" y="6"/>
                    </a:moveTo>
                    <a:lnTo>
                      <a:pt x="10" y="8"/>
                    </a:lnTo>
                    <a:lnTo>
                      <a:pt x="9" y="11"/>
                    </a:lnTo>
                    <a:lnTo>
                      <a:pt x="7" y="12"/>
                    </a:lnTo>
                    <a:lnTo>
                      <a:pt x="5" y="12"/>
                    </a:lnTo>
                    <a:lnTo>
                      <a:pt x="4" y="12"/>
                    </a:lnTo>
                    <a:lnTo>
                      <a:pt x="1" y="11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1" y="2"/>
                    </a:lnTo>
                    <a:lnTo>
                      <a:pt x="4" y="0"/>
                    </a:lnTo>
                    <a:lnTo>
                      <a:pt x="5" y="0"/>
                    </a:lnTo>
                    <a:lnTo>
                      <a:pt x="7" y="0"/>
                    </a:lnTo>
                    <a:lnTo>
                      <a:pt x="9" y="2"/>
                    </a:lnTo>
                    <a:lnTo>
                      <a:pt x="10" y="4"/>
                    </a:lnTo>
                    <a:lnTo>
                      <a:pt x="10" y="6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0" name="Freeform 249"/>
              <p:cNvSpPr>
                <a:spLocks/>
              </p:cNvSpPr>
              <p:nvPr/>
            </p:nvSpPr>
            <p:spPr bwMode="auto">
              <a:xfrm rot="20813856" flipH="1">
                <a:off x="11101171" y="2147503"/>
                <a:ext cx="11553" cy="16174"/>
              </a:xfrm>
              <a:custGeom>
                <a:avLst/>
                <a:gdLst>
                  <a:gd name="T0" fmla="*/ 11 w 11"/>
                  <a:gd name="T1" fmla="*/ 6 h 12"/>
                  <a:gd name="T2" fmla="*/ 11 w 11"/>
                  <a:gd name="T3" fmla="*/ 9 h 12"/>
                  <a:gd name="T4" fmla="*/ 10 w 11"/>
                  <a:gd name="T5" fmla="*/ 11 h 12"/>
                  <a:gd name="T6" fmla="*/ 7 w 11"/>
                  <a:gd name="T7" fmla="*/ 12 h 12"/>
                  <a:gd name="T8" fmla="*/ 5 w 11"/>
                  <a:gd name="T9" fmla="*/ 12 h 12"/>
                  <a:gd name="T10" fmla="*/ 4 w 11"/>
                  <a:gd name="T11" fmla="*/ 11 h 12"/>
                  <a:gd name="T12" fmla="*/ 2 w 11"/>
                  <a:gd name="T13" fmla="*/ 10 h 12"/>
                  <a:gd name="T14" fmla="*/ 0 w 11"/>
                  <a:gd name="T15" fmla="*/ 8 h 12"/>
                  <a:gd name="T16" fmla="*/ 0 w 11"/>
                  <a:gd name="T17" fmla="*/ 5 h 12"/>
                  <a:gd name="T18" fmla="*/ 0 w 11"/>
                  <a:gd name="T19" fmla="*/ 3 h 12"/>
                  <a:gd name="T20" fmla="*/ 2 w 11"/>
                  <a:gd name="T21" fmla="*/ 1 h 12"/>
                  <a:gd name="T22" fmla="*/ 4 w 11"/>
                  <a:gd name="T23" fmla="*/ 0 h 12"/>
                  <a:gd name="T24" fmla="*/ 6 w 11"/>
                  <a:gd name="T25" fmla="*/ 0 h 12"/>
                  <a:gd name="T26" fmla="*/ 7 w 11"/>
                  <a:gd name="T27" fmla="*/ 1 h 12"/>
                  <a:gd name="T28" fmla="*/ 10 w 11"/>
                  <a:gd name="T29" fmla="*/ 2 h 12"/>
                  <a:gd name="T30" fmla="*/ 11 w 11"/>
                  <a:gd name="T31" fmla="*/ 4 h 12"/>
                  <a:gd name="T32" fmla="*/ 11 w 11"/>
                  <a:gd name="T33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" h="12">
                    <a:moveTo>
                      <a:pt x="11" y="6"/>
                    </a:moveTo>
                    <a:lnTo>
                      <a:pt x="11" y="9"/>
                    </a:lnTo>
                    <a:lnTo>
                      <a:pt x="10" y="11"/>
                    </a:lnTo>
                    <a:lnTo>
                      <a:pt x="7" y="12"/>
                    </a:lnTo>
                    <a:lnTo>
                      <a:pt x="5" y="12"/>
                    </a:lnTo>
                    <a:lnTo>
                      <a:pt x="4" y="11"/>
                    </a:lnTo>
                    <a:lnTo>
                      <a:pt x="2" y="10"/>
                    </a:lnTo>
                    <a:lnTo>
                      <a:pt x="0" y="8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2" y="1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7" y="1"/>
                    </a:lnTo>
                    <a:lnTo>
                      <a:pt x="10" y="2"/>
                    </a:lnTo>
                    <a:lnTo>
                      <a:pt x="11" y="4"/>
                    </a:lnTo>
                    <a:lnTo>
                      <a:pt x="11" y="6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1" name="Freeform 250"/>
              <p:cNvSpPr>
                <a:spLocks/>
              </p:cNvSpPr>
              <p:nvPr/>
            </p:nvSpPr>
            <p:spPr bwMode="auto">
              <a:xfrm rot="20813856" flipH="1">
                <a:off x="11081414" y="2154206"/>
                <a:ext cx="13862" cy="16174"/>
              </a:xfrm>
              <a:custGeom>
                <a:avLst/>
                <a:gdLst>
                  <a:gd name="T0" fmla="*/ 10 w 10"/>
                  <a:gd name="T1" fmla="*/ 6 h 13"/>
                  <a:gd name="T2" fmla="*/ 10 w 10"/>
                  <a:gd name="T3" fmla="*/ 8 h 13"/>
                  <a:gd name="T4" fmla="*/ 9 w 10"/>
                  <a:gd name="T5" fmla="*/ 10 h 13"/>
                  <a:gd name="T6" fmla="*/ 7 w 10"/>
                  <a:gd name="T7" fmla="*/ 11 h 13"/>
                  <a:gd name="T8" fmla="*/ 4 w 10"/>
                  <a:gd name="T9" fmla="*/ 13 h 13"/>
                  <a:gd name="T10" fmla="*/ 3 w 10"/>
                  <a:gd name="T11" fmla="*/ 11 h 13"/>
                  <a:gd name="T12" fmla="*/ 1 w 10"/>
                  <a:gd name="T13" fmla="*/ 10 h 13"/>
                  <a:gd name="T14" fmla="*/ 0 w 10"/>
                  <a:gd name="T15" fmla="*/ 8 h 13"/>
                  <a:gd name="T16" fmla="*/ 0 w 10"/>
                  <a:gd name="T17" fmla="*/ 6 h 13"/>
                  <a:gd name="T18" fmla="*/ 0 w 10"/>
                  <a:gd name="T19" fmla="*/ 3 h 13"/>
                  <a:gd name="T20" fmla="*/ 1 w 10"/>
                  <a:gd name="T21" fmla="*/ 1 h 13"/>
                  <a:gd name="T22" fmla="*/ 3 w 10"/>
                  <a:gd name="T23" fmla="*/ 0 h 13"/>
                  <a:gd name="T24" fmla="*/ 6 w 10"/>
                  <a:gd name="T25" fmla="*/ 0 h 13"/>
                  <a:gd name="T26" fmla="*/ 7 w 10"/>
                  <a:gd name="T27" fmla="*/ 0 h 13"/>
                  <a:gd name="T28" fmla="*/ 9 w 10"/>
                  <a:gd name="T29" fmla="*/ 2 h 13"/>
                  <a:gd name="T30" fmla="*/ 10 w 10"/>
                  <a:gd name="T31" fmla="*/ 3 h 13"/>
                  <a:gd name="T32" fmla="*/ 10 w 10"/>
                  <a:gd name="T33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" h="13">
                    <a:moveTo>
                      <a:pt x="10" y="6"/>
                    </a:moveTo>
                    <a:lnTo>
                      <a:pt x="10" y="8"/>
                    </a:lnTo>
                    <a:lnTo>
                      <a:pt x="9" y="10"/>
                    </a:lnTo>
                    <a:lnTo>
                      <a:pt x="7" y="11"/>
                    </a:lnTo>
                    <a:lnTo>
                      <a:pt x="4" y="13"/>
                    </a:lnTo>
                    <a:lnTo>
                      <a:pt x="3" y="11"/>
                    </a:lnTo>
                    <a:lnTo>
                      <a:pt x="1" y="10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1" y="1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7" y="0"/>
                    </a:lnTo>
                    <a:lnTo>
                      <a:pt x="9" y="2"/>
                    </a:lnTo>
                    <a:lnTo>
                      <a:pt x="10" y="3"/>
                    </a:lnTo>
                    <a:lnTo>
                      <a:pt x="10" y="6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2" name="Freeform 251"/>
              <p:cNvSpPr>
                <a:spLocks/>
              </p:cNvSpPr>
              <p:nvPr/>
            </p:nvSpPr>
            <p:spPr bwMode="auto">
              <a:xfrm rot="20813856" flipH="1">
                <a:off x="11061714" y="2163742"/>
                <a:ext cx="11553" cy="11553"/>
              </a:xfrm>
              <a:custGeom>
                <a:avLst/>
                <a:gdLst>
                  <a:gd name="T0" fmla="*/ 11 w 11"/>
                  <a:gd name="T1" fmla="*/ 6 h 12"/>
                  <a:gd name="T2" fmla="*/ 11 w 11"/>
                  <a:gd name="T3" fmla="*/ 8 h 12"/>
                  <a:gd name="T4" fmla="*/ 9 w 11"/>
                  <a:gd name="T5" fmla="*/ 11 h 12"/>
                  <a:gd name="T6" fmla="*/ 7 w 11"/>
                  <a:gd name="T7" fmla="*/ 12 h 12"/>
                  <a:gd name="T8" fmla="*/ 6 w 11"/>
                  <a:gd name="T9" fmla="*/ 12 h 12"/>
                  <a:gd name="T10" fmla="*/ 4 w 11"/>
                  <a:gd name="T11" fmla="*/ 12 h 12"/>
                  <a:gd name="T12" fmla="*/ 1 w 11"/>
                  <a:gd name="T13" fmla="*/ 11 h 12"/>
                  <a:gd name="T14" fmla="*/ 0 w 11"/>
                  <a:gd name="T15" fmla="*/ 8 h 12"/>
                  <a:gd name="T16" fmla="*/ 0 w 11"/>
                  <a:gd name="T17" fmla="*/ 6 h 12"/>
                  <a:gd name="T18" fmla="*/ 1 w 11"/>
                  <a:gd name="T19" fmla="*/ 4 h 12"/>
                  <a:gd name="T20" fmla="*/ 2 w 11"/>
                  <a:gd name="T21" fmla="*/ 1 h 12"/>
                  <a:gd name="T22" fmla="*/ 4 w 11"/>
                  <a:gd name="T23" fmla="*/ 0 h 12"/>
                  <a:gd name="T24" fmla="*/ 6 w 11"/>
                  <a:gd name="T25" fmla="*/ 0 h 12"/>
                  <a:gd name="T26" fmla="*/ 7 w 11"/>
                  <a:gd name="T27" fmla="*/ 0 h 12"/>
                  <a:gd name="T28" fmla="*/ 9 w 11"/>
                  <a:gd name="T29" fmla="*/ 1 h 12"/>
                  <a:gd name="T30" fmla="*/ 11 w 11"/>
                  <a:gd name="T31" fmla="*/ 4 h 12"/>
                  <a:gd name="T32" fmla="*/ 11 w 11"/>
                  <a:gd name="T33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" h="12">
                    <a:moveTo>
                      <a:pt x="11" y="6"/>
                    </a:moveTo>
                    <a:lnTo>
                      <a:pt x="11" y="8"/>
                    </a:lnTo>
                    <a:lnTo>
                      <a:pt x="9" y="11"/>
                    </a:lnTo>
                    <a:lnTo>
                      <a:pt x="7" y="12"/>
                    </a:lnTo>
                    <a:lnTo>
                      <a:pt x="6" y="12"/>
                    </a:lnTo>
                    <a:lnTo>
                      <a:pt x="4" y="12"/>
                    </a:lnTo>
                    <a:lnTo>
                      <a:pt x="1" y="11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1" y="4"/>
                    </a:lnTo>
                    <a:lnTo>
                      <a:pt x="2" y="1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7" y="0"/>
                    </a:lnTo>
                    <a:lnTo>
                      <a:pt x="9" y="1"/>
                    </a:lnTo>
                    <a:lnTo>
                      <a:pt x="11" y="4"/>
                    </a:lnTo>
                    <a:lnTo>
                      <a:pt x="11" y="6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3" name="Freeform 252"/>
              <p:cNvSpPr>
                <a:spLocks/>
              </p:cNvSpPr>
              <p:nvPr/>
            </p:nvSpPr>
            <p:spPr bwMode="auto">
              <a:xfrm rot="20813856" flipH="1">
                <a:off x="11039443" y="2168688"/>
                <a:ext cx="13862" cy="13862"/>
              </a:xfrm>
              <a:custGeom>
                <a:avLst/>
                <a:gdLst>
                  <a:gd name="T0" fmla="*/ 10 w 10"/>
                  <a:gd name="T1" fmla="*/ 7 h 13"/>
                  <a:gd name="T2" fmla="*/ 9 w 10"/>
                  <a:gd name="T3" fmla="*/ 10 h 13"/>
                  <a:gd name="T4" fmla="*/ 8 w 10"/>
                  <a:gd name="T5" fmla="*/ 12 h 13"/>
                  <a:gd name="T6" fmla="*/ 6 w 10"/>
                  <a:gd name="T7" fmla="*/ 13 h 13"/>
                  <a:gd name="T8" fmla="*/ 4 w 10"/>
                  <a:gd name="T9" fmla="*/ 13 h 13"/>
                  <a:gd name="T10" fmla="*/ 2 w 10"/>
                  <a:gd name="T11" fmla="*/ 12 h 13"/>
                  <a:gd name="T12" fmla="*/ 1 w 10"/>
                  <a:gd name="T13" fmla="*/ 11 h 13"/>
                  <a:gd name="T14" fmla="*/ 0 w 10"/>
                  <a:gd name="T15" fmla="*/ 8 h 13"/>
                  <a:gd name="T16" fmla="*/ 0 w 10"/>
                  <a:gd name="T17" fmla="*/ 6 h 13"/>
                  <a:gd name="T18" fmla="*/ 0 w 10"/>
                  <a:gd name="T19" fmla="*/ 4 h 13"/>
                  <a:gd name="T20" fmla="*/ 1 w 10"/>
                  <a:gd name="T21" fmla="*/ 1 h 13"/>
                  <a:gd name="T22" fmla="*/ 3 w 10"/>
                  <a:gd name="T23" fmla="*/ 0 h 13"/>
                  <a:gd name="T24" fmla="*/ 4 w 10"/>
                  <a:gd name="T25" fmla="*/ 0 h 13"/>
                  <a:gd name="T26" fmla="*/ 7 w 10"/>
                  <a:gd name="T27" fmla="*/ 1 h 13"/>
                  <a:gd name="T28" fmla="*/ 9 w 10"/>
                  <a:gd name="T29" fmla="*/ 3 h 13"/>
                  <a:gd name="T30" fmla="*/ 10 w 10"/>
                  <a:gd name="T31" fmla="*/ 5 h 13"/>
                  <a:gd name="T32" fmla="*/ 10 w 10"/>
                  <a:gd name="T33" fmla="*/ 7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" h="13">
                    <a:moveTo>
                      <a:pt x="10" y="7"/>
                    </a:moveTo>
                    <a:lnTo>
                      <a:pt x="9" y="10"/>
                    </a:lnTo>
                    <a:lnTo>
                      <a:pt x="8" y="12"/>
                    </a:lnTo>
                    <a:lnTo>
                      <a:pt x="6" y="13"/>
                    </a:lnTo>
                    <a:lnTo>
                      <a:pt x="4" y="13"/>
                    </a:lnTo>
                    <a:lnTo>
                      <a:pt x="2" y="12"/>
                    </a:lnTo>
                    <a:lnTo>
                      <a:pt x="1" y="11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1" y="1"/>
                    </a:lnTo>
                    <a:lnTo>
                      <a:pt x="3" y="0"/>
                    </a:lnTo>
                    <a:lnTo>
                      <a:pt x="4" y="0"/>
                    </a:lnTo>
                    <a:lnTo>
                      <a:pt x="7" y="1"/>
                    </a:lnTo>
                    <a:lnTo>
                      <a:pt x="9" y="3"/>
                    </a:lnTo>
                    <a:lnTo>
                      <a:pt x="10" y="5"/>
                    </a:lnTo>
                    <a:lnTo>
                      <a:pt x="10" y="7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4" name="Freeform 253"/>
              <p:cNvSpPr>
                <a:spLocks/>
              </p:cNvSpPr>
              <p:nvPr/>
            </p:nvSpPr>
            <p:spPr bwMode="auto">
              <a:xfrm rot="20813856" flipH="1">
                <a:off x="11019744" y="2175913"/>
                <a:ext cx="11553" cy="13862"/>
              </a:xfrm>
              <a:custGeom>
                <a:avLst/>
                <a:gdLst>
                  <a:gd name="T0" fmla="*/ 11 w 11"/>
                  <a:gd name="T1" fmla="*/ 5 h 11"/>
                  <a:gd name="T2" fmla="*/ 11 w 11"/>
                  <a:gd name="T3" fmla="*/ 8 h 11"/>
                  <a:gd name="T4" fmla="*/ 9 w 11"/>
                  <a:gd name="T5" fmla="*/ 10 h 11"/>
                  <a:gd name="T6" fmla="*/ 7 w 11"/>
                  <a:gd name="T7" fmla="*/ 11 h 11"/>
                  <a:gd name="T8" fmla="*/ 5 w 11"/>
                  <a:gd name="T9" fmla="*/ 11 h 11"/>
                  <a:gd name="T10" fmla="*/ 4 w 11"/>
                  <a:gd name="T11" fmla="*/ 11 h 11"/>
                  <a:gd name="T12" fmla="*/ 1 w 11"/>
                  <a:gd name="T13" fmla="*/ 10 h 11"/>
                  <a:gd name="T14" fmla="*/ 0 w 11"/>
                  <a:gd name="T15" fmla="*/ 8 h 11"/>
                  <a:gd name="T16" fmla="*/ 0 w 11"/>
                  <a:gd name="T17" fmla="*/ 5 h 11"/>
                  <a:gd name="T18" fmla="*/ 0 w 11"/>
                  <a:gd name="T19" fmla="*/ 3 h 11"/>
                  <a:gd name="T20" fmla="*/ 1 w 11"/>
                  <a:gd name="T21" fmla="*/ 1 h 11"/>
                  <a:gd name="T22" fmla="*/ 4 w 11"/>
                  <a:gd name="T23" fmla="*/ 0 h 11"/>
                  <a:gd name="T24" fmla="*/ 6 w 11"/>
                  <a:gd name="T25" fmla="*/ 0 h 11"/>
                  <a:gd name="T26" fmla="*/ 7 w 11"/>
                  <a:gd name="T27" fmla="*/ 0 h 11"/>
                  <a:gd name="T28" fmla="*/ 9 w 11"/>
                  <a:gd name="T29" fmla="*/ 1 h 11"/>
                  <a:gd name="T30" fmla="*/ 11 w 11"/>
                  <a:gd name="T31" fmla="*/ 3 h 11"/>
                  <a:gd name="T32" fmla="*/ 11 w 11"/>
                  <a:gd name="T33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" h="11">
                    <a:moveTo>
                      <a:pt x="11" y="5"/>
                    </a:moveTo>
                    <a:lnTo>
                      <a:pt x="11" y="8"/>
                    </a:lnTo>
                    <a:lnTo>
                      <a:pt x="9" y="10"/>
                    </a:lnTo>
                    <a:lnTo>
                      <a:pt x="7" y="11"/>
                    </a:lnTo>
                    <a:lnTo>
                      <a:pt x="5" y="11"/>
                    </a:lnTo>
                    <a:lnTo>
                      <a:pt x="4" y="11"/>
                    </a:lnTo>
                    <a:lnTo>
                      <a:pt x="1" y="10"/>
                    </a:lnTo>
                    <a:lnTo>
                      <a:pt x="0" y="8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1" y="1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7" y="0"/>
                    </a:lnTo>
                    <a:lnTo>
                      <a:pt x="9" y="1"/>
                    </a:lnTo>
                    <a:lnTo>
                      <a:pt x="11" y="3"/>
                    </a:lnTo>
                    <a:lnTo>
                      <a:pt x="11" y="5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5" name="Freeform 254"/>
              <p:cNvSpPr>
                <a:spLocks/>
              </p:cNvSpPr>
              <p:nvPr/>
            </p:nvSpPr>
            <p:spPr bwMode="auto">
              <a:xfrm rot="20813856" flipH="1">
                <a:off x="11000016" y="2182878"/>
                <a:ext cx="11553" cy="13862"/>
              </a:xfrm>
              <a:custGeom>
                <a:avLst/>
                <a:gdLst>
                  <a:gd name="T0" fmla="*/ 10 w 10"/>
                  <a:gd name="T1" fmla="*/ 7 h 12"/>
                  <a:gd name="T2" fmla="*/ 9 w 10"/>
                  <a:gd name="T3" fmla="*/ 9 h 12"/>
                  <a:gd name="T4" fmla="*/ 8 w 10"/>
                  <a:gd name="T5" fmla="*/ 11 h 12"/>
                  <a:gd name="T6" fmla="*/ 5 w 10"/>
                  <a:gd name="T7" fmla="*/ 12 h 12"/>
                  <a:gd name="T8" fmla="*/ 4 w 10"/>
                  <a:gd name="T9" fmla="*/ 12 h 12"/>
                  <a:gd name="T10" fmla="*/ 2 w 10"/>
                  <a:gd name="T11" fmla="*/ 11 h 12"/>
                  <a:gd name="T12" fmla="*/ 1 w 10"/>
                  <a:gd name="T13" fmla="*/ 10 h 12"/>
                  <a:gd name="T14" fmla="*/ 0 w 10"/>
                  <a:gd name="T15" fmla="*/ 8 h 12"/>
                  <a:gd name="T16" fmla="*/ 0 w 10"/>
                  <a:gd name="T17" fmla="*/ 6 h 12"/>
                  <a:gd name="T18" fmla="*/ 0 w 10"/>
                  <a:gd name="T19" fmla="*/ 3 h 12"/>
                  <a:gd name="T20" fmla="*/ 1 w 10"/>
                  <a:gd name="T21" fmla="*/ 1 h 12"/>
                  <a:gd name="T22" fmla="*/ 3 w 10"/>
                  <a:gd name="T23" fmla="*/ 0 h 12"/>
                  <a:gd name="T24" fmla="*/ 5 w 10"/>
                  <a:gd name="T25" fmla="*/ 0 h 12"/>
                  <a:gd name="T26" fmla="*/ 7 w 10"/>
                  <a:gd name="T27" fmla="*/ 1 h 12"/>
                  <a:gd name="T28" fmla="*/ 9 w 10"/>
                  <a:gd name="T29" fmla="*/ 2 h 12"/>
                  <a:gd name="T30" fmla="*/ 10 w 10"/>
                  <a:gd name="T31" fmla="*/ 4 h 12"/>
                  <a:gd name="T32" fmla="*/ 10 w 10"/>
                  <a:gd name="T33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" h="12">
                    <a:moveTo>
                      <a:pt x="10" y="7"/>
                    </a:moveTo>
                    <a:lnTo>
                      <a:pt x="9" y="9"/>
                    </a:lnTo>
                    <a:lnTo>
                      <a:pt x="8" y="11"/>
                    </a:lnTo>
                    <a:lnTo>
                      <a:pt x="5" y="12"/>
                    </a:lnTo>
                    <a:lnTo>
                      <a:pt x="4" y="12"/>
                    </a:lnTo>
                    <a:lnTo>
                      <a:pt x="2" y="11"/>
                    </a:lnTo>
                    <a:lnTo>
                      <a:pt x="1" y="10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1" y="1"/>
                    </a:lnTo>
                    <a:lnTo>
                      <a:pt x="3" y="0"/>
                    </a:lnTo>
                    <a:lnTo>
                      <a:pt x="5" y="0"/>
                    </a:lnTo>
                    <a:lnTo>
                      <a:pt x="7" y="1"/>
                    </a:lnTo>
                    <a:lnTo>
                      <a:pt x="9" y="2"/>
                    </a:lnTo>
                    <a:lnTo>
                      <a:pt x="10" y="4"/>
                    </a:lnTo>
                    <a:lnTo>
                      <a:pt x="10" y="7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6" name="Freeform 255"/>
              <p:cNvSpPr>
                <a:spLocks/>
              </p:cNvSpPr>
              <p:nvPr/>
            </p:nvSpPr>
            <p:spPr bwMode="auto">
              <a:xfrm rot="20813856" flipH="1">
                <a:off x="10980287" y="2189841"/>
                <a:ext cx="11553" cy="13862"/>
              </a:xfrm>
              <a:custGeom>
                <a:avLst/>
                <a:gdLst>
                  <a:gd name="T0" fmla="*/ 10 w 10"/>
                  <a:gd name="T1" fmla="*/ 7 h 13"/>
                  <a:gd name="T2" fmla="*/ 10 w 10"/>
                  <a:gd name="T3" fmla="*/ 9 h 13"/>
                  <a:gd name="T4" fmla="*/ 9 w 10"/>
                  <a:gd name="T5" fmla="*/ 12 h 13"/>
                  <a:gd name="T6" fmla="*/ 7 w 10"/>
                  <a:gd name="T7" fmla="*/ 13 h 13"/>
                  <a:gd name="T8" fmla="*/ 5 w 10"/>
                  <a:gd name="T9" fmla="*/ 13 h 13"/>
                  <a:gd name="T10" fmla="*/ 4 w 10"/>
                  <a:gd name="T11" fmla="*/ 12 h 13"/>
                  <a:gd name="T12" fmla="*/ 1 w 10"/>
                  <a:gd name="T13" fmla="*/ 10 h 13"/>
                  <a:gd name="T14" fmla="*/ 0 w 10"/>
                  <a:gd name="T15" fmla="*/ 8 h 13"/>
                  <a:gd name="T16" fmla="*/ 0 w 10"/>
                  <a:gd name="T17" fmla="*/ 6 h 13"/>
                  <a:gd name="T18" fmla="*/ 0 w 10"/>
                  <a:gd name="T19" fmla="*/ 4 h 13"/>
                  <a:gd name="T20" fmla="*/ 1 w 10"/>
                  <a:gd name="T21" fmla="*/ 1 h 13"/>
                  <a:gd name="T22" fmla="*/ 4 w 10"/>
                  <a:gd name="T23" fmla="*/ 0 h 13"/>
                  <a:gd name="T24" fmla="*/ 6 w 10"/>
                  <a:gd name="T25" fmla="*/ 0 h 13"/>
                  <a:gd name="T26" fmla="*/ 7 w 10"/>
                  <a:gd name="T27" fmla="*/ 1 h 13"/>
                  <a:gd name="T28" fmla="*/ 9 w 10"/>
                  <a:gd name="T29" fmla="*/ 2 h 13"/>
                  <a:gd name="T30" fmla="*/ 10 w 10"/>
                  <a:gd name="T31" fmla="*/ 5 h 13"/>
                  <a:gd name="T32" fmla="*/ 10 w 10"/>
                  <a:gd name="T33" fmla="*/ 7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" h="13">
                    <a:moveTo>
                      <a:pt x="10" y="7"/>
                    </a:moveTo>
                    <a:lnTo>
                      <a:pt x="10" y="9"/>
                    </a:lnTo>
                    <a:lnTo>
                      <a:pt x="9" y="12"/>
                    </a:lnTo>
                    <a:lnTo>
                      <a:pt x="7" y="13"/>
                    </a:lnTo>
                    <a:lnTo>
                      <a:pt x="5" y="13"/>
                    </a:lnTo>
                    <a:lnTo>
                      <a:pt x="4" y="12"/>
                    </a:lnTo>
                    <a:lnTo>
                      <a:pt x="1" y="10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1" y="1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7" y="1"/>
                    </a:lnTo>
                    <a:lnTo>
                      <a:pt x="9" y="2"/>
                    </a:lnTo>
                    <a:lnTo>
                      <a:pt x="10" y="5"/>
                    </a:lnTo>
                    <a:lnTo>
                      <a:pt x="10" y="7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7" name="Freeform 256"/>
              <p:cNvSpPr>
                <a:spLocks/>
              </p:cNvSpPr>
              <p:nvPr/>
            </p:nvSpPr>
            <p:spPr bwMode="auto">
              <a:xfrm rot="20813856" flipH="1">
                <a:off x="10960821" y="2196776"/>
                <a:ext cx="11553" cy="16174"/>
              </a:xfrm>
              <a:custGeom>
                <a:avLst/>
                <a:gdLst>
                  <a:gd name="T0" fmla="*/ 10 w 10"/>
                  <a:gd name="T1" fmla="*/ 7 h 13"/>
                  <a:gd name="T2" fmla="*/ 10 w 10"/>
                  <a:gd name="T3" fmla="*/ 10 h 13"/>
                  <a:gd name="T4" fmla="*/ 9 w 10"/>
                  <a:gd name="T5" fmla="*/ 12 h 13"/>
                  <a:gd name="T6" fmla="*/ 6 w 10"/>
                  <a:gd name="T7" fmla="*/ 13 h 13"/>
                  <a:gd name="T8" fmla="*/ 4 w 10"/>
                  <a:gd name="T9" fmla="*/ 13 h 13"/>
                  <a:gd name="T10" fmla="*/ 3 w 10"/>
                  <a:gd name="T11" fmla="*/ 12 h 13"/>
                  <a:gd name="T12" fmla="*/ 1 w 10"/>
                  <a:gd name="T13" fmla="*/ 11 h 13"/>
                  <a:gd name="T14" fmla="*/ 0 w 10"/>
                  <a:gd name="T15" fmla="*/ 8 h 13"/>
                  <a:gd name="T16" fmla="*/ 0 w 10"/>
                  <a:gd name="T17" fmla="*/ 6 h 13"/>
                  <a:gd name="T18" fmla="*/ 1 w 10"/>
                  <a:gd name="T19" fmla="*/ 4 h 13"/>
                  <a:gd name="T20" fmla="*/ 2 w 10"/>
                  <a:gd name="T21" fmla="*/ 2 h 13"/>
                  <a:gd name="T22" fmla="*/ 4 w 10"/>
                  <a:gd name="T23" fmla="*/ 0 h 13"/>
                  <a:gd name="T24" fmla="*/ 5 w 10"/>
                  <a:gd name="T25" fmla="*/ 0 h 13"/>
                  <a:gd name="T26" fmla="*/ 8 w 10"/>
                  <a:gd name="T27" fmla="*/ 2 h 13"/>
                  <a:gd name="T28" fmla="*/ 9 w 10"/>
                  <a:gd name="T29" fmla="*/ 3 h 13"/>
                  <a:gd name="T30" fmla="*/ 10 w 10"/>
                  <a:gd name="T31" fmla="*/ 5 h 13"/>
                  <a:gd name="T32" fmla="*/ 10 w 10"/>
                  <a:gd name="T33" fmla="*/ 7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" h="13">
                    <a:moveTo>
                      <a:pt x="10" y="7"/>
                    </a:moveTo>
                    <a:lnTo>
                      <a:pt x="10" y="10"/>
                    </a:lnTo>
                    <a:lnTo>
                      <a:pt x="9" y="12"/>
                    </a:lnTo>
                    <a:lnTo>
                      <a:pt x="6" y="13"/>
                    </a:lnTo>
                    <a:lnTo>
                      <a:pt x="4" y="13"/>
                    </a:lnTo>
                    <a:lnTo>
                      <a:pt x="3" y="12"/>
                    </a:lnTo>
                    <a:lnTo>
                      <a:pt x="1" y="11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1" y="4"/>
                    </a:lnTo>
                    <a:lnTo>
                      <a:pt x="2" y="2"/>
                    </a:lnTo>
                    <a:lnTo>
                      <a:pt x="4" y="0"/>
                    </a:lnTo>
                    <a:lnTo>
                      <a:pt x="5" y="0"/>
                    </a:lnTo>
                    <a:lnTo>
                      <a:pt x="8" y="2"/>
                    </a:lnTo>
                    <a:lnTo>
                      <a:pt x="9" y="3"/>
                    </a:lnTo>
                    <a:lnTo>
                      <a:pt x="10" y="5"/>
                    </a:lnTo>
                    <a:lnTo>
                      <a:pt x="10" y="7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8" name="Freeform 257"/>
              <p:cNvSpPr>
                <a:spLocks/>
              </p:cNvSpPr>
              <p:nvPr/>
            </p:nvSpPr>
            <p:spPr bwMode="auto">
              <a:xfrm rot="20813856" flipH="1">
                <a:off x="10938842" y="2204263"/>
                <a:ext cx="11553" cy="16174"/>
              </a:xfrm>
              <a:custGeom>
                <a:avLst/>
                <a:gdLst>
                  <a:gd name="T0" fmla="*/ 10 w 10"/>
                  <a:gd name="T1" fmla="*/ 7 h 12"/>
                  <a:gd name="T2" fmla="*/ 9 w 10"/>
                  <a:gd name="T3" fmla="*/ 9 h 12"/>
                  <a:gd name="T4" fmla="*/ 8 w 10"/>
                  <a:gd name="T5" fmla="*/ 10 h 12"/>
                  <a:gd name="T6" fmla="*/ 6 w 10"/>
                  <a:gd name="T7" fmla="*/ 11 h 12"/>
                  <a:gd name="T8" fmla="*/ 5 w 10"/>
                  <a:gd name="T9" fmla="*/ 12 h 12"/>
                  <a:gd name="T10" fmla="*/ 2 w 10"/>
                  <a:gd name="T11" fmla="*/ 11 h 12"/>
                  <a:gd name="T12" fmla="*/ 1 w 10"/>
                  <a:gd name="T13" fmla="*/ 10 h 12"/>
                  <a:gd name="T14" fmla="*/ 0 w 10"/>
                  <a:gd name="T15" fmla="*/ 8 h 12"/>
                  <a:gd name="T16" fmla="*/ 0 w 10"/>
                  <a:gd name="T17" fmla="*/ 5 h 12"/>
                  <a:gd name="T18" fmla="*/ 0 w 10"/>
                  <a:gd name="T19" fmla="*/ 3 h 12"/>
                  <a:gd name="T20" fmla="*/ 1 w 10"/>
                  <a:gd name="T21" fmla="*/ 1 h 12"/>
                  <a:gd name="T22" fmla="*/ 4 w 10"/>
                  <a:gd name="T23" fmla="*/ 0 h 12"/>
                  <a:gd name="T24" fmla="*/ 5 w 10"/>
                  <a:gd name="T25" fmla="*/ 0 h 12"/>
                  <a:gd name="T26" fmla="*/ 7 w 10"/>
                  <a:gd name="T27" fmla="*/ 1 h 12"/>
                  <a:gd name="T28" fmla="*/ 9 w 10"/>
                  <a:gd name="T29" fmla="*/ 2 h 12"/>
                  <a:gd name="T30" fmla="*/ 10 w 10"/>
                  <a:gd name="T31" fmla="*/ 4 h 12"/>
                  <a:gd name="T32" fmla="*/ 10 w 10"/>
                  <a:gd name="T33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" h="12">
                    <a:moveTo>
                      <a:pt x="10" y="7"/>
                    </a:moveTo>
                    <a:lnTo>
                      <a:pt x="9" y="9"/>
                    </a:lnTo>
                    <a:lnTo>
                      <a:pt x="8" y="10"/>
                    </a:lnTo>
                    <a:lnTo>
                      <a:pt x="6" y="11"/>
                    </a:lnTo>
                    <a:lnTo>
                      <a:pt x="5" y="12"/>
                    </a:lnTo>
                    <a:lnTo>
                      <a:pt x="2" y="11"/>
                    </a:lnTo>
                    <a:lnTo>
                      <a:pt x="1" y="10"/>
                    </a:lnTo>
                    <a:lnTo>
                      <a:pt x="0" y="8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1" y="1"/>
                    </a:lnTo>
                    <a:lnTo>
                      <a:pt x="4" y="0"/>
                    </a:lnTo>
                    <a:lnTo>
                      <a:pt x="5" y="0"/>
                    </a:lnTo>
                    <a:lnTo>
                      <a:pt x="7" y="1"/>
                    </a:lnTo>
                    <a:lnTo>
                      <a:pt x="9" y="2"/>
                    </a:lnTo>
                    <a:lnTo>
                      <a:pt x="10" y="4"/>
                    </a:lnTo>
                    <a:lnTo>
                      <a:pt x="10" y="7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9" name="Freeform 258"/>
              <p:cNvSpPr>
                <a:spLocks/>
              </p:cNvSpPr>
              <p:nvPr/>
            </p:nvSpPr>
            <p:spPr bwMode="auto">
              <a:xfrm rot="20813856" flipH="1">
                <a:off x="10921102" y="2210734"/>
                <a:ext cx="11553" cy="13862"/>
              </a:xfrm>
              <a:custGeom>
                <a:avLst/>
                <a:gdLst>
                  <a:gd name="T0" fmla="*/ 11 w 11"/>
                  <a:gd name="T1" fmla="*/ 6 h 11"/>
                  <a:gd name="T2" fmla="*/ 11 w 11"/>
                  <a:gd name="T3" fmla="*/ 8 h 11"/>
                  <a:gd name="T4" fmla="*/ 9 w 11"/>
                  <a:gd name="T5" fmla="*/ 10 h 11"/>
                  <a:gd name="T6" fmla="*/ 7 w 11"/>
                  <a:gd name="T7" fmla="*/ 11 h 11"/>
                  <a:gd name="T8" fmla="*/ 6 w 11"/>
                  <a:gd name="T9" fmla="*/ 11 h 11"/>
                  <a:gd name="T10" fmla="*/ 4 w 11"/>
                  <a:gd name="T11" fmla="*/ 11 h 11"/>
                  <a:gd name="T12" fmla="*/ 1 w 11"/>
                  <a:gd name="T13" fmla="*/ 10 h 11"/>
                  <a:gd name="T14" fmla="*/ 0 w 11"/>
                  <a:gd name="T15" fmla="*/ 8 h 11"/>
                  <a:gd name="T16" fmla="*/ 0 w 11"/>
                  <a:gd name="T17" fmla="*/ 6 h 11"/>
                  <a:gd name="T18" fmla="*/ 1 w 11"/>
                  <a:gd name="T19" fmla="*/ 3 h 11"/>
                  <a:gd name="T20" fmla="*/ 3 w 11"/>
                  <a:gd name="T21" fmla="*/ 1 h 11"/>
                  <a:gd name="T22" fmla="*/ 5 w 11"/>
                  <a:gd name="T23" fmla="*/ 0 h 11"/>
                  <a:gd name="T24" fmla="*/ 6 w 11"/>
                  <a:gd name="T25" fmla="*/ 0 h 11"/>
                  <a:gd name="T26" fmla="*/ 8 w 11"/>
                  <a:gd name="T27" fmla="*/ 0 h 11"/>
                  <a:gd name="T28" fmla="*/ 11 w 11"/>
                  <a:gd name="T29" fmla="*/ 1 h 11"/>
                  <a:gd name="T30" fmla="*/ 11 w 11"/>
                  <a:gd name="T31" fmla="*/ 3 h 11"/>
                  <a:gd name="T32" fmla="*/ 11 w 11"/>
                  <a:gd name="T33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" h="11">
                    <a:moveTo>
                      <a:pt x="11" y="6"/>
                    </a:moveTo>
                    <a:lnTo>
                      <a:pt x="11" y="8"/>
                    </a:lnTo>
                    <a:lnTo>
                      <a:pt x="9" y="10"/>
                    </a:lnTo>
                    <a:lnTo>
                      <a:pt x="7" y="11"/>
                    </a:lnTo>
                    <a:lnTo>
                      <a:pt x="6" y="11"/>
                    </a:lnTo>
                    <a:lnTo>
                      <a:pt x="4" y="11"/>
                    </a:lnTo>
                    <a:lnTo>
                      <a:pt x="1" y="10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1" y="3"/>
                    </a:lnTo>
                    <a:lnTo>
                      <a:pt x="3" y="1"/>
                    </a:lnTo>
                    <a:lnTo>
                      <a:pt x="5" y="0"/>
                    </a:lnTo>
                    <a:lnTo>
                      <a:pt x="6" y="0"/>
                    </a:lnTo>
                    <a:lnTo>
                      <a:pt x="8" y="0"/>
                    </a:lnTo>
                    <a:lnTo>
                      <a:pt x="11" y="1"/>
                    </a:lnTo>
                    <a:lnTo>
                      <a:pt x="11" y="3"/>
                    </a:lnTo>
                    <a:lnTo>
                      <a:pt x="11" y="6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0" name="Freeform 259"/>
              <p:cNvSpPr>
                <a:spLocks/>
              </p:cNvSpPr>
              <p:nvPr/>
            </p:nvSpPr>
            <p:spPr bwMode="auto">
              <a:xfrm rot="20813856" flipH="1">
                <a:off x="10899385" y="2220502"/>
                <a:ext cx="11553" cy="11553"/>
              </a:xfrm>
              <a:custGeom>
                <a:avLst/>
                <a:gdLst>
                  <a:gd name="T0" fmla="*/ 10 w 10"/>
                  <a:gd name="T1" fmla="*/ 6 h 12"/>
                  <a:gd name="T2" fmla="*/ 10 w 10"/>
                  <a:gd name="T3" fmla="*/ 8 h 12"/>
                  <a:gd name="T4" fmla="*/ 8 w 10"/>
                  <a:gd name="T5" fmla="*/ 11 h 12"/>
                  <a:gd name="T6" fmla="*/ 7 w 10"/>
                  <a:gd name="T7" fmla="*/ 12 h 12"/>
                  <a:gd name="T8" fmla="*/ 4 w 10"/>
                  <a:gd name="T9" fmla="*/ 12 h 12"/>
                  <a:gd name="T10" fmla="*/ 2 w 10"/>
                  <a:gd name="T11" fmla="*/ 12 h 12"/>
                  <a:gd name="T12" fmla="*/ 1 w 10"/>
                  <a:gd name="T13" fmla="*/ 11 h 12"/>
                  <a:gd name="T14" fmla="*/ 0 w 10"/>
                  <a:gd name="T15" fmla="*/ 8 h 12"/>
                  <a:gd name="T16" fmla="*/ 0 w 10"/>
                  <a:gd name="T17" fmla="*/ 6 h 12"/>
                  <a:gd name="T18" fmla="*/ 0 w 10"/>
                  <a:gd name="T19" fmla="*/ 4 h 12"/>
                  <a:gd name="T20" fmla="*/ 1 w 10"/>
                  <a:gd name="T21" fmla="*/ 1 h 12"/>
                  <a:gd name="T22" fmla="*/ 3 w 10"/>
                  <a:gd name="T23" fmla="*/ 0 h 12"/>
                  <a:gd name="T24" fmla="*/ 6 w 10"/>
                  <a:gd name="T25" fmla="*/ 0 h 12"/>
                  <a:gd name="T26" fmla="*/ 7 w 10"/>
                  <a:gd name="T27" fmla="*/ 0 h 12"/>
                  <a:gd name="T28" fmla="*/ 9 w 10"/>
                  <a:gd name="T29" fmla="*/ 1 h 12"/>
                  <a:gd name="T30" fmla="*/ 10 w 10"/>
                  <a:gd name="T31" fmla="*/ 4 h 12"/>
                  <a:gd name="T32" fmla="*/ 10 w 10"/>
                  <a:gd name="T33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" h="12">
                    <a:moveTo>
                      <a:pt x="10" y="6"/>
                    </a:moveTo>
                    <a:lnTo>
                      <a:pt x="10" y="8"/>
                    </a:lnTo>
                    <a:lnTo>
                      <a:pt x="8" y="11"/>
                    </a:lnTo>
                    <a:lnTo>
                      <a:pt x="7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1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1" y="1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7" y="0"/>
                    </a:lnTo>
                    <a:lnTo>
                      <a:pt x="9" y="1"/>
                    </a:lnTo>
                    <a:lnTo>
                      <a:pt x="10" y="4"/>
                    </a:lnTo>
                    <a:lnTo>
                      <a:pt x="10" y="6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1" name="Freeform 260"/>
              <p:cNvSpPr>
                <a:spLocks/>
              </p:cNvSpPr>
              <p:nvPr/>
            </p:nvSpPr>
            <p:spPr bwMode="auto">
              <a:xfrm rot="20813856" flipH="1">
                <a:off x="10879917" y="2227435"/>
                <a:ext cx="11553" cy="13862"/>
              </a:xfrm>
              <a:custGeom>
                <a:avLst/>
                <a:gdLst>
                  <a:gd name="T0" fmla="*/ 11 w 11"/>
                  <a:gd name="T1" fmla="*/ 5 h 11"/>
                  <a:gd name="T2" fmla="*/ 11 w 11"/>
                  <a:gd name="T3" fmla="*/ 8 h 11"/>
                  <a:gd name="T4" fmla="*/ 9 w 11"/>
                  <a:gd name="T5" fmla="*/ 10 h 11"/>
                  <a:gd name="T6" fmla="*/ 7 w 11"/>
                  <a:gd name="T7" fmla="*/ 11 h 11"/>
                  <a:gd name="T8" fmla="*/ 5 w 11"/>
                  <a:gd name="T9" fmla="*/ 11 h 11"/>
                  <a:gd name="T10" fmla="*/ 4 w 11"/>
                  <a:gd name="T11" fmla="*/ 11 h 11"/>
                  <a:gd name="T12" fmla="*/ 1 w 11"/>
                  <a:gd name="T13" fmla="*/ 10 h 11"/>
                  <a:gd name="T14" fmla="*/ 0 w 11"/>
                  <a:gd name="T15" fmla="*/ 8 h 11"/>
                  <a:gd name="T16" fmla="*/ 0 w 11"/>
                  <a:gd name="T17" fmla="*/ 5 h 11"/>
                  <a:gd name="T18" fmla="*/ 0 w 11"/>
                  <a:gd name="T19" fmla="*/ 3 h 11"/>
                  <a:gd name="T20" fmla="*/ 1 w 11"/>
                  <a:gd name="T21" fmla="*/ 1 h 11"/>
                  <a:gd name="T22" fmla="*/ 4 w 11"/>
                  <a:gd name="T23" fmla="*/ 0 h 11"/>
                  <a:gd name="T24" fmla="*/ 6 w 11"/>
                  <a:gd name="T25" fmla="*/ 0 h 11"/>
                  <a:gd name="T26" fmla="*/ 7 w 11"/>
                  <a:gd name="T27" fmla="*/ 0 h 11"/>
                  <a:gd name="T28" fmla="*/ 9 w 11"/>
                  <a:gd name="T29" fmla="*/ 1 h 11"/>
                  <a:gd name="T30" fmla="*/ 11 w 11"/>
                  <a:gd name="T31" fmla="*/ 3 h 11"/>
                  <a:gd name="T32" fmla="*/ 11 w 11"/>
                  <a:gd name="T33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" h="11">
                    <a:moveTo>
                      <a:pt x="11" y="5"/>
                    </a:moveTo>
                    <a:lnTo>
                      <a:pt x="11" y="8"/>
                    </a:lnTo>
                    <a:lnTo>
                      <a:pt x="9" y="10"/>
                    </a:lnTo>
                    <a:lnTo>
                      <a:pt x="7" y="11"/>
                    </a:lnTo>
                    <a:lnTo>
                      <a:pt x="5" y="11"/>
                    </a:lnTo>
                    <a:lnTo>
                      <a:pt x="4" y="11"/>
                    </a:lnTo>
                    <a:lnTo>
                      <a:pt x="1" y="10"/>
                    </a:lnTo>
                    <a:lnTo>
                      <a:pt x="0" y="8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1" y="1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7" y="0"/>
                    </a:lnTo>
                    <a:lnTo>
                      <a:pt x="9" y="1"/>
                    </a:lnTo>
                    <a:lnTo>
                      <a:pt x="11" y="3"/>
                    </a:lnTo>
                    <a:lnTo>
                      <a:pt x="11" y="5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2" name="Freeform 261"/>
              <p:cNvSpPr>
                <a:spLocks/>
              </p:cNvSpPr>
              <p:nvPr/>
            </p:nvSpPr>
            <p:spPr bwMode="auto">
              <a:xfrm rot="20813856" flipH="1">
                <a:off x="10857648" y="2232381"/>
                <a:ext cx="13862" cy="16174"/>
              </a:xfrm>
              <a:custGeom>
                <a:avLst/>
                <a:gdLst>
                  <a:gd name="T0" fmla="*/ 10 w 10"/>
                  <a:gd name="T1" fmla="*/ 7 h 12"/>
                  <a:gd name="T2" fmla="*/ 10 w 10"/>
                  <a:gd name="T3" fmla="*/ 9 h 12"/>
                  <a:gd name="T4" fmla="*/ 9 w 10"/>
                  <a:gd name="T5" fmla="*/ 11 h 12"/>
                  <a:gd name="T6" fmla="*/ 7 w 10"/>
                  <a:gd name="T7" fmla="*/ 12 h 12"/>
                  <a:gd name="T8" fmla="*/ 5 w 10"/>
                  <a:gd name="T9" fmla="*/ 12 h 12"/>
                  <a:gd name="T10" fmla="*/ 3 w 10"/>
                  <a:gd name="T11" fmla="*/ 11 h 12"/>
                  <a:gd name="T12" fmla="*/ 1 w 10"/>
                  <a:gd name="T13" fmla="*/ 10 h 12"/>
                  <a:gd name="T14" fmla="*/ 0 w 10"/>
                  <a:gd name="T15" fmla="*/ 9 h 12"/>
                  <a:gd name="T16" fmla="*/ 0 w 10"/>
                  <a:gd name="T17" fmla="*/ 7 h 12"/>
                  <a:gd name="T18" fmla="*/ 1 w 10"/>
                  <a:gd name="T19" fmla="*/ 4 h 12"/>
                  <a:gd name="T20" fmla="*/ 2 w 10"/>
                  <a:gd name="T21" fmla="*/ 2 h 12"/>
                  <a:gd name="T22" fmla="*/ 4 w 10"/>
                  <a:gd name="T23" fmla="*/ 1 h 12"/>
                  <a:gd name="T24" fmla="*/ 5 w 10"/>
                  <a:gd name="T25" fmla="*/ 0 h 12"/>
                  <a:gd name="T26" fmla="*/ 8 w 10"/>
                  <a:gd name="T27" fmla="*/ 1 h 12"/>
                  <a:gd name="T28" fmla="*/ 10 w 10"/>
                  <a:gd name="T29" fmla="*/ 2 h 12"/>
                  <a:gd name="T30" fmla="*/ 10 w 10"/>
                  <a:gd name="T31" fmla="*/ 4 h 12"/>
                  <a:gd name="T32" fmla="*/ 10 w 10"/>
                  <a:gd name="T33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" h="12">
                    <a:moveTo>
                      <a:pt x="10" y="7"/>
                    </a:moveTo>
                    <a:lnTo>
                      <a:pt x="10" y="9"/>
                    </a:lnTo>
                    <a:lnTo>
                      <a:pt x="9" y="11"/>
                    </a:lnTo>
                    <a:lnTo>
                      <a:pt x="7" y="12"/>
                    </a:lnTo>
                    <a:lnTo>
                      <a:pt x="5" y="12"/>
                    </a:lnTo>
                    <a:lnTo>
                      <a:pt x="3" y="11"/>
                    </a:lnTo>
                    <a:lnTo>
                      <a:pt x="1" y="10"/>
                    </a:lnTo>
                    <a:lnTo>
                      <a:pt x="0" y="9"/>
                    </a:lnTo>
                    <a:lnTo>
                      <a:pt x="0" y="7"/>
                    </a:lnTo>
                    <a:lnTo>
                      <a:pt x="1" y="4"/>
                    </a:lnTo>
                    <a:lnTo>
                      <a:pt x="2" y="2"/>
                    </a:lnTo>
                    <a:lnTo>
                      <a:pt x="4" y="1"/>
                    </a:lnTo>
                    <a:lnTo>
                      <a:pt x="5" y="0"/>
                    </a:lnTo>
                    <a:lnTo>
                      <a:pt x="8" y="1"/>
                    </a:lnTo>
                    <a:lnTo>
                      <a:pt x="10" y="2"/>
                    </a:lnTo>
                    <a:lnTo>
                      <a:pt x="10" y="4"/>
                    </a:lnTo>
                    <a:lnTo>
                      <a:pt x="10" y="7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3" name="Freeform 262"/>
              <p:cNvSpPr>
                <a:spLocks/>
              </p:cNvSpPr>
              <p:nvPr/>
            </p:nvSpPr>
            <p:spPr bwMode="auto">
              <a:xfrm rot="20813856" flipH="1">
                <a:off x="10840460" y="2241364"/>
                <a:ext cx="11553" cy="13862"/>
              </a:xfrm>
              <a:custGeom>
                <a:avLst/>
                <a:gdLst>
                  <a:gd name="T0" fmla="*/ 10 w 10"/>
                  <a:gd name="T1" fmla="*/ 7 h 13"/>
                  <a:gd name="T2" fmla="*/ 10 w 10"/>
                  <a:gd name="T3" fmla="*/ 9 h 13"/>
                  <a:gd name="T4" fmla="*/ 9 w 10"/>
                  <a:gd name="T5" fmla="*/ 12 h 13"/>
                  <a:gd name="T6" fmla="*/ 7 w 10"/>
                  <a:gd name="T7" fmla="*/ 13 h 13"/>
                  <a:gd name="T8" fmla="*/ 5 w 10"/>
                  <a:gd name="T9" fmla="*/ 13 h 13"/>
                  <a:gd name="T10" fmla="*/ 3 w 10"/>
                  <a:gd name="T11" fmla="*/ 12 h 13"/>
                  <a:gd name="T12" fmla="*/ 1 w 10"/>
                  <a:gd name="T13" fmla="*/ 10 h 13"/>
                  <a:gd name="T14" fmla="*/ 0 w 10"/>
                  <a:gd name="T15" fmla="*/ 8 h 13"/>
                  <a:gd name="T16" fmla="*/ 0 w 10"/>
                  <a:gd name="T17" fmla="*/ 6 h 13"/>
                  <a:gd name="T18" fmla="*/ 1 w 10"/>
                  <a:gd name="T19" fmla="*/ 3 h 13"/>
                  <a:gd name="T20" fmla="*/ 2 w 10"/>
                  <a:gd name="T21" fmla="*/ 1 h 13"/>
                  <a:gd name="T22" fmla="*/ 3 w 10"/>
                  <a:gd name="T23" fmla="*/ 0 h 13"/>
                  <a:gd name="T24" fmla="*/ 6 w 10"/>
                  <a:gd name="T25" fmla="*/ 0 h 13"/>
                  <a:gd name="T26" fmla="*/ 7 w 10"/>
                  <a:gd name="T27" fmla="*/ 1 h 13"/>
                  <a:gd name="T28" fmla="*/ 9 w 10"/>
                  <a:gd name="T29" fmla="*/ 2 h 13"/>
                  <a:gd name="T30" fmla="*/ 10 w 10"/>
                  <a:gd name="T31" fmla="*/ 5 h 13"/>
                  <a:gd name="T32" fmla="*/ 10 w 10"/>
                  <a:gd name="T33" fmla="*/ 7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" h="13">
                    <a:moveTo>
                      <a:pt x="10" y="7"/>
                    </a:moveTo>
                    <a:lnTo>
                      <a:pt x="10" y="9"/>
                    </a:lnTo>
                    <a:lnTo>
                      <a:pt x="9" y="12"/>
                    </a:lnTo>
                    <a:lnTo>
                      <a:pt x="7" y="13"/>
                    </a:lnTo>
                    <a:lnTo>
                      <a:pt x="5" y="13"/>
                    </a:lnTo>
                    <a:lnTo>
                      <a:pt x="3" y="12"/>
                    </a:lnTo>
                    <a:lnTo>
                      <a:pt x="1" y="10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1" y="3"/>
                    </a:lnTo>
                    <a:lnTo>
                      <a:pt x="2" y="1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7" y="1"/>
                    </a:lnTo>
                    <a:lnTo>
                      <a:pt x="9" y="2"/>
                    </a:lnTo>
                    <a:lnTo>
                      <a:pt x="10" y="5"/>
                    </a:lnTo>
                    <a:lnTo>
                      <a:pt x="10" y="7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4" name="Freeform 263"/>
              <p:cNvSpPr>
                <a:spLocks/>
              </p:cNvSpPr>
              <p:nvPr/>
            </p:nvSpPr>
            <p:spPr bwMode="auto">
              <a:xfrm rot="20813856" flipH="1">
                <a:off x="10820732" y="2248328"/>
                <a:ext cx="11553" cy="13862"/>
              </a:xfrm>
              <a:custGeom>
                <a:avLst/>
                <a:gdLst>
                  <a:gd name="T0" fmla="*/ 11 w 11"/>
                  <a:gd name="T1" fmla="*/ 7 h 13"/>
                  <a:gd name="T2" fmla="*/ 11 w 11"/>
                  <a:gd name="T3" fmla="*/ 10 h 13"/>
                  <a:gd name="T4" fmla="*/ 10 w 11"/>
                  <a:gd name="T5" fmla="*/ 12 h 13"/>
                  <a:gd name="T6" fmla="*/ 7 w 11"/>
                  <a:gd name="T7" fmla="*/ 13 h 13"/>
                  <a:gd name="T8" fmla="*/ 6 w 11"/>
                  <a:gd name="T9" fmla="*/ 13 h 13"/>
                  <a:gd name="T10" fmla="*/ 4 w 11"/>
                  <a:gd name="T11" fmla="*/ 12 h 13"/>
                  <a:gd name="T12" fmla="*/ 2 w 11"/>
                  <a:gd name="T13" fmla="*/ 11 h 13"/>
                  <a:gd name="T14" fmla="*/ 0 w 11"/>
                  <a:gd name="T15" fmla="*/ 8 h 13"/>
                  <a:gd name="T16" fmla="*/ 0 w 11"/>
                  <a:gd name="T17" fmla="*/ 6 h 13"/>
                  <a:gd name="T18" fmla="*/ 2 w 11"/>
                  <a:gd name="T19" fmla="*/ 4 h 13"/>
                  <a:gd name="T20" fmla="*/ 3 w 11"/>
                  <a:gd name="T21" fmla="*/ 1 h 13"/>
                  <a:gd name="T22" fmla="*/ 5 w 11"/>
                  <a:gd name="T23" fmla="*/ 0 h 13"/>
                  <a:gd name="T24" fmla="*/ 6 w 11"/>
                  <a:gd name="T25" fmla="*/ 0 h 13"/>
                  <a:gd name="T26" fmla="*/ 8 w 11"/>
                  <a:gd name="T27" fmla="*/ 1 h 13"/>
                  <a:gd name="T28" fmla="*/ 11 w 11"/>
                  <a:gd name="T29" fmla="*/ 3 h 13"/>
                  <a:gd name="T30" fmla="*/ 11 w 11"/>
                  <a:gd name="T31" fmla="*/ 5 h 13"/>
                  <a:gd name="T32" fmla="*/ 11 w 11"/>
                  <a:gd name="T33" fmla="*/ 7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" h="13">
                    <a:moveTo>
                      <a:pt x="11" y="7"/>
                    </a:moveTo>
                    <a:lnTo>
                      <a:pt x="11" y="10"/>
                    </a:lnTo>
                    <a:lnTo>
                      <a:pt x="10" y="12"/>
                    </a:lnTo>
                    <a:lnTo>
                      <a:pt x="7" y="13"/>
                    </a:lnTo>
                    <a:lnTo>
                      <a:pt x="6" y="13"/>
                    </a:lnTo>
                    <a:lnTo>
                      <a:pt x="4" y="12"/>
                    </a:lnTo>
                    <a:lnTo>
                      <a:pt x="2" y="11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2" y="4"/>
                    </a:lnTo>
                    <a:lnTo>
                      <a:pt x="3" y="1"/>
                    </a:lnTo>
                    <a:lnTo>
                      <a:pt x="5" y="0"/>
                    </a:lnTo>
                    <a:lnTo>
                      <a:pt x="6" y="0"/>
                    </a:lnTo>
                    <a:lnTo>
                      <a:pt x="8" y="1"/>
                    </a:lnTo>
                    <a:lnTo>
                      <a:pt x="11" y="3"/>
                    </a:lnTo>
                    <a:lnTo>
                      <a:pt x="11" y="5"/>
                    </a:lnTo>
                    <a:lnTo>
                      <a:pt x="11" y="7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5" name="Freeform 264"/>
              <p:cNvSpPr>
                <a:spLocks/>
              </p:cNvSpPr>
              <p:nvPr/>
            </p:nvSpPr>
            <p:spPr bwMode="auto">
              <a:xfrm rot="20813856" flipH="1">
                <a:off x="10798753" y="2255815"/>
                <a:ext cx="11553" cy="13862"/>
              </a:xfrm>
              <a:custGeom>
                <a:avLst/>
                <a:gdLst>
                  <a:gd name="T0" fmla="*/ 10 w 10"/>
                  <a:gd name="T1" fmla="*/ 7 h 12"/>
                  <a:gd name="T2" fmla="*/ 10 w 10"/>
                  <a:gd name="T3" fmla="*/ 9 h 12"/>
                  <a:gd name="T4" fmla="*/ 8 w 10"/>
                  <a:gd name="T5" fmla="*/ 11 h 12"/>
                  <a:gd name="T6" fmla="*/ 7 w 10"/>
                  <a:gd name="T7" fmla="*/ 12 h 12"/>
                  <a:gd name="T8" fmla="*/ 5 w 10"/>
                  <a:gd name="T9" fmla="*/ 12 h 12"/>
                  <a:gd name="T10" fmla="*/ 2 w 10"/>
                  <a:gd name="T11" fmla="*/ 11 h 12"/>
                  <a:gd name="T12" fmla="*/ 1 w 10"/>
                  <a:gd name="T13" fmla="*/ 10 h 12"/>
                  <a:gd name="T14" fmla="*/ 0 w 10"/>
                  <a:gd name="T15" fmla="*/ 8 h 12"/>
                  <a:gd name="T16" fmla="*/ 0 w 10"/>
                  <a:gd name="T17" fmla="*/ 5 h 12"/>
                  <a:gd name="T18" fmla="*/ 0 w 10"/>
                  <a:gd name="T19" fmla="*/ 3 h 12"/>
                  <a:gd name="T20" fmla="*/ 1 w 10"/>
                  <a:gd name="T21" fmla="*/ 1 h 12"/>
                  <a:gd name="T22" fmla="*/ 3 w 10"/>
                  <a:gd name="T23" fmla="*/ 0 h 12"/>
                  <a:gd name="T24" fmla="*/ 6 w 10"/>
                  <a:gd name="T25" fmla="*/ 0 h 12"/>
                  <a:gd name="T26" fmla="*/ 7 w 10"/>
                  <a:gd name="T27" fmla="*/ 1 h 12"/>
                  <a:gd name="T28" fmla="*/ 9 w 10"/>
                  <a:gd name="T29" fmla="*/ 2 h 12"/>
                  <a:gd name="T30" fmla="*/ 10 w 10"/>
                  <a:gd name="T31" fmla="*/ 4 h 12"/>
                  <a:gd name="T32" fmla="*/ 10 w 10"/>
                  <a:gd name="T33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" h="12">
                    <a:moveTo>
                      <a:pt x="10" y="7"/>
                    </a:moveTo>
                    <a:lnTo>
                      <a:pt x="10" y="9"/>
                    </a:lnTo>
                    <a:lnTo>
                      <a:pt x="8" y="11"/>
                    </a:lnTo>
                    <a:lnTo>
                      <a:pt x="7" y="12"/>
                    </a:lnTo>
                    <a:lnTo>
                      <a:pt x="5" y="12"/>
                    </a:lnTo>
                    <a:lnTo>
                      <a:pt x="2" y="11"/>
                    </a:lnTo>
                    <a:lnTo>
                      <a:pt x="1" y="10"/>
                    </a:lnTo>
                    <a:lnTo>
                      <a:pt x="0" y="8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1" y="1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7" y="1"/>
                    </a:lnTo>
                    <a:lnTo>
                      <a:pt x="9" y="2"/>
                    </a:lnTo>
                    <a:lnTo>
                      <a:pt x="10" y="4"/>
                    </a:lnTo>
                    <a:lnTo>
                      <a:pt x="10" y="7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6" name="Freeform 265"/>
              <p:cNvSpPr>
                <a:spLocks/>
              </p:cNvSpPr>
              <p:nvPr/>
            </p:nvSpPr>
            <p:spPr bwMode="auto">
              <a:xfrm rot="20813856" flipH="1">
                <a:off x="10779024" y="2262780"/>
                <a:ext cx="11553" cy="13862"/>
              </a:xfrm>
              <a:custGeom>
                <a:avLst/>
                <a:gdLst>
                  <a:gd name="T0" fmla="*/ 11 w 11"/>
                  <a:gd name="T1" fmla="*/ 7 h 13"/>
                  <a:gd name="T2" fmla="*/ 11 w 11"/>
                  <a:gd name="T3" fmla="*/ 9 h 13"/>
                  <a:gd name="T4" fmla="*/ 10 w 11"/>
                  <a:gd name="T5" fmla="*/ 11 h 13"/>
                  <a:gd name="T6" fmla="*/ 7 w 11"/>
                  <a:gd name="T7" fmla="*/ 13 h 13"/>
                  <a:gd name="T8" fmla="*/ 5 w 11"/>
                  <a:gd name="T9" fmla="*/ 13 h 13"/>
                  <a:gd name="T10" fmla="*/ 4 w 11"/>
                  <a:gd name="T11" fmla="*/ 11 h 13"/>
                  <a:gd name="T12" fmla="*/ 2 w 11"/>
                  <a:gd name="T13" fmla="*/ 10 h 13"/>
                  <a:gd name="T14" fmla="*/ 0 w 11"/>
                  <a:gd name="T15" fmla="*/ 8 h 13"/>
                  <a:gd name="T16" fmla="*/ 0 w 11"/>
                  <a:gd name="T17" fmla="*/ 6 h 13"/>
                  <a:gd name="T18" fmla="*/ 0 w 11"/>
                  <a:gd name="T19" fmla="*/ 3 h 13"/>
                  <a:gd name="T20" fmla="*/ 2 w 11"/>
                  <a:gd name="T21" fmla="*/ 1 h 13"/>
                  <a:gd name="T22" fmla="*/ 4 w 11"/>
                  <a:gd name="T23" fmla="*/ 0 h 13"/>
                  <a:gd name="T24" fmla="*/ 6 w 11"/>
                  <a:gd name="T25" fmla="*/ 0 h 13"/>
                  <a:gd name="T26" fmla="*/ 7 w 11"/>
                  <a:gd name="T27" fmla="*/ 1 h 13"/>
                  <a:gd name="T28" fmla="*/ 10 w 11"/>
                  <a:gd name="T29" fmla="*/ 2 h 13"/>
                  <a:gd name="T30" fmla="*/ 11 w 11"/>
                  <a:gd name="T31" fmla="*/ 5 h 13"/>
                  <a:gd name="T32" fmla="*/ 11 w 11"/>
                  <a:gd name="T33" fmla="*/ 7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" h="13">
                    <a:moveTo>
                      <a:pt x="11" y="7"/>
                    </a:moveTo>
                    <a:lnTo>
                      <a:pt x="11" y="9"/>
                    </a:lnTo>
                    <a:lnTo>
                      <a:pt x="10" y="11"/>
                    </a:lnTo>
                    <a:lnTo>
                      <a:pt x="7" y="13"/>
                    </a:lnTo>
                    <a:lnTo>
                      <a:pt x="5" y="13"/>
                    </a:lnTo>
                    <a:lnTo>
                      <a:pt x="4" y="11"/>
                    </a:lnTo>
                    <a:lnTo>
                      <a:pt x="2" y="10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2" y="1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7" y="1"/>
                    </a:lnTo>
                    <a:lnTo>
                      <a:pt x="10" y="2"/>
                    </a:lnTo>
                    <a:lnTo>
                      <a:pt x="11" y="5"/>
                    </a:lnTo>
                    <a:lnTo>
                      <a:pt x="11" y="7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7" name="Freeform 266"/>
              <p:cNvSpPr>
                <a:spLocks/>
              </p:cNvSpPr>
              <p:nvPr/>
            </p:nvSpPr>
            <p:spPr bwMode="auto">
              <a:xfrm rot="20813856" flipH="1">
                <a:off x="10623048" y="2305931"/>
                <a:ext cx="13862" cy="13862"/>
              </a:xfrm>
              <a:custGeom>
                <a:avLst/>
                <a:gdLst>
                  <a:gd name="T0" fmla="*/ 10 w 10"/>
                  <a:gd name="T1" fmla="*/ 7 h 12"/>
                  <a:gd name="T2" fmla="*/ 9 w 10"/>
                  <a:gd name="T3" fmla="*/ 9 h 12"/>
                  <a:gd name="T4" fmla="*/ 8 w 10"/>
                  <a:gd name="T5" fmla="*/ 11 h 12"/>
                  <a:gd name="T6" fmla="*/ 5 w 10"/>
                  <a:gd name="T7" fmla="*/ 12 h 12"/>
                  <a:gd name="T8" fmla="*/ 4 w 10"/>
                  <a:gd name="T9" fmla="*/ 12 h 12"/>
                  <a:gd name="T10" fmla="*/ 2 w 10"/>
                  <a:gd name="T11" fmla="*/ 11 h 12"/>
                  <a:gd name="T12" fmla="*/ 1 w 10"/>
                  <a:gd name="T13" fmla="*/ 10 h 12"/>
                  <a:gd name="T14" fmla="*/ 0 w 10"/>
                  <a:gd name="T15" fmla="*/ 8 h 12"/>
                  <a:gd name="T16" fmla="*/ 0 w 10"/>
                  <a:gd name="T17" fmla="*/ 5 h 12"/>
                  <a:gd name="T18" fmla="*/ 0 w 10"/>
                  <a:gd name="T19" fmla="*/ 3 h 12"/>
                  <a:gd name="T20" fmla="*/ 1 w 10"/>
                  <a:gd name="T21" fmla="*/ 1 h 12"/>
                  <a:gd name="T22" fmla="*/ 3 w 10"/>
                  <a:gd name="T23" fmla="*/ 0 h 12"/>
                  <a:gd name="T24" fmla="*/ 4 w 10"/>
                  <a:gd name="T25" fmla="*/ 0 h 12"/>
                  <a:gd name="T26" fmla="*/ 7 w 10"/>
                  <a:gd name="T27" fmla="*/ 1 h 12"/>
                  <a:gd name="T28" fmla="*/ 9 w 10"/>
                  <a:gd name="T29" fmla="*/ 2 h 12"/>
                  <a:gd name="T30" fmla="*/ 10 w 10"/>
                  <a:gd name="T31" fmla="*/ 4 h 12"/>
                  <a:gd name="T32" fmla="*/ 10 w 10"/>
                  <a:gd name="T33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" h="12">
                    <a:moveTo>
                      <a:pt x="10" y="7"/>
                    </a:moveTo>
                    <a:lnTo>
                      <a:pt x="9" y="9"/>
                    </a:lnTo>
                    <a:lnTo>
                      <a:pt x="8" y="11"/>
                    </a:lnTo>
                    <a:lnTo>
                      <a:pt x="5" y="12"/>
                    </a:lnTo>
                    <a:lnTo>
                      <a:pt x="4" y="12"/>
                    </a:lnTo>
                    <a:lnTo>
                      <a:pt x="2" y="11"/>
                    </a:lnTo>
                    <a:lnTo>
                      <a:pt x="1" y="10"/>
                    </a:lnTo>
                    <a:lnTo>
                      <a:pt x="0" y="8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1" y="1"/>
                    </a:lnTo>
                    <a:lnTo>
                      <a:pt x="3" y="0"/>
                    </a:lnTo>
                    <a:lnTo>
                      <a:pt x="4" y="0"/>
                    </a:lnTo>
                    <a:lnTo>
                      <a:pt x="7" y="1"/>
                    </a:lnTo>
                    <a:lnTo>
                      <a:pt x="9" y="2"/>
                    </a:lnTo>
                    <a:lnTo>
                      <a:pt x="10" y="4"/>
                    </a:lnTo>
                    <a:lnTo>
                      <a:pt x="10" y="7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8" name="Freeform 267"/>
              <p:cNvSpPr>
                <a:spLocks/>
              </p:cNvSpPr>
              <p:nvPr/>
            </p:nvSpPr>
            <p:spPr bwMode="auto">
              <a:xfrm rot="20813856" flipH="1">
                <a:off x="10603348" y="2313157"/>
                <a:ext cx="11553" cy="13862"/>
              </a:xfrm>
              <a:custGeom>
                <a:avLst/>
                <a:gdLst>
                  <a:gd name="T0" fmla="*/ 10 w 10"/>
                  <a:gd name="T1" fmla="*/ 7 h 13"/>
                  <a:gd name="T2" fmla="*/ 10 w 10"/>
                  <a:gd name="T3" fmla="*/ 9 h 13"/>
                  <a:gd name="T4" fmla="*/ 9 w 10"/>
                  <a:gd name="T5" fmla="*/ 12 h 13"/>
                  <a:gd name="T6" fmla="*/ 7 w 10"/>
                  <a:gd name="T7" fmla="*/ 13 h 13"/>
                  <a:gd name="T8" fmla="*/ 5 w 10"/>
                  <a:gd name="T9" fmla="*/ 13 h 13"/>
                  <a:gd name="T10" fmla="*/ 4 w 10"/>
                  <a:gd name="T11" fmla="*/ 12 h 13"/>
                  <a:gd name="T12" fmla="*/ 1 w 10"/>
                  <a:gd name="T13" fmla="*/ 10 h 13"/>
                  <a:gd name="T14" fmla="*/ 0 w 10"/>
                  <a:gd name="T15" fmla="*/ 8 h 13"/>
                  <a:gd name="T16" fmla="*/ 0 w 10"/>
                  <a:gd name="T17" fmla="*/ 6 h 13"/>
                  <a:gd name="T18" fmla="*/ 0 w 10"/>
                  <a:gd name="T19" fmla="*/ 3 h 13"/>
                  <a:gd name="T20" fmla="*/ 1 w 10"/>
                  <a:gd name="T21" fmla="*/ 1 h 13"/>
                  <a:gd name="T22" fmla="*/ 4 w 10"/>
                  <a:gd name="T23" fmla="*/ 0 h 13"/>
                  <a:gd name="T24" fmla="*/ 6 w 10"/>
                  <a:gd name="T25" fmla="*/ 0 h 13"/>
                  <a:gd name="T26" fmla="*/ 7 w 10"/>
                  <a:gd name="T27" fmla="*/ 1 h 13"/>
                  <a:gd name="T28" fmla="*/ 9 w 10"/>
                  <a:gd name="T29" fmla="*/ 2 h 13"/>
                  <a:gd name="T30" fmla="*/ 10 w 10"/>
                  <a:gd name="T31" fmla="*/ 5 h 13"/>
                  <a:gd name="T32" fmla="*/ 10 w 10"/>
                  <a:gd name="T33" fmla="*/ 7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" h="13">
                    <a:moveTo>
                      <a:pt x="10" y="7"/>
                    </a:moveTo>
                    <a:lnTo>
                      <a:pt x="10" y="9"/>
                    </a:lnTo>
                    <a:lnTo>
                      <a:pt x="9" y="12"/>
                    </a:lnTo>
                    <a:lnTo>
                      <a:pt x="7" y="13"/>
                    </a:lnTo>
                    <a:lnTo>
                      <a:pt x="5" y="13"/>
                    </a:lnTo>
                    <a:lnTo>
                      <a:pt x="4" y="12"/>
                    </a:lnTo>
                    <a:lnTo>
                      <a:pt x="1" y="10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1" y="1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7" y="1"/>
                    </a:lnTo>
                    <a:lnTo>
                      <a:pt x="9" y="2"/>
                    </a:lnTo>
                    <a:lnTo>
                      <a:pt x="10" y="5"/>
                    </a:lnTo>
                    <a:lnTo>
                      <a:pt x="10" y="7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9" name="Freeform 268"/>
              <p:cNvSpPr>
                <a:spLocks/>
              </p:cNvSpPr>
              <p:nvPr/>
            </p:nvSpPr>
            <p:spPr bwMode="auto">
              <a:xfrm rot="20813856" flipH="1">
                <a:off x="10583881" y="2320091"/>
                <a:ext cx="11553" cy="16174"/>
              </a:xfrm>
              <a:custGeom>
                <a:avLst/>
                <a:gdLst>
                  <a:gd name="T0" fmla="*/ 10 w 10"/>
                  <a:gd name="T1" fmla="*/ 7 h 13"/>
                  <a:gd name="T2" fmla="*/ 10 w 10"/>
                  <a:gd name="T3" fmla="*/ 10 h 13"/>
                  <a:gd name="T4" fmla="*/ 9 w 10"/>
                  <a:gd name="T5" fmla="*/ 12 h 13"/>
                  <a:gd name="T6" fmla="*/ 6 w 10"/>
                  <a:gd name="T7" fmla="*/ 13 h 13"/>
                  <a:gd name="T8" fmla="*/ 4 w 10"/>
                  <a:gd name="T9" fmla="*/ 13 h 13"/>
                  <a:gd name="T10" fmla="*/ 3 w 10"/>
                  <a:gd name="T11" fmla="*/ 12 h 13"/>
                  <a:gd name="T12" fmla="*/ 1 w 10"/>
                  <a:gd name="T13" fmla="*/ 11 h 13"/>
                  <a:gd name="T14" fmla="*/ 0 w 10"/>
                  <a:gd name="T15" fmla="*/ 8 h 13"/>
                  <a:gd name="T16" fmla="*/ 0 w 10"/>
                  <a:gd name="T17" fmla="*/ 6 h 13"/>
                  <a:gd name="T18" fmla="*/ 1 w 10"/>
                  <a:gd name="T19" fmla="*/ 4 h 13"/>
                  <a:gd name="T20" fmla="*/ 2 w 10"/>
                  <a:gd name="T21" fmla="*/ 1 h 13"/>
                  <a:gd name="T22" fmla="*/ 3 w 10"/>
                  <a:gd name="T23" fmla="*/ 0 h 13"/>
                  <a:gd name="T24" fmla="*/ 5 w 10"/>
                  <a:gd name="T25" fmla="*/ 0 h 13"/>
                  <a:gd name="T26" fmla="*/ 8 w 10"/>
                  <a:gd name="T27" fmla="*/ 1 h 13"/>
                  <a:gd name="T28" fmla="*/ 9 w 10"/>
                  <a:gd name="T29" fmla="*/ 3 h 13"/>
                  <a:gd name="T30" fmla="*/ 10 w 10"/>
                  <a:gd name="T31" fmla="*/ 5 h 13"/>
                  <a:gd name="T32" fmla="*/ 10 w 10"/>
                  <a:gd name="T33" fmla="*/ 7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" h="13">
                    <a:moveTo>
                      <a:pt x="10" y="7"/>
                    </a:moveTo>
                    <a:lnTo>
                      <a:pt x="10" y="10"/>
                    </a:lnTo>
                    <a:lnTo>
                      <a:pt x="9" y="12"/>
                    </a:lnTo>
                    <a:lnTo>
                      <a:pt x="6" y="13"/>
                    </a:lnTo>
                    <a:lnTo>
                      <a:pt x="4" y="13"/>
                    </a:lnTo>
                    <a:lnTo>
                      <a:pt x="3" y="12"/>
                    </a:lnTo>
                    <a:lnTo>
                      <a:pt x="1" y="11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1" y="4"/>
                    </a:lnTo>
                    <a:lnTo>
                      <a:pt x="2" y="1"/>
                    </a:lnTo>
                    <a:lnTo>
                      <a:pt x="3" y="0"/>
                    </a:lnTo>
                    <a:lnTo>
                      <a:pt x="5" y="0"/>
                    </a:lnTo>
                    <a:lnTo>
                      <a:pt x="8" y="1"/>
                    </a:lnTo>
                    <a:lnTo>
                      <a:pt x="9" y="3"/>
                    </a:lnTo>
                    <a:lnTo>
                      <a:pt x="10" y="5"/>
                    </a:lnTo>
                    <a:lnTo>
                      <a:pt x="10" y="7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70" name="Freeform 269"/>
              <p:cNvSpPr>
                <a:spLocks/>
              </p:cNvSpPr>
              <p:nvPr/>
            </p:nvSpPr>
            <p:spPr bwMode="auto">
              <a:xfrm rot="20813856" flipH="1">
                <a:off x="10561902" y="2327579"/>
                <a:ext cx="11553" cy="16174"/>
              </a:xfrm>
              <a:custGeom>
                <a:avLst/>
                <a:gdLst>
                  <a:gd name="T0" fmla="*/ 10 w 10"/>
                  <a:gd name="T1" fmla="*/ 7 h 12"/>
                  <a:gd name="T2" fmla="*/ 9 w 10"/>
                  <a:gd name="T3" fmla="*/ 9 h 12"/>
                  <a:gd name="T4" fmla="*/ 8 w 10"/>
                  <a:gd name="T5" fmla="*/ 11 h 12"/>
                  <a:gd name="T6" fmla="*/ 6 w 10"/>
                  <a:gd name="T7" fmla="*/ 12 h 12"/>
                  <a:gd name="T8" fmla="*/ 5 w 10"/>
                  <a:gd name="T9" fmla="*/ 12 h 12"/>
                  <a:gd name="T10" fmla="*/ 2 w 10"/>
                  <a:gd name="T11" fmla="*/ 11 h 12"/>
                  <a:gd name="T12" fmla="*/ 1 w 10"/>
                  <a:gd name="T13" fmla="*/ 10 h 12"/>
                  <a:gd name="T14" fmla="*/ 0 w 10"/>
                  <a:gd name="T15" fmla="*/ 8 h 12"/>
                  <a:gd name="T16" fmla="*/ 0 w 10"/>
                  <a:gd name="T17" fmla="*/ 5 h 12"/>
                  <a:gd name="T18" fmla="*/ 0 w 10"/>
                  <a:gd name="T19" fmla="*/ 3 h 12"/>
                  <a:gd name="T20" fmla="*/ 1 w 10"/>
                  <a:gd name="T21" fmla="*/ 1 h 12"/>
                  <a:gd name="T22" fmla="*/ 4 w 10"/>
                  <a:gd name="T23" fmla="*/ 0 h 12"/>
                  <a:gd name="T24" fmla="*/ 5 w 10"/>
                  <a:gd name="T25" fmla="*/ 0 h 12"/>
                  <a:gd name="T26" fmla="*/ 7 w 10"/>
                  <a:gd name="T27" fmla="*/ 1 h 12"/>
                  <a:gd name="T28" fmla="*/ 9 w 10"/>
                  <a:gd name="T29" fmla="*/ 2 h 12"/>
                  <a:gd name="T30" fmla="*/ 10 w 10"/>
                  <a:gd name="T31" fmla="*/ 4 h 12"/>
                  <a:gd name="T32" fmla="*/ 10 w 10"/>
                  <a:gd name="T33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" h="12">
                    <a:moveTo>
                      <a:pt x="10" y="7"/>
                    </a:moveTo>
                    <a:lnTo>
                      <a:pt x="9" y="9"/>
                    </a:lnTo>
                    <a:lnTo>
                      <a:pt x="8" y="11"/>
                    </a:lnTo>
                    <a:lnTo>
                      <a:pt x="6" y="12"/>
                    </a:lnTo>
                    <a:lnTo>
                      <a:pt x="5" y="12"/>
                    </a:lnTo>
                    <a:lnTo>
                      <a:pt x="2" y="11"/>
                    </a:lnTo>
                    <a:lnTo>
                      <a:pt x="1" y="10"/>
                    </a:lnTo>
                    <a:lnTo>
                      <a:pt x="0" y="8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1" y="1"/>
                    </a:lnTo>
                    <a:lnTo>
                      <a:pt x="4" y="0"/>
                    </a:lnTo>
                    <a:lnTo>
                      <a:pt x="5" y="0"/>
                    </a:lnTo>
                    <a:lnTo>
                      <a:pt x="7" y="1"/>
                    </a:lnTo>
                    <a:lnTo>
                      <a:pt x="9" y="2"/>
                    </a:lnTo>
                    <a:lnTo>
                      <a:pt x="10" y="4"/>
                    </a:lnTo>
                    <a:lnTo>
                      <a:pt x="10" y="7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71" name="Freeform 270"/>
              <p:cNvSpPr>
                <a:spLocks/>
              </p:cNvSpPr>
              <p:nvPr/>
            </p:nvSpPr>
            <p:spPr bwMode="auto">
              <a:xfrm rot="20813856" flipH="1">
                <a:off x="10913021" y="1976824"/>
                <a:ext cx="522153" cy="129383"/>
              </a:xfrm>
              <a:custGeom>
                <a:avLst/>
                <a:gdLst>
                  <a:gd name="T0" fmla="*/ 0 w 453"/>
                  <a:gd name="T1" fmla="*/ 0 h 113"/>
                  <a:gd name="T2" fmla="*/ 3 w 453"/>
                  <a:gd name="T3" fmla="*/ 0 h 113"/>
                  <a:gd name="T4" fmla="*/ 13 w 453"/>
                  <a:gd name="T5" fmla="*/ 2 h 113"/>
                  <a:gd name="T6" fmla="*/ 28 w 453"/>
                  <a:gd name="T7" fmla="*/ 3 h 113"/>
                  <a:gd name="T8" fmla="*/ 47 w 453"/>
                  <a:gd name="T9" fmla="*/ 7 h 113"/>
                  <a:gd name="T10" fmla="*/ 71 w 453"/>
                  <a:gd name="T11" fmla="*/ 10 h 113"/>
                  <a:gd name="T12" fmla="*/ 99 w 453"/>
                  <a:gd name="T13" fmla="*/ 16 h 113"/>
                  <a:gd name="T14" fmla="*/ 129 w 453"/>
                  <a:gd name="T15" fmla="*/ 22 h 113"/>
                  <a:gd name="T16" fmla="*/ 162 w 453"/>
                  <a:gd name="T17" fmla="*/ 28 h 113"/>
                  <a:gd name="T18" fmla="*/ 198 w 453"/>
                  <a:gd name="T19" fmla="*/ 36 h 113"/>
                  <a:gd name="T20" fmla="*/ 235 w 453"/>
                  <a:gd name="T21" fmla="*/ 44 h 113"/>
                  <a:gd name="T22" fmla="*/ 273 w 453"/>
                  <a:gd name="T23" fmla="*/ 53 h 113"/>
                  <a:gd name="T24" fmla="*/ 311 w 453"/>
                  <a:gd name="T25" fmla="*/ 63 h 113"/>
                  <a:gd name="T26" fmla="*/ 348 w 453"/>
                  <a:gd name="T27" fmla="*/ 74 h 113"/>
                  <a:gd name="T28" fmla="*/ 385 w 453"/>
                  <a:gd name="T29" fmla="*/ 86 h 113"/>
                  <a:gd name="T30" fmla="*/ 419 w 453"/>
                  <a:gd name="T31" fmla="*/ 99 h 113"/>
                  <a:gd name="T32" fmla="*/ 453 w 453"/>
                  <a:gd name="T33" fmla="*/ 113 h 113"/>
                  <a:gd name="T34" fmla="*/ 448 w 453"/>
                  <a:gd name="T35" fmla="*/ 112 h 113"/>
                  <a:gd name="T36" fmla="*/ 437 w 453"/>
                  <a:gd name="T37" fmla="*/ 111 h 113"/>
                  <a:gd name="T38" fmla="*/ 417 w 453"/>
                  <a:gd name="T39" fmla="*/ 107 h 113"/>
                  <a:gd name="T40" fmla="*/ 393 w 453"/>
                  <a:gd name="T41" fmla="*/ 103 h 113"/>
                  <a:gd name="T42" fmla="*/ 363 w 453"/>
                  <a:gd name="T43" fmla="*/ 98 h 113"/>
                  <a:gd name="T44" fmla="*/ 329 w 453"/>
                  <a:gd name="T45" fmla="*/ 92 h 113"/>
                  <a:gd name="T46" fmla="*/ 294 w 453"/>
                  <a:gd name="T47" fmla="*/ 85 h 113"/>
                  <a:gd name="T48" fmla="*/ 256 w 453"/>
                  <a:gd name="T49" fmla="*/ 80 h 113"/>
                  <a:gd name="T50" fmla="*/ 218 w 453"/>
                  <a:gd name="T51" fmla="*/ 74 h 113"/>
                  <a:gd name="T52" fmla="*/ 180 w 453"/>
                  <a:gd name="T53" fmla="*/ 67 h 113"/>
                  <a:gd name="T54" fmla="*/ 144 w 453"/>
                  <a:gd name="T55" fmla="*/ 61 h 113"/>
                  <a:gd name="T56" fmla="*/ 111 w 453"/>
                  <a:gd name="T57" fmla="*/ 56 h 113"/>
                  <a:gd name="T58" fmla="*/ 79 w 453"/>
                  <a:gd name="T59" fmla="*/ 52 h 113"/>
                  <a:gd name="T60" fmla="*/ 54 w 453"/>
                  <a:gd name="T61" fmla="*/ 48 h 113"/>
                  <a:gd name="T62" fmla="*/ 34 w 453"/>
                  <a:gd name="T63" fmla="*/ 47 h 113"/>
                  <a:gd name="T64" fmla="*/ 21 w 453"/>
                  <a:gd name="T65" fmla="*/ 46 h 113"/>
                  <a:gd name="T66" fmla="*/ 0 w 453"/>
                  <a:gd name="T67" fmla="*/ 0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453" h="113">
                    <a:moveTo>
                      <a:pt x="0" y="0"/>
                    </a:moveTo>
                    <a:lnTo>
                      <a:pt x="3" y="0"/>
                    </a:lnTo>
                    <a:lnTo>
                      <a:pt x="13" y="2"/>
                    </a:lnTo>
                    <a:lnTo>
                      <a:pt x="28" y="3"/>
                    </a:lnTo>
                    <a:lnTo>
                      <a:pt x="47" y="7"/>
                    </a:lnTo>
                    <a:lnTo>
                      <a:pt x="71" y="10"/>
                    </a:lnTo>
                    <a:lnTo>
                      <a:pt x="99" y="16"/>
                    </a:lnTo>
                    <a:lnTo>
                      <a:pt x="129" y="22"/>
                    </a:lnTo>
                    <a:lnTo>
                      <a:pt x="162" y="28"/>
                    </a:lnTo>
                    <a:lnTo>
                      <a:pt x="198" y="36"/>
                    </a:lnTo>
                    <a:lnTo>
                      <a:pt x="235" y="44"/>
                    </a:lnTo>
                    <a:lnTo>
                      <a:pt x="273" y="53"/>
                    </a:lnTo>
                    <a:lnTo>
                      <a:pt x="311" y="63"/>
                    </a:lnTo>
                    <a:lnTo>
                      <a:pt x="348" y="74"/>
                    </a:lnTo>
                    <a:lnTo>
                      <a:pt x="385" y="86"/>
                    </a:lnTo>
                    <a:lnTo>
                      <a:pt x="419" y="99"/>
                    </a:lnTo>
                    <a:lnTo>
                      <a:pt x="453" y="113"/>
                    </a:lnTo>
                    <a:lnTo>
                      <a:pt x="448" y="112"/>
                    </a:lnTo>
                    <a:lnTo>
                      <a:pt x="437" y="111"/>
                    </a:lnTo>
                    <a:lnTo>
                      <a:pt x="417" y="107"/>
                    </a:lnTo>
                    <a:lnTo>
                      <a:pt x="393" y="103"/>
                    </a:lnTo>
                    <a:lnTo>
                      <a:pt x="363" y="98"/>
                    </a:lnTo>
                    <a:lnTo>
                      <a:pt x="329" y="92"/>
                    </a:lnTo>
                    <a:lnTo>
                      <a:pt x="294" y="85"/>
                    </a:lnTo>
                    <a:lnTo>
                      <a:pt x="256" y="80"/>
                    </a:lnTo>
                    <a:lnTo>
                      <a:pt x="218" y="74"/>
                    </a:lnTo>
                    <a:lnTo>
                      <a:pt x="180" y="67"/>
                    </a:lnTo>
                    <a:lnTo>
                      <a:pt x="144" y="61"/>
                    </a:lnTo>
                    <a:lnTo>
                      <a:pt x="111" y="56"/>
                    </a:lnTo>
                    <a:lnTo>
                      <a:pt x="79" y="52"/>
                    </a:lnTo>
                    <a:lnTo>
                      <a:pt x="54" y="48"/>
                    </a:lnTo>
                    <a:lnTo>
                      <a:pt x="34" y="47"/>
                    </a:lnTo>
                    <a:lnTo>
                      <a:pt x="21" y="4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 w="952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72" name="Freeform 271"/>
              <p:cNvSpPr>
                <a:spLocks/>
              </p:cNvSpPr>
              <p:nvPr/>
            </p:nvSpPr>
            <p:spPr bwMode="auto">
              <a:xfrm rot="20813856" flipH="1">
                <a:off x="11525154" y="2230127"/>
                <a:ext cx="71624" cy="83175"/>
              </a:xfrm>
              <a:custGeom>
                <a:avLst/>
                <a:gdLst>
                  <a:gd name="T0" fmla="*/ 63 w 63"/>
                  <a:gd name="T1" fmla="*/ 36 h 72"/>
                  <a:gd name="T2" fmla="*/ 61 w 63"/>
                  <a:gd name="T3" fmla="*/ 50 h 72"/>
                  <a:gd name="T4" fmla="*/ 54 w 63"/>
                  <a:gd name="T5" fmla="*/ 61 h 72"/>
                  <a:gd name="T6" fmla="*/ 44 w 63"/>
                  <a:gd name="T7" fmla="*/ 70 h 72"/>
                  <a:gd name="T8" fmla="*/ 32 w 63"/>
                  <a:gd name="T9" fmla="*/ 72 h 72"/>
                  <a:gd name="T10" fmla="*/ 19 w 63"/>
                  <a:gd name="T11" fmla="*/ 70 h 72"/>
                  <a:gd name="T12" fmla="*/ 9 w 63"/>
                  <a:gd name="T13" fmla="*/ 61 h 72"/>
                  <a:gd name="T14" fmla="*/ 2 w 63"/>
                  <a:gd name="T15" fmla="*/ 50 h 72"/>
                  <a:gd name="T16" fmla="*/ 0 w 63"/>
                  <a:gd name="T17" fmla="*/ 36 h 72"/>
                  <a:gd name="T18" fmla="*/ 2 w 63"/>
                  <a:gd name="T19" fmla="*/ 22 h 72"/>
                  <a:gd name="T20" fmla="*/ 9 w 63"/>
                  <a:gd name="T21" fmla="*/ 11 h 72"/>
                  <a:gd name="T22" fmla="*/ 19 w 63"/>
                  <a:gd name="T23" fmla="*/ 3 h 72"/>
                  <a:gd name="T24" fmla="*/ 32 w 63"/>
                  <a:gd name="T25" fmla="*/ 0 h 72"/>
                  <a:gd name="T26" fmla="*/ 44 w 63"/>
                  <a:gd name="T27" fmla="*/ 3 h 72"/>
                  <a:gd name="T28" fmla="*/ 54 w 63"/>
                  <a:gd name="T29" fmla="*/ 11 h 72"/>
                  <a:gd name="T30" fmla="*/ 61 w 63"/>
                  <a:gd name="T31" fmla="*/ 22 h 72"/>
                  <a:gd name="T32" fmla="*/ 63 w 63"/>
                  <a:gd name="T33" fmla="*/ 36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3" h="72">
                    <a:moveTo>
                      <a:pt x="63" y="36"/>
                    </a:moveTo>
                    <a:lnTo>
                      <a:pt x="61" y="50"/>
                    </a:lnTo>
                    <a:lnTo>
                      <a:pt x="54" y="61"/>
                    </a:lnTo>
                    <a:lnTo>
                      <a:pt x="44" y="70"/>
                    </a:lnTo>
                    <a:lnTo>
                      <a:pt x="32" y="72"/>
                    </a:lnTo>
                    <a:lnTo>
                      <a:pt x="19" y="70"/>
                    </a:lnTo>
                    <a:lnTo>
                      <a:pt x="9" y="61"/>
                    </a:lnTo>
                    <a:lnTo>
                      <a:pt x="2" y="50"/>
                    </a:lnTo>
                    <a:lnTo>
                      <a:pt x="0" y="36"/>
                    </a:lnTo>
                    <a:lnTo>
                      <a:pt x="2" y="22"/>
                    </a:lnTo>
                    <a:lnTo>
                      <a:pt x="9" y="11"/>
                    </a:lnTo>
                    <a:lnTo>
                      <a:pt x="19" y="3"/>
                    </a:lnTo>
                    <a:lnTo>
                      <a:pt x="32" y="0"/>
                    </a:lnTo>
                    <a:lnTo>
                      <a:pt x="44" y="3"/>
                    </a:lnTo>
                    <a:lnTo>
                      <a:pt x="54" y="11"/>
                    </a:lnTo>
                    <a:lnTo>
                      <a:pt x="61" y="22"/>
                    </a:lnTo>
                    <a:lnTo>
                      <a:pt x="63" y="36"/>
                    </a:lnTo>
                    <a:close/>
                  </a:path>
                </a:pathLst>
              </a:custGeom>
              <a:solidFill>
                <a:srgbClr val="4B004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73" name="Freeform 272"/>
              <p:cNvSpPr>
                <a:spLocks/>
              </p:cNvSpPr>
              <p:nvPr/>
            </p:nvSpPr>
            <p:spPr bwMode="auto">
              <a:xfrm rot="20813856" flipH="1">
                <a:off x="11535365" y="1845071"/>
                <a:ext cx="134004" cy="36967"/>
              </a:xfrm>
              <a:custGeom>
                <a:avLst/>
                <a:gdLst>
                  <a:gd name="T0" fmla="*/ 35 w 115"/>
                  <a:gd name="T1" fmla="*/ 0 h 33"/>
                  <a:gd name="T2" fmla="*/ 33 w 115"/>
                  <a:gd name="T3" fmla="*/ 0 h 33"/>
                  <a:gd name="T4" fmla="*/ 31 w 115"/>
                  <a:gd name="T5" fmla="*/ 2 h 33"/>
                  <a:gd name="T6" fmla="*/ 26 w 115"/>
                  <a:gd name="T7" fmla="*/ 4 h 33"/>
                  <a:gd name="T8" fmla="*/ 22 w 115"/>
                  <a:gd name="T9" fmla="*/ 6 h 33"/>
                  <a:gd name="T10" fmla="*/ 16 w 115"/>
                  <a:gd name="T11" fmla="*/ 9 h 33"/>
                  <a:gd name="T12" fmla="*/ 10 w 115"/>
                  <a:gd name="T13" fmla="*/ 13 h 33"/>
                  <a:gd name="T14" fmla="*/ 5 w 115"/>
                  <a:gd name="T15" fmla="*/ 17 h 33"/>
                  <a:gd name="T16" fmla="*/ 0 w 115"/>
                  <a:gd name="T17" fmla="*/ 22 h 33"/>
                  <a:gd name="T18" fmla="*/ 8 w 115"/>
                  <a:gd name="T19" fmla="*/ 27 h 33"/>
                  <a:gd name="T20" fmla="*/ 13 w 115"/>
                  <a:gd name="T21" fmla="*/ 27 h 33"/>
                  <a:gd name="T22" fmla="*/ 23 w 115"/>
                  <a:gd name="T23" fmla="*/ 27 h 33"/>
                  <a:gd name="T24" fmla="*/ 39 w 115"/>
                  <a:gd name="T25" fmla="*/ 27 h 33"/>
                  <a:gd name="T26" fmla="*/ 58 w 115"/>
                  <a:gd name="T27" fmla="*/ 28 h 33"/>
                  <a:gd name="T28" fmla="*/ 76 w 115"/>
                  <a:gd name="T29" fmla="*/ 28 h 33"/>
                  <a:gd name="T30" fmla="*/ 93 w 115"/>
                  <a:gd name="T31" fmla="*/ 29 h 33"/>
                  <a:gd name="T32" fmla="*/ 107 w 115"/>
                  <a:gd name="T33" fmla="*/ 30 h 33"/>
                  <a:gd name="T34" fmla="*/ 115 w 115"/>
                  <a:gd name="T35" fmla="*/ 33 h 33"/>
                  <a:gd name="T36" fmla="*/ 115 w 115"/>
                  <a:gd name="T37" fmla="*/ 6 h 33"/>
                  <a:gd name="T38" fmla="*/ 113 w 115"/>
                  <a:gd name="T39" fmla="*/ 6 h 33"/>
                  <a:gd name="T40" fmla="*/ 106 w 115"/>
                  <a:gd name="T41" fmla="*/ 5 h 33"/>
                  <a:gd name="T42" fmla="*/ 96 w 115"/>
                  <a:gd name="T43" fmla="*/ 4 h 33"/>
                  <a:gd name="T44" fmla="*/ 84 w 115"/>
                  <a:gd name="T45" fmla="*/ 3 h 33"/>
                  <a:gd name="T46" fmla="*/ 70 w 115"/>
                  <a:gd name="T47" fmla="*/ 2 h 33"/>
                  <a:gd name="T48" fmla="*/ 56 w 115"/>
                  <a:gd name="T49" fmla="*/ 0 h 33"/>
                  <a:gd name="T50" fmla="*/ 45 w 115"/>
                  <a:gd name="T51" fmla="*/ 0 h 33"/>
                  <a:gd name="T52" fmla="*/ 35 w 115"/>
                  <a:gd name="T5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15" h="33">
                    <a:moveTo>
                      <a:pt x="35" y="0"/>
                    </a:moveTo>
                    <a:lnTo>
                      <a:pt x="33" y="0"/>
                    </a:lnTo>
                    <a:lnTo>
                      <a:pt x="31" y="2"/>
                    </a:lnTo>
                    <a:lnTo>
                      <a:pt x="26" y="4"/>
                    </a:lnTo>
                    <a:lnTo>
                      <a:pt x="22" y="6"/>
                    </a:lnTo>
                    <a:lnTo>
                      <a:pt x="16" y="9"/>
                    </a:lnTo>
                    <a:lnTo>
                      <a:pt x="10" y="13"/>
                    </a:lnTo>
                    <a:lnTo>
                      <a:pt x="5" y="17"/>
                    </a:lnTo>
                    <a:lnTo>
                      <a:pt x="0" y="22"/>
                    </a:lnTo>
                    <a:lnTo>
                      <a:pt x="8" y="27"/>
                    </a:lnTo>
                    <a:lnTo>
                      <a:pt x="13" y="27"/>
                    </a:lnTo>
                    <a:lnTo>
                      <a:pt x="23" y="27"/>
                    </a:lnTo>
                    <a:lnTo>
                      <a:pt x="39" y="27"/>
                    </a:lnTo>
                    <a:lnTo>
                      <a:pt x="58" y="28"/>
                    </a:lnTo>
                    <a:lnTo>
                      <a:pt x="76" y="28"/>
                    </a:lnTo>
                    <a:lnTo>
                      <a:pt x="93" y="29"/>
                    </a:lnTo>
                    <a:lnTo>
                      <a:pt x="107" y="30"/>
                    </a:lnTo>
                    <a:lnTo>
                      <a:pt x="115" y="33"/>
                    </a:lnTo>
                    <a:lnTo>
                      <a:pt x="115" y="6"/>
                    </a:lnTo>
                    <a:lnTo>
                      <a:pt x="113" y="6"/>
                    </a:lnTo>
                    <a:lnTo>
                      <a:pt x="106" y="5"/>
                    </a:lnTo>
                    <a:lnTo>
                      <a:pt x="96" y="4"/>
                    </a:lnTo>
                    <a:lnTo>
                      <a:pt x="84" y="3"/>
                    </a:lnTo>
                    <a:lnTo>
                      <a:pt x="70" y="2"/>
                    </a:lnTo>
                    <a:lnTo>
                      <a:pt x="56" y="0"/>
                    </a:lnTo>
                    <a:lnTo>
                      <a:pt x="45" y="0"/>
                    </a:lnTo>
                    <a:lnTo>
                      <a:pt x="35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solidFill>
                  <a:sysClr val="window" lastClr="FFFFFF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74" name="Freeform 273"/>
              <p:cNvSpPr/>
              <p:nvPr/>
            </p:nvSpPr>
            <p:spPr bwMode="auto">
              <a:xfrm>
                <a:off x="11750366" y="1907996"/>
                <a:ext cx="79116" cy="91024"/>
              </a:xfrm>
              <a:custGeom>
                <a:avLst/>
                <a:gdLst>
                  <a:gd name="connsiteX0" fmla="*/ 180975 w 833437"/>
                  <a:gd name="connsiteY0" fmla="*/ 0 h 952500"/>
                  <a:gd name="connsiteX1" fmla="*/ 833437 w 833437"/>
                  <a:gd name="connsiteY1" fmla="*/ 414338 h 952500"/>
                  <a:gd name="connsiteX2" fmla="*/ 795337 w 833437"/>
                  <a:gd name="connsiteY2" fmla="*/ 952500 h 952500"/>
                  <a:gd name="connsiteX3" fmla="*/ 0 w 833437"/>
                  <a:gd name="connsiteY3" fmla="*/ 495300 h 952500"/>
                  <a:gd name="connsiteX4" fmla="*/ 180975 w 833437"/>
                  <a:gd name="connsiteY4" fmla="*/ 0 h 952500"/>
                  <a:gd name="connsiteX0" fmla="*/ 180975 w 905488"/>
                  <a:gd name="connsiteY0" fmla="*/ 488 h 952988"/>
                  <a:gd name="connsiteX1" fmla="*/ 833437 w 905488"/>
                  <a:gd name="connsiteY1" fmla="*/ 414826 h 952988"/>
                  <a:gd name="connsiteX2" fmla="*/ 795337 w 905488"/>
                  <a:gd name="connsiteY2" fmla="*/ 952988 h 952988"/>
                  <a:gd name="connsiteX3" fmla="*/ 0 w 905488"/>
                  <a:gd name="connsiteY3" fmla="*/ 495788 h 952988"/>
                  <a:gd name="connsiteX4" fmla="*/ 180975 w 905488"/>
                  <a:gd name="connsiteY4" fmla="*/ 488 h 952988"/>
                  <a:gd name="connsiteX0" fmla="*/ 285337 w 1009850"/>
                  <a:gd name="connsiteY0" fmla="*/ 488 h 952988"/>
                  <a:gd name="connsiteX1" fmla="*/ 937799 w 1009850"/>
                  <a:gd name="connsiteY1" fmla="*/ 414826 h 952988"/>
                  <a:gd name="connsiteX2" fmla="*/ 899699 w 1009850"/>
                  <a:gd name="connsiteY2" fmla="*/ 952988 h 952988"/>
                  <a:gd name="connsiteX3" fmla="*/ 104362 w 1009850"/>
                  <a:gd name="connsiteY3" fmla="*/ 495788 h 952988"/>
                  <a:gd name="connsiteX4" fmla="*/ 285337 w 1009850"/>
                  <a:gd name="connsiteY4" fmla="*/ 488 h 952988"/>
                  <a:gd name="connsiteX0" fmla="*/ 285337 w 982980"/>
                  <a:gd name="connsiteY0" fmla="*/ 887 h 953387"/>
                  <a:gd name="connsiteX1" fmla="*/ 937799 w 982980"/>
                  <a:gd name="connsiteY1" fmla="*/ 415225 h 953387"/>
                  <a:gd name="connsiteX2" fmla="*/ 899699 w 982980"/>
                  <a:gd name="connsiteY2" fmla="*/ 953387 h 953387"/>
                  <a:gd name="connsiteX3" fmla="*/ 104362 w 982980"/>
                  <a:gd name="connsiteY3" fmla="*/ 496187 h 953387"/>
                  <a:gd name="connsiteX4" fmla="*/ 285337 w 982980"/>
                  <a:gd name="connsiteY4" fmla="*/ 887 h 953387"/>
                  <a:gd name="connsiteX0" fmla="*/ 285337 w 1002273"/>
                  <a:gd name="connsiteY0" fmla="*/ 958 h 953458"/>
                  <a:gd name="connsiteX1" fmla="*/ 937799 w 1002273"/>
                  <a:gd name="connsiteY1" fmla="*/ 415296 h 953458"/>
                  <a:gd name="connsiteX2" fmla="*/ 899699 w 1002273"/>
                  <a:gd name="connsiteY2" fmla="*/ 953458 h 953458"/>
                  <a:gd name="connsiteX3" fmla="*/ 104362 w 1002273"/>
                  <a:gd name="connsiteY3" fmla="*/ 496258 h 953458"/>
                  <a:gd name="connsiteX4" fmla="*/ 285337 w 1002273"/>
                  <a:gd name="connsiteY4" fmla="*/ 958 h 953458"/>
                  <a:gd name="connsiteX0" fmla="*/ 285337 w 986297"/>
                  <a:gd name="connsiteY0" fmla="*/ 2645 h 955145"/>
                  <a:gd name="connsiteX1" fmla="*/ 904461 w 986297"/>
                  <a:gd name="connsiteY1" fmla="*/ 316971 h 955145"/>
                  <a:gd name="connsiteX2" fmla="*/ 899699 w 986297"/>
                  <a:gd name="connsiteY2" fmla="*/ 955145 h 955145"/>
                  <a:gd name="connsiteX3" fmla="*/ 104362 w 986297"/>
                  <a:gd name="connsiteY3" fmla="*/ 497945 h 955145"/>
                  <a:gd name="connsiteX4" fmla="*/ 285337 w 986297"/>
                  <a:gd name="connsiteY4" fmla="*/ 2645 h 955145"/>
                  <a:gd name="connsiteX0" fmla="*/ 285337 w 987095"/>
                  <a:gd name="connsiteY0" fmla="*/ 2174 h 954674"/>
                  <a:gd name="connsiteX1" fmla="*/ 904461 w 987095"/>
                  <a:gd name="connsiteY1" fmla="*/ 316500 h 954674"/>
                  <a:gd name="connsiteX2" fmla="*/ 899699 w 987095"/>
                  <a:gd name="connsiteY2" fmla="*/ 954674 h 954674"/>
                  <a:gd name="connsiteX3" fmla="*/ 104362 w 987095"/>
                  <a:gd name="connsiteY3" fmla="*/ 497474 h 954674"/>
                  <a:gd name="connsiteX4" fmla="*/ 285337 w 987095"/>
                  <a:gd name="connsiteY4" fmla="*/ 2174 h 954674"/>
                  <a:gd name="connsiteX0" fmla="*/ 201431 w 903189"/>
                  <a:gd name="connsiteY0" fmla="*/ 2174 h 954674"/>
                  <a:gd name="connsiteX1" fmla="*/ 820555 w 903189"/>
                  <a:gd name="connsiteY1" fmla="*/ 316500 h 954674"/>
                  <a:gd name="connsiteX2" fmla="*/ 815793 w 903189"/>
                  <a:gd name="connsiteY2" fmla="*/ 954674 h 954674"/>
                  <a:gd name="connsiteX3" fmla="*/ 20456 w 903189"/>
                  <a:gd name="connsiteY3" fmla="*/ 497474 h 954674"/>
                  <a:gd name="connsiteX4" fmla="*/ 201431 w 903189"/>
                  <a:gd name="connsiteY4" fmla="*/ 2174 h 954674"/>
                  <a:gd name="connsiteX0" fmla="*/ 170574 w 872332"/>
                  <a:gd name="connsiteY0" fmla="*/ 2174 h 954674"/>
                  <a:gd name="connsiteX1" fmla="*/ 789698 w 872332"/>
                  <a:gd name="connsiteY1" fmla="*/ 316500 h 954674"/>
                  <a:gd name="connsiteX2" fmla="*/ 784936 w 872332"/>
                  <a:gd name="connsiteY2" fmla="*/ 954674 h 954674"/>
                  <a:gd name="connsiteX3" fmla="*/ 25317 w 872332"/>
                  <a:gd name="connsiteY3" fmla="*/ 704642 h 954674"/>
                  <a:gd name="connsiteX4" fmla="*/ 170574 w 872332"/>
                  <a:gd name="connsiteY4" fmla="*/ 2174 h 954674"/>
                  <a:gd name="connsiteX0" fmla="*/ 156697 w 858455"/>
                  <a:gd name="connsiteY0" fmla="*/ 2174 h 954674"/>
                  <a:gd name="connsiteX1" fmla="*/ 775821 w 858455"/>
                  <a:gd name="connsiteY1" fmla="*/ 316500 h 954674"/>
                  <a:gd name="connsiteX2" fmla="*/ 771059 w 858455"/>
                  <a:gd name="connsiteY2" fmla="*/ 954674 h 954674"/>
                  <a:gd name="connsiteX3" fmla="*/ 11440 w 858455"/>
                  <a:gd name="connsiteY3" fmla="*/ 704642 h 954674"/>
                  <a:gd name="connsiteX4" fmla="*/ 156697 w 858455"/>
                  <a:gd name="connsiteY4" fmla="*/ 2174 h 954674"/>
                  <a:gd name="connsiteX0" fmla="*/ 156697 w 858455"/>
                  <a:gd name="connsiteY0" fmla="*/ 2174 h 954674"/>
                  <a:gd name="connsiteX1" fmla="*/ 775821 w 858455"/>
                  <a:gd name="connsiteY1" fmla="*/ 316500 h 954674"/>
                  <a:gd name="connsiteX2" fmla="*/ 771059 w 858455"/>
                  <a:gd name="connsiteY2" fmla="*/ 954674 h 954674"/>
                  <a:gd name="connsiteX3" fmla="*/ 11440 w 858455"/>
                  <a:gd name="connsiteY3" fmla="*/ 704642 h 954674"/>
                  <a:gd name="connsiteX4" fmla="*/ 156697 w 858455"/>
                  <a:gd name="connsiteY4" fmla="*/ 2174 h 954674"/>
                  <a:gd name="connsiteX0" fmla="*/ 156697 w 858455"/>
                  <a:gd name="connsiteY0" fmla="*/ 2174 h 954674"/>
                  <a:gd name="connsiteX1" fmla="*/ 775821 w 858455"/>
                  <a:gd name="connsiteY1" fmla="*/ 316500 h 954674"/>
                  <a:gd name="connsiteX2" fmla="*/ 771059 w 858455"/>
                  <a:gd name="connsiteY2" fmla="*/ 954674 h 954674"/>
                  <a:gd name="connsiteX3" fmla="*/ 11440 w 858455"/>
                  <a:gd name="connsiteY3" fmla="*/ 704642 h 954674"/>
                  <a:gd name="connsiteX4" fmla="*/ 156697 w 858455"/>
                  <a:gd name="connsiteY4" fmla="*/ 2174 h 954674"/>
                  <a:gd name="connsiteX0" fmla="*/ 156697 w 851751"/>
                  <a:gd name="connsiteY0" fmla="*/ 2174 h 954674"/>
                  <a:gd name="connsiteX1" fmla="*/ 775821 w 851751"/>
                  <a:gd name="connsiteY1" fmla="*/ 316500 h 954674"/>
                  <a:gd name="connsiteX2" fmla="*/ 771059 w 851751"/>
                  <a:gd name="connsiteY2" fmla="*/ 954674 h 954674"/>
                  <a:gd name="connsiteX3" fmla="*/ 11440 w 851751"/>
                  <a:gd name="connsiteY3" fmla="*/ 704642 h 954674"/>
                  <a:gd name="connsiteX4" fmla="*/ 156697 w 851751"/>
                  <a:gd name="connsiteY4" fmla="*/ 2174 h 954674"/>
                  <a:gd name="connsiteX0" fmla="*/ 156697 w 851751"/>
                  <a:gd name="connsiteY0" fmla="*/ 2174 h 969306"/>
                  <a:gd name="connsiteX1" fmla="*/ 775821 w 851751"/>
                  <a:gd name="connsiteY1" fmla="*/ 316500 h 969306"/>
                  <a:gd name="connsiteX2" fmla="*/ 771059 w 851751"/>
                  <a:gd name="connsiteY2" fmla="*/ 954674 h 969306"/>
                  <a:gd name="connsiteX3" fmla="*/ 11440 w 851751"/>
                  <a:gd name="connsiteY3" fmla="*/ 704642 h 969306"/>
                  <a:gd name="connsiteX4" fmla="*/ 156697 w 851751"/>
                  <a:gd name="connsiteY4" fmla="*/ 2174 h 969306"/>
                  <a:gd name="connsiteX0" fmla="*/ 156697 w 842501"/>
                  <a:gd name="connsiteY0" fmla="*/ 2174 h 969306"/>
                  <a:gd name="connsiteX1" fmla="*/ 775821 w 842501"/>
                  <a:gd name="connsiteY1" fmla="*/ 316500 h 969306"/>
                  <a:gd name="connsiteX2" fmla="*/ 771059 w 842501"/>
                  <a:gd name="connsiteY2" fmla="*/ 954674 h 969306"/>
                  <a:gd name="connsiteX3" fmla="*/ 11440 w 842501"/>
                  <a:gd name="connsiteY3" fmla="*/ 704642 h 969306"/>
                  <a:gd name="connsiteX4" fmla="*/ 156697 w 842501"/>
                  <a:gd name="connsiteY4" fmla="*/ 2174 h 9693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42501" h="969306">
                    <a:moveTo>
                      <a:pt x="156697" y="2174"/>
                    </a:moveTo>
                    <a:cubicBezTo>
                      <a:pt x="295603" y="-11320"/>
                      <a:pt x="690095" y="31544"/>
                      <a:pt x="775821" y="316500"/>
                    </a:cubicBezTo>
                    <a:cubicBezTo>
                      <a:pt x="861547" y="601456"/>
                      <a:pt x="869483" y="767348"/>
                      <a:pt x="771059" y="954674"/>
                    </a:cubicBezTo>
                    <a:cubicBezTo>
                      <a:pt x="460703" y="961818"/>
                      <a:pt x="133678" y="1047542"/>
                      <a:pt x="11440" y="704642"/>
                    </a:cubicBezTo>
                    <a:cubicBezTo>
                      <a:pt x="-22692" y="526048"/>
                      <a:pt x="17791" y="15668"/>
                      <a:pt x="156697" y="2174"/>
                    </a:cubicBezTo>
                    <a:close/>
                  </a:path>
                </a:pathLst>
              </a:custGeom>
              <a:solidFill>
                <a:sysClr val="window" lastClr="FFFFFF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167" name="Group 166"/>
            <p:cNvGrpSpPr/>
            <p:nvPr/>
          </p:nvGrpSpPr>
          <p:grpSpPr>
            <a:xfrm>
              <a:off x="6148979" y="4609425"/>
              <a:ext cx="225514" cy="689694"/>
              <a:chOff x="5302371" y="5693454"/>
              <a:chExt cx="225514" cy="304223"/>
            </a:xfrm>
          </p:grpSpPr>
          <p:sp>
            <p:nvSpPr>
              <p:cNvPr id="223" name="Freeform 222"/>
              <p:cNvSpPr>
                <a:spLocks/>
              </p:cNvSpPr>
              <p:nvPr/>
            </p:nvSpPr>
            <p:spPr bwMode="auto">
              <a:xfrm>
                <a:off x="5302371" y="5693454"/>
                <a:ext cx="28745" cy="304223"/>
              </a:xfrm>
              <a:custGeom>
                <a:avLst/>
                <a:gdLst>
                  <a:gd name="T0" fmla="*/ 66 w 66"/>
                  <a:gd name="T1" fmla="*/ 0 h 698"/>
                  <a:gd name="T2" fmla="*/ 66 w 66"/>
                  <a:gd name="T3" fmla="*/ 0 h 698"/>
                  <a:gd name="T4" fmla="*/ 0 w 66"/>
                  <a:gd name="T5" fmla="*/ 0 h 698"/>
                  <a:gd name="T6" fmla="*/ 0 w 66"/>
                  <a:gd name="T7" fmla="*/ 698 h 698"/>
                  <a:gd name="T8" fmla="*/ 66 w 66"/>
                  <a:gd name="T9" fmla="*/ 698 h 698"/>
                  <a:gd name="T10" fmla="*/ 66 w 66"/>
                  <a:gd name="T11" fmla="*/ 0 h 6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6" h="698">
                    <a:moveTo>
                      <a:pt x="66" y="0"/>
                    </a:moveTo>
                    <a:lnTo>
                      <a:pt x="66" y="0"/>
                    </a:lnTo>
                    <a:lnTo>
                      <a:pt x="0" y="0"/>
                    </a:lnTo>
                    <a:lnTo>
                      <a:pt x="0" y="698"/>
                    </a:lnTo>
                    <a:lnTo>
                      <a:pt x="66" y="698"/>
                    </a:lnTo>
                    <a:lnTo>
                      <a:pt x="66" y="0"/>
                    </a:lnTo>
                    <a:close/>
                  </a:path>
                </a:pathLst>
              </a:custGeom>
              <a:solidFill>
                <a:srgbClr val="969696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4" name="Freeform 223"/>
              <p:cNvSpPr>
                <a:spLocks/>
              </p:cNvSpPr>
              <p:nvPr/>
            </p:nvSpPr>
            <p:spPr bwMode="auto">
              <a:xfrm>
                <a:off x="5499140" y="5693454"/>
                <a:ext cx="28745" cy="304223"/>
              </a:xfrm>
              <a:custGeom>
                <a:avLst/>
                <a:gdLst>
                  <a:gd name="T0" fmla="*/ 66 w 66"/>
                  <a:gd name="T1" fmla="*/ 0 h 698"/>
                  <a:gd name="T2" fmla="*/ 66 w 66"/>
                  <a:gd name="T3" fmla="*/ 0 h 698"/>
                  <a:gd name="T4" fmla="*/ 0 w 66"/>
                  <a:gd name="T5" fmla="*/ 0 h 698"/>
                  <a:gd name="T6" fmla="*/ 0 w 66"/>
                  <a:gd name="T7" fmla="*/ 698 h 698"/>
                  <a:gd name="T8" fmla="*/ 66 w 66"/>
                  <a:gd name="T9" fmla="*/ 698 h 698"/>
                  <a:gd name="T10" fmla="*/ 66 w 66"/>
                  <a:gd name="T11" fmla="*/ 0 h 6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6" h="698">
                    <a:moveTo>
                      <a:pt x="66" y="0"/>
                    </a:moveTo>
                    <a:lnTo>
                      <a:pt x="66" y="0"/>
                    </a:lnTo>
                    <a:lnTo>
                      <a:pt x="0" y="0"/>
                    </a:lnTo>
                    <a:lnTo>
                      <a:pt x="0" y="698"/>
                    </a:lnTo>
                    <a:lnTo>
                      <a:pt x="66" y="698"/>
                    </a:lnTo>
                    <a:lnTo>
                      <a:pt x="66" y="0"/>
                    </a:lnTo>
                    <a:close/>
                  </a:path>
                </a:pathLst>
              </a:custGeom>
              <a:solidFill>
                <a:srgbClr val="969696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68" name="Freeform 167"/>
            <p:cNvSpPr>
              <a:spLocks/>
            </p:cNvSpPr>
            <p:nvPr/>
          </p:nvSpPr>
          <p:spPr bwMode="auto">
            <a:xfrm>
              <a:off x="6148979" y="4581124"/>
              <a:ext cx="225515" cy="50305"/>
            </a:xfrm>
            <a:custGeom>
              <a:avLst/>
              <a:gdLst>
                <a:gd name="T0" fmla="*/ 517 w 517"/>
                <a:gd name="T1" fmla="*/ 37 h 115"/>
                <a:gd name="T2" fmla="*/ 517 w 517"/>
                <a:gd name="T3" fmla="*/ 37 h 115"/>
                <a:gd name="T4" fmla="*/ 258 w 517"/>
                <a:gd name="T5" fmla="*/ 0 h 115"/>
                <a:gd name="T6" fmla="*/ 0 w 517"/>
                <a:gd name="T7" fmla="*/ 37 h 115"/>
                <a:gd name="T8" fmla="*/ 0 w 517"/>
                <a:gd name="T9" fmla="*/ 115 h 115"/>
                <a:gd name="T10" fmla="*/ 517 w 517"/>
                <a:gd name="T11" fmla="*/ 115 h 115"/>
                <a:gd name="T12" fmla="*/ 517 w 517"/>
                <a:gd name="T13" fmla="*/ 37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7" h="115">
                  <a:moveTo>
                    <a:pt x="517" y="37"/>
                  </a:moveTo>
                  <a:lnTo>
                    <a:pt x="517" y="37"/>
                  </a:lnTo>
                  <a:lnTo>
                    <a:pt x="258" y="0"/>
                  </a:lnTo>
                  <a:lnTo>
                    <a:pt x="0" y="37"/>
                  </a:lnTo>
                  <a:lnTo>
                    <a:pt x="0" y="115"/>
                  </a:lnTo>
                  <a:lnTo>
                    <a:pt x="517" y="115"/>
                  </a:lnTo>
                  <a:lnTo>
                    <a:pt x="517" y="37"/>
                  </a:lnTo>
                  <a:close/>
                </a:path>
              </a:pathLst>
            </a:custGeom>
            <a:solidFill>
              <a:srgbClr val="5050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9" name="Freeform 168"/>
            <p:cNvSpPr>
              <a:spLocks/>
            </p:cNvSpPr>
            <p:nvPr/>
          </p:nvSpPr>
          <p:spPr bwMode="auto">
            <a:xfrm>
              <a:off x="5944681" y="5299117"/>
              <a:ext cx="633769" cy="440421"/>
            </a:xfrm>
            <a:custGeom>
              <a:avLst/>
              <a:gdLst>
                <a:gd name="T0" fmla="*/ 1374 w 1453"/>
                <a:gd name="T1" fmla="*/ 0 h 1010"/>
                <a:gd name="T2" fmla="*/ 1374 w 1453"/>
                <a:gd name="T3" fmla="*/ 0 h 1010"/>
                <a:gd name="T4" fmla="*/ 80 w 1453"/>
                <a:gd name="T5" fmla="*/ 0 h 1010"/>
                <a:gd name="T6" fmla="*/ 0 w 1453"/>
                <a:gd name="T7" fmla="*/ 80 h 1010"/>
                <a:gd name="T8" fmla="*/ 0 w 1453"/>
                <a:gd name="T9" fmla="*/ 361 h 1010"/>
                <a:gd name="T10" fmla="*/ 0 w 1453"/>
                <a:gd name="T11" fmla="*/ 931 h 1010"/>
                <a:gd name="T12" fmla="*/ 80 w 1453"/>
                <a:gd name="T13" fmla="*/ 1010 h 1010"/>
                <a:gd name="T14" fmla="*/ 1374 w 1453"/>
                <a:gd name="T15" fmla="*/ 1010 h 1010"/>
                <a:gd name="T16" fmla="*/ 1453 w 1453"/>
                <a:gd name="T17" fmla="*/ 931 h 1010"/>
                <a:gd name="T18" fmla="*/ 1453 w 1453"/>
                <a:gd name="T19" fmla="*/ 361 h 1010"/>
                <a:gd name="T20" fmla="*/ 1453 w 1453"/>
                <a:gd name="T21" fmla="*/ 80 h 1010"/>
                <a:gd name="T22" fmla="*/ 1374 w 1453"/>
                <a:gd name="T23" fmla="*/ 0 h 10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53" h="1010">
                  <a:moveTo>
                    <a:pt x="1374" y="0"/>
                  </a:moveTo>
                  <a:lnTo>
                    <a:pt x="1374" y="0"/>
                  </a:lnTo>
                  <a:lnTo>
                    <a:pt x="80" y="0"/>
                  </a:lnTo>
                  <a:cubicBezTo>
                    <a:pt x="36" y="0"/>
                    <a:pt x="0" y="36"/>
                    <a:pt x="0" y="80"/>
                  </a:cubicBezTo>
                  <a:lnTo>
                    <a:pt x="0" y="361"/>
                  </a:lnTo>
                  <a:lnTo>
                    <a:pt x="0" y="931"/>
                  </a:lnTo>
                  <a:cubicBezTo>
                    <a:pt x="0" y="975"/>
                    <a:pt x="36" y="1010"/>
                    <a:pt x="80" y="1010"/>
                  </a:cubicBezTo>
                  <a:lnTo>
                    <a:pt x="1374" y="1010"/>
                  </a:lnTo>
                  <a:cubicBezTo>
                    <a:pt x="1418" y="1010"/>
                    <a:pt x="1453" y="975"/>
                    <a:pt x="1453" y="931"/>
                  </a:cubicBezTo>
                  <a:lnTo>
                    <a:pt x="1453" y="361"/>
                  </a:lnTo>
                  <a:lnTo>
                    <a:pt x="1453" y="80"/>
                  </a:lnTo>
                  <a:cubicBezTo>
                    <a:pt x="1453" y="36"/>
                    <a:pt x="1418" y="0"/>
                    <a:pt x="1374" y="0"/>
                  </a:cubicBezTo>
                  <a:close/>
                </a:path>
              </a:pathLst>
            </a:custGeom>
            <a:solidFill>
              <a:srgbClr val="96969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0" name="Freeform 169"/>
            <p:cNvSpPr>
              <a:spLocks/>
            </p:cNvSpPr>
            <p:nvPr/>
          </p:nvSpPr>
          <p:spPr bwMode="auto">
            <a:xfrm>
              <a:off x="5944681" y="5456533"/>
              <a:ext cx="633769" cy="283006"/>
            </a:xfrm>
            <a:custGeom>
              <a:avLst/>
              <a:gdLst>
                <a:gd name="T0" fmla="*/ 1374 w 1453"/>
                <a:gd name="T1" fmla="*/ 80 h 649"/>
                <a:gd name="T2" fmla="*/ 1374 w 1453"/>
                <a:gd name="T3" fmla="*/ 80 h 649"/>
                <a:gd name="T4" fmla="*/ 80 w 1453"/>
                <a:gd name="T5" fmla="*/ 80 h 649"/>
                <a:gd name="T6" fmla="*/ 0 w 1453"/>
                <a:gd name="T7" fmla="*/ 0 h 649"/>
                <a:gd name="T8" fmla="*/ 0 w 1453"/>
                <a:gd name="T9" fmla="*/ 570 h 649"/>
                <a:gd name="T10" fmla="*/ 80 w 1453"/>
                <a:gd name="T11" fmla="*/ 649 h 649"/>
                <a:gd name="T12" fmla="*/ 1374 w 1453"/>
                <a:gd name="T13" fmla="*/ 649 h 649"/>
                <a:gd name="T14" fmla="*/ 1453 w 1453"/>
                <a:gd name="T15" fmla="*/ 570 h 649"/>
                <a:gd name="T16" fmla="*/ 1453 w 1453"/>
                <a:gd name="T17" fmla="*/ 0 h 649"/>
                <a:gd name="T18" fmla="*/ 1374 w 1453"/>
                <a:gd name="T19" fmla="*/ 80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53" h="649">
                  <a:moveTo>
                    <a:pt x="1374" y="80"/>
                  </a:moveTo>
                  <a:lnTo>
                    <a:pt x="1374" y="80"/>
                  </a:lnTo>
                  <a:lnTo>
                    <a:pt x="80" y="80"/>
                  </a:lnTo>
                  <a:cubicBezTo>
                    <a:pt x="36" y="80"/>
                    <a:pt x="0" y="44"/>
                    <a:pt x="0" y="0"/>
                  </a:cubicBezTo>
                  <a:lnTo>
                    <a:pt x="0" y="570"/>
                  </a:lnTo>
                  <a:cubicBezTo>
                    <a:pt x="0" y="614"/>
                    <a:pt x="36" y="649"/>
                    <a:pt x="80" y="649"/>
                  </a:cubicBezTo>
                  <a:lnTo>
                    <a:pt x="1374" y="649"/>
                  </a:lnTo>
                  <a:cubicBezTo>
                    <a:pt x="1418" y="649"/>
                    <a:pt x="1453" y="614"/>
                    <a:pt x="1453" y="570"/>
                  </a:cubicBezTo>
                  <a:lnTo>
                    <a:pt x="1453" y="0"/>
                  </a:lnTo>
                  <a:cubicBezTo>
                    <a:pt x="1453" y="44"/>
                    <a:pt x="1418" y="80"/>
                    <a:pt x="1374" y="80"/>
                  </a:cubicBezTo>
                  <a:close/>
                </a:path>
              </a:pathLst>
            </a:custGeom>
            <a:solidFill>
              <a:srgbClr val="96969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1" name="Freeform 170"/>
            <p:cNvSpPr>
              <a:spLocks/>
            </p:cNvSpPr>
            <p:nvPr/>
          </p:nvSpPr>
          <p:spPr bwMode="auto">
            <a:xfrm>
              <a:off x="5944681" y="5166781"/>
              <a:ext cx="633769" cy="192321"/>
            </a:xfrm>
            <a:custGeom>
              <a:avLst/>
              <a:gdLst>
                <a:gd name="T0" fmla="*/ 1374 w 1453"/>
                <a:gd name="T1" fmla="*/ 0 h 441"/>
                <a:gd name="T2" fmla="*/ 1374 w 1453"/>
                <a:gd name="T3" fmla="*/ 0 h 441"/>
                <a:gd name="T4" fmla="*/ 80 w 1453"/>
                <a:gd name="T5" fmla="*/ 0 h 441"/>
                <a:gd name="T6" fmla="*/ 0 w 1453"/>
                <a:gd name="T7" fmla="*/ 80 h 441"/>
                <a:gd name="T8" fmla="*/ 0 w 1453"/>
                <a:gd name="T9" fmla="*/ 361 h 441"/>
                <a:gd name="T10" fmla="*/ 80 w 1453"/>
                <a:gd name="T11" fmla="*/ 441 h 441"/>
                <a:gd name="T12" fmla="*/ 1374 w 1453"/>
                <a:gd name="T13" fmla="*/ 441 h 441"/>
                <a:gd name="T14" fmla="*/ 1453 w 1453"/>
                <a:gd name="T15" fmla="*/ 361 h 441"/>
                <a:gd name="T16" fmla="*/ 1453 w 1453"/>
                <a:gd name="T17" fmla="*/ 80 h 441"/>
                <a:gd name="T18" fmla="*/ 1374 w 1453"/>
                <a:gd name="T19" fmla="*/ 0 h 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53" h="441">
                  <a:moveTo>
                    <a:pt x="1374" y="0"/>
                  </a:moveTo>
                  <a:lnTo>
                    <a:pt x="1374" y="0"/>
                  </a:lnTo>
                  <a:lnTo>
                    <a:pt x="80" y="0"/>
                  </a:lnTo>
                  <a:cubicBezTo>
                    <a:pt x="36" y="0"/>
                    <a:pt x="0" y="36"/>
                    <a:pt x="0" y="80"/>
                  </a:cubicBezTo>
                  <a:lnTo>
                    <a:pt x="0" y="361"/>
                  </a:lnTo>
                  <a:cubicBezTo>
                    <a:pt x="0" y="405"/>
                    <a:pt x="36" y="441"/>
                    <a:pt x="80" y="441"/>
                  </a:cubicBezTo>
                  <a:lnTo>
                    <a:pt x="1374" y="441"/>
                  </a:lnTo>
                  <a:cubicBezTo>
                    <a:pt x="1418" y="441"/>
                    <a:pt x="1453" y="405"/>
                    <a:pt x="1453" y="361"/>
                  </a:cubicBezTo>
                  <a:lnTo>
                    <a:pt x="1453" y="80"/>
                  </a:lnTo>
                  <a:cubicBezTo>
                    <a:pt x="1453" y="36"/>
                    <a:pt x="1418" y="0"/>
                    <a:pt x="1374" y="0"/>
                  </a:cubicBezTo>
                  <a:close/>
                </a:path>
              </a:pathLst>
            </a:custGeom>
            <a:solidFill>
              <a:srgbClr val="5050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2" name="Freeform 171"/>
            <p:cNvSpPr>
              <a:spLocks/>
            </p:cNvSpPr>
            <p:nvPr/>
          </p:nvSpPr>
          <p:spPr bwMode="auto">
            <a:xfrm>
              <a:off x="6042894" y="5491438"/>
              <a:ext cx="432208" cy="248101"/>
            </a:xfrm>
            <a:custGeom>
              <a:avLst/>
              <a:gdLst>
                <a:gd name="T0" fmla="*/ 991 w 991"/>
                <a:gd name="T1" fmla="*/ 569 h 569"/>
                <a:gd name="T2" fmla="*/ 991 w 991"/>
                <a:gd name="T3" fmla="*/ 569 h 569"/>
                <a:gd name="T4" fmla="*/ 0 w 991"/>
                <a:gd name="T5" fmla="*/ 569 h 569"/>
                <a:gd name="T6" fmla="*/ 0 w 991"/>
                <a:gd name="T7" fmla="*/ 0 h 569"/>
                <a:gd name="T8" fmla="*/ 991 w 991"/>
                <a:gd name="T9" fmla="*/ 0 h 569"/>
                <a:gd name="T10" fmla="*/ 991 w 991"/>
                <a:gd name="T11" fmla="*/ 569 h 5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91" h="569">
                  <a:moveTo>
                    <a:pt x="991" y="569"/>
                  </a:moveTo>
                  <a:lnTo>
                    <a:pt x="991" y="569"/>
                  </a:lnTo>
                  <a:lnTo>
                    <a:pt x="0" y="569"/>
                  </a:lnTo>
                  <a:lnTo>
                    <a:pt x="0" y="0"/>
                  </a:lnTo>
                  <a:lnTo>
                    <a:pt x="991" y="0"/>
                  </a:lnTo>
                  <a:lnTo>
                    <a:pt x="991" y="569"/>
                  </a:lnTo>
                  <a:close/>
                </a:path>
              </a:pathLst>
            </a:custGeom>
            <a:solidFill>
              <a:srgbClr val="AFAFA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3" name="Freeform 172"/>
            <p:cNvSpPr>
              <a:spLocks/>
            </p:cNvSpPr>
            <p:nvPr/>
          </p:nvSpPr>
          <p:spPr bwMode="auto">
            <a:xfrm>
              <a:off x="5902589" y="5647485"/>
              <a:ext cx="42092" cy="119088"/>
            </a:xfrm>
            <a:custGeom>
              <a:avLst/>
              <a:gdLst>
                <a:gd name="T0" fmla="*/ 48 w 97"/>
                <a:gd name="T1" fmla="*/ 0 h 273"/>
                <a:gd name="T2" fmla="*/ 48 w 97"/>
                <a:gd name="T3" fmla="*/ 0 h 273"/>
                <a:gd name="T4" fmla="*/ 0 w 97"/>
                <a:gd name="T5" fmla="*/ 48 h 273"/>
                <a:gd name="T6" fmla="*/ 0 w 97"/>
                <a:gd name="T7" fmla="*/ 225 h 273"/>
                <a:gd name="T8" fmla="*/ 48 w 97"/>
                <a:gd name="T9" fmla="*/ 273 h 273"/>
                <a:gd name="T10" fmla="*/ 97 w 97"/>
                <a:gd name="T11" fmla="*/ 225 h 273"/>
                <a:gd name="T12" fmla="*/ 97 w 97"/>
                <a:gd name="T13" fmla="*/ 48 h 273"/>
                <a:gd name="T14" fmla="*/ 48 w 97"/>
                <a:gd name="T15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7" h="273">
                  <a:moveTo>
                    <a:pt x="48" y="0"/>
                  </a:moveTo>
                  <a:lnTo>
                    <a:pt x="48" y="0"/>
                  </a:lnTo>
                  <a:cubicBezTo>
                    <a:pt x="22" y="0"/>
                    <a:pt x="0" y="21"/>
                    <a:pt x="0" y="48"/>
                  </a:cubicBezTo>
                  <a:lnTo>
                    <a:pt x="0" y="225"/>
                  </a:lnTo>
                  <a:cubicBezTo>
                    <a:pt x="0" y="252"/>
                    <a:pt x="22" y="273"/>
                    <a:pt x="48" y="273"/>
                  </a:cubicBezTo>
                  <a:cubicBezTo>
                    <a:pt x="75" y="273"/>
                    <a:pt x="97" y="252"/>
                    <a:pt x="97" y="225"/>
                  </a:cubicBezTo>
                  <a:lnTo>
                    <a:pt x="97" y="48"/>
                  </a:lnTo>
                  <a:cubicBezTo>
                    <a:pt x="97" y="21"/>
                    <a:pt x="75" y="0"/>
                    <a:pt x="48" y="0"/>
                  </a:cubicBezTo>
                  <a:close/>
                </a:path>
              </a:pathLst>
            </a:custGeom>
            <a:solidFill>
              <a:srgbClr val="5050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4" name="Freeform 173"/>
            <p:cNvSpPr>
              <a:spLocks/>
            </p:cNvSpPr>
            <p:nvPr/>
          </p:nvSpPr>
          <p:spPr bwMode="auto">
            <a:xfrm>
              <a:off x="6578449" y="5647485"/>
              <a:ext cx="42434" cy="119088"/>
            </a:xfrm>
            <a:custGeom>
              <a:avLst/>
              <a:gdLst>
                <a:gd name="T0" fmla="*/ 49 w 97"/>
                <a:gd name="T1" fmla="*/ 0 h 273"/>
                <a:gd name="T2" fmla="*/ 49 w 97"/>
                <a:gd name="T3" fmla="*/ 0 h 273"/>
                <a:gd name="T4" fmla="*/ 0 w 97"/>
                <a:gd name="T5" fmla="*/ 48 h 273"/>
                <a:gd name="T6" fmla="*/ 0 w 97"/>
                <a:gd name="T7" fmla="*/ 225 h 273"/>
                <a:gd name="T8" fmla="*/ 49 w 97"/>
                <a:gd name="T9" fmla="*/ 273 h 273"/>
                <a:gd name="T10" fmla="*/ 97 w 97"/>
                <a:gd name="T11" fmla="*/ 225 h 273"/>
                <a:gd name="T12" fmla="*/ 97 w 97"/>
                <a:gd name="T13" fmla="*/ 48 h 273"/>
                <a:gd name="T14" fmla="*/ 49 w 97"/>
                <a:gd name="T15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7" h="273">
                  <a:moveTo>
                    <a:pt x="49" y="0"/>
                  </a:moveTo>
                  <a:lnTo>
                    <a:pt x="49" y="0"/>
                  </a:lnTo>
                  <a:cubicBezTo>
                    <a:pt x="22" y="0"/>
                    <a:pt x="0" y="21"/>
                    <a:pt x="0" y="48"/>
                  </a:cubicBezTo>
                  <a:lnTo>
                    <a:pt x="0" y="225"/>
                  </a:lnTo>
                  <a:cubicBezTo>
                    <a:pt x="0" y="252"/>
                    <a:pt x="22" y="273"/>
                    <a:pt x="49" y="273"/>
                  </a:cubicBezTo>
                  <a:cubicBezTo>
                    <a:pt x="75" y="273"/>
                    <a:pt x="97" y="252"/>
                    <a:pt x="97" y="225"/>
                  </a:cubicBezTo>
                  <a:lnTo>
                    <a:pt x="97" y="48"/>
                  </a:lnTo>
                  <a:cubicBezTo>
                    <a:pt x="97" y="21"/>
                    <a:pt x="75" y="0"/>
                    <a:pt x="49" y="0"/>
                  </a:cubicBezTo>
                  <a:close/>
                </a:path>
              </a:pathLst>
            </a:custGeom>
            <a:solidFill>
              <a:srgbClr val="5050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5" name="Freeform 174"/>
            <p:cNvSpPr>
              <a:spLocks/>
            </p:cNvSpPr>
            <p:nvPr/>
          </p:nvSpPr>
          <p:spPr bwMode="auto">
            <a:xfrm>
              <a:off x="6240006" y="5484252"/>
              <a:ext cx="43803" cy="154336"/>
            </a:xfrm>
            <a:custGeom>
              <a:avLst/>
              <a:gdLst>
                <a:gd name="T0" fmla="*/ 100 w 100"/>
                <a:gd name="T1" fmla="*/ 338 h 354"/>
                <a:gd name="T2" fmla="*/ 100 w 100"/>
                <a:gd name="T3" fmla="*/ 338 h 354"/>
                <a:gd name="T4" fmla="*/ 0 w 100"/>
                <a:gd name="T5" fmla="*/ 354 h 354"/>
                <a:gd name="T6" fmla="*/ 0 w 100"/>
                <a:gd name="T7" fmla="*/ 0 h 354"/>
                <a:gd name="T8" fmla="*/ 100 w 100"/>
                <a:gd name="T9" fmla="*/ 0 h 354"/>
                <a:gd name="T10" fmla="*/ 100 w 100"/>
                <a:gd name="T11" fmla="*/ 338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0" h="354">
                  <a:moveTo>
                    <a:pt x="100" y="338"/>
                  </a:moveTo>
                  <a:lnTo>
                    <a:pt x="100" y="338"/>
                  </a:lnTo>
                  <a:lnTo>
                    <a:pt x="0" y="354"/>
                  </a:lnTo>
                  <a:lnTo>
                    <a:pt x="0" y="0"/>
                  </a:lnTo>
                  <a:lnTo>
                    <a:pt x="100" y="0"/>
                  </a:lnTo>
                  <a:lnTo>
                    <a:pt x="100" y="338"/>
                  </a:lnTo>
                  <a:close/>
                </a:path>
              </a:pathLst>
            </a:custGeom>
            <a:solidFill>
              <a:srgbClr val="5050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6" name="Freeform 175"/>
            <p:cNvSpPr>
              <a:spLocks/>
            </p:cNvSpPr>
            <p:nvPr/>
          </p:nvSpPr>
          <p:spPr bwMode="auto">
            <a:xfrm>
              <a:off x="6222895" y="5526343"/>
              <a:ext cx="77339" cy="12662"/>
            </a:xfrm>
            <a:custGeom>
              <a:avLst/>
              <a:gdLst>
                <a:gd name="T0" fmla="*/ 177 w 177"/>
                <a:gd name="T1" fmla="*/ 29 h 29"/>
                <a:gd name="T2" fmla="*/ 177 w 177"/>
                <a:gd name="T3" fmla="*/ 29 h 29"/>
                <a:gd name="T4" fmla="*/ 0 w 177"/>
                <a:gd name="T5" fmla="*/ 29 h 29"/>
                <a:gd name="T6" fmla="*/ 0 w 177"/>
                <a:gd name="T7" fmla="*/ 0 h 29"/>
                <a:gd name="T8" fmla="*/ 177 w 177"/>
                <a:gd name="T9" fmla="*/ 0 h 29"/>
                <a:gd name="T10" fmla="*/ 177 w 177"/>
                <a:gd name="T11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7" h="29">
                  <a:moveTo>
                    <a:pt x="177" y="29"/>
                  </a:moveTo>
                  <a:lnTo>
                    <a:pt x="177" y="29"/>
                  </a:lnTo>
                  <a:lnTo>
                    <a:pt x="0" y="29"/>
                  </a:lnTo>
                  <a:lnTo>
                    <a:pt x="0" y="0"/>
                  </a:lnTo>
                  <a:lnTo>
                    <a:pt x="177" y="0"/>
                  </a:lnTo>
                  <a:lnTo>
                    <a:pt x="177" y="29"/>
                  </a:lnTo>
                  <a:close/>
                </a:path>
              </a:pathLst>
            </a:custGeom>
            <a:solidFill>
              <a:srgbClr val="D2D2D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7" name="Freeform 176"/>
            <p:cNvSpPr>
              <a:spLocks/>
            </p:cNvSpPr>
            <p:nvPr/>
          </p:nvSpPr>
          <p:spPr bwMode="auto">
            <a:xfrm>
              <a:off x="6257458" y="5554404"/>
              <a:ext cx="8213" cy="7871"/>
            </a:xfrm>
            <a:custGeom>
              <a:avLst/>
              <a:gdLst>
                <a:gd name="T0" fmla="*/ 19 w 19"/>
                <a:gd name="T1" fmla="*/ 9 h 18"/>
                <a:gd name="T2" fmla="*/ 19 w 19"/>
                <a:gd name="T3" fmla="*/ 9 h 18"/>
                <a:gd name="T4" fmla="*/ 10 w 19"/>
                <a:gd name="T5" fmla="*/ 18 h 18"/>
                <a:gd name="T6" fmla="*/ 0 w 19"/>
                <a:gd name="T7" fmla="*/ 9 h 18"/>
                <a:gd name="T8" fmla="*/ 10 w 19"/>
                <a:gd name="T9" fmla="*/ 0 h 18"/>
                <a:gd name="T10" fmla="*/ 19 w 19"/>
                <a:gd name="T11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18">
                  <a:moveTo>
                    <a:pt x="19" y="9"/>
                  </a:moveTo>
                  <a:lnTo>
                    <a:pt x="19" y="9"/>
                  </a:lnTo>
                  <a:cubicBezTo>
                    <a:pt x="19" y="14"/>
                    <a:pt x="15" y="18"/>
                    <a:pt x="10" y="18"/>
                  </a:cubicBezTo>
                  <a:cubicBezTo>
                    <a:pt x="5" y="18"/>
                    <a:pt x="0" y="14"/>
                    <a:pt x="0" y="9"/>
                  </a:cubicBezTo>
                  <a:cubicBezTo>
                    <a:pt x="0" y="4"/>
                    <a:pt x="5" y="0"/>
                    <a:pt x="10" y="0"/>
                  </a:cubicBezTo>
                  <a:cubicBezTo>
                    <a:pt x="15" y="0"/>
                    <a:pt x="19" y="4"/>
                    <a:pt x="19" y="9"/>
                  </a:cubicBezTo>
                  <a:close/>
                </a:path>
              </a:pathLst>
            </a:custGeom>
            <a:solidFill>
              <a:srgbClr val="96969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8" name="Freeform 177"/>
            <p:cNvSpPr>
              <a:spLocks/>
            </p:cNvSpPr>
            <p:nvPr/>
          </p:nvSpPr>
          <p:spPr bwMode="auto">
            <a:xfrm>
              <a:off x="6257458" y="5581439"/>
              <a:ext cx="8213" cy="7871"/>
            </a:xfrm>
            <a:custGeom>
              <a:avLst/>
              <a:gdLst>
                <a:gd name="T0" fmla="*/ 19 w 19"/>
                <a:gd name="T1" fmla="*/ 9 h 18"/>
                <a:gd name="T2" fmla="*/ 19 w 19"/>
                <a:gd name="T3" fmla="*/ 9 h 18"/>
                <a:gd name="T4" fmla="*/ 10 w 19"/>
                <a:gd name="T5" fmla="*/ 18 h 18"/>
                <a:gd name="T6" fmla="*/ 0 w 19"/>
                <a:gd name="T7" fmla="*/ 9 h 18"/>
                <a:gd name="T8" fmla="*/ 10 w 19"/>
                <a:gd name="T9" fmla="*/ 0 h 18"/>
                <a:gd name="T10" fmla="*/ 19 w 19"/>
                <a:gd name="T11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18">
                  <a:moveTo>
                    <a:pt x="19" y="9"/>
                  </a:moveTo>
                  <a:lnTo>
                    <a:pt x="19" y="9"/>
                  </a:lnTo>
                  <a:cubicBezTo>
                    <a:pt x="19" y="14"/>
                    <a:pt x="15" y="18"/>
                    <a:pt x="10" y="18"/>
                  </a:cubicBezTo>
                  <a:cubicBezTo>
                    <a:pt x="5" y="18"/>
                    <a:pt x="0" y="14"/>
                    <a:pt x="0" y="9"/>
                  </a:cubicBezTo>
                  <a:cubicBezTo>
                    <a:pt x="0" y="4"/>
                    <a:pt x="5" y="0"/>
                    <a:pt x="10" y="0"/>
                  </a:cubicBezTo>
                  <a:cubicBezTo>
                    <a:pt x="15" y="0"/>
                    <a:pt x="19" y="4"/>
                    <a:pt x="19" y="9"/>
                  </a:cubicBezTo>
                  <a:close/>
                </a:path>
              </a:pathLst>
            </a:custGeom>
            <a:solidFill>
              <a:srgbClr val="96969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9" name="Freeform 178"/>
            <p:cNvSpPr>
              <a:spLocks/>
            </p:cNvSpPr>
            <p:nvPr/>
          </p:nvSpPr>
          <p:spPr bwMode="auto">
            <a:xfrm>
              <a:off x="6257458" y="5608473"/>
              <a:ext cx="8213" cy="8213"/>
            </a:xfrm>
            <a:custGeom>
              <a:avLst/>
              <a:gdLst>
                <a:gd name="T0" fmla="*/ 19 w 19"/>
                <a:gd name="T1" fmla="*/ 10 h 19"/>
                <a:gd name="T2" fmla="*/ 19 w 19"/>
                <a:gd name="T3" fmla="*/ 10 h 19"/>
                <a:gd name="T4" fmla="*/ 10 w 19"/>
                <a:gd name="T5" fmla="*/ 19 h 19"/>
                <a:gd name="T6" fmla="*/ 0 w 19"/>
                <a:gd name="T7" fmla="*/ 10 h 19"/>
                <a:gd name="T8" fmla="*/ 10 w 19"/>
                <a:gd name="T9" fmla="*/ 0 h 19"/>
                <a:gd name="T10" fmla="*/ 19 w 19"/>
                <a:gd name="T11" fmla="*/ 1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19">
                  <a:moveTo>
                    <a:pt x="19" y="10"/>
                  </a:moveTo>
                  <a:lnTo>
                    <a:pt x="19" y="10"/>
                  </a:lnTo>
                  <a:cubicBezTo>
                    <a:pt x="19" y="15"/>
                    <a:pt x="15" y="19"/>
                    <a:pt x="10" y="19"/>
                  </a:cubicBezTo>
                  <a:cubicBezTo>
                    <a:pt x="5" y="19"/>
                    <a:pt x="0" y="15"/>
                    <a:pt x="0" y="10"/>
                  </a:cubicBezTo>
                  <a:cubicBezTo>
                    <a:pt x="0" y="5"/>
                    <a:pt x="5" y="0"/>
                    <a:pt x="10" y="0"/>
                  </a:cubicBezTo>
                  <a:cubicBezTo>
                    <a:pt x="15" y="0"/>
                    <a:pt x="19" y="5"/>
                    <a:pt x="19" y="10"/>
                  </a:cubicBezTo>
                  <a:close/>
                </a:path>
              </a:pathLst>
            </a:custGeom>
            <a:solidFill>
              <a:srgbClr val="96969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grpSp>
          <p:nvGrpSpPr>
            <p:cNvPr id="180" name="Group 179"/>
            <p:cNvGrpSpPr/>
            <p:nvPr/>
          </p:nvGrpSpPr>
          <p:grpSpPr>
            <a:xfrm>
              <a:off x="6382022" y="5177338"/>
              <a:ext cx="166313" cy="166655"/>
              <a:chOff x="5451289" y="6023000"/>
              <a:chExt cx="166313" cy="166655"/>
            </a:xfrm>
          </p:grpSpPr>
          <p:sp>
            <p:nvSpPr>
              <p:cNvPr id="221" name="Freeform 220"/>
              <p:cNvSpPr>
                <a:spLocks noEditPoints="1"/>
              </p:cNvSpPr>
              <p:nvPr/>
            </p:nvSpPr>
            <p:spPr bwMode="auto">
              <a:xfrm>
                <a:off x="5451289" y="6023000"/>
                <a:ext cx="166313" cy="166655"/>
              </a:xfrm>
              <a:custGeom>
                <a:avLst/>
                <a:gdLst>
                  <a:gd name="T0" fmla="*/ 65 w 381"/>
                  <a:gd name="T1" fmla="*/ 85 h 382"/>
                  <a:gd name="T2" fmla="*/ 65 w 381"/>
                  <a:gd name="T3" fmla="*/ 85 h 382"/>
                  <a:gd name="T4" fmla="*/ 65 w 381"/>
                  <a:gd name="T5" fmla="*/ 66 h 382"/>
                  <a:gd name="T6" fmla="*/ 85 w 381"/>
                  <a:gd name="T7" fmla="*/ 66 h 382"/>
                  <a:gd name="T8" fmla="*/ 85 w 381"/>
                  <a:gd name="T9" fmla="*/ 85 h 382"/>
                  <a:gd name="T10" fmla="*/ 65 w 381"/>
                  <a:gd name="T11" fmla="*/ 85 h 382"/>
                  <a:gd name="T12" fmla="*/ 151 w 381"/>
                  <a:gd name="T13" fmla="*/ 0 h 382"/>
                  <a:gd name="T14" fmla="*/ 151 w 381"/>
                  <a:gd name="T15" fmla="*/ 0 h 382"/>
                  <a:gd name="T16" fmla="*/ 89 w 381"/>
                  <a:gd name="T17" fmla="*/ 0 h 382"/>
                  <a:gd name="T18" fmla="*/ 0 w 381"/>
                  <a:gd name="T19" fmla="*/ 90 h 382"/>
                  <a:gd name="T20" fmla="*/ 0 w 381"/>
                  <a:gd name="T21" fmla="*/ 151 h 382"/>
                  <a:gd name="T22" fmla="*/ 230 w 381"/>
                  <a:gd name="T23" fmla="*/ 382 h 382"/>
                  <a:gd name="T24" fmla="*/ 381 w 381"/>
                  <a:gd name="T25" fmla="*/ 231 h 382"/>
                  <a:gd name="T26" fmla="*/ 151 w 381"/>
                  <a:gd name="T27" fmla="*/ 0 h 3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81" h="382">
                    <a:moveTo>
                      <a:pt x="65" y="85"/>
                    </a:moveTo>
                    <a:lnTo>
                      <a:pt x="65" y="85"/>
                    </a:lnTo>
                    <a:cubicBezTo>
                      <a:pt x="60" y="80"/>
                      <a:pt x="60" y="72"/>
                      <a:pt x="65" y="66"/>
                    </a:cubicBezTo>
                    <a:cubicBezTo>
                      <a:pt x="71" y="61"/>
                      <a:pt x="79" y="61"/>
                      <a:pt x="85" y="66"/>
                    </a:cubicBezTo>
                    <a:cubicBezTo>
                      <a:pt x="90" y="72"/>
                      <a:pt x="90" y="80"/>
                      <a:pt x="85" y="85"/>
                    </a:cubicBezTo>
                    <a:cubicBezTo>
                      <a:pt x="79" y="91"/>
                      <a:pt x="71" y="91"/>
                      <a:pt x="65" y="85"/>
                    </a:cubicBezTo>
                    <a:close/>
                    <a:moveTo>
                      <a:pt x="151" y="0"/>
                    </a:moveTo>
                    <a:lnTo>
                      <a:pt x="151" y="0"/>
                    </a:lnTo>
                    <a:lnTo>
                      <a:pt x="89" y="0"/>
                    </a:lnTo>
                    <a:lnTo>
                      <a:pt x="0" y="90"/>
                    </a:lnTo>
                    <a:lnTo>
                      <a:pt x="0" y="151"/>
                    </a:lnTo>
                    <a:lnTo>
                      <a:pt x="230" y="382"/>
                    </a:lnTo>
                    <a:lnTo>
                      <a:pt x="381" y="231"/>
                    </a:lnTo>
                    <a:lnTo>
                      <a:pt x="151" y="0"/>
                    </a:lnTo>
                    <a:close/>
                  </a:path>
                </a:pathLst>
              </a:custGeom>
              <a:solidFill>
                <a:srgbClr val="FF8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2" name="Freeform 221"/>
              <p:cNvSpPr>
                <a:spLocks/>
              </p:cNvSpPr>
              <p:nvPr/>
            </p:nvSpPr>
            <p:spPr bwMode="auto">
              <a:xfrm>
                <a:off x="5514939" y="6087677"/>
                <a:ext cx="60913" cy="60229"/>
              </a:xfrm>
              <a:custGeom>
                <a:avLst/>
                <a:gdLst>
                  <a:gd name="T0" fmla="*/ 139 w 139"/>
                  <a:gd name="T1" fmla="*/ 34 h 138"/>
                  <a:gd name="T2" fmla="*/ 139 w 139"/>
                  <a:gd name="T3" fmla="*/ 34 h 138"/>
                  <a:gd name="T4" fmla="*/ 129 w 139"/>
                  <a:gd name="T5" fmla="*/ 22 h 138"/>
                  <a:gd name="T6" fmla="*/ 54 w 139"/>
                  <a:gd name="T7" fmla="*/ 40 h 138"/>
                  <a:gd name="T8" fmla="*/ 17 w 139"/>
                  <a:gd name="T9" fmla="*/ 3 h 138"/>
                  <a:gd name="T10" fmla="*/ 4 w 139"/>
                  <a:gd name="T11" fmla="*/ 4 h 138"/>
                  <a:gd name="T12" fmla="*/ 3 w 139"/>
                  <a:gd name="T13" fmla="*/ 17 h 138"/>
                  <a:gd name="T14" fmla="*/ 40 w 139"/>
                  <a:gd name="T15" fmla="*/ 54 h 138"/>
                  <a:gd name="T16" fmla="*/ 23 w 139"/>
                  <a:gd name="T17" fmla="*/ 128 h 138"/>
                  <a:gd name="T18" fmla="*/ 36 w 139"/>
                  <a:gd name="T19" fmla="*/ 138 h 138"/>
                  <a:gd name="T20" fmla="*/ 66 w 139"/>
                  <a:gd name="T21" fmla="*/ 80 h 138"/>
                  <a:gd name="T22" fmla="*/ 92 w 139"/>
                  <a:gd name="T23" fmla="*/ 106 h 138"/>
                  <a:gd name="T24" fmla="*/ 92 w 139"/>
                  <a:gd name="T25" fmla="*/ 122 h 138"/>
                  <a:gd name="T26" fmla="*/ 103 w 139"/>
                  <a:gd name="T27" fmla="*/ 133 h 138"/>
                  <a:gd name="T28" fmla="*/ 111 w 139"/>
                  <a:gd name="T29" fmla="*/ 111 h 138"/>
                  <a:gd name="T30" fmla="*/ 135 w 139"/>
                  <a:gd name="T31" fmla="*/ 102 h 138"/>
                  <a:gd name="T32" fmla="*/ 124 w 139"/>
                  <a:gd name="T33" fmla="*/ 91 h 138"/>
                  <a:gd name="T34" fmla="*/ 106 w 139"/>
                  <a:gd name="T35" fmla="*/ 92 h 138"/>
                  <a:gd name="T36" fmla="*/ 80 w 139"/>
                  <a:gd name="T37" fmla="*/ 66 h 138"/>
                  <a:gd name="T38" fmla="*/ 139 w 139"/>
                  <a:gd name="T39" fmla="*/ 34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39" h="138">
                    <a:moveTo>
                      <a:pt x="139" y="34"/>
                    </a:moveTo>
                    <a:lnTo>
                      <a:pt x="139" y="34"/>
                    </a:lnTo>
                    <a:lnTo>
                      <a:pt x="129" y="22"/>
                    </a:lnTo>
                    <a:lnTo>
                      <a:pt x="54" y="40"/>
                    </a:lnTo>
                    <a:lnTo>
                      <a:pt x="17" y="3"/>
                    </a:lnTo>
                    <a:cubicBezTo>
                      <a:pt x="14" y="0"/>
                      <a:pt x="8" y="0"/>
                      <a:pt x="4" y="4"/>
                    </a:cubicBezTo>
                    <a:cubicBezTo>
                      <a:pt x="1" y="7"/>
                      <a:pt x="0" y="14"/>
                      <a:pt x="3" y="17"/>
                    </a:cubicBezTo>
                    <a:lnTo>
                      <a:pt x="40" y="54"/>
                    </a:lnTo>
                    <a:lnTo>
                      <a:pt x="23" y="128"/>
                    </a:lnTo>
                    <a:lnTo>
                      <a:pt x="36" y="138"/>
                    </a:lnTo>
                    <a:lnTo>
                      <a:pt x="66" y="80"/>
                    </a:lnTo>
                    <a:lnTo>
                      <a:pt x="92" y="106"/>
                    </a:lnTo>
                    <a:lnTo>
                      <a:pt x="92" y="122"/>
                    </a:lnTo>
                    <a:lnTo>
                      <a:pt x="103" y="133"/>
                    </a:lnTo>
                    <a:lnTo>
                      <a:pt x="111" y="111"/>
                    </a:lnTo>
                    <a:lnTo>
                      <a:pt x="135" y="102"/>
                    </a:lnTo>
                    <a:lnTo>
                      <a:pt x="124" y="91"/>
                    </a:lnTo>
                    <a:lnTo>
                      <a:pt x="106" y="92"/>
                    </a:lnTo>
                    <a:lnTo>
                      <a:pt x="80" y="66"/>
                    </a:lnTo>
                    <a:lnTo>
                      <a:pt x="139" y="34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81" name="Rounded Rectangle 180"/>
            <p:cNvSpPr/>
            <p:nvPr/>
          </p:nvSpPr>
          <p:spPr bwMode="auto">
            <a:xfrm rot="20782553">
              <a:off x="6216778" y="4511935"/>
              <a:ext cx="68098" cy="110659"/>
            </a:xfrm>
            <a:prstGeom prst="roundRect">
              <a:avLst>
                <a:gd name="adj" fmla="val 50000"/>
              </a:avLst>
            </a:prstGeom>
            <a:solidFill>
              <a:srgbClr val="FFC00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3247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 smtClean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2" name="Freeform 181"/>
            <p:cNvSpPr/>
            <p:nvPr/>
          </p:nvSpPr>
          <p:spPr>
            <a:xfrm>
              <a:off x="5885600" y="4017157"/>
              <a:ext cx="404752" cy="530094"/>
            </a:xfrm>
            <a:custGeom>
              <a:avLst/>
              <a:gdLst>
                <a:gd name="connsiteX0" fmla="*/ 45806 w 376627"/>
                <a:gd name="connsiteY0" fmla="*/ 35 h 476162"/>
                <a:gd name="connsiteX1" fmla="*/ 285518 w 376627"/>
                <a:gd name="connsiteY1" fmla="*/ 169897 h 476162"/>
                <a:gd name="connsiteX2" fmla="*/ 372553 w 376627"/>
                <a:gd name="connsiteY2" fmla="*/ 430222 h 476162"/>
                <a:gd name="connsiteX3" fmla="*/ 376627 w 376627"/>
                <a:gd name="connsiteY3" fmla="*/ 452804 h 476162"/>
                <a:gd name="connsiteX4" fmla="*/ 290985 w 376627"/>
                <a:gd name="connsiteY4" fmla="*/ 476162 h 476162"/>
                <a:gd name="connsiteX5" fmla="*/ 284588 w 376627"/>
                <a:gd name="connsiteY5" fmla="*/ 456556 h 476162"/>
                <a:gd name="connsiteX6" fmla="*/ 202969 w 376627"/>
                <a:gd name="connsiteY6" fmla="*/ 220698 h 476162"/>
                <a:gd name="connsiteX7" fmla="*/ 14057 w 376627"/>
                <a:gd name="connsiteY7" fmla="*/ 88935 h 476162"/>
                <a:gd name="connsiteX8" fmla="*/ 45806 w 376627"/>
                <a:gd name="connsiteY8" fmla="*/ 35 h 476162"/>
                <a:gd name="connsiteX0" fmla="*/ 45806 w 376627"/>
                <a:gd name="connsiteY0" fmla="*/ 35 h 476162"/>
                <a:gd name="connsiteX1" fmla="*/ 285518 w 376627"/>
                <a:gd name="connsiteY1" fmla="*/ 169897 h 476162"/>
                <a:gd name="connsiteX2" fmla="*/ 376627 w 376627"/>
                <a:gd name="connsiteY2" fmla="*/ 452804 h 476162"/>
                <a:gd name="connsiteX3" fmla="*/ 290985 w 376627"/>
                <a:gd name="connsiteY3" fmla="*/ 476162 h 476162"/>
                <a:gd name="connsiteX4" fmla="*/ 284588 w 376627"/>
                <a:gd name="connsiteY4" fmla="*/ 456556 h 476162"/>
                <a:gd name="connsiteX5" fmla="*/ 202969 w 376627"/>
                <a:gd name="connsiteY5" fmla="*/ 220698 h 476162"/>
                <a:gd name="connsiteX6" fmla="*/ 14057 w 376627"/>
                <a:gd name="connsiteY6" fmla="*/ 88935 h 476162"/>
                <a:gd name="connsiteX7" fmla="*/ 45806 w 376627"/>
                <a:gd name="connsiteY7" fmla="*/ 35 h 476162"/>
                <a:gd name="connsiteX0" fmla="*/ 45806 w 376627"/>
                <a:gd name="connsiteY0" fmla="*/ 35 h 476162"/>
                <a:gd name="connsiteX1" fmla="*/ 285518 w 376627"/>
                <a:gd name="connsiteY1" fmla="*/ 169897 h 476162"/>
                <a:gd name="connsiteX2" fmla="*/ 376627 w 376627"/>
                <a:gd name="connsiteY2" fmla="*/ 452804 h 476162"/>
                <a:gd name="connsiteX3" fmla="*/ 290985 w 376627"/>
                <a:gd name="connsiteY3" fmla="*/ 476162 h 476162"/>
                <a:gd name="connsiteX4" fmla="*/ 202969 w 376627"/>
                <a:gd name="connsiteY4" fmla="*/ 220698 h 476162"/>
                <a:gd name="connsiteX5" fmla="*/ 14057 w 376627"/>
                <a:gd name="connsiteY5" fmla="*/ 88935 h 476162"/>
                <a:gd name="connsiteX6" fmla="*/ 45806 w 376627"/>
                <a:gd name="connsiteY6" fmla="*/ 35 h 476162"/>
                <a:gd name="connsiteX0" fmla="*/ 45806 w 400440"/>
                <a:gd name="connsiteY0" fmla="*/ 35 h 493285"/>
                <a:gd name="connsiteX1" fmla="*/ 285518 w 400440"/>
                <a:gd name="connsiteY1" fmla="*/ 169897 h 493285"/>
                <a:gd name="connsiteX2" fmla="*/ 400440 w 400440"/>
                <a:gd name="connsiteY2" fmla="*/ 493285 h 493285"/>
                <a:gd name="connsiteX3" fmla="*/ 290985 w 400440"/>
                <a:gd name="connsiteY3" fmla="*/ 476162 h 493285"/>
                <a:gd name="connsiteX4" fmla="*/ 202969 w 400440"/>
                <a:gd name="connsiteY4" fmla="*/ 220698 h 493285"/>
                <a:gd name="connsiteX5" fmla="*/ 14057 w 400440"/>
                <a:gd name="connsiteY5" fmla="*/ 88935 h 493285"/>
                <a:gd name="connsiteX6" fmla="*/ 45806 w 400440"/>
                <a:gd name="connsiteY6" fmla="*/ 35 h 493285"/>
                <a:gd name="connsiteX0" fmla="*/ 45806 w 400440"/>
                <a:gd name="connsiteY0" fmla="*/ 35 h 521406"/>
                <a:gd name="connsiteX1" fmla="*/ 285518 w 400440"/>
                <a:gd name="connsiteY1" fmla="*/ 169897 h 521406"/>
                <a:gd name="connsiteX2" fmla="*/ 400440 w 400440"/>
                <a:gd name="connsiteY2" fmla="*/ 493285 h 521406"/>
                <a:gd name="connsiteX3" fmla="*/ 300510 w 400440"/>
                <a:gd name="connsiteY3" fmla="*/ 521406 h 521406"/>
                <a:gd name="connsiteX4" fmla="*/ 202969 w 400440"/>
                <a:gd name="connsiteY4" fmla="*/ 220698 h 521406"/>
                <a:gd name="connsiteX5" fmla="*/ 14057 w 400440"/>
                <a:gd name="connsiteY5" fmla="*/ 88935 h 521406"/>
                <a:gd name="connsiteX6" fmla="*/ 45806 w 400440"/>
                <a:gd name="connsiteY6" fmla="*/ 35 h 521406"/>
                <a:gd name="connsiteX0" fmla="*/ 45806 w 400440"/>
                <a:gd name="connsiteY0" fmla="*/ 35 h 521406"/>
                <a:gd name="connsiteX1" fmla="*/ 285518 w 400440"/>
                <a:gd name="connsiteY1" fmla="*/ 169897 h 521406"/>
                <a:gd name="connsiteX2" fmla="*/ 400440 w 400440"/>
                <a:gd name="connsiteY2" fmla="*/ 500429 h 521406"/>
                <a:gd name="connsiteX3" fmla="*/ 300510 w 400440"/>
                <a:gd name="connsiteY3" fmla="*/ 521406 h 521406"/>
                <a:gd name="connsiteX4" fmla="*/ 202969 w 400440"/>
                <a:gd name="connsiteY4" fmla="*/ 220698 h 521406"/>
                <a:gd name="connsiteX5" fmla="*/ 14057 w 400440"/>
                <a:gd name="connsiteY5" fmla="*/ 88935 h 521406"/>
                <a:gd name="connsiteX6" fmla="*/ 45806 w 400440"/>
                <a:gd name="connsiteY6" fmla="*/ 35 h 521406"/>
                <a:gd name="connsiteX0" fmla="*/ 44226 w 398860"/>
                <a:gd name="connsiteY0" fmla="*/ 34 h 521405"/>
                <a:gd name="connsiteX1" fmla="*/ 283938 w 398860"/>
                <a:gd name="connsiteY1" fmla="*/ 169896 h 521405"/>
                <a:gd name="connsiteX2" fmla="*/ 398860 w 398860"/>
                <a:gd name="connsiteY2" fmla="*/ 500428 h 521405"/>
                <a:gd name="connsiteX3" fmla="*/ 298930 w 398860"/>
                <a:gd name="connsiteY3" fmla="*/ 521405 h 521405"/>
                <a:gd name="connsiteX4" fmla="*/ 179958 w 398860"/>
                <a:gd name="connsiteY4" fmla="*/ 213553 h 521405"/>
                <a:gd name="connsiteX5" fmla="*/ 12477 w 398860"/>
                <a:gd name="connsiteY5" fmla="*/ 88934 h 521405"/>
                <a:gd name="connsiteX6" fmla="*/ 44226 w 398860"/>
                <a:gd name="connsiteY6" fmla="*/ 34 h 521405"/>
                <a:gd name="connsiteX0" fmla="*/ 53154 w 407788"/>
                <a:gd name="connsiteY0" fmla="*/ 1384 h 522755"/>
                <a:gd name="connsiteX1" fmla="*/ 292866 w 407788"/>
                <a:gd name="connsiteY1" fmla="*/ 171246 h 522755"/>
                <a:gd name="connsiteX2" fmla="*/ 407788 w 407788"/>
                <a:gd name="connsiteY2" fmla="*/ 501778 h 522755"/>
                <a:gd name="connsiteX3" fmla="*/ 307858 w 407788"/>
                <a:gd name="connsiteY3" fmla="*/ 522755 h 522755"/>
                <a:gd name="connsiteX4" fmla="*/ 188886 w 407788"/>
                <a:gd name="connsiteY4" fmla="*/ 214903 h 522755"/>
                <a:gd name="connsiteX5" fmla="*/ 9499 w 407788"/>
                <a:gd name="connsiteY5" fmla="*/ 97428 h 522755"/>
                <a:gd name="connsiteX6" fmla="*/ 53154 w 407788"/>
                <a:gd name="connsiteY6" fmla="*/ 1384 h 522755"/>
                <a:gd name="connsiteX0" fmla="*/ 52819 w 407453"/>
                <a:gd name="connsiteY0" fmla="*/ 818 h 522189"/>
                <a:gd name="connsiteX1" fmla="*/ 280624 w 407453"/>
                <a:gd name="connsiteY1" fmla="*/ 151630 h 522189"/>
                <a:gd name="connsiteX2" fmla="*/ 407453 w 407453"/>
                <a:gd name="connsiteY2" fmla="*/ 501212 h 522189"/>
                <a:gd name="connsiteX3" fmla="*/ 307523 w 407453"/>
                <a:gd name="connsiteY3" fmla="*/ 522189 h 522189"/>
                <a:gd name="connsiteX4" fmla="*/ 188551 w 407453"/>
                <a:gd name="connsiteY4" fmla="*/ 214337 h 522189"/>
                <a:gd name="connsiteX5" fmla="*/ 9164 w 407453"/>
                <a:gd name="connsiteY5" fmla="*/ 96862 h 522189"/>
                <a:gd name="connsiteX6" fmla="*/ 52819 w 407453"/>
                <a:gd name="connsiteY6" fmla="*/ 818 h 522189"/>
                <a:gd name="connsiteX0" fmla="*/ 54108 w 408742"/>
                <a:gd name="connsiteY0" fmla="*/ 47 h 521418"/>
                <a:gd name="connsiteX1" fmla="*/ 281913 w 408742"/>
                <a:gd name="connsiteY1" fmla="*/ 150859 h 521418"/>
                <a:gd name="connsiteX2" fmla="*/ 408742 w 408742"/>
                <a:gd name="connsiteY2" fmla="*/ 500441 h 521418"/>
                <a:gd name="connsiteX3" fmla="*/ 308812 w 408742"/>
                <a:gd name="connsiteY3" fmla="*/ 521418 h 521418"/>
                <a:gd name="connsiteX4" fmla="*/ 189840 w 408742"/>
                <a:gd name="connsiteY4" fmla="*/ 213566 h 521418"/>
                <a:gd name="connsiteX5" fmla="*/ 10453 w 408742"/>
                <a:gd name="connsiteY5" fmla="*/ 96091 h 521418"/>
                <a:gd name="connsiteX6" fmla="*/ 54108 w 408742"/>
                <a:gd name="connsiteY6" fmla="*/ 47 h 521418"/>
                <a:gd name="connsiteX0" fmla="*/ 52485 w 409464"/>
                <a:gd name="connsiteY0" fmla="*/ 43 h 526076"/>
                <a:gd name="connsiteX1" fmla="*/ 282635 w 409464"/>
                <a:gd name="connsiteY1" fmla="*/ 155517 h 526076"/>
                <a:gd name="connsiteX2" fmla="*/ 409464 w 409464"/>
                <a:gd name="connsiteY2" fmla="*/ 505099 h 526076"/>
                <a:gd name="connsiteX3" fmla="*/ 309534 w 409464"/>
                <a:gd name="connsiteY3" fmla="*/ 526076 h 526076"/>
                <a:gd name="connsiteX4" fmla="*/ 190562 w 409464"/>
                <a:gd name="connsiteY4" fmla="*/ 218224 h 526076"/>
                <a:gd name="connsiteX5" fmla="*/ 11175 w 409464"/>
                <a:gd name="connsiteY5" fmla="*/ 100749 h 526076"/>
                <a:gd name="connsiteX6" fmla="*/ 52485 w 409464"/>
                <a:gd name="connsiteY6" fmla="*/ 43 h 526076"/>
                <a:gd name="connsiteX0" fmla="*/ 52485 w 409464"/>
                <a:gd name="connsiteY0" fmla="*/ 43 h 519859"/>
                <a:gd name="connsiteX1" fmla="*/ 282635 w 409464"/>
                <a:gd name="connsiteY1" fmla="*/ 155517 h 519859"/>
                <a:gd name="connsiteX2" fmla="*/ 409464 w 409464"/>
                <a:gd name="connsiteY2" fmla="*/ 505099 h 519859"/>
                <a:gd name="connsiteX3" fmla="*/ 315787 w 409464"/>
                <a:gd name="connsiteY3" fmla="*/ 519859 h 519859"/>
                <a:gd name="connsiteX4" fmla="*/ 190562 w 409464"/>
                <a:gd name="connsiteY4" fmla="*/ 218224 h 519859"/>
                <a:gd name="connsiteX5" fmla="*/ 11175 w 409464"/>
                <a:gd name="connsiteY5" fmla="*/ 100749 h 519859"/>
                <a:gd name="connsiteX6" fmla="*/ 52485 w 409464"/>
                <a:gd name="connsiteY6" fmla="*/ 43 h 519859"/>
                <a:gd name="connsiteX0" fmla="*/ 50827 w 407806"/>
                <a:gd name="connsiteY0" fmla="*/ 838 h 520654"/>
                <a:gd name="connsiteX1" fmla="*/ 271597 w 407806"/>
                <a:gd name="connsiteY1" fmla="*/ 158644 h 520654"/>
                <a:gd name="connsiteX2" fmla="*/ 407806 w 407806"/>
                <a:gd name="connsiteY2" fmla="*/ 505894 h 520654"/>
                <a:gd name="connsiteX3" fmla="*/ 314129 w 407806"/>
                <a:gd name="connsiteY3" fmla="*/ 520654 h 520654"/>
                <a:gd name="connsiteX4" fmla="*/ 188904 w 407806"/>
                <a:gd name="connsiteY4" fmla="*/ 219019 h 520654"/>
                <a:gd name="connsiteX5" fmla="*/ 9517 w 407806"/>
                <a:gd name="connsiteY5" fmla="*/ 101544 h 520654"/>
                <a:gd name="connsiteX6" fmla="*/ 50827 w 407806"/>
                <a:gd name="connsiteY6" fmla="*/ 838 h 520654"/>
                <a:gd name="connsiteX0" fmla="*/ 51337 w 408316"/>
                <a:gd name="connsiteY0" fmla="*/ 831 h 520647"/>
                <a:gd name="connsiteX1" fmla="*/ 272107 w 408316"/>
                <a:gd name="connsiteY1" fmla="*/ 158637 h 520647"/>
                <a:gd name="connsiteX2" fmla="*/ 408316 w 408316"/>
                <a:gd name="connsiteY2" fmla="*/ 505887 h 520647"/>
                <a:gd name="connsiteX3" fmla="*/ 314639 w 408316"/>
                <a:gd name="connsiteY3" fmla="*/ 520647 h 520647"/>
                <a:gd name="connsiteX4" fmla="*/ 196448 w 408316"/>
                <a:gd name="connsiteY4" fmla="*/ 214350 h 520647"/>
                <a:gd name="connsiteX5" fmla="*/ 10027 w 408316"/>
                <a:gd name="connsiteY5" fmla="*/ 101537 h 520647"/>
                <a:gd name="connsiteX6" fmla="*/ 51337 w 408316"/>
                <a:gd name="connsiteY6" fmla="*/ 831 h 520647"/>
                <a:gd name="connsiteX0" fmla="*/ 44773 w 401752"/>
                <a:gd name="connsiteY0" fmla="*/ 919 h 520735"/>
                <a:gd name="connsiteX1" fmla="*/ 265543 w 401752"/>
                <a:gd name="connsiteY1" fmla="*/ 158725 h 520735"/>
                <a:gd name="connsiteX2" fmla="*/ 401752 w 401752"/>
                <a:gd name="connsiteY2" fmla="*/ 505975 h 520735"/>
                <a:gd name="connsiteX3" fmla="*/ 308075 w 401752"/>
                <a:gd name="connsiteY3" fmla="*/ 520735 h 520735"/>
                <a:gd name="connsiteX4" fmla="*/ 98437 w 401752"/>
                <a:gd name="connsiteY4" fmla="*/ 263398 h 520735"/>
                <a:gd name="connsiteX5" fmla="*/ 3463 w 401752"/>
                <a:gd name="connsiteY5" fmla="*/ 101625 h 520735"/>
                <a:gd name="connsiteX6" fmla="*/ 44773 w 401752"/>
                <a:gd name="connsiteY6" fmla="*/ 919 h 520735"/>
                <a:gd name="connsiteX0" fmla="*/ 43416 w 400395"/>
                <a:gd name="connsiteY0" fmla="*/ 3053 h 522869"/>
                <a:gd name="connsiteX1" fmla="*/ 179773 w 400395"/>
                <a:gd name="connsiteY1" fmla="*/ 219144 h 522869"/>
                <a:gd name="connsiteX2" fmla="*/ 400395 w 400395"/>
                <a:gd name="connsiteY2" fmla="*/ 508109 h 522869"/>
                <a:gd name="connsiteX3" fmla="*/ 306718 w 400395"/>
                <a:gd name="connsiteY3" fmla="*/ 522869 h 522869"/>
                <a:gd name="connsiteX4" fmla="*/ 97080 w 400395"/>
                <a:gd name="connsiteY4" fmla="*/ 265532 h 522869"/>
                <a:gd name="connsiteX5" fmla="*/ 2106 w 400395"/>
                <a:gd name="connsiteY5" fmla="*/ 103759 h 522869"/>
                <a:gd name="connsiteX6" fmla="*/ 43416 w 400395"/>
                <a:gd name="connsiteY6" fmla="*/ 3053 h 522869"/>
                <a:gd name="connsiteX0" fmla="*/ 42901 w 399880"/>
                <a:gd name="connsiteY0" fmla="*/ 3361 h 523177"/>
                <a:gd name="connsiteX1" fmla="*/ 179258 w 399880"/>
                <a:gd name="connsiteY1" fmla="*/ 219452 h 523177"/>
                <a:gd name="connsiteX2" fmla="*/ 399880 w 399880"/>
                <a:gd name="connsiteY2" fmla="*/ 508417 h 523177"/>
                <a:gd name="connsiteX3" fmla="*/ 306203 w 399880"/>
                <a:gd name="connsiteY3" fmla="*/ 523177 h 523177"/>
                <a:gd name="connsiteX4" fmla="*/ 87186 w 399880"/>
                <a:gd name="connsiteY4" fmla="*/ 319462 h 523177"/>
                <a:gd name="connsiteX5" fmla="*/ 1591 w 399880"/>
                <a:gd name="connsiteY5" fmla="*/ 104067 h 523177"/>
                <a:gd name="connsiteX6" fmla="*/ 42901 w 399880"/>
                <a:gd name="connsiteY6" fmla="*/ 3361 h 523177"/>
                <a:gd name="connsiteX0" fmla="*/ 42781 w 399760"/>
                <a:gd name="connsiteY0" fmla="*/ 5689 h 525505"/>
                <a:gd name="connsiteX1" fmla="*/ 165070 w 399760"/>
                <a:gd name="connsiteY1" fmla="*/ 268408 h 525505"/>
                <a:gd name="connsiteX2" fmla="*/ 399760 w 399760"/>
                <a:gd name="connsiteY2" fmla="*/ 510745 h 525505"/>
                <a:gd name="connsiteX3" fmla="*/ 306083 w 399760"/>
                <a:gd name="connsiteY3" fmla="*/ 525505 h 525505"/>
                <a:gd name="connsiteX4" fmla="*/ 87066 w 399760"/>
                <a:gd name="connsiteY4" fmla="*/ 321790 h 525505"/>
                <a:gd name="connsiteX5" fmla="*/ 1471 w 399760"/>
                <a:gd name="connsiteY5" fmla="*/ 106395 h 525505"/>
                <a:gd name="connsiteX6" fmla="*/ 42781 w 399760"/>
                <a:gd name="connsiteY6" fmla="*/ 5689 h 525505"/>
                <a:gd name="connsiteX0" fmla="*/ 53655 w 398910"/>
                <a:gd name="connsiteY0" fmla="*/ 6749 h 507913"/>
                <a:gd name="connsiteX1" fmla="*/ 164220 w 398910"/>
                <a:gd name="connsiteY1" fmla="*/ 250816 h 507913"/>
                <a:gd name="connsiteX2" fmla="*/ 398910 w 398910"/>
                <a:gd name="connsiteY2" fmla="*/ 493153 h 507913"/>
                <a:gd name="connsiteX3" fmla="*/ 305233 w 398910"/>
                <a:gd name="connsiteY3" fmla="*/ 507913 h 507913"/>
                <a:gd name="connsiteX4" fmla="*/ 86216 w 398910"/>
                <a:gd name="connsiteY4" fmla="*/ 304198 h 507913"/>
                <a:gd name="connsiteX5" fmla="*/ 621 w 398910"/>
                <a:gd name="connsiteY5" fmla="*/ 88803 h 507913"/>
                <a:gd name="connsiteX6" fmla="*/ 53655 w 398910"/>
                <a:gd name="connsiteY6" fmla="*/ 6749 h 507913"/>
                <a:gd name="connsiteX0" fmla="*/ 62680 w 398556"/>
                <a:gd name="connsiteY0" fmla="*/ 6046 h 518867"/>
                <a:gd name="connsiteX1" fmla="*/ 163866 w 398556"/>
                <a:gd name="connsiteY1" fmla="*/ 261770 h 518867"/>
                <a:gd name="connsiteX2" fmla="*/ 398556 w 398556"/>
                <a:gd name="connsiteY2" fmla="*/ 504107 h 518867"/>
                <a:gd name="connsiteX3" fmla="*/ 304879 w 398556"/>
                <a:gd name="connsiteY3" fmla="*/ 518867 h 518867"/>
                <a:gd name="connsiteX4" fmla="*/ 85862 w 398556"/>
                <a:gd name="connsiteY4" fmla="*/ 315152 h 518867"/>
                <a:gd name="connsiteX5" fmla="*/ 267 w 398556"/>
                <a:gd name="connsiteY5" fmla="*/ 99757 h 518867"/>
                <a:gd name="connsiteX6" fmla="*/ 62680 w 398556"/>
                <a:gd name="connsiteY6" fmla="*/ 6046 h 518867"/>
                <a:gd name="connsiteX0" fmla="*/ 62681 w 398557"/>
                <a:gd name="connsiteY0" fmla="*/ 6175 h 518996"/>
                <a:gd name="connsiteX1" fmla="*/ 166211 w 398557"/>
                <a:gd name="connsiteY1" fmla="*/ 264230 h 518996"/>
                <a:gd name="connsiteX2" fmla="*/ 398557 w 398557"/>
                <a:gd name="connsiteY2" fmla="*/ 504236 h 518996"/>
                <a:gd name="connsiteX3" fmla="*/ 304880 w 398557"/>
                <a:gd name="connsiteY3" fmla="*/ 518996 h 518996"/>
                <a:gd name="connsiteX4" fmla="*/ 85863 w 398557"/>
                <a:gd name="connsiteY4" fmla="*/ 315281 h 518996"/>
                <a:gd name="connsiteX5" fmla="*/ 268 w 398557"/>
                <a:gd name="connsiteY5" fmla="*/ 99886 h 518996"/>
                <a:gd name="connsiteX6" fmla="*/ 62681 w 398557"/>
                <a:gd name="connsiteY6" fmla="*/ 6175 h 5189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8557" h="518996">
                  <a:moveTo>
                    <a:pt x="62681" y="6175"/>
                  </a:moveTo>
                  <a:cubicBezTo>
                    <a:pt x="90338" y="33566"/>
                    <a:pt x="110232" y="181220"/>
                    <a:pt x="166211" y="264230"/>
                  </a:cubicBezTo>
                  <a:cubicBezTo>
                    <a:pt x="222190" y="347240"/>
                    <a:pt x="397646" y="453192"/>
                    <a:pt x="398557" y="504236"/>
                  </a:cubicBezTo>
                  <a:lnTo>
                    <a:pt x="304880" y="518996"/>
                  </a:lnTo>
                  <a:lnTo>
                    <a:pt x="85863" y="315281"/>
                  </a:lnTo>
                  <a:cubicBezTo>
                    <a:pt x="37444" y="231938"/>
                    <a:pt x="4132" y="151404"/>
                    <a:pt x="268" y="99886"/>
                  </a:cubicBezTo>
                  <a:cubicBezTo>
                    <a:pt x="-3596" y="48368"/>
                    <a:pt x="35024" y="-21216"/>
                    <a:pt x="62681" y="6175"/>
                  </a:cubicBezTo>
                  <a:close/>
                </a:path>
              </a:pathLst>
            </a:custGeom>
            <a:solidFill>
              <a:srgbClr val="FEA830"/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183" name="Group 182"/>
            <p:cNvGrpSpPr/>
            <p:nvPr/>
          </p:nvGrpSpPr>
          <p:grpSpPr>
            <a:xfrm>
              <a:off x="5206007" y="4276763"/>
              <a:ext cx="285878" cy="509052"/>
              <a:chOff x="6244312" y="5040294"/>
              <a:chExt cx="285878" cy="509052"/>
            </a:xfrm>
          </p:grpSpPr>
          <p:sp>
            <p:nvSpPr>
              <p:cNvPr id="207" name="Rounded Rectangle 206"/>
              <p:cNvSpPr/>
              <p:nvPr/>
            </p:nvSpPr>
            <p:spPr bwMode="auto">
              <a:xfrm>
                <a:off x="6244312" y="5040294"/>
                <a:ext cx="283418" cy="509052"/>
              </a:xfrm>
              <a:prstGeom prst="roundRect">
                <a:avLst>
                  <a:gd name="adj" fmla="val 4692"/>
                </a:avLst>
              </a:prstGeom>
              <a:solidFill>
                <a:sysClr val="window" lastClr="FFFFFF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208" name="Group 207"/>
              <p:cNvGrpSpPr/>
              <p:nvPr/>
            </p:nvGrpSpPr>
            <p:grpSpPr>
              <a:xfrm>
                <a:off x="6245822" y="5040295"/>
                <a:ext cx="284368" cy="482006"/>
                <a:chOff x="6177779" y="4924960"/>
                <a:chExt cx="420453" cy="712675"/>
              </a:xfrm>
            </p:grpSpPr>
            <p:sp>
              <p:nvSpPr>
                <p:cNvPr id="209" name="Rectangle 79"/>
                <p:cNvSpPr/>
                <p:nvPr/>
              </p:nvSpPr>
              <p:spPr>
                <a:xfrm>
                  <a:off x="6177779" y="4924960"/>
                  <a:ext cx="420453" cy="7126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07298" h="2385394">
                      <a:moveTo>
                        <a:pt x="703650" y="2179220"/>
                      </a:moveTo>
                      <a:cubicBezTo>
                        <a:pt x="660028" y="2179220"/>
                        <a:pt x="624666" y="2214582"/>
                        <a:pt x="624666" y="2258204"/>
                      </a:cubicBezTo>
                      <a:cubicBezTo>
                        <a:pt x="624666" y="2301826"/>
                        <a:pt x="660028" y="2337188"/>
                        <a:pt x="703650" y="2337188"/>
                      </a:cubicBezTo>
                      <a:cubicBezTo>
                        <a:pt x="747272" y="2337188"/>
                        <a:pt x="782634" y="2301826"/>
                        <a:pt x="782634" y="2258204"/>
                      </a:cubicBezTo>
                      <a:cubicBezTo>
                        <a:pt x="782634" y="2214582"/>
                        <a:pt x="747272" y="2179220"/>
                        <a:pt x="703650" y="2179220"/>
                      </a:cubicBezTo>
                      <a:close/>
                      <a:moveTo>
                        <a:pt x="177553" y="179867"/>
                      </a:moveTo>
                      <a:lnTo>
                        <a:pt x="172551" y="180877"/>
                      </a:lnTo>
                      <a:lnTo>
                        <a:pt x="165667" y="180877"/>
                      </a:lnTo>
                      <a:cubicBezTo>
                        <a:pt x="144630" y="180877"/>
                        <a:pt x="127577" y="197930"/>
                        <a:pt x="127577" y="218967"/>
                      </a:cubicBezTo>
                      <a:lnTo>
                        <a:pt x="127577" y="2097793"/>
                      </a:lnTo>
                      <a:cubicBezTo>
                        <a:pt x="127577" y="2118830"/>
                        <a:pt x="144630" y="2135883"/>
                        <a:pt x="165667" y="2135883"/>
                      </a:cubicBezTo>
                      <a:lnTo>
                        <a:pt x="1241631" y="2135883"/>
                      </a:lnTo>
                      <a:cubicBezTo>
                        <a:pt x="1262668" y="2135883"/>
                        <a:pt x="1279721" y="2118830"/>
                        <a:pt x="1279721" y="2097793"/>
                      </a:cubicBezTo>
                      <a:lnTo>
                        <a:pt x="1279721" y="218967"/>
                      </a:lnTo>
                      <a:cubicBezTo>
                        <a:pt x="1279721" y="197930"/>
                        <a:pt x="1262668" y="180877"/>
                        <a:pt x="1241631" y="180877"/>
                      </a:cubicBezTo>
                      <a:lnTo>
                        <a:pt x="1234749" y="180877"/>
                      </a:lnTo>
                      <a:cubicBezTo>
                        <a:pt x="1233161" y="179963"/>
                        <a:pt x="1231465" y="179867"/>
                        <a:pt x="1229746" y="179867"/>
                      </a:cubicBezTo>
                      <a:close/>
                      <a:moveTo>
                        <a:pt x="602415" y="56498"/>
                      </a:moveTo>
                      <a:cubicBezTo>
                        <a:pt x="588290" y="56498"/>
                        <a:pt x="576839" y="67949"/>
                        <a:pt x="576839" y="82074"/>
                      </a:cubicBezTo>
                      <a:cubicBezTo>
                        <a:pt x="576839" y="96199"/>
                        <a:pt x="588290" y="107650"/>
                        <a:pt x="602415" y="107650"/>
                      </a:cubicBezTo>
                      <a:lnTo>
                        <a:pt x="804884" y="107650"/>
                      </a:lnTo>
                      <a:cubicBezTo>
                        <a:pt x="819009" y="107650"/>
                        <a:pt x="830460" y="96199"/>
                        <a:pt x="830460" y="82074"/>
                      </a:cubicBezTo>
                      <a:cubicBezTo>
                        <a:pt x="830460" y="67949"/>
                        <a:pt x="819009" y="56498"/>
                        <a:pt x="804884" y="56498"/>
                      </a:cubicBezTo>
                      <a:close/>
                      <a:moveTo>
                        <a:pt x="76685" y="0"/>
                      </a:moveTo>
                      <a:lnTo>
                        <a:pt x="1330614" y="0"/>
                      </a:lnTo>
                      <a:cubicBezTo>
                        <a:pt x="1372966" y="0"/>
                        <a:pt x="1407298" y="34333"/>
                        <a:pt x="1407298" y="76684"/>
                      </a:cubicBezTo>
                      <a:lnTo>
                        <a:pt x="1407298" y="1757263"/>
                      </a:lnTo>
                      <a:lnTo>
                        <a:pt x="1407298" y="1766789"/>
                      </a:lnTo>
                      <a:lnTo>
                        <a:pt x="1407298" y="2308710"/>
                      </a:lnTo>
                      <a:cubicBezTo>
                        <a:pt x="1407298" y="2351061"/>
                        <a:pt x="1372966" y="2385394"/>
                        <a:pt x="1330614" y="2385394"/>
                      </a:cubicBezTo>
                      <a:lnTo>
                        <a:pt x="76685" y="2385394"/>
                      </a:lnTo>
                      <a:cubicBezTo>
                        <a:pt x="34333" y="2385394"/>
                        <a:pt x="0" y="2351061"/>
                        <a:pt x="0" y="2308710"/>
                      </a:cubicBezTo>
                      <a:lnTo>
                        <a:pt x="0" y="1766789"/>
                      </a:lnTo>
                      <a:lnTo>
                        <a:pt x="0" y="1757263"/>
                      </a:lnTo>
                      <a:lnTo>
                        <a:pt x="0" y="76684"/>
                      </a:lnTo>
                      <a:cubicBezTo>
                        <a:pt x="0" y="34333"/>
                        <a:pt x="34333" y="0"/>
                        <a:pt x="76685" y="0"/>
                      </a:cubicBezTo>
                      <a:close/>
                    </a:path>
                  </a:pathLst>
                </a:custGeom>
                <a:solidFill>
                  <a:srgbClr val="AB0086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31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grpSp>
              <p:nvGrpSpPr>
                <p:cNvPr id="210" name="Group 209"/>
                <p:cNvGrpSpPr/>
                <p:nvPr/>
              </p:nvGrpSpPr>
              <p:grpSpPr>
                <a:xfrm>
                  <a:off x="6281208" y="5011428"/>
                  <a:ext cx="209626" cy="209627"/>
                  <a:chOff x="6281208" y="5011428"/>
                  <a:chExt cx="209626" cy="209627"/>
                </a:xfrm>
              </p:grpSpPr>
              <p:sp>
                <p:nvSpPr>
                  <p:cNvPr id="219" name="Oval 218"/>
                  <p:cNvSpPr/>
                  <p:nvPr/>
                </p:nvSpPr>
                <p:spPr bwMode="auto">
                  <a:xfrm>
                    <a:off x="6281208" y="5011428"/>
                    <a:ext cx="209626" cy="209627"/>
                  </a:xfrm>
                  <a:prstGeom prst="ellipse">
                    <a:avLst/>
                  </a:prstGeom>
                  <a:solidFill>
                    <a:srgbClr val="FEA830"/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>
                    <a:outerShdw dist="50800" dir="2700000" sx="90000" sy="90000" algn="tl" rotWithShape="0">
                      <a:srgbClr val="3F3F3F">
                        <a:lumMod val="50000"/>
                        <a:alpha val="30000"/>
                      </a:srgbClr>
                    </a:outerShdw>
                  </a:effectLst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0" cap="none" spc="0" normalizeH="0" baseline="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220" name="Freeform 219"/>
                  <p:cNvSpPr>
                    <a:spLocks noEditPoints="1"/>
                  </p:cNvSpPr>
                  <p:nvPr/>
                </p:nvSpPr>
                <p:spPr bwMode="black">
                  <a:xfrm>
                    <a:off x="6323929" y="5054150"/>
                    <a:ext cx="124185" cy="124184"/>
                  </a:xfrm>
                  <a:custGeom>
                    <a:avLst/>
                    <a:gdLst>
                      <a:gd name="T0" fmla="*/ 47 w 66"/>
                      <a:gd name="T1" fmla="*/ 37 h 66"/>
                      <a:gd name="T2" fmla="*/ 51 w 66"/>
                      <a:gd name="T3" fmla="*/ 33 h 66"/>
                      <a:gd name="T4" fmla="*/ 47 w 66"/>
                      <a:gd name="T5" fmla="*/ 29 h 66"/>
                      <a:gd name="T6" fmla="*/ 37 w 66"/>
                      <a:gd name="T7" fmla="*/ 29 h 66"/>
                      <a:gd name="T8" fmla="*/ 37 w 66"/>
                      <a:gd name="T9" fmla="*/ 16 h 66"/>
                      <a:gd name="T10" fmla="*/ 33 w 66"/>
                      <a:gd name="T11" fmla="*/ 13 h 66"/>
                      <a:gd name="T12" fmla="*/ 29 w 66"/>
                      <a:gd name="T13" fmla="*/ 16 h 66"/>
                      <a:gd name="T14" fmla="*/ 29 w 66"/>
                      <a:gd name="T15" fmla="*/ 33 h 66"/>
                      <a:gd name="T16" fmla="*/ 33 w 66"/>
                      <a:gd name="T17" fmla="*/ 37 h 66"/>
                      <a:gd name="T18" fmla="*/ 47 w 66"/>
                      <a:gd name="T19" fmla="*/ 37 h 66"/>
                      <a:gd name="T20" fmla="*/ 33 w 66"/>
                      <a:gd name="T21" fmla="*/ 8 h 66"/>
                      <a:gd name="T22" fmla="*/ 58 w 66"/>
                      <a:gd name="T23" fmla="*/ 33 h 66"/>
                      <a:gd name="T24" fmla="*/ 33 w 66"/>
                      <a:gd name="T25" fmla="*/ 58 h 66"/>
                      <a:gd name="T26" fmla="*/ 8 w 66"/>
                      <a:gd name="T27" fmla="*/ 33 h 66"/>
                      <a:gd name="T28" fmla="*/ 33 w 66"/>
                      <a:gd name="T29" fmla="*/ 8 h 66"/>
                      <a:gd name="T30" fmla="*/ 33 w 66"/>
                      <a:gd name="T31" fmla="*/ 66 h 66"/>
                      <a:gd name="T32" fmla="*/ 66 w 66"/>
                      <a:gd name="T33" fmla="*/ 33 h 66"/>
                      <a:gd name="T34" fmla="*/ 33 w 66"/>
                      <a:gd name="T35" fmla="*/ 0 h 66"/>
                      <a:gd name="T36" fmla="*/ 0 w 66"/>
                      <a:gd name="T37" fmla="*/ 33 h 66"/>
                      <a:gd name="T38" fmla="*/ 33 w 66"/>
                      <a:gd name="T39" fmla="*/ 66 h 6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66" h="66">
                        <a:moveTo>
                          <a:pt x="47" y="37"/>
                        </a:moveTo>
                        <a:cubicBezTo>
                          <a:pt x="49" y="37"/>
                          <a:pt x="51" y="35"/>
                          <a:pt x="51" y="33"/>
                        </a:cubicBezTo>
                        <a:cubicBezTo>
                          <a:pt x="51" y="31"/>
                          <a:pt x="49" y="29"/>
                          <a:pt x="47" y="29"/>
                        </a:cubicBezTo>
                        <a:cubicBezTo>
                          <a:pt x="37" y="29"/>
                          <a:pt x="37" y="29"/>
                          <a:pt x="37" y="29"/>
                        </a:cubicBezTo>
                        <a:cubicBezTo>
                          <a:pt x="37" y="16"/>
                          <a:pt x="37" y="16"/>
                          <a:pt x="37" y="16"/>
                        </a:cubicBezTo>
                        <a:cubicBezTo>
                          <a:pt x="37" y="14"/>
                          <a:pt x="35" y="13"/>
                          <a:pt x="33" y="13"/>
                        </a:cubicBezTo>
                        <a:cubicBezTo>
                          <a:pt x="31" y="13"/>
                          <a:pt x="29" y="14"/>
                          <a:pt x="29" y="16"/>
                        </a:cubicBezTo>
                        <a:cubicBezTo>
                          <a:pt x="29" y="33"/>
                          <a:pt x="29" y="33"/>
                          <a:pt x="29" y="33"/>
                        </a:cubicBezTo>
                        <a:cubicBezTo>
                          <a:pt x="29" y="35"/>
                          <a:pt x="31" y="37"/>
                          <a:pt x="33" y="37"/>
                        </a:cubicBezTo>
                        <a:lnTo>
                          <a:pt x="47" y="37"/>
                        </a:lnTo>
                        <a:close/>
                        <a:moveTo>
                          <a:pt x="33" y="8"/>
                        </a:moveTo>
                        <a:cubicBezTo>
                          <a:pt x="47" y="8"/>
                          <a:pt x="58" y="19"/>
                          <a:pt x="58" y="33"/>
                        </a:cubicBezTo>
                        <a:cubicBezTo>
                          <a:pt x="58" y="47"/>
                          <a:pt x="47" y="58"/>
                          <a:pt x="33" y="58"/>
                        </a:cubicBezTo>
                        <a:cubicBezTo>
                          <a:pt x="19" y="58"/>
                          <a:pt x="8" y="47"/>
                          <a:pt x="8" y="33"/>
                        </a:cubicBezTo>
                        <a:cubicBezTo>
                          <a:pt x="8" y="19"/>
                          <a:pt x="19" y="8"/>
                          <a:pt x="33" y="8"/>
                        </a:cubicBezTo>
                        <a:moveTo>
                          <a:pt x="33" y="66"/>
                        </a:moveTo>
                        <a:cubicBezTo>
                          <a:pt x="51" y="66"/>
                          <a:pt x="66" y="51"/>
                          <a:pt x="66" y="33"/>
                        </a:cubicBezTo>
                        <a:cubicBezTo>
                          <a:pt x="66" y="15"/>
                          <a:pt x="51" y="0"/>
                          <a:pt x="33" y="0"/>
                        </a:cubicBezTo>
                        <a:cubicBezTo>
                          <a:pt x="15" y="0"/>
                          <a:pt x="0" y="15"/>
                          <a:pt x="0" y="33"/>
                        </a:cubicBezTo>
                        <a:cubicBezTo>
                          <a:pt x="0" y="51"/>
                          <a:pt x="15" y="66"/>
                          <a:pt x="33" y="66"/>
                        </a:cubicBezTo>
                      </a:path>
                    </a:pathLst>
                  </a:custGeom>
                  <a:solidFill>
                    <a:sysClr val="window" lastClr="FFFFFF"/>
                  </a:solidFill>
                  <a:ln>
                    <a:noFill/>
                  </a:ln>
                  <a:extLst/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defTabSz="932316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36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  <p:grpSp>
              <p:nvGrpSpPr>
                <p:cNvPr id="211" name="Group 210"/>
                <p:cNvGrpSpPr/>
                <p:nvPr/>
              </p:nvGrpSpPr>
              <p:grpSpPr>
                <a:xfrm>
                  <a:off x="6281208" y="5301290"/>
                  <a:ext cx="209626" cy="209627"/>
                  <a:chOff x="10811580" y="2714625"/>
                  <a:chExt cx="527050" cy="527050"/>
                </a:xfrm>
              </p:grpSpPr>
              <p:sp>
                <p:nvSpPr>
                  <p:cNvPr id="212" name="Oval 211"/>
                  <p:cNvSpPr/>
                  <p:nvPr/>
                </p:nvSpPr>
                <p:spPr bwMode="auto">
                  <a:xfrm>
                    <a:off x="10811580" y="2714625"/>
                    <a:ext cx="527050" cy="527050"/>
                  </a:xfrm>
                  <a:prstGeom prst="ellipse">
                    <a:avLst/>
                  </a:prstGeom>
                  <a:solidFill>
                    <a:srgbClr val="ADD40D"/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>
                    <a:outerShdw dist="50800" dir="2700000" sx="90000" sy="90000" algn="tl" rotWithShape="0">
                      <a:srgbClr val="3F3F3F">
                        <a:lumMod val="50000"/>
                        <a:alpha val="30000"/>
                      </a:srgbClr>
                    </a:outerShdw>
                  </a:effectLst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0" cap="none" spc="0" normalizeH="0" baseline="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grpSp>
                <p:nvGrpSpPr>
                  <p:cNvPr id="213" name="Group 212"/>
                  <p:cNvGrpSpPr/>
                  <p:nvPr/>
                </p:nvGrpSpPr>
                <p:grpSpPr bwMode="black">
                  <a:xfrm>
                    <a:off x="10885015" y="2860260"/>
                    <a:ext cx="380201" cy="235780"/>
                    <a:chOff x="10387012" y="4103350"/>
                    <a:chExt cx="995920" cy="725626"/>
                  </a:xfrm>
                  <a:solidFill>
                    <a:sysClr val="window" lastClr="FFFFFF"/>
                  </a:solidFill>
                </p:grpSpPr>
                <p:sp>
                  <p:nvSpPr>
                    <p:cNvPr id="214" name="Freeform 213"/>
                    <p:cNvSpPr>
                      <a:spLocks/>
                    </p:cNvSpPr>
                    <p:nvPr/>
                  </p:nvSpPr>
                  <p:spPr bwMode="black">
                    <a:xfrm>
                      <a:off x="10506081" y="4218399"/>
                      <a:ext cx="706438" cy="599679"/>
                    </a:xfrm>
                    <a:custGeom>
                      <a:avLst/>
                      <a:gdLst>
                        <a:gd name="T0" fmla="*/ 183 w 188"/>
                        <a:gd name="T1" fmla="*/ 84 h 137"/>
                        <a:gd name="T2" fmla="*/ 104 w 188"/>
                        <a:gd name="T3" fmla="*/ 27 h 137"/>
                        <a:gd name="T4" fmla="*/ 86 w 188"/>
                        <a:gd name="T5" fmla="*/ 19 h 137"/>
                        <a:gd name="T6" fmla="*/ 59 w 188"/>
                        <a:gd name="T7" fmla="*/ 34 h 137"/>
                        <a:gd name="T8" fmla="*/ 56 w 188"/>
                        <a:gd name="T9" fmla="*/ 36 h 137"/>
                        <a:gd name="T10" fmla="*/ 43 w 188"/>
                        <a:gd name="T11" fmla="*/ 38 h 137"/>
                        <a:gd name="T12" fmla="*/ 43 w 188"/>
                        <a:gd name="T13" fmla="*/ 38 h 137"/>
                        <a:gd name="T14" fmla="*/ 26 w 188"/>
                        <a:gd name="T15" fmla="*/ 27 h 137"/>
                        <a:gd name="T16" fmla="*/ 24 w 188"/>
                        <a:gd name="T17" fmla="*/ 14 h 137"/>
                        <a:gd name="T18" fmla="*/ 31 w 188"/>
                        <a:gd name="T19" fmla="*/ 0 h 137"/>
                        <a:gd name="T20" fmla="*/ 21 w 188"/>
                        <a:gd name="T21" fmla="*/ 0 h 137"/>
                        <a:gd name="T22" fmla="*/ 1 w 188"/>
                        <a:gd name="T23" fmla="*/ 79 h 137"/>
                        <a:gd name="T24" fmla="*/ 4 w 188"/>
                        <a:gd name="T25" fmla="*/ 80 h 137"/>
                        <a:gd name="T26" fmla="*/ 16 w 188"/>
                        <a:gd name="T27" fmla="*/ 70 h 137"/>
                        <a:gd name="T28" fmla="*/ 22 w 188"/>
                        <a:gd name="T29" fmla="*/ 70 h 137"/>
                        <a:gd name="T30" fmla="*/ 32 w 188"/>
                        <a:gd name="T31" fmla="*/ 74 h 137"/>
                        <a:gd name="T32" fmla="*/ 43 w 188"/>
                        <a:gd name="T33" fmla="*/ 72 h 137"/>
                        <a:gd name="T34" fmla="*/ 44 w 188"/>
                        <a:gd name="T35" fmla="*/ 72 h 137"/>
                        <a:gd name="T36" fmla="*/ 53 w 188"/>
                        <a:gd name="T37" fmla="*/ 76 h 137"/>
                        <a:gd name="T38" fmla="*/ 65 w 188"/>
                        <a:gd name="T39" fmla="*/ 74 h 137"/>
                        <a:gd name="T40" fmla="*/ 67 w 188"/>
                        <a:gd name="T41" fmla="*/ 74 h 137"/>
                        <a:gd name="T42" fmla="*/ 80 w 188"/>
                        <a:gd name="T43" fmla="*/ 88 h 137"/>
                        <a:gd name="T44" fmla="*/ 83 w 188"/>
                        <a:gd name="T45" fmla="*/ 88 h 137"/>
                        <a:gd name="T46" fmla="*/ 85 w 188"/>
                        <a:gd name="T47" fmla="*/ 89 h 137"/>
                        <a:gd name="T48" fmla="*/ 99 w 188"/>
                        <a:gd name="T49" fmla="*/ 108 h 137"/>
                        <a:gd name="T50" fmla="*/ 99 w 188"/>
                        <a:gd name="T51" fmla="*/ 110 h 137"/>
                        <a:gd name="T52" fmla="*/ 96 w 188"/>
                        <a:gd name="T53" fmla="*/ 124 h 137"/>
                        <a:gd name="T54" fmla="*/ 114 w 188"/>
                        <a:gd name="T55" fmla="*/ 137 h 137"/>
                        <a:gd name="T56" fmla="*/ 123 w 188"/>
                        <a:gd name="T57" fmla="*/ 132 h 137"/>
                        <a:gd name="T58" fmla="*/ 124 w 188"/>
                        <a:gd name="T59" fmla="*/ 124 h 137"/>
                        <a:gd name="T60" fmla="*/ 108 w 188"/>
                        <a:gd name="T61" fmla="*/ 112 h 137"/>
                        <a:gd name="T62" fmla="*/ 107 w 188"/>
                        <a:gd name="T63" fmla="*/ 109 h 137"/>
                        <a:gd name="T64" fmla="*/ 110 w 188"/>
                        <a:gd name="T65" fmla="*/ 109 h 137"/>
                        <a:gd name="T66" fmla="*/ 136 w 188"/>
                        <a:gd name="T67" fmla="*/ 127 h 137"/>
                        <a:gd name="T68" fmla="*/ 145 w 188"/>
                        <a:gd name="T69" fmla="*/ 123 h 137"/>
                        <a:gd name="T70" fmla="*/ 147 w 188"/>
                        <a:gd name="T71" fmla="*/ 114 h 137"/>
                        <a:gd name="T72" fmla="*/ 117 w 188"/>
                        <a:gd name="T73" fmla="*/ 93 h 137"/>
                        <a:gd name="T74" fmla="*/ 117 w 188"/>
                        <a:gd name="T75" fmla="*/ 90 h 137"/>
                        <a:gd name="T76" fmla="*/ 120 w 188"/>
                        <a:gd name="T77" fmla="*/ 89 h 137"/>
                        <a:gd name="T78" fmla="*/ 156 w 188"/>
                        <a:gd name="T79" fmla="*/ 116 h 137"/>
                        <a:gd name="T80" fmla="*/ 165 w 188"/>
                        <a:gd name="T81" fmla="*/ 111 h 137"/>
                        <a:gd name="T82" fmla="*/ 167 w 188"/>
                        <a:gd name="T83" fmla="*/ 102 h 137"/>
                        <a:gd name="T84" fmla="*/ 137 w 188"/>
                        <a:gd name="T85" fmla="*/ 81 h 137"/>
                        <a:gd name="T86" fmla="*/ 136 w 188"/>
                        <a:gd name="T87" fmla="*/ 78 h 137"/>
                        <a:gd name="T88" fmla="*/ 139 w 188"/>
                        <a:gd name="T89" fmla="*/ 77 h 137"/>
                        <a:gd name="T90" fmla="*/ 176 w 188"/>
                        <a:gd name="T91" fmla="*/ 104 h 137"/>
                        <a:gd name="T92" fmla="*/ 185 w 188"/>
                        <a:gd name="T93" fmla="*/ 99 h 137"/>
                        <a:gd name="T94" fmla="*/ 183 w 188"/>
                        <a:gd name="T95" fmla="*/ 84 h 13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</a:cxnLst>
                      <a:rect l="0" t="0" r="r" b="b"/>
                      <a:pathLst>
                        <a:path w="188" h="137">
                          <a:moveTo>
                            <a:pt x="183" y="84"/>
                          </a:moveTo>
                          <a:cubicBezTo>
                            <a:pt x="104" y="27"/>
                            <a:pt x="104" y="27"/>
                            <a:pt x="104" y="27"/>
                          </a:cubicBezTo>
                          <a:cubicBezTo>
                            <a:pt x="86" y="19"/>
                            <a:pt x="86" y="19"/>
                            <a:pt x="86" y="19"/>
                          </a:cubicBezTo>
                          <a:cubicBezTo>
                            <a:pt x="59" y="34"/>
                            <a:pt x="59" y="34"/>
                            <a:pt x="59" y="34"/>
                          </a:cubicBezTo>
                          <a:cubicBezTo>
                            <a:pt x="56" y="36"/>
                            <a:pt x="56" y="36"/>
                            <a:pt x="56" y="36"/>
                          </a:cubicBezTo>
                          <a:cubicBezTo>
                            <a:pt x="52" y="38"/>
                            <a:pt x="47" y="39"/>
                            <a:pt x="43" y="38"/>
                          </a:cubicBezTo>
                          <a:cubicBezTo>
                            <a:pt x="43" y="38"/>
                            <a:pt x="43" y="38"/>
                            <a:pt x="43" y="38"/>
                          </a:cubicBezTo>
                          <a:cubicBezTo>
                            <a:pt x="36" y="38"/>
                            <a:pt x="30" y="34"/>
                            <a:pt x="26" y="27"/>
                          </a:cubicBezTo>
                          <a:cubicBezTo>
                            <a:pt x="24" y="23"/>
                            <a:pt x="23" y="19"/>
                            <a:pt x="24" y="14"/>
                          </a:cubicBezTo>
                          <a:cubicBezTo>
                            <a:pt x="24" y="9"/>
                            <a:pt x="27" y="4"/>
                            <a:pt x="31" y="0"/>
                          </a:cubicBezTo>
                          <a:cubicBezTo>
                            <a:pt x="25" y="0"/>
                            <a:pt x="21" y="0"/>
                            <a:pt x="21" y="0"/>
                          </a:cubicBezTo>
                          <a:cubicBezTo>
                            <a:pt x="21" y="0"/>
                            <a:pt x="0" y="40"/>
                            <a:pt x="1" y="79"/>
                          </a:cubicBezTo>
                          <a:cubicBezTo>
                            <a:pt x="4" y="80"/>
                            <a:pt x="4" y="80"/>
                            <a:pt x="4" y="80"/>
                          </a:cubicBezTo>
                          <a:cubicBezTo>
                            <a:pt x="6" y="75"/>
                            <a:pt x="10" y="72"/>
                            <a:pt x="16" y="70"/>
                          </a:cubicBezTo>
                          <a:cubicBezTo>
                            <a:pt x="18" y="70"/>
                            <a:pt x="20" y="70"/>
                            <a:pt x="22" y="70"/>
                          </a:cubicBezTo>
                          <a:cubicBezTo>
                            <a:pt x="25" y="70"/>
                            <a:pt x="29" y="72"/>
                            <a:pt x="32" y="74"/>
                          </a:cubicBezTo>
                          <a:cubicBezTo>
                            <a:pt x="35" y="72"/>
                            <a:pt x="39" y="71"/>
                            <a:pt x="43" y="72"/>
                          </a:cubicBezTo>
                          <a:cubicBezTo>
                            <a:pt x="43" y="72"/>
                            <a:pt x="44" y="72"/>
                            <a:pt x="44" y="72"/>
                          </a:cubicBezTo>
                          <a:cubicBezTo>
                            <a:pt x="48" y="72"/>
                            <a:pt x="51" y="74"/>
                            <a:pt x="53" y="76"/>
                          </a:cubicBezTo>
                          <a:cubicBezTo>
                            <a:pt x="56" y="74"/>
                            <a:pt x="60" y="73"/>
                            <a:pt x="65" y="74"/>
                          </a:cubicBezTo>
                          <a:cubicBezTo>
                            <a:pt x="65" y="74"/>
                            <a:pt x="66" y="74"/>
                            <a:pt x="67" y="74"/>
                          </a:cubicBezTo>
                          <a:cubicBezTo>
                            <a:pt x="74" y="76"/>
                            <a:pt x="79" y="81"/>
                            <a:pt x="80" y="88"/>
                          </a:cubicBezTo>
                          <a:cubicBezTo>
                            <a:pt x="81" y="88"/>
                            <a:pt x="82" y="88"/>
                            <a:pt x="83" y="88"/>
                          </a:cubicBezTo>
                          <a:cubicBezTo>
                            <a:pt x="84" y="88"/>
                            <a:pt x="84" y="88"/>
                            <a:pt x="85" y="89"/>
                          </a:cubicBezTo>
                          <a:cubicBezTo>
                            <a:pt x="94" y="91"/>
                            <a:pt x="100" y="99"/>
                            <a:pt x="99" y="108"/>
                          </a:cubicBezTo>
                          <a:cubicBezTo>
                            <a:pt x="99" y="109"/>
                            <a:pt x="99" y="110"/>
                            <a:pt x="99" y="110"/>
                          </a:cubicBezTo>
                          <a:cubicBezTo>
                            <a:pt x="96" y="124"/>
                            <a:pt x="96" y="124"/>
                            <a:pt x="96" y="124"/>
                          </a:cubicBezTo>
                          <a:cubicBezTo>
                            <a:pt x="114" y="137"/>
                            <a:pt x="114" y="137"/>
                            <a:pt x="114" y="137"/>
                          </a:cubicBezTo>
                          <a:cubicBezTo>
                            <a:pt x="117" y="137"/>
                            <a:pt x="120" y="135"/>
                            <a:pt x="123" y="132"/>
                          </a:cubicBezTo>
                          <a:cubicBezTo>
                            <a:pt x="124" y="130"/>
                            <a:pt x="125" y="127"/>
                            <a:pt x="124" y="124"/>
                          </a:cubicBezTo>
                          <a:cubicBezTo>
                            <a:pt x="108" y="112"/>
                            <a:pt x="108" y="112"/>
                            <a:pt x="108" y="112"/>
                          </a:cubicBezTo>
                          <a:cubicBezTo>
                            <a:pt x="107" y="111"/>
                            <a:pt x="107" y="110"/>
                            <a:pt x="107" y="109"/>
                          </a:cubicBezTo>
                          <a:cubicBezTo>
                            <a:pt x="108" y="108"/>
                            <a:pt x="109" y="108"/>
                            <a:pt x="110" y="109"/>
                          </a:cubicBezTo>
                          <a:cubicBezTo>
                            <a:pt x="136" y="127"/>
                            <a:pt x="136" y="127"/>
                            <a:pt x="136" y="127"/>
                          </a:cubicBezTo>
                          <a:cubicBezTo>
                            <a:pt x="140" y="127"/>
                            <a:pt x="143" y="126"/>
                            <a:pt x="145" y="123"/>
                          </a:cubicBezTo>
                          <a:cubicBezTo>
                            <a:pt x="147" y="120"/>
                            <a:pt x="147" y="117"/>
                            <a:pt x="147" y="114"/>
                          </a:cubicBezTo>
                          <a:cubicBezTo>
                            <a:pt x="117" y="93"/>
                            <a:pt x="117" y="93"/>
                            <a:pt x="117" y="93"/>
                          </a:cubicBezTo>
                          <a:cubicBezTo>
                            <a:pt x="116" y="92"/>
                            <a:pt x="116" y="91"/>
                            <a:pt x="117" y="90"/>
                          </a:cubicBezTo>
                          <a:cubicBezTo>
                            <a:pt x="117" y="89"/>
                            <a:pt x="119" y="89"/>
                            <a:pt x="120" y="89"/>
                          </a:cubicBezTo>
                          <a:cubicBezTo>
                            <a:pt x="156" y="116"/>
                            <a:pt x="156" y="116"/>
                            <a:pt x="156" y="116"/>
                          </a:cubicBezTo>
                          <a:cubicBezTo>
                            <a:pt x="159" y="116"/>
                            <a:pt x="163" y="114"/>
                            <a:pt x="165" y="111"/>
                          </a:cubicBezTo>
                          <a:cubicBezTo>
                            <a:pt x="167" y="108"/>
                            <a:pt x="167" y="105"/>
                            <a:pt x="167" y="102"/>
                          </a:cubicBezTo>
                          <a:cubicBezTo>
                            <a:pt x="137" y="81"/>
                            <a:pt x="137" y="81"/>
                            <a:pt x="137" y="81"/>
                          </a:cubicBezTo>
                          <a:cubicBezTo>
                            <a:pt x="136" y="80"/>
                            <a:pt x="136" y="79"/>
                            <a:pt x="136" y="78"/>
                          </a:cubicBezTo>
                          <a:cubicBezTo>
                            <a:pt x="137" y="77"/>
                            <a:pt x="138" y="76"/>
                            <a:pt x="139" y="77"/>
                          </a:cubicBezTo>
                          <a:cubicBezTo>
                            <a:pt x="176" y="104"/>
                            <a:pt x="176" y="104"/>
                            <a:pt x="176" y="104"/>
                          </a:cubicBezTo>
                          <a:cubicBezTo>
                            <a:pt x="180" y="104"/>
                            <a:pt x="183" y="102"/>
                            <a:pt x="185" y="99"/>
                          </a:cubicBezTo>
                          <a:cubicBezTo>
                            <a:pt x="188" y="94"/>
                            <a:pt x="187" y="87"/>
                            <a:pt x="183" y="84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600" b="0" i="0" u="none" strike="noStrike" kern="0" cap="none" spc="0" normalizeH="0" baseline="0" noProof="0" dirty="0" smtClean="0">
                        <a:ln>
                          <a:solidFill>
                            <a:srgbClr val="FFFFFF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15" name="Freeform 214"/>
                    <p:cNvSpPr>
                      <a:spLocks/>
                    </p:cNvSpPr>
                    <p:nvPr/>
                  </p:nvSpPr>
                  <p:spPr bwMode="black">
                    <a:xfrm>
                      <a:off x="10615616" y="4103350"/>
                      <a:ext cx="657226" cy="452255"/>
                    </a:xfrm>
                    <a:custGeom>
                      <a:avLst/>
                      <a:gdLst>
                        <a:gd name="T0" fmla="*/ 127 w 175"/>
                        <a:gd name="T1" fmla="*/ 31 h 100"/>
                        <a:gd name="T2" fmla="*/ 119 w 175"/>
                        <a:gd name="T3" fmla="*/ 28 h 100"/>
                        <a:gd name="T4" fmla="*/ 62 w 175"/>
                        <a:gd name="T5" fmla="*/ 2 h 100"/>
                        <a:gd name="T6" fmla="*/ 49 w 175"/>
                        <a:gd name="T7" fmla="*/ 3 h 100"/>
                        <a:gd name="T8" fmla="*/ 26 w 175"/>
                        <a:gd name="T9" fmla="*/ 16 h 100"/>
                        <a:gd name="T10" fmla="*/ 9 w 175"/>
                        <a:gd name="T11" fmla="*/ 25 h 100"/>
                        <a:gd name="T12" fmla="*/ 4 w 175"/>
                        <a:gd name="T13" fmla="*/ 45 h 100"/>
                        <a:gd name="T14" fmla="*/ 15 w 175"/>
                        <a:gd name="T15" fmla="*/ 52 h 100"/>
                        <a:gd name="T16" fmla="*/ 23 w 175"/>
                        <a:gd name="T17" fmla="*/ 50 h 100"/>
                        <a:gd name="T18" fmla="*/ 23 w 175"/>
                        <a:gd name="T19" fmla="*/ 50 h 100"/>
                        <a:gd name="T20" fmla="*/ 57 w 175"/>
                        <a:gd name="T21" fmla="*/ 32 h 100"/>
                        <a:gd name="T22" fmla="*/ 79 w 175"/>
                        <a:gd name="T23" fmla="*/ 42 h 100"/>
                        <a:gd name="T24" fmla="*/ 109 w 175"/>
                        <a:gd name="T25" fmla="*/ 64 h 100"/>
                        <a:gd name="T26" fmla="*/ 158 w 175"/>
                        <a:gd name="T27" fmla="*/ 99 h 100"/>
                        <a:gd name="T28" fmla="*/ 159 w 175"/>
                        <a:gd name="T29" fmla="*/ 100 h 100"/>
                        <a:gd name="T30" fmla="*/ 173 w 175"/>
                        <a:gd name="T31" fmla="*/ 97 h 100"/>
                        <a:gd name="T32" fmla="*/ 154 w 175"/>
                        <a:gd name="T33" fmla="*/ 29 h 100"/>
                        <a:gd name="T34" fmla="*/ 127 w 175"/>
                        <a:gd name="T35" fmla="*/ 31 h 1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</a:cxnLst>
                      <a:rect l="0" t="0" r="r" b="b"/>
                      <a:pathLst>
                        <a:path w="175" h="100">
                          <a:moveTo>
                            <a:pt x="127" y="31"/>
                          </a:moveTo>
                          <a:cubicBezTo>
                            <a:pt x="125" y="31"/>
                            <a:pt x="122" y="30"/>
                            <a:pt x="119" y="28"/>
                          </a:cubicBezTo>
                          <a:cubicBezTo>
                            <a:pt x="62" y="2"/>
                            <a:pt x="62" y="2"/>
                            <a:pt x="62" y="2"/>
                          </a:cubicBezTo>
                          <a:cubicBezTo>
                            <a:pt x="58" y="0"/>
                            <a:pt x="53" y="1"/>
                            <a:pt x="49" y="3"/>
                          </a:cubicBezTo>
                          <a:cubicBezTo>
                            <a:pt x="26" y="16"/>
                            <a:pt x="26" y="16"/>
                            <a:pt x="26" y="16"/>
                          </a:cubicBezTo>
                          <a:cubicBezTo>
                            <a:pt x="9" y="25"/>
                            <a:pt x="9" y="25"/>
                            <a:pt x="9" y="25"/>
                          </a:cubicBezTo>
                          <a:cubicBezTo>
                            <a:pt x="2" y="29"/>
                            <a:pt x="0" y="38"/>
                            <a:pt x="4" y="45"/>
                          </a:cubicBezTo>
                          <a:cubicBezTo>
                            <a:pt x="6" y="49"/>
                            <a:pt x="10" y="52"/>
                            <a:pt x="15" y="52"/>
                          </a:cubicBezTo>
                          <a:cubicBezTo>
                            <a:pt x="18" y="52"/>
                            <a:pt x="21" y="52"/>
                            <a:pt x="23" y="50"/>
                          </a:cubicBezTo>
                          <a:cubicBezTo>
                            <a:pt x="23" y="50"/>
                            <a:pt x="23" y="50"/>
                            <a:pt x="23" y="50"/>
                          </a:cubicBezTo>
                          <a:cubicBezTo>
                            <a:pt x="57" y="32"/>
                            <a:pt x="57" y="32"/>
                            <a:pt x="57" y="32"/>
                          </a:cubicBezTo>
                          <a:cubicBezTo>
                            <a:pt x="79" y="42"/>
                            <a:pt x="79" y="42"/>
                            <a:pt x="79" y="42"/>
                          </a:cubicBezTo>
                          <a:cubicBezTo>
                            <a:pt x="109" y="64"/>
                            <a:pt x="109" y="64"/>
                            <a:pt x="109" y="64"/>
                          </a:cubicBezTo>
                          <a:cubicBezTo>
                            <a:pt x="158" y="99"/>
                            <a:pt x="158" y="99"/>
                            <a:pt x="158" y="99"/>
                          </a:cubicBezTo>
                          <a:cubicBezTo>
                            <a:pt x="158" y="99"/>
                            <a:pt x="159" y="100"/>
                            <a:pt x="159" y="100"/>
                          </a:cubicBezTo>
                          <a:cubicBezTo>
                            <a:pt x="173" y="97"/>
                            <a:pt x="173" y="97"/>
                            <a:pt x="173" y="97"/>
                          </a:cubicBezTo>
                          <a:cubicBezTo>
                            <a:pt x="175" y="51"/>
                            <a:pt x="154" y="29"/>
                            <a:pt x="154" y="29"/>
                          </a:cubicBezTo>
                          <a:cubicBezTo>
                            <a:pt x="154" y="29"/>
                            <a:pt x="133" y="33"/>
                            <a:pt x="127" y="31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600" b="0" i="0" u="none" strike="noStrike" kern="0" cap="none" spc="0" normalizeH="0" baseline="0" noProof="0" dirty="0" smtClean="0">
                        <a:ln>
                          <a:solidFill>
                            <a:srgbClr val="FFFFFF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16" name="Freeform 215"/>
                    <p:cNvSpPr>
                      <a:spLocks/>
                    </p:cNvSpPr>
                    <p:nvPr/>
                  </p:nvSpPr>
                  <p:spPr bwMode="black">
                    <a:xfrm>
                      <a:off x="10536238" y="4554567"/>
                      <a:ext cx="319088" cy="274409"/>
                    </a:xfrm>
                    <a:custGeom>
                      <a:avLst/>
                      <a:gdLst>
                        <a:gd name="T0" fmla="*/ 76 w 85"/>
                        <a:gd name="T1" fmla="*/ 20 h 59"/>
                        <a:gd name="T2" fmla="*/ 64 w 85"/>
                        <a:gd name="T3" fmla="*/ 25 h 59"/>
                        <a:gd name="T4" fmla="*/ 65 w 85"/>
                        <a:gd name="T5" fmla="*/ 18 h 59"/>
                        <a:gd name="T6" fmla="*/ 57 w 85"/>
                        <a:gd name="T7" fmla="*/ 5 h 59"/>
                        <a:gd name="T8" fmla="*/ 44 w 85"/>
                        <a:gd name="T9" fmla="*/ 13 h 59"/>
                        <a:gd name="T10" fmla="*/ 44 w 85"/>
                        <a:gd name="T11" fmla="*/ 14 h 59"/>
                        <a:gd name="T12" fmla="*/ 35 w 85"/>
                        <a:gd name="T13" fmla="*/ 3 h 59"/>
                        <a:gd name="T14" fmla="*/ 23 w 85"/>
                        <a:gd name="T15" fmla="*/ 10 h 59"/>
                        <a:gd name="T16" fmla="*/ 23 w 85"/>
                        <a:gd name="T17" fmla="*/ 10 h 59"/>
                        <a:gd name="T18" fmla="*/ 10 w 85"/>
                        <a:gd name="T19" fmla="*/ 1 h 59"/>
                        <a:gd name="T20" fmla="*/ 1 w 85"/>
                        <a:gd name="T21" fmla="*/ 14 h 59"/>
                        <a:gd name="T22" fmla="*/ 4 w 85"/>
                        <a:gd name="T23" fmla="*/ 28 h 59"/>
                        <a:gd name="T24" fmla="*/ 14 w 85"/>
                        <a:gd name="T25" fmla="*/ 36 h 59"/>
                        <a:gd name="T26" fmla="*/ 17 w 85"/>
                        <a:gd name="T27" fmla="*/ 36 h 59"/>
                        <a:gd name="T28" fmla="*/ 19 w 85"/>
                        <a:gd name="T29" fmla="*/ 35 h 59"/>
                        <a:gd name="T30" fmla="*/ 27 w 85"/>
                        <a:gd name="T31" fmla="*/ 43 h 59"/>
                        <a:gd name="T32" fmla="*/ 28 w 85"/>
                        <a:gd name="T33" fmla="*/ 43 h 59"/>
                        <a:gd name="T34" fmla="*/ 39 w 85"/>
                        <a:gd name="T35" fmla="*/ 38 h 59"/>
                        <a:gd name="T36" fmla="*/ 38 w 85"/>
                        <a:gd name="T37" fmla="*/ 39 h 59"/>
                        <a:gd name="T38" fmla="*/ 47 w 85"/>
                        <a:gd name="T39" fmla="*/ 52 h 59"/>
                        <a:gd name="T40" fmla="*/ 48 w 85"/>
                        <a:gd name="T41" fmla="*/ 52 h 59"/>
                        <a:gd name="T42" fmla="*/ 58 w 85"/>
                        <a:gd name="T43" fmla="*/ 47 h 59"/>
                        <a:gd name="T44" fmla="*/ 67 w 85"/>
                        <a:gd name="T45" fmla="*/ 59 h 59"/>
                        <a:gd name="T46" fmla="*/ 68 w 85"/>
                        <a:gd name="T47" fmla="*/ 59 h 59"/>
                        <a:gd name="T48" fmla="*/ 80 w 85"/>
                        <a:gd name="T49" fmla="*/ 50 h 59"/>
                        <a:gd name="T50" fmla="*/ 84 w 85"/>
                        <a:gd name="T51" fmla="*/ 33 h 59"/>
                        <a:gd name="T52" fmla="*/ 76 w 85"/>
                        <a:gd name="T53" fmla="*/ 20 h 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</a:cxnLst>
                      <a:rect l="0" t="0" r="r" b="b"/>
                      <a:pathLst>
                        <a:path w="85" h="59">
                          <a:moveTo>
                            <a:pt x="76" y="20"/>
                          </a:moveTo>
                          <a:cubicBezTo>
                            <a:pt x="71" y="19"/>
                            <a:pt x="66" y="21"/>
                            <a:pt x="64" y="25"/>
                          </a:cubicBezTo>
                          <a:cubicBezTo>
                            <a:pt x="65" y="18"/>
                            <a:pt x="65" y="18"/>
                            <a:pt x="65" y="18"/>
                          </a:cubicBezTo>
                          <a:cubicBezTo>
                            <a:pt x="67" y="12"/>
                            <a:pt x="63" y="6"/>
                            <a:pt x="57" y="5"/>
                          </a:cubicBezTo>
                          <a:cubicBezTo>
                            <a:pt x="51" y="4"/>
                            <a:pt x="45" y="7"/>
                            <a:pt x="44" y="13"/>
                          </a:cubicBezTo>
                          <a:cubicBezTo>
                            <a:pt x="44" y="14"/>
                            <a:pt x="44" y="14"/>
                            <a:pt x="44" y="14"/>
                          </a:cubicBezTo>
                          <a:cubicBezTo>
                            <a:pt x="44" y="9"/>
                            <a:pt x="40" y="4"/>
                            <a:pt x="35" y="3"/>
                          </a:cubicBezTo>
                          <a:cubicBezTo>
                            <a:pt x="30" y="2"/>
                            <a:pt x="24" y="5"/>
                            <a:pt x="23" y="10"/>
                          </a:cubicBezTo>
                          <a:cubicBezTo>
                            <a:pt x="23" y="10"/>
                            <a:pt x="23" y="10"/>
                            <a:pt x="23" y="10"/>
                          </a:cubicBezTo>
                          <a:cubicBezTo>
                            <a:pt x="21" y="4"/>
                            <a:pt x="15" y="0"/>
                            <a:pt x="10" y="1"/>
                          </a:cubicBezTo>
                          <a:cubicBezTo>
                            <a:pt x="4" y="3"/>
                            <a:pt x="0" y="8"/>
                            <a:pt x="1" y="14"/>
                          </a:cubicBezTo>
                          <a:cubicBezTo>
                            <a:pt x="4" y="28"/>
                            <a:pt x="4" y="28"/>
                            <a:pt x="4" y="28"/>
                          </a:cubicBezTo>
                          <a:cubicBezTo>
                            <a:pt x="5" y="32"/>
                            <a:pt x="9" y="36"/>
                            <a:pt x="14" y="36"/>
                          </a:cubicBezTo>
                          <a:cubicBezTo>
                            <a:pt x="15" y="36"/>
                            <a:pt x="16" y="36"/>
                            <a:pt x="17" y="36"/>
                          </a:cubicBezTo>
                          <a:cubicBezTo>
                            <a:pt x="18" y="36"/>
                            <a:pt x="18" y="36"/>
                            <a:pt x="19" y="35"/>
                          </a:cubicBezTo>
                          <a:cubicBezTo>
                            <a:pt x="20" y="39"/>
                            <a:pt x="23" y="42"/>
                            <a:pt x="27" y="43"/>
                          </a:cubicBezTo>
                          <a:cubicBezTo>
                            <a:pt x="28" y="43"/>
                            <a:pt x="28" y="43"/>
                            <a:pt x="28" y="43"/>
                          </a:cubicBezTo>
                          <a:cubicBezTo>
                            <a:pt x="32" y="43"/>
                            <a:pt x="36" y="41"/>
                            <a:pt x="39" y="38"/>
                          </a:cubicBezTo>
                          <a:cubicBezTo>
                            <a:pt x="38" y="39"/>
                            <a:pt x="38" y="39"/>
                            <a:pt x="38" y="39"/>
                          </a:cubicBezTo>
                          <a:cubicBezTo>
                            <a:pt x="37" y="44"/>
                            <a:pt x="41" y="50"/>
                            <a:pt x="47" y="52"/>
                          </a:cubicBezTo>
                          <a:cubicBezTo>
                            <a:pt x="47" y="52"/>
                            <a:pt x="47" y="52"/>
                            <a:pt x="48" y="52"/>
                          </a:cubicBezTo>
                          <a:cubicBezTo>
                            <a:pt x="52" y="52"/>
                            <a:pt x="56" y="50"/>
                            <a:pt x="58" y="47"/>
                          </a:cubicBezTo>
                          <a:cubicBezTo>
                            <a:pt x="58" y="52"/>
                            <a:pt x="61" y="57"/>
                            <a:pt x="67" y="59"/>
                          </a:cubicBezTo>
                          <a:cubicBezTo>
                            <a:pt x="67" y="59"/>
                            <a:pt x="67" y="59"/>
                            <a:pt x="68" y="59"/>
                          </a:cubicBezTo>
                          <a:cubicBezTo>
                            <a:pt x="73" y="59"/>
                            <a:pt x="78" y="56"/>
                            <a:pt x="80" y="50"/>
                          </a:cubicBezTo>
                          <a:cubicBezTo>
                            <a:pt x="84" y="33"/>
                            <a:pt x="84" y="33"/>
                            <a:pt x="84" y="33"/>
                          </a:cubicBezTo>
                          <a:cubicBezTo>
                            <a:pt x="85" y="27"/>
                            <a:pt x="81" y="21"/>
                            <a:pt x="76" y="20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600" b="0" i="0" u="none" strike="noStrike" kern="0" cap="none" spc="0" normalizeH="0" baseline="0" noProof="0" dirty="0" smtClean="0">
                        <a:ln>
                          <a:solidFill>
                            <a:srgbClr val="FFFFFF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17" name="Freeform 216"/>
                    <p:cNvSpPr>
                      <a:spLocks/>
                    </p:cNvSpPr>
                    <p:nvPr/>
                  </p:nvSpPr>
                  <p:spPr bwMode="black">
                    <a:xfrm>
                      <a:off x="11207741" y="4198910"/>
                      <a:ext cx="175191" cy="359859"/>
                    </a:xfrm>
                    <a:custGeom>
                      <a:avLst/>
                      <a:gdLst>
                        <a:gd name="T0" fmla="*/ 41 w 41"/>
                        <a:gd name="T1" fmla="*/ 77 h 85"/>
                        <a:gd name="T2" fmla="*/ 33 w 41"/>
                        <a:gd name="T3" fmla="*/ 7 h 85"/>
                        <a:gd name="T4" fmla="*/ 24 w 41"/>
                        <a:gd name="T5" fmla="*/ 1 h 85"/>
                        <a:gd name="T6" fmla="*/ 0 w 41"/>
                        <a:gd name="T7" fmla="*/ 7 h 85"/>
                        <a:gd name="T8" fmla="*/ 22 w 41"/>
                        <a:gd name="T9" fmla="*/ 85 h 85"/>
                        <a:gd name="T10" fmla="*/ 33 w 41"/>
                        <a:gd name="T11" fmla="*/ 85 h 85"/>
                        <a:gd name="T12" fmla="*/ 41 w 41"/>
                        <a:gd name="T13" fmla="*/ 77 h 8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41" h="85">
                          <a:moveTo>
                            <a:pt x="41" y="77"/>
                          </a:moveTo>
                          <a:cubicBezTo>
                            <a:pt x="33" y="7"/>
                            <a:pt x="33" y="7"/>
                            <a:pt x="33" y="7"/>
                          </a:cubicBezTo>
                          <a:cubicBezTo>
                            <a:pt x="32" y="2"/>
                            <a:pt x="28" y="0"/>
                            <a:pt x="24" y="1"/>
                          </a:cubicBezTo>
                          <a:cubicBezTo>
                            <a:pt x="0" y="7"/>
                            <a:pt x="0" y="7"/>
                            <a:pt x="0" y="7"/>
                          </a:cubicBezTo>
                          <a:cubicBezTo>
                            <a:pt x="0" y="7"/>
                            <a:pt x="25" y="32"/>
                            <a:pt x="22" y="85"/>
                          </a:cubicBezTo>
                          <a:cubicBezTo>
                            <a:pt x="33" y="85"/>
                            <a:pt x="33" y="85"/>
                            <a:pt x="33" y="85"/>
                          </a:cubicBezTo>
                          <a:cubicBezTo>
                            <a:pt x="38" y="85"/>
                            <a:pt x="41" y="81"/>
                            <a:pt x="41" y="77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600" b="0" i="0" u="none" strike="noStrike" kern="0" cap="none" spc="0" normalizeH="0" baseline="0" noProof="0" dirty="0" smtClean="0">
                        <a:ln>
                          <a:solidFill>
                            <a:srgbClr val="FFFFFF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18" name="Freeform 217"/>
                    <p:cNvSpPr>
                      <a:spLocks/>
                    </p:cNvSpPr>
                    <p:nvPr/>
                  </p:nvSpPr>
                  <p:spPr bwMode="black">
                    <a:xfrm>
                      <a:off x="10387012" y="4206348"/>
                      <a:ext cx="176211" cy="352424"/>
                    </a:xfrm>
                    <a:custGeom>
                      <a:avLst/>
                      <a:gdLst>
                        <a:gd name="T0" fmla="*/ 47 w 47"/>
                        <a:gd name="T1" fmla="*/ 9 h 94"/>
                        <a:gd name="T2" fmla="*/ 35 w 47"/>
                        <a:gd name="T3" fmla="*/ 2 h 94"/>
                        <a:gd name="T4" fmla="*/ 25 w 47"/>
                        <a:gd name="T5" fmla="*/ 6 h 94"/>
                        <a:gd name="T6" fmla="*/ 2 w 47"/>
                        <a:gd name="T7" fmla="*/ 81 h 94"/>
                        <a:gd name="T8" fmla="*/ 7 w 47"/>
                        <a:gd name="T9" fmla="*/ 90 h 94"/>
                        <a:gd name="T10" fmla="*/ 26 w 47"/>
                        <a:gd name="T11" fmla="*/ 94 h 94"/>
                        <a:gd name="T12" fmla="*/ 47 w 47"/>
                        <a:gd name="T13" fmla="*/ 9 h 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47" h="94">
                          <a:moveTo>
                            <a:pt x="47" y="9"/>
                          </a:moveTo>
                          <a:cubicBezTo>
                            <a:pt x="35" y="2"/>
                            <a:pt x="35" y="2"/>
                            <a:pt x="35" y="2"/>
                          </a:cubicBezTo>
                          <a:cubicBezTo>
                            <a:pt x="31" y="0"/>
                            <a:pt x="27" y="2"/>
                            <a:pt x="25" y="6"/>
                          </a:cubicBezTo>
                          <a:cubicBezTo>
                            <a:pt x="2" y="81"/>
                            <a:pt x="2" y="81"/>
                            <a:pt x="2" y="81"/>
                          </a:cubicBezTo>
                          <a:cubicBezTo>
                            <a:pt x="0" y="86"/>
                            <a:pt x="3" y="90"/>
                            <a:pt x="7" y="90"/>
                          </a:cubicBezTo>
                          <a:cubicBezTo>
                            <a:pt x="26" y="94"/>
                            <a:pt x="26" y="94"/>
                            <a:pt x="26" y="94"/>
                          </a:cubicBezTo>
                          <a:cubicBezTo>
                            <a:pt x="24" y="52"/>
                            <a:pt x="47" y="9"/>
                            <a:pt x="47" y="9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defTabSz="932316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600" b="0" i="0" u="none" strike="noStrike" kern="0" cap="none" spc="0" normalizeH="0" baseline="0" noProof="0" dirty="0" smtClean="0">
                        <a:ln>
                          <a:solidFill>
                            <a:srgbClr val="FFFFFF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</p:grpSp>
          </p:grpSp>
        </p:grpSp>
        <p:grpSp>
          <p:nvGrpSpPr>
            <p:cNvPr id="184" name="Group 183"/>
            <p:cNvGrpSpPr/>
            <p:nvPr/>
          </p:nvGrpSpPr>
          <p:grpSpPr>
            <a:xfrm>
              <a:off x="6758885" y="3501836"/>
              <a:ext cx="821944" cy="2259185"/>
              <a:chOff x="6459730" y="4200395"/>
              <a:chExt cx="821944" cy="2259185"/>
            </a:xfrm>
          </p:grpSpPr>
          <p:grpSp>
            <p:nvGrpSpPr>
              <p:cNvPr id="194" name="Group 193"/>
              <p:cNvGrpSpPr/>
              <p:nvPr/>
            </p:nvGrpSpPr>
            <p:grpSpPr>
              <a:xfrm>
                <a:off x="7094623" y="4602843"/>
                <a:ext cx="187051" cy="916362"/>
                <a:chOff x="5891911" y="4348024"/>
                <a:chExt cx="187051" cy="780844"/>
              </a:xfrm>
            </p:grpSpPr>
            <p:sp>
              <p:nvSpPr>
                <p:cNvPr id="205" name="Rounded Rectangle 204"/>
                <p:cNvSpPr/>
                <p:nvPr/>
              </p:nvSpPr>
              <p:spPr bwMode="auto">
                <a:xfrm>
                  <a:off x="5986406" y="4983218"/>
                  <a:ext cx="90837" cy="145650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FFC000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206" name="Freeform 205"/>
                <p:cNvSpPr/>
                <p:nvPr/>
              </p:nvSpPr>
              <p:spPr bwMode="auto">
                <a:xfrm>
                  <a:off x="5891911" y="4348024"/>
                  <a:ext cx="187051" cy="708019"/>
                </a:xfrm>
                <a:custGeom>
                  <a:avLst/>
                  <a:gdLst>
                    <a:gd name="connsiteX0" fmla="*/ 7144 w 238125"/>
                    <a:gd name="connsiteY0" fmla="*/ 0 h 833437"/>
                    <a:gd name="connsiteX1" fmla="*/ 238125 w 238125"/>
                    <a:gd name="connsiteY1" fmla="*/ 833437 h 833437"/>
                    <a:gd name="connsiteX2" fmla="*/ 109537 w 238125"/>
                    <a:gd name="connsiteY2" fmla="*/ 833437 h 833437"/>
                    <a:gd name="connsiteX3" fmla="*/ 0 w 238125"/>
                    <a:gd name="connsiteY3" fmla="*/ 361950 h 833437"/>
                    <a:gd name="connsiteX4" fmla="*/ 7144 w 238125"/>
                    <a:gd name="connsiteY4" fmla="*/ 0 h 833437"/>
                    <a:gd name="connsiteX0" fmla="*/ 7144 w 238125"/>
                    <a:gd name="connsiteY0" fmla="*/ 0 h 833437"/>
                    <a:gd name="connsiteX1" fmla="*/ 238125 w 238125"/>
                    <a:gd name="connsiteY1" fmla="*/ 833437 h 833437"/>
                    <a:gd name="connsiteX2" fmla="*/ 109537 w 238125"/>
                    <a:gd name="connsiteY2" fmla="*/ 833437 h 833437"/>
                    <a:gd name="connsiteX3" fmla="*/ 0 w 238125"/>
                    <a:gd name="connsiteY3" fmla="*/ 361950 h 833437"/>
                    <a:gd name="connsiteX4" fmla="*/ 7144 w 238125"/>
                    <a:gd name="connsiteY4" fmla="*/ 0 h 833437"/>
                    <a:gd name="connsiteX0" fmla="*/ 7144 w 238125"/>
                    <a:gd name="connsiteY0" fmla="*/ 0 h 833437"/>
                    <a:gd name="connsiteX1" fmla="*/ 238125 w 238125"/>
                    <a:gd name="connsiteY1" fmla="*/ 833437 h 833437"/>
                    <a:gd name="connsiteX2" fmla="*/ 109537 w 238125"/>
                    <a:gd name="connsiteY2" fmla="*/ 833437 h 833437"/>
                    <a:gd name="connsiteX3" fmla="*/ 0 w 238125"/>
                    <a:gd name="connsiteY3" fmla="*/ 361950 h 833437"/>
                    <a:gd name="connsiteX4" fmla="*/ 7144 w 238125"/>
                    <a:gd name="connsiteY4" fmla="*/ 0 h 833437"/>
                    <a:gd name="connsiteX0" fmla="*/ 7144 w 238125"/>
                    <a:gd name="connsiteY0" fmla="*/ 0 h 833437"/>
                    <a:gd name="connsiteX1" fmla="*/ 238125 w 238125"/>
                    <a:gd name="connsiteY1" fmla="*/ 833437 h 833437"/>
                    <a:gd name="connsiteX2" fmla="*/ 109537 w 238125"/>
                    <a:gd name="connsiteY2" fmla="*/ 833437 h 833437"/>
                    <a:gd name="connsiteX3" fmla="*/ 0 w 238125"/>
                    <a:gd name="connsiteY3" fmla="*/ 361950 h 833437"/>
                    <a:gd name="connsiteX4" fmla="*/ 7144 w 238125"/>
                    <a:gd name="connsiteY4" fmla="*/ 0 h 833437"/>
                    <a:gd name="connsiteX0" fmla="*/ 7144 w 238125"/>
                    <a:gd name="connsiteY0" fmla="*/ 0 h 833437"/>
                    <a:gd name="connsiteX1" fmla="*/ 238125 w 238125"/>
                    <a:gd name="connsiteY1" fmla="*/ 833437 h 833437"/>
                    <a:gd name="connsiteX2" fmla="*/ 109537 w 238125"/>
                    <a:gd name="connsiteY2" fmla="*/ 833437 h 833437"/>
                    <a:gd name="connsiteX3" fmla="*/ 0 w 238125"/>
                    <a:gd name="connsiteY3" fmla="*/ 361950 h 833437"/>
                    <a:gd name="connsiteX4" fmla="*/ 7144 w 238125"/>
                    <a:gd name="connsiteY4" fmla="*/ 0 h 833437"/>
                    <a:gd name="connsiteX0" fmla="*/ 7144 w 238125"/>
                    <a:gd name="connsiteY0" fmla="*/ 0 h 833437"/>
                    <a:gd name="connsiteX1" fmla="*/ 238125 w 238125"/>
                    <a:gd name="connsiteY1" fmla="*/ 833437 h 833437"/>
                    <a:gd name="connsiteX2" fmla="*/ 109537 w 238125"/>
                    <a:gd name="connsiteY2" fmla="*/ 833437 h 833437"/>
                    <a:gd name="connsiteX3" fmla="*/ 0 w 238125"/>
                    <a:gd name="connsiteY3" fmla="*/ 361950 h 833437"/>
                    <a:gd name="connsiteX4" fmla="*/ 7144 w 238125"/>
                    <a:gd name="connsiteY4" fmla="*/ 0 h 833437"/>
                    <a:gd name="connsiteX0" fmla="*/ 7144 w 220185"/>
                    <a:gd name="connsiteY0" fmla="*/ 0 h 833437"/>
                    <a:gd name="connsiteX1" fmla="*/ 220185 w 220185"/>
                    <a:gd name="connsiteY1" fmla="*/ 827457 h 833437"/>
                    <a:gd name="connsiteX2" fmla="*/ 109537 w 220185"/>
                    <a:gd name="connsiteY2" fmla="*/ 833437 h 833437"/>
                    <a:gd name="connsiteX3" fmla="*/ 0 w 220185"/>
                    <a:gd name="connsiteY3" fmla="*/ 361950 h 833437"/>
                    <a:gd name="connsiteX4" fmla="*/ 7144 w 220185"/>
                    <a:gd name="connsiteY4" fmla="*/ 0 h 8334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20185" h="833437">
                      <a:moveTo>
                        <a:pt x="7144" y="0"/>
                      </a:moveTo>
                      <a:cubicBezTo>
                        <a:pt x="103188" y="253999"/>
                        <a:pt x="197960" y="490114"/>
                        <a:pt x="220185" y="827457"/>
                      </a:cubicBezTo>
                      <a:cubicBezTo>
                        <a:pt x="177322" y="827457"/>
                        <a:pt x="152400" y="833437"/>
                        <a:pt x="109537" y="833437"/>
                      </a:cubicBezTo>
                      <a:cubicBezTo>
                        <a:pt x="94457" y="714376"/>
                        <a:pt x="74612" y="516731"/>
                        <a:pt x="0" y="361950"/>
                      </a:cubicBezTo>
                      <a:lnTo>
                        <a:pt x="7144" y="0"/>
                      </a:lnTo>
                      <a:close/>
                    </a:path>
                  </a:pathLst>
                </a:custGeom>
                <a:solidFill>
                  <a:srgbClr val="FFC000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grpSp>
            <p:nvGrpSpPr>
              <p:cNvPr id="195" name="Group 194"/>
              <p:cNvGrpSpPr/>
              <p:nvPr/>
            </p:nvGrpSpPr>
            <p:grpSpPr>
              <a:xfrm>
                <a:off x="6459730" y="4200395"/>
                <a:ext cx="799151" cy="2259185"/>
                <a:chOff x="9985133" y="3863532"/>
                <a:chExt cx="799151" cy="2259185"/>
              </a:xfrm>
            </p:grpSpPr>
            <p:sp>
              <p:nvSpPr>
                <p:cNvPr id="196" name="Freeform 195"/>
                <p:cNvSpPr/>
                <p:nvPr/>
              </p:nvSpPr>
              <p:spPr bwMode="auto">
                <a:xfrm rot="5400000">
                  <a:off x="10222071" y="3971668"/>
                  <a:ext cx="397218" cy="281174"/>
                </a:xfrm>
                <a:custGeom>
                  <a:avLst/>
                  <a:gdLst>
                    <a:gd name="connsiteX0" fmla="*/ 0 w 392904"/>
                    <a:gd name="connsiteY0" fmla="*/ 184191 h 309562"/>
                    <a:gd name="connsiteX1" fmla="*/ 0 w 392904"/>
                    <a:gd name="connsiteY1" fmla="*/ 125371 h 309562"/>
                    <a:gd name="connsiteX2" fmla="*/ 95323 w 392904"/>
                    <a:gd name="connsiteY2" fmla="*/ 30048 h 309562"/>
                    <a:gd name="connsiteX3" fmla="*/ 107911 w 392904"/>
                    <a:gd name="connsiteY3" fmla="*/ 30048 h 309562"/>
                    <a:gd name="connsiteX4" fmla="*/ 116458 w 392904"/>
                    <a:gd name="connsiteY4" fmla="*/ 9416 h 309562"/>
                    <a:gd name="connsiteX5" fmla="*/ 139189 w 392904"/>
                    <a:gd name="connsiteY5" fmla="*/ 0 h 309562"/>
                    <a:gd name="connsiteX6" fmla="*/ 182279 w 392904"/>
                    <a:gd name="connsiteY6" fmla="*/ 0 h 309562"/>
                    <a:gd name="connsiteX7" fmla="*/ 205010 w 392904"/>
                    <a:gd name="connsiteY7" fmla="*/ 9416 h 309562"/>
                    <a:gd name="connsiteX8" fmla="*/ 213557 w 392904"/>
                    <a:gd name="connsiteY8" fmla="*/ 30048 h 309562"/>
                    <a:gd name="connsiteX9" fmla="*/ 252339 w 392904"/>
                    <a:gd name="connsiteY9" fmla="*/ 30048 h 309562"/>
                    <a:gd name="connsiteX10" fmla="*/ 319742 w 392904"/>
                    <a:gd name="connsiteY10" fmla="*/ 57968 h 309562"/>
                    <a:gd name="connsiteX11" fmla="*/ 336441 w 392904"/>
                    <a:gd name="connsiteY11" fmla="*/ 82735 h 309562"/>
                    <a:gd name="connsiteX12" fmla="*/ 357186 w 392904"/>
                    <a:gd name="connsiteY12" fmla="*/ 80848 h 309562"/>
                    <a:gd name="connsiteX13" fmla="*/ 392904 w 392904"/>
                    <a:gd name="connsiteY13" fmla="*/ 152286 h 309562"/>
                    <a:gd name="connsiteX14" fmla="*/ 357186 w 392904"/>
                    <a:gd name="connsiteY14" fmla="*/ 235629 h 309562"/>
                    <a:gd name="connsiteX15" fmla="*/ 330992 w 392904"/>
                    <a:gd name="connsiteY15" fmla="*/ 235629 h 309562"/>
                    <a:gd name="connsiteX16" fmla="*/ 330992 w 392904"/>
                    <a:gd name="connsiteY16" fmla="*/ 234909 h 309562"/>
                    <a:gd name="connsiteX17" fmla="*/ 319742 w 392904"/>
                    <a:gd name="connsiteY17" fmla="*/ 251594 h 309562"/>
                    <a:gd name="connsiteX18" fmla="*/ 252339 w 392904"/>
                    <a:gd name="connsiteY18" fmla="*/ 279514 h 309562"/>
                    <a:gd name="connsiteX19" fmla="*/ 213557 w 392904"/>
                    <a:gd name="connsiteY19" fmla="*/ 279514 h 309562"/>
                    <a:gd name="connsiteX20" fmla="*/ 205010 w 392904"/>
                    <a:gd name="connsiteY20" fmla="*/ 300146 h 309562"/>
                    <a:gd name="connsiteX21" fmla="*/ 182279 w 392904"/>
                    <a:gd name="connsiteY21" fmla="*/ 309562 h 309562"/>
                    <a:gd name="connsiteX22" fmla="*/ 139189 w 392904"/>
                    <a:gd name="connsiteY22" fmla="*/ 309562 h 309562"/>
                    <a:gd name="connsiteX23" fmla="*/ 116458 w 392904"/>
                    <a:gd name="connsiteY23" fmla="*/ 300146 h 309562"/>
                    <a:gd name="connsiteX24" fmla="*/ 107911 w 392904"/>
                    <a:gd name="connsiteY24" fmla="*/ 279514 h 309562"/>
                    <a:gd name="connsiteX25" fmla="*/ 95323 w 392904"/>
                    <a:gd name="connsiteY25" fmla="*/ 279514 h 309562"/>
                    <a:gd name="connsiteX26" fmla="*/ 0 w 392904"/>
                    <a:gd name="connsiteY26" fmla="*/ 184191 h 309562"/>
                    <a:gd name="connsiteX0" fmla="*/ 0 w 437322"/>
                    <a:gd name="connsiteY0" fmla="*/ 184191 h 309562"/>
                    <a:gd name="connsiteX1" fmla="*/ 0 w 437322"/>
                    <a:gd name="connsiteY1" fmla="*/ 125371 h 309562"/>
                    <a:gd name="connsiteX2" fmla="*/ 95323 w 437322"/>
                    <a:gd name="connsiteY2" fmla="*/ 30048 h 309562"/>
                    <a:gd name="connsiteX3" fmla="*/ 107911 w 437322"/>
                    <a:gd name="connsiteY3" fmla="*/ 30048 h 309562"/>
                    <a:gd name="connsiteX4" fmla="*/ 116458 w 437322"/>
                    <a:gd name="connsiteY4" fmla="*/ 9416 h 309562"/>
                    <a:gd name="connsiteX5" fmla="*/ 139189 w 437322"/>
                    <a:gd name="connsiteY5" fmla="*/ 0 h 309562"/>
                    <a:gd name="connsiteX6" fmla="*/ 182279 w 437322"/>
                    <a:gd name="connsiteY6" fmla="*/ 0 h 309562"/>
                    <a:gd name="connsiteX7" fmla="*/ 205010 w 437322"/>
                    <a:gd name="connsiteY7" fmla="*/ 9416 h 309562"/>
                    <a:gd name="connsiteX8" fmla="*/ 213557 w 437322"/>
                    <a:gd name="connsiteY8" fmla="*/ 30048 h 309562"/>
                    <a:gd name="connsiteX9" fmla="*/ 252339 w 437322"/>
                    <a:gd name="connsiteY9" fmla="*/ 30048 h 309562"/>
                    <a:gd name="connsiteX10" fmla="*/ 319742 w 437322"/>
                    <a:gd name="connsiteY10" fmla="*/ 57968 h 309562"/>
                    <a:gd name="connsiteX11" fmla="*/ 336441 w 437322"/>
                    <a:gd name="connsiteY11" fmla="*/ 82735 h 309562"/>
                    <a:gd name="connsiteX12" fmla="*/ 357186 w 437322"/>
                    <a:gd name="connsiteY12" fmla="*/ 80848 h 309562"/>
                    <a:gd name="connsiteX13" fmla="*/ 437322 w 437322"/>
                    <a:gd name="connsiteY13" fmla="*/ 147351 h 309562"/>
                    <a:gd name="connsiteX14" fmla="*/ 357186 w 437322"/>
                    <a:gd name="connsiteY14" fmla="*/ 235629 h 309562"/>
                    <a:gd name="connsiteX15" fmla="*/ 330992 w 437322"/>
                    <a:gd name="connsiteY15" fmla="*/ 235629 h 309562"/>
                    <a:gd name="connsiteX16" fmla="*/ 330992 w 437322"/>
                    <a:gd name="connsiteY16" fmla="*/ 234909 h 309562"/>
                    <a:gd name="connsiteX17" fmla="*/ 319742 w 437322"/>
                    <a:gd name="connsiteY17" fmla="*/ 251594 h 309562"/>
                    <a:gd name="connsiteX18" fmla="*/ 252339 w 437322"/>
                    <a:gd name="connsiteY18" fmla="*/ 279514 h 309562"/>
                    <a:gd name="connsiteX19" fmla="*/ 213557 w 437322"/>
                    <a:gd name="connsiteY19" fmla="*/ 279514 h 309562"/>
                    <a:gd name="connsiteX20" fmla="*/ 205010 w 437322"/>
                    <a:gd name="connsiteY20" fmla="*/ 300146 h 309562"/>
                    <a:gd name="connsiteX21" fmla="*/ 182279 w 437322"/>
                    <a:gd name="connsiteY21" fmla="*/ 309562 h 309562"/>
                    <a:gd name="connsiteX22" fmla="*/ 139189 w 437322"/>
                    <a:gd name="connsiteY22" fmla="*/ 309562 h 309562"/>
                    <a:gd name="connsiteX23" fmla="*/ 116458 w 437322"/>
                    <a:gd name="connsiteY23" fmla="*/ 300146 h 309562"/>
                    <a:gd name="connsiteX24" fmla="*/ 107911 w 437322"/>
                    <a:gd name="connsiteY24" fmla="*/ 279514 h 309562"/>
                    <a:gd name="connsiteX25" fmla="*/ 95323 w 437322"/>
                    <a:gd name="connsiteY25" fmla="*/ 279514 h 309562"/>
                    <a:gd name="connsiteX26" fmla="*/ 0 w 437322"/>
                    <a:gd name="connsiteY26" fmla="*/ 184191 h 309562"/>
                    <a:gd name="connsiteX0" fmla="*/ 0 w 437322"/>
                    <a:gd name="connsiteY0" fmla="*/ 184191 h 309562"/>
                    <a:gd name="connsiteX1" fmla="*/ 0 w 437322"/>
                    <a:gd name="connsiteY1" fmla="*/ 125371 h 309562"/>
                    <a:gd name="connsiteX2" fmla="*/ 95323 w 437322"/>
                    <a:gd name="connsiteY2" fmla="*/ 30048 h 309562"/>
                    <a:gd name="connsiteX3" fmla="*/ 107911 w 437322"/>
                    <a:gd name="connsiteY3" fmla="*/ 30048 h 309562"/>
                    <a:gd name="connsiteX4" fmla="*/ 116458 w 437322"/>
                    <a:gd name="connsiteY4" fmla="*/ 9416 h 309562"/>
                    <a:gd name="connsiteX5" fmla="*/ 139189 w 437322"/>
                    <a:gd name="connsiteY5" fmla="*/ 0 h 309562"/>
                    <a:gd name="connsiteX6" fmla="*/ 182279 w 437322"/>
                    <a:gd name="connsiteY6" fmla="*/ 0 h 309562"/>
                    <a:gd name="connsiteX7" fmla="*/ 205010 w 437322"/>
                    <a:gd name="connsiteY7" fmla="*/ 9416 h 309562"/>
                    <a:gd name="connsiteX8" fmla="*/ 213557 w 437322"/>
                    <a:gd name="connsiteY8" fmla="*/ 30048 h 309562"/>
                    <a:gd name="connsiteX9" fmla="*/ 252339 w 437322"/>
                    <a:gd name="connsiteY9" fmla="*/ 30048 h 309562"/>
                    <a:gd name="connsiteX10" fmla="*/ 319742 w 437322"/>
                    <a:gd name="connsiteY10" fmla="*/ 57968 h 309562"/>
                    <a:gd name="connsiteX11" fmla="*/ 336441 w 437322"/>
                    <a:gd name="connsiteY11" fmla="*/ 82735 h 309562"/>
                    <a:gd name="connsiteX12" fmla="*/ 401600 w 437322"/>
                    <a:gd name="connsiteY12" fmla="*/ 66043 h 309562"/>
                    <a:gd name="connsiteX13" fmla="*/ 437322 w 437322"/>
                    <a:gd name="connsiteY13" fmla="*/ 147351 h 309562"/>
                    <a:gd name="connsiteX14" fmla="*/ 357186 w 437322"/>
                    <a:gd name="connsiteY14" fmla="*/ 235629 h 309562"/>
                    <a:gd name="connsiteX15" fmla="*/ 330992 w 437322"/>
                    <a:gd name="connsiteY15" fmla="*/ 235629 h 309562"/>
                    <a:gd name="connsiteX16" fmla="*/ 330992 w 437322"/>
                    <a:gd name="connsiteY16" fmla="*/ 234909 h 309562"/>
                    <a:gd name="connsiteX17" fmla="*/ 319742 w 437322"/>
                    <a:gd name="connsiteY17" fmla="*/ 251594 h 309562"/>
                    <a:gd name="connsiteX18" fmla="*/ 252339 w 437322"/>
                    <a:gd name="connsiteY18" fmla="*/ 279514 h 309562"/>
                    <a:gd name="connsiteX19" fmla="*/ 213557 w 437322"/>
                    <a:gd name="connsiteY19" fmla="*/ 279514 h 309562"/>
                    <a:gd name="connsiteX20" fmla="*/ 205010 w 437322"/>
                    <a:gd name="connsiteY20" fmla="*/ 300146 h 309562"/>
                    <a:gd name="connsiteX21" fmla="*/ 182279 w 437322"/>
                    <a:gd name="connsiteY21" fmla="*/ 309562 h 309562"/>
                    <a:gd name="connsiteX22" fmla="*/ 139189 w 437322"/>
                    <a:gd name="connsiteY22" fmla="*/ 309562 h 309562"/>
                    <a:gd name="connsiteX23" fmla="*/ 116458 w 437322"/>
                    <a:gd name="connsiteY23" fmla="*/ 300146 h 309562"/>
                    <a:gd name="connsiteX24" fmla="*/ 107911 w 437322"/>
                    <a:gd name="connsiteY24" fmla="*/ 279514 h 309562"/>
                    <a:gd name="connsiteX25" fmla="*/ 95323 w 437322"/>
                    <a:gd name="connsiteY25" fmla="*/ 279514 h 309562"/>
                    <a:gd name="connsiteX26" fmla="*/ 0 w 437322"/>
                    <a:gd name="connsiteY26" fmla="*/ 184191 h 309562"/>
                    <a:gd name="connsiteX0" fmla="*/ 0 w 437322"/>
                    <a:gd name="connsiteY0" fmla="*/ 184191 h 309562"/>
                    <a:gd name="connsiteX1" fmla="*/ 0 w 437322"/>
                    <a:gd name="connsiteY1" fmla="*/ 125371 h 309562"/>
                    <a:gd name="connsiteX2" fmla="*/ 95323 w 437322"/>
                    <a:gd name="connsiteY2" fmla="*/ 30048 h 309562"/>
                    <a:gd name="connsiteX3" fmla="*/ 107911 w 437322"/>
                    <a:gd name="connsiteY3" fmla="*/ 30048 h 309562"/>
                    <a:gd name="connsiteX4" fmla="*/ 116458 w 437322"/>
                    <a:gd name="connsiteY4" fmla="*/ 9416 h 309562"/>
                    <a:gd name="connsiteX5" fmla="*/ 139189 w 437322"/>
                    <a:gd name="connsiteY5" fmla="*/ 0 h 309562"/>
                    <a:gd name="connsiteX6" fmla="*/ 182279 w 437322"/>
                    <a:gd name="connsiteY6" fmla="*/ 0 h 309562"/>
                    <a:gd name="connsiteX7" fmla="*/ 205010 w 437322"/>
                    <a:gd name="connsiteY7" fmla="*/ 9416 h 309562"/>
                    <a:gd name="connsiteX8" fmla="*/ 213557 w 437322"/>
                    <a:gd name="connsiteY8" fmla="*/ 30048 h 309562"/>
                    <a:gd name="connsiteX9" fmla="*/ 252339 w 437322"/>
                    <a:gd name="connsiteY9" fmla="*/ 30048 h 309562"/>
                    <a:gd name="connsiteX10" fmla="*/ 319742 w 437322"/>
                    <a:gd name="connsiteY10" fmla="*/ 57968 h 309562"/>
                    <a:gd name="connsiteX11" fmla="*/ 336441 w 437322"/>
                    <a:gd name="connsiteY11" fmla="*/ 82735 h 309562"/>
                    <a:gd name="connsiteX12" fmla="*/ 401600 w 437322"/>
                    <a:gd name="connsiteY12" fmla="*/ 66043 h 309562"/>
                    <a:gd name="connsiteX13" fmla="*/ 437322 w 437322"/>
                    <a:gd name="connsiteY13" fmla="*/ 147351 h 309562"/>
                    <a:gd name="connsiteX14" fmla="*/ 386796 w 437322"/>
                    <a:gd name="connsiteY14" fmla="*/ 235629 h 309562"/>
                    <a:gd name="connsiteX15" fmla="*/ 330992 w 437322"/>
                    <a:gd name="connsiteY15" fmla="*/ 235629 h 309562"/>
                    <a:gd name="connsiteX16" fmla="*/ 330992 w 437322"/>
                    <a:gd name="connsiteY16" fmla="*/ 234909 h 309562"/>
                    <a:gd name="connsiteX17" fmla="*/ 319742 w 437322"/>
                    <a:gd name="connsiteY17" fmla="*/ 251594 h 309562"/>
                    <a:gd name="connsiteX18" fmla="*/ 252339 w 437322"/>
                    <a:gd name="connsiteY18" fmla="*/ 279514 h 309562"/>
                    <a:gd name="connsiteX19" fmla="*/ 213557 w 437322"/>
                    <a:gd name="connsiteY19" fmla="*/ 279514 h 309562"/>
                    <a:gd name="connsiteX20" fmla="*/ 205010 w 437322"/>
                    <a:gd name="connsiteY20" fmla="*/ 300146 h 309562"/>
                    <a:gd name="connsiteX21" fmla="*/ 182279 w 437322"/>
                    <a:gd name="connsiteY21" fmla="*/ 309562 h 309562"/>
                    <a:gd name="connsiteX22" fmla="*/ 139189 w 437322"/>
                    <a:gd name="connsiteY22" fmla="*/ 309562 h 309562"/>
                    <a:gd name="connsiteX23" fmla="*/ 116458 w 437322"/>
                    <a:gd name="connsiteY23" fmla="*/ 300146 h 309562"/>
                    <a:gd name="connsiteX24" fmla="*/ 107911 w 437322"/>
                    <a:gd name="connsiteY24" fmla="*/ 279514 h 309562"/>
                    <a:gd name="connsiteX25" fmla="*/ 95323 w 437322"/>
                    <a:gd name="connsiteY25" fmla="*/ 279514 h 309562"/>
                    <a:gd name="connsiteX26" fmla="*/ 0 w 437322"/>
                    <a:gd name="connsiteY26" fmla="*/ 184191 h 3095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437322" h="309562">
                      <a:moveTo>
                        <a:pt x="0" y="184191"/>
                      </a:moveTo>
                      <a:lnTo>
                        <a:pt x="0" y="125371"/>
                      </a:lnTo>
                      <a:cubicBezTo>
                        <a:pt x="0" y="72726"/>
                        <a:pt x="42678" y="30048"/>
                        <a:pt x="95323" y="30048"/>
                      </a:cubicBezTo>
                      <a:lnTo>
                        <a:pt x="107911" y="30048"/>
                      </a:lnTo>
                      <a:lnTo>
                        <a:pt x="116458" y="9416"/>
                      </a:lnTo>
                      <a:cubicBezTo>
                        <a:pt x="122275" y="3598"/>
                        <a:pt x="130312" y="0"/>
                        <a:pt x="139189" y="0"/>
                      </a:cubicBezTo>
                      <a:lnTo>
                        <a:pt x="182279" y="0"/>
                      </a:lnTo>
                      <a:cubicBezTo>
                        <a:pt x="191156" y="0"/>
                        <a:pt x="199193" y="3598"/>
                        <a:pt x="205010" y="9416"/>
                      </a:cubicBezTo>
                      <a:lnTo>
                        <a:pt x="213557" y="30048"/>
                      </a:lnTo>
                      <a:lnTo>
                        <a:pt x="252339" y="30048"/>
                      </a:lnTo>
                      <a:cubicBezTo>
                        <a:pt x="278662" y="30048"/>
                        <a:pt x="302492" y="40718"/>
                        <a:pt x="319742" y="57968"/>
                      </a:cubicBezTo>
                      <a:lnTo>
                        <a:pt x="336441" y="82735"/>
                      </a:lnTo>
                      <a:lnTo>
                        <a:pt x="401600" y="66043"/>
                      </a:lnTo>
                      <a:lnTo>
                        <a:pt x="437322" y="147351"/>
                      </a:lnTo>
                      <a:lnTo>
                        <a:pt x="386796" y="235629"/>
                      </a:lnTo>
                      <a:lnTo>
                        <a:pt x="330992" y="235629"/>
                      </a:lnTo>
                      <a:lnTo>
                        <a:pt x="330992" y="234909"/>
                      </a:lnTo>
                      <a:lnTo>
                        <a:pt x="319742" y="251594"/>
                      </a:lnTo>
                      <a:cubicBezTo>
                        <a:pt x="302492" y="268845"/>
                        <a:pt x="278662" y="279514"/>
                        <a:pt x="252339" y="279514"/>
                      </a:cubicBezTo>
                      <a:lnTo>
                        <a:pt x="213557" y="279514"/>
                      </a:lnTo>
                      <a:lnTo>
                        <a:pt x="205010" y="300146"/>
                      </a:lnTo>
                      <a:cubicBezTo>
                        <a:pt x="199193" y="305964"/>
                        <a:pt x="191156" y="309562"/>
                        <a:pt x="182279" y="309562"/>
                      </a:cubicBezTo>
                      <a:lnTo>
                        <a:pt x="139189" y="309562"/>
                      </a:lnTo>
                      <a:cubicBezTo>
                        <a:pt x="130312" y="309562"/>
                        <a:pt x="122275" y="305964"/>
                        <a:pt x="116458" y="300146"/>
                      </a:cubicBezTo>
                      <a:lnTo>
                        <a:pt x="107911" y="279514"/>
                      </a:lnTo>
                      <a:lnTo>
                        <a:pt x="95323" y="279514"/>
                      </a:lnTo>
                      <a:cubicBezTo>
                        <a:pt x="42678" y="279514"/>
                        <a:pt x="0" y="236836"/>
                        <a:pt x="0" y="184191"/>
                      </a:cubicBezTo>
                      <a:close/>
                    </a:path>
                  </a:pathLst>
                </a:custGeom>
                <a:solidFill>
                  <a:srgbClr val="FFC000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2400" kern="0" dirty="0" smtClea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97" name="Freeform 196"/>
                <p:cNvSpPr/>
                <p:nvPr/>
              </p:nvSpPr>
              <p:spPr bwMode="auto">
                <a:xfrm>
                  <a:off x="10281961" y="3863532"/>
                  <a:ext cx="274220" cy="177722"/>
                </a:xfrm>
                <a:custGeom>
                  <a:avLst/>
                  <a:gdLst>
                    <a:gd name="connsiteX0" fmla="*/ 300038 w 300038"/>
                    <a:gd name="connsiteY0" fmla="*/ 190500 h 190500"/>
                    <a:gd name="connsiteX1" fmla="*/ 271463 w 300038"/>
                    <a:gd name="connsiteY1" fmla="*/ 116681 h 190500"/>
                    <a:gd name="connsiteX2" fmla="*/ 195263 w 300038"/>
                    <a:gd name="connsiteY2" fmla="*/ 107156 h 190500"/>
                    <a:gd name="connsiteX3" fmla="*/ 52388 w 300038"/>
                    <a:gd name="connsiteY3" fmla="*/ 100012 h 190500"/>
                    <a:gd name="connsiteX4" fmla="*/ 21431 w 300038"/>
                    <a:gd name="connsiteY4" fmla="*/ 119062 h 190500"/>
                    <a:gd name="connsiteX5" fmla="*/ 23813 w 300038"/>
                    <a:gd name="connsiteY5" fmla="*/ 164306 h 190500"/>
                    <a:gd name="connsiteX6" fmla="*/ 0 w 300038"/>
                    <a:gd name="connsiteY6" fmla="*/ 171450 h 190500"/>
                    <a:gd name="connsiteX7" fmla="*/ 97631 w 300038"/>
                    <a:gd name="connsiteY7" fmla="*/ 0 h 190500"/>
                    <a:gd name="connsiteX8" fmla="*/ 214313 w 300038"/>
                    <a:gd name="connsiteY8" fmla="*/ 40481 h 190500"/>
                    <a:gd name="connsiteX9" fmla="*/ 300038 w 300038"/>
                    <a:gd name="connsiteY9" fmla="*/ 190500 h 190500"/>
                    <a:gd name="connsiteX0" fmla="*/ 300038 w 300038"/>
                    <a:gd name="connsiteY0" fmla="*/ 190500 h 190500"/>
                    <a:gd name="connsiteX1" fmla="*/ 271463 w 300038"/>
                    <a:gd name="connsiteY1" fmla="*/ 116681 h 190500"/>
                    <a:gd name="connsiteX2" fmla="*/ 195263 w 300038"/>
                    <a:gd name="connsiteY2" fmla="*/ 107156 h 190500"/>
                    <a:gd name="connsiteX3" fmla="*/ 52388 w 300038"/>
                    <a:gd name="connsiteY3" fmla="*/ 100012 h 190500"/>
                    <a:gd name="connsiteX4" fmla="*/ 21431 w 300038"/>
                    <a:gd name="connsiteY4" fmla="*/ 119062 h 190500"/>
                    <a:gd name="connsiteX5" fmla="*/ 23813 w 300038"/>
                    <a:gd name="connsiteY5" fmla="*/ 164306 h 190500"/>
                    <a:gd name="connsiteX6" fmla="*/ 0 w 300038"/>
                    <a:gd name="connsiteY6" fmla="*/ 171450 h 190500"/>
                    <a:gd name="connsiteX7" fmla="*/ 97631 w 300038"/>
                    <a:gd name="connsiteY7" fmla="*/ 0 h 190500"/>
                    <a:gd name="connsiteX8" fmla="*/ 214313 w 300038"/>
                    <a:gd name="connsiteY8" fmla="*/ 40481 h 190500"/>
                    <a:gd name="connsiteX9" fmla="*/ 300038 w 300038"/>
                    <a:gd name="connsiteY9" fmla="*/ 190500 h 190500"/>
                    <a:gd name="connsiteX0" fmla="*/ 300038 w 300038"/>
                    <a:gd name="connsiteY0" fmla="*/ 190500 h 190500"/>
                    <a:gd name="connsiteX1" fmla="*/ 271463 w 300038"/>
                    <a:gd name="connsiteY1" fmla="*/ 116681 h 190500"/>
                    <a:gd name="connsiteX2" fmla="*/ 195263 w 300038"/>
                    <a:gd name="connsiteY2" fmla="*/ 107156 h 190500"/>
                    <a:gd name="connsiteX3" fmla="*/ 52388 w 300038"/>
                    <a:gd name="connsiteY3" fmla="*/ 100012 h 190500"/>
                    <a:gd name="connsiteX4" fmla="*/ 21431 w 300038"/>
                    <a:gd name="connsiteY4" fmla="*/ 119062 h 190500"/>
                    <a:gd name="connsiteX5" fmla="*/ 23813 w 300038"/>
                    <a:gd name="connsiteY5" fmla="*/ 164306 h 190500"/>
                    <a:gd name="connsiteX6" fmla="*/ 0 w 300038"/>
                    <a:gd name="connsiteY6" fmla="*/ 171450 h 190500"/>
                    <a:gd name="connsiteX7" fmla="*/ 97631 w 300038"/>
                    <a:gd name="connsiteY7" fmla="*/ 0 h 190500"/>
                    <a:gd name="connsiteX8" fmla="*/ 214313 w 300038"/>
                    <a:gd name="connsiteY8" fmla="*/ 40481 h 190500"/>
                    <a:gd name="connsiteX9" fmla="*/ 300038 w 300038"/>
                    <a:gd name="connsiteY9" fmla="*/ 190500 h 190500"/>
                    <a:gd name="connsiteX0" fmla="*/ 300038 w 301649"/>
                    <a:gd name="connsiteY0" fmla="*/ 190500 h 190500"/>
                    <a:gd name="connsiteX1" fmla="*/ 271463 w 301649"/>
                    <a:gd name="connsiteY1" fmla="*/ 116681 h 190500"/>
                    <a:gd name="connsiteX2" fmla="*/ 195263 w 301649"/>
                    <a:gd name="connsiteY2" fmla="*/ 107156 h 190500"/>
                    <a:gd name="connsiteX3" fmla="*/ 52388 w 301649"/>
                    <a:gd name="connsiteY3" fmla="*/ 100012 h 190500"/>
                    <a:gd name="connsiteX4" fmla="*/ 21431 w 301649"/>
                    <a:gd name="connsiteY4" fmla="*/ 119062 h 190500"/>
                    <a:gd name="connsiteX5" fmla="*/ 23813 w 301649"/>
                    <a:gd name="connsiteY5" fmla="*/ 164306 h 190500"/>
                    <a:gd name="connsiteX6" fmla="*/ 0 w 301649"/>
                    <a:gd name="connsiteY6" fmla="*/ 171450 h 190500"/>
                    <a:gd name="connsiteX7" fmla="*/ 97631 w 301649"/>
                    <a:gd name="connsiteY7" fmla="*/ 0 h 190500"/>
                    <a:gd name="connsiteX8" fmla="*/ 214313 w 301649"/>
                    <a:gd name="connsiteY8" fmla="*/ 40481 h 190500"/>
                    <a:gd name="connsiteX9" fmla="*/ 300038 w 301649"/>
                    <a:gd name="connsiteY9" fmla="*/ 190500 h 190500"/>
                    <a:gd name="connsiteX0" fmla="*/ 300038 w 301649"/>
                    <a:gd name="connsiteY0" fmla="*/ 194507 h 194507"/>
                    <a:gd name="connsiteX1" fmla="*/ 271463 w 301649"/>
                    <a:gd name="connsiteY1" fmla="*/ 120688 h 194507"/>
                    <a:gd name="connsiteX2" fmla="*/ 195263 w 301649"/>
                    <a:gd name="connsiteY2" fmla="*/ 111163 h 194507"/>
                    <a:gd name="connsiteX3" fmla="*/ 52388 w 301649"/>
                    <a:gd name="connsiteY3" fmla="*/ 104019 h 194507"/>
                    <a:gd name="connsiteX4" fmla="*/ 21431 w 301649"/>
                    <a:gd name="connsiteY4" fmla="*/ 123069 h 194507"/>
                    <a:gd name="connsiteX5" fmla="*/ 23813 w 301649"/>
                    <a:gd name="connsiteY5" fmla="*/ 168313 h 194507"/>
                    <a:gd name="connsiteX6" fmla="*/ 0 w 301649"/>
                    <a:gd name="connsiteY6" fmla="*/ 175457 h 194507"/>
                    <a:gd name="connsiteX7" fmla="*/ 97631 w 301649"/>
                    <a:gd name="connsiteY7" fmla="*/ 4007 h 194507"/>
                    <a:gd name="connsiteX8" fmla="*/ 214313 w 301649"/>
                    <a:gd name="connsiteY8" fmla="*/ 44488 h 194507"/>
                    <a:gd name="connsiteX9" fmla="*/ 300038 w 301649"/>
                    <a:gd name="connsiteY9" fmla="*/ 194507 h 194507"/>
                    <a:gd name="connsiteX0" fmla="*/ 300038 w 301649"/>
                    <a:gd name="connsiteY0" fmla="*/ 195665 h 195665"/>
                    <a:gd name="connsiteX1" fmla="*/ 271463 w 301649"/>
                    <a:gd name="connsiteY1" fmla="*/ 121846 h 195665"/>
                    <a:gd name="connsiteX2" fmla="*/ 195263 w 301649"/>
                    <a:gd name="connsiteY2" fmla="*/ 112321 h 195665"/>
                    <a:gd name="connsiteX3" fmla="*/ 52388 w 301649"/>
                    <a:gd name="connsiteY3" fmla="*/ 105177 h 195665"/>
                    <a:gd name="connsiteX4" fmla="*/ 21431 w 301649"/>
                    <a:gd name="connsiteY4" fmla="*/ 124227 h 195665"/>
                    <a:gd name="connsiteX5" fmla="*/ 23813 w 301649"/>
                    <a:gd name="connsiteY5" fmla="*/ 169471 h 195665"/>
                    <a:gd name="connsiteX6" fmla="*/ 0 w 301649"/>
                    <a:gd name="connsiteY6" fmla="*/ 176615 h 195665"/>
                    <a:gd name="connsiteX7" fmla="*/ 97631 w 301649"/>
                    <a:gd name="connsiteY7" fmla="*/ 5165 h 195665"/>
                    <a:gd name="connsiteX8" fmla="*/ 214313 w 301649"/>
                    <a:gd name="connsiteY8" fmla="*/ 45646 h 195665"/>
                    <a:gd name="connsiteX9" fmla="*/ 300038 w 301649"/>
                    <a:gd name="connsiteY9" fmla="*/ 195665 h 195665"/>
                    <a:gd name="connsiteX0" fmla="*/ 300038 w 301649"/>
                    <a:gd name="connsiteY0" fmla="*/ 195665 h 195665"/>
                    <a:gd name="connsiteX1" fmla="*/ 271463 w 301649"/>
                    <a:gd name="connsiteY1" fmla="*/ 121846 h 195665"/>
                    <a:gd name="connsiteX2" fmla="*/ 195263 w 301649"/>
                    <a:gd name="connsiteY2" fmla="*/ 112321 h 195665"/>
                    <a:gd name="connsiteX3" fmla="*/ 52388 w 301649"/>
                    <a:gd name="connsiteY3" fmla="*/ 105177 h 195665"/>
                    <a:gd name="connsiteX4" fmla="*/ 45243 w 301649"/>
                    <a:gd name="connsiteY4" fmla="*/ 150420 h 195665"/>
                    <a:gd name="connsiteX5" fmla="*/ 23813 w 301649"/>
                    <a:gd name="connsiteY5" fmla="*/ 169471 h 195665"/>
                    <a:gd name="connsiteX6" fmla="*/ 0 w 301649"/>
                    <a:gd name="connsiteY6" fmla="*/ 176615 h 195665"/>
                    <a:gd name="connsiteX7" fmla="*/ 97631 w 301649"/>
                    <a:gd name="connsiteY7" fmla="*/ 5165 h 195665"/>
                    <a:gd name="connsiteX8" fmla="*/ 214313 w 301649"/>
                    <a:gd name="connsiteY8" fmla="*/ 45646 h 195665"/>
                    <a:gd name="connsiteX9" fmla="*/ 300038 w 301649"/>
                    <a:gd name="connsiteY9" fmla="*/ 195665 h 195665"/>
                    <a:gd name="connsiteX0" fmla="*/ 300483 w 302094"/>
                    <a:gd name="connsiteY0" fmla="*/ 195665 h 195665"/>
                    <a:gd name="connsiteX1" fmla="*/ 271908 w 302094"/>
                    <a:gd name="connsiteY1" fmla="*/ 121846 h 195665"/>
                    <a:gd name="connsiteX2" fmla="*/ 195708 w 302094"/>
                    <a:gd name="connsiteY2" fmla="*/ 112321 h 195665"/>
                    <a:gd name="connsiteX3" fmla="*/ 52833 w 302094"/>
                    <a:gd name="connsiteY3" fmla="*/ 105177 h 195665"/>
                    <a:gd name="connsiteX4" fmla="*/ 45688 w 302094"/>
                    <a:gd name="connsiteY4" fmla="*/ 150420 h 195665"/>
                    <a:gd name="connsiteX5" fmla="*/ 24258 w 302094"/>
                    <a:gd name="connsiteY5" fmla="*/ 169471 h 195665"/>
                    <a:gd name="connsiteX6" fmla="*/ 445 w 302094"/>
                    <a:gd name="connsiteY6" fmla="*/ 176615 h 195665"/>
                    <a:gd name="connsiteX7" fmla="*/ 98076 w 302094"/>
                    <a:gd name="connsiteY7" fmla="*/ 5165 h 195665"/>
                    <a:gd name="connsiteX8" fmla="*/ 214758 w 302094"/>
                    <a:gd name="connsiteY8" fmla="*/ 45646 h 195665"/>
                    <a:gd name="connsiteX9" fmla="*/ 300483 w 302094"/>
                    <a:gd name="connsiteY9" fmla="*/ 195665 h 195665"/>
                    <a:gd name="connsiteX0" fmla="*/ 300483 w 302094"/>
                    <a:gd name="connsiteY0" fmla="*/ 195665 h 195665"/>
                    <a:gd name="connsiteX1" fmla="*/ 271908 w 302094"/>
                    <a:gd name="connsiteY1" fmla="*/ 121846 h 195665"/>
                    <a:gd name="connsiteX2" fmla="*/ 195708 w 302094"/>
                    <a:gd name="connsiteY2" fmla="*/ 112321 h 195665"/>
                    <a:gd name="connsiteX3" fmla="*/ 52833 w 302094"/>
                    <a:gd name="connsiteY3" fmla="*/ 105177 h 195665"/>
                    <a:gd name="connsiteX4" fmla="*/ 45688 w 302094"/>
                    <a:gd name="connsiteY4" fmla="*/ 150420 h 195665"/>
                    <a:gd name="connsiteX5" fmla="*/ 21877 w 302094"/>
                    <a:gd name="connsiteY5" fmla="*/ 131371 h 195665"/>
                    <a:gd name="connsiteX6" fmla="*/ 445 w 302094"/>
                    <a:gd name="connsiteY6" fmla="*/ 176615 h 195665"/>
                    <a:gd name="connsiteX7" fmla="*/ 98076 w 302094"/>
                    <a:gd name="connsiteY7" fmla="*/ 5165 h 195665"/>
                    <a:gd name="connsiteX8" fmla="*/ 214758 w 302094"/>
                    <a:gd name="connsiteY8" fmla="*/ 45646 h 195665"/>
                    <a:gd name="connsiteX9" fmla="*/ 300483 w 302094"/>
                    <a:gd name="connsiteY9" fmla="*/ 195665 h 195665"/>
                    <a:gd name="connsiteX0" fmla="*/ 300483 w 302094"/>
                    <a:gd name="connsiteY0" fmla="*/ 195665 h 195665"/>
                    <a:gd name="connsiteX1" fmla="*/ 271908 w 302094"/>
                    <a:gd name="connsiteY1" fmla="*/ 121846 h 195665"/>
                    <a:gd name="connsiteX2" fmla="*/ 195708 w 302094"/>
                    <a:gd name="connsiteY2" fmla="*/ 112321 h 195665"/>
                    <a:gd name="connsiteX3" fmla="*/ 52833 w 302094"/>
                    <a:gd name="connsiteY3" fmla="*/ 105177 h 195665"/>
                    <a:gd name="connsiteX4" fmla="*/ 43307 w 302094"/>
                    <a:gd name="connsiteY4" fmla="*/ 126608 h 195665"/>
                    <a:gd name="connsiteX5" fmla="*/ 21877 w 302094"/>
                    <a:gd name="connsiteY5" fmla="*/ 131371 h 195665"/>
                    <a:gd name="connsiteX6" fmla="*/ 445 w 302094"/>
                    <a:gd name="connsiteY6" fmla="*/ 176615 h 195665"/>
                    <a:gd name="connsiteX7" fmla="*/ 98076 w 302094"/>
                    <a:gd name="connsiteY7" fmla="*/ 5165 h 195665"/>
                    <a:gd name="connsiteX8" fmla="*/ 214758 w 302094"/>
                    <a:gd name="connsiteY8" fmla="*/ 45646 h 195665"/>
                    <a:gd name="connsiteX9" fmla="*/ 300483 w 302094"/>
                    <a:gd name="connsiteY9" fmla="*/ 195665 h 195665"/>
                    <a:gd name="connsiteX0" fmla="*/ 300483 w 302094"/>
                    <a:gd name="connsiteY0" fmla="*/ 195665 h 195665"/>
                    <a:gd name="connsiteX1" fmla="*/ 271908 w 302094"/>
                    <a:gd name="connsiteY1" fmla="*/ 121846 h 195665"/>
                    <a:gd name="connsiteX2" fmla="*/ 195708 w 302094"/>
                    <a:gd name="connsiteY2" fmla="*/ 112321 h 195665"/>
                    <a:gd name="connsiteX3" fmla="*/ 52833 w 302094"/>
                    <a:gd name="connsiteY3" fmla="*/ 105177 h 195665"/>
                    <a:gd name="connsiteX4" fmla="*/ 43307 w 302094"/>
                    <a:gd name="connsiteY4" fmla="*/ 126608 h 195665"/>
                    <a:gd name="connsiteX5" fmla="*/ 12352 w 302094"/>
                    <a:gd name="connsiteY5" fmla="*/ 171852 h 195665"/>
                    <a:gd name="connsiteX6" fmla="*/ 445 w 302094"/>
                    <a:gd name="connsiteY6" fmla="*/ 176615 h 195665"/>
                    <a:gd name="connsiteX7" fmla="*/ 98076 w 302094"/>
                    <a:gd name="connsiteY7" fmla="*/ 5165 h 195665"/>
                    <a:gd name="connsiteX8" fmla="*/ 214758 w 302094"/>
                    <a:gd name="connsiteY8" fmla="*/ 45646 h 195665"/>
                    <a:gd name="connsiteX9" fmla="*/ 300483 w 302094"/>
                    <a:gd name="connsiteY9" fmla="*/ 195665 h 195665"/>
                    <a:gd name="connsiteX0" fmla="*/ 300483 w 302094"/>
                    <a:gd name="connsiteY0" fmla="*/ 195665 h 195665"/>
                    <a:gd name="connsiteX1" fmla="*/ 271908 w 302094"/>
                    <a:gd name="connsiteY1" fmla="*/ 121846 h 195665"/>
                    <a:gd name="connsiteX2" fmla="*/ 195708 w 302094"/>
                    <a:gd name="connsiteY2" fmla="*/ 112321 h 195665"/>
                    <a:gd name="connsiteX3" fmla="*/ 52833 w 302094"/>
                    <a:gd name="connsiteY3" fmla="*/ 105177 h 195665"/>
                    <a:gd name="connsiteX4" fmla="*/ 43307 w 302094"/>
                    <a:gd name="connsiteY4" fmla="*/ 126608 h 195665"/>
                    <a:gd name="connsiteX5" fmla="*/ 12352 w 302094"/>
                    <a:gd name="connsiteY5" fmla="*/ 171852 h 195665"/>
                    <a:gd name="connsiteX6" fmla="*/ 445 w 302094"/>
                    <a:gd name="connsiteY6" fmla="*/ 176615 h 195665"/>
                    <a:gd name="connsiteX7" fmla="*/ 98076 w 302094"/>
                    <a:gd name="connsiteY7" fmla="*/ 5165 h 195665"/>
                    <a:gd name="connsiteX8" fmla="*/ 214758 w 302094"/>
                    <a:gd name="connsiteY8" fmla="*/ 45646 h 195665"/>
                    <a:gd name="connsiteX9" fmla="*/ 300483 w 302094"/>
                    <a:gd name="connsiteY9" fmla="*/ 195665 h 195665"/>
                    <a:gd name="connsiteX0" fmla="*/ 300483 w 302094"/>
                    <a:gd name="connsiteY0" fmla="*/ 195665 h 195665"/>
                    <a:gd name="connsiteX1" fmla="*/ 271908 w 302094"/>
                    <a:gd name="connsiteY1" fmla="*/ 121846 h 195665"/>
                    <a:gd name="connsiteX2" fmla="*/ 195708 w 302094"/>
                    <a:gd name="connsiteY2" fmla="*/ 112321 h 195665"/>
                    <a:gd name="connsiteX3" fmla="*/ 52833 w 302094"/>
                    <a:gd name="connsiteY3" fmla="*/ 105177 h 195665"/>
                    <a:gd name="connsiteX4" fmla="*/ 43307 w 302094"/>
                    <a:gd name="connsiteY4" fmla="*/ 126608 h 195665"/>
                    <a:gd name="connsiteX5" fmla="*/ 12352 w 302094"/>
                    <a:gd name="connsiteY5" fmla="*/ 171852 h 195665"/>
                    <a:gd name="connsiteX6" fmla="*/ 445 w 302094"/>
                    <a:gd name="connsiteY6" fmla="*/ 176615 h 195665"/>
                    <a:gd name="connsiteX7" fmla="*/ 98076 w 302094"/>
                    <a:gd name="connsiteY7" fmla="*/ 5165 h 195665"/>
                    <a:gd name="connsiteX8" fmla="*/ 214758 w 302094"/>
                    <a:gd name="connsiteY8" fmla="*/ 45646 h 195665"/>
                    <a:gd name="connsiteX9" fmla="*/ 300483 w 302094"/>
                    <a:gd name="connsiteY9" fmla="*/ 195665 h 195665"/>
                    <a:gd name="connsiteX0" fmla="*/ 300483 w 302094"/>
                    <a:gd name="connsiteY0" fmla="*/ 195665 h 195665"/>
                    <a:gd name="connsiteX1" fmla="*/ 271908 w 302094"/>
                    <a:gd name="connsiteY1" fmla="*/ 121846 h 195665"/>
                    <a:gd name="connsiteX2" fmla="*/ 195708 w 302094"/>
                    <a:gd name="connsiteY2" fmla="*/ 112321 h 195665"/>
                    <a:gd name="connsiteX3" fmla="*/ 52833 w 302094"/>
                    <a:gd name="connsiteY3" fmla="*/ 105177 h 195665"/>
                    <a:gd name="connsiteX4" fmla="*/ 43307 w 302094"/>
                    <a:gd name="connsiteY4" fmla="*/ 126608 h 195665"/>
                    <a:gd name="connsiteX5" fmla="*/ 12352 w 302094"/>
                    <a:gd name="connsiteY5" fmla="*/ 171852 h 195665"/>
                    <a:gd name="connsiteX6" fmla="*/ 445 w 302094"/>
                    <a:gd name="connsiteY6" fmla="*/ 176615 h 195665"/>
                    <a:gd name="connsiteX7" fmla="*/ 98076 w 302094"/>
                    <a:gd name="connsiteY7" fmla="*/ 5165 h 195665"/>
                    <a:gd name="connsiteX8" fmla="*/ 214758 w 302094"/>
                    <a:gd name="connsiteY8" fmla="*/ 45646 h 195665"/>
                    <a:gd name="connsiteX9" fmla="*/ 300483 w 302094"/>
                    <a:gd name="connsiteY9" fmla="*/ 195665 h 195665"/>
                    <a:gd name="connsiteX0" fmla="*/ 300483 w 302094"/>
                    <a:gd name="connsiteY0" fmla="*/ 195665 h 195665"/>
                    <a:gd name="connsiteX1" fmla="*/ 271908 w 302094"/>
                    <a:gd name="connsiteY1" fmla="*/ 121846 h 195665"/>
                    <a:gd name="connsiteX2" fmla="*/ 195708 w 302094"/>
                    <a:gd name="connsiteY2" fmla="*/ 112321 h 195665"/>
                    <a:gd name="connsiteX3" fmla="*/ 52833 w 302094"/>
                    <a:gd name="connsiteY3" fmla="*/ 105177 h 195665"/>
                    <a:gd name="connsiteX4" fmla="*/ 43307 w 302094"/>
                    <a:gd name="connsiteY4" fmla="*/ 126608 h 195665"/>
                    <a:gd name="connsiteX5" fmla="*/ 12352 w 302094"/>
                    <a:gd name="connsiteY5" fmla="*/ 171852 h 195665"/>
                    <a:gd name="connsiteX6" fmla="*/ 445 w 302094"/>
                    <a:gd name="connsiteY6" fmla="*/ 176615 h 195665"/>
                    <a:gd name="connsiteX7" fmla="*/ 98076 w 302094"/>
                    <a:gd name="connsiteY7" fmla="*/ 5165 h 195665"/>
                    <a:gd name="connsiteX8" fmla="*/ 214758 w 302094"/>
                    <a:gd name="connsiteY8" fmla="*/ 45646 h 195665"/>
                    <a:gd name="connsiteX9" fmla="*/ 300483 w 302094"/>
                    <a:gd name="connsiteY9" fmla="*/ 195665 h 195665"/>
                    <a:gd name="connsiteX0" fmla="*/ 300483 w 301906"/>
                    <a:gd name="connsiteY0" fmla="*/ 195665 h 195665"/>
                    <a:gd name="connsiteX1" fmla="*/ 271908 w 301906"/>
                    <a:gd name="connsiteY1" fmla="*/ 121846 h 195665"/>
                    <a:gd name="connsiteX2" fmla="*/ 195708 w 301906"/>
                    <a:gd name="connsiteY2" fmla="*/ 112321 h 195665"/>
                    <a:gd name="connsiteX3" fmla="*/ 52833 w 301906"/>
                    <a:gd name="connsiteY3" fmla="*/ 105177 h 195665"/>
                    <a:gd name="connsiteX4" fmla="*/ 43307 w 301906"/>
                    <a:gd name="connsiteY4" fmla="*/ 126608 h 195665"/>
                    <a:gd name="connsiteX5" fmla="*/ 12352 w 301906"/>
                    <a:gd name="connsiteY5" fmla="*/ 171852 h 195665"/>
                    <a:gd name="connsiteX6" fmla="*/ 445 w 301906"/>
                    <a:gd name="connsiteY6" fmla="*/ 176615 h 195665"/>
                    <a:gd name="connsiteX7" fmla="*/ 98076 w 301906"/>
                    <a:gd name="connsiteY7" fmla="*/ 5165 h 195665"/>
                    <a:gd name="connsiteX8" fmla="*/ 214758 w 301906"/>
                    <a:gd name="connsiteY8" fmla="*/ 45646 h 195665"/>
                    <a:gd name="connsiteX9" fmla="*/ 300483 w 301906"/>
                    <a:gd name="connsiteY9" fmla="*/ 195665 h 195665"/>
                    <a:gd name="connsiteX0" fmla="*/ 300483 w 301906"/>
                    <a:gd name="connsiteY0" fmla="*/ 195665 h 195665"/>
                    <a:gd name="connsiteX1" fmla="*/ 271908 w 301906"/>
                    <a:gd name="connsiteY1" fmla="*/ 121846 h 195665"/>
                    <a:gd name="connsiteX2" fmla="*/ 195708 w 301906"/>
                    <a:gd name="connsiteY2" fmla="*/ 112321 h 195665"/>
                    <a:gd name="connsiteX3" fmla="*/ 52833 w 301906"/>
                    <a:gd name="connsiteY3" fmla="*/ 105177 h 195665"/>
                    <a:gd name="connsiteX4" fmla="*/ 43307 w 301906"/>
                    <a:gd name="connsiteY4" fmla="*/ 126608 h 195665"/>
                    <a:gd name="connsiteX5" fmla="*/ 12352 w 301906"/>
                    <a:gd name="connsiteY5" fmla="*/ 171852 h 195665"/>
                    <a:gd name="connsiteX6" fmla="*/ 445 w 301906"/>
                    <a:gd name="connsiteY6" fmla="*/ 176615 h 195665"/>
                    <a:gd name="connsiteX7" fmla="*/ 98076 w 301906"/>
                    <a:gd name="connsiteY7" fmla="*/ 5165 h 195665"/>
                    <a:gd name="connsiteX8" fmla="*/ 214758 w 301906"/>
                    <a:gd name="connsiteY8" fmla="*/ 45646 h 195665"/>
                    <a:gd name="connsiteX9" fmla="*/ 300483 w 301906"/>
                    <a:gd name="connsiteY9" fmla="*/ 195665 h 1956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01906" h="195665">
                      <a:moveTo>
                        <a:pt x="300483" y="195665"/>
                      </a:moveTo>
                      <a:cubicBezTo>
                        <a:pt x="231426" y="159153"/>
                        <a:pt x="281433" y="146452"/>
                        <a:pt x="271908" y="121846"/>
                      </a:cubicBezTo>
                      <a:cubicBezTo>
                        <a:pt x="246508" y="130578"/>
                        <a:pt x="221108" y="115496"/>
                        <a:pt x="195708" y="112321"/>
                      </a:cubicBezTo>
                      <a:cubicBezTo>
                        <a:pt x="117127" y="138515"/>
                        <a:pt x="86170" y="124227"/>
                        <a:pt x="52833" y="105177"/>
                      </a:cubicBezTo>
                      <a:lnTo>
                        <a:pt x="43307" y="126608"/>
                      </a:lnTo>
                      <a:cubicBezTo>
                        <a:pt x="32989" y="141689"/>
                        <a:pt x="32195" y="178203"/>
                        <a:pt x="12352" y="171852"/>
                      </a:cubicBezTo>
                      <a:lnTo>
                        <a:pt x="445" y="176615"/>
                      </a:lnTo>
                      <a:cubicBezTo>
                        <a:pt x="-2730" y="105177"/>
                        <a:pt x="9176" y="22627"/>
                        <a:pt x="98076" y="5165"/>
                      </a:cubicBezTo>
                      <a:cubicBezTo>
                        <a:pt x="186976" y="-12297"/>
                        <a:pt x="204439" y="17864"/>
                        <a:pt x="214758" y="45646"/>
                      </a:cubicBezTo>
                      <a:cubicBezTo>
                        <a:pt x="302864" y="31358"/>
                        <a:pt x="305246" y="133753"/>
                        <a:pt x="300483" y="195665"/>
                      </a:cubicBezTo>
                      <a:close/>
                    </a:path>
                  </a:pathLst>
                </a:custGeom>
                <a:solidFill>
                  <a:srgbClr val="663300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98" name="Freeform 197"/>
                <p:cNvSpPr/>
                <p:nvPr/>
              </p:nvSpPr>
              <p:spPr bwMode="auto">
                <a:xfrm flipH="1">
                  <a:off x="10217381" y="5101358"/>
                  <a:ext cx="397008" cy="944988"/>
                </a:xfrm>
                <a:custGeom>
                  <a:avLst/>
                  <a:gdLst>
                    <a:gd name="connsiteX0" fmla="*/ 230981 w 464344"/>
                    <a:gd name="connsiteY0" fmla="*/ 0 h 854869"/>
                    <a:gd name="connsiteX1" fmla="*/ 0 w 464344"/>
                    <a:gd name="connsiteY1" fmla="*/ 61913 h 854869"/>
                    <a:gd name="connsiteX2" fmla="*/ 38100 w 464344"/>
                    <a:gd name="connsiteY2" fmla="*/ 854869 h 854869"/>
                    <a:gd name="connsiteX3" fmla="*/ 195262 w 464344"/>
                    <a:gd name="connsiteY3" fmla="*/ 854869 h 854869"/>
                    <a:gd name="connsiteX4" fmla="*/ 233363 w 464344"/>
                    <a:gd name="connsiteY4" fmla="*/ 0 h 854869"/>
                    <a:gd name="connsiteX5" fmla="*/ 269082 w 464344"/>
                    <a:gd name="connsiteY5" fmla="*/ 854869 h 854869"/>
                    <a:gd name="connsiteX6" fmla="*/ 426244 w 464344"/>
                    <a:gd name="connsiteY6" fmla="*/ 854869 h 854869"/>
                    <a:gd name="connsiteX7" fmla="*/ 464344 w 464344"/>
                    <a:gd name="connsiteY7" fmla="*/ 61913 h 854869"/>
                    <a:gd name="connsiteX0" fmla="*/ 230981 w 464344"/>
                    <a:gd name="connsiteY0" fmla="*/ 0 h 854869"/>
                    <a:gd name="connsiteX1" fmla="*/ 0 w 464344"/>
                    <a:gd name="connsiteY1" fmla="*/ 1947 h 854869"/>
                    <a:gd name="connsiteX2" fmla="*/ 38100 w 464344"/>
                    <a:gd name="connsiteY2" fmla="*/ 854869 h 854869"/>
                    <a:gd name="connsiteX3" fmla="*/ 195262 w 464344"/>
                    <a:gd name="connsiteY3" fmla="*/ 854869 h 854869"/>
                    <a:gd name="connsiteX4" fmla="*/ 230981 w 464344"/>
                    <a:gd name="connsiteY4" fmla="*/ 0 h 854869"/>
                    <a:gd name="connsiteX5" fmla="*/ 233363 w 464344"/>
                    <a:gd name="connsiteY5" fmla="*/ 0 h 854869"/>
                    <a:gd name="connsiteX6" fmla="*/ 269082 w 464344"/>
                    <a:gd name="connsiteY6" fmla="*/ 854869 h 854869"/>
                    <a:gd name="connsiteX7" fmla="*/ 426244 w 464344"/>
                    <a:gd name="connsiteY7" fmla="*/ 854869 h 854869"/>
                    <a:gd name="connsiteX8" fmla="*/ 464344 w 464344"/>
                    <a:gd name="connsiteY8" fmla="*/ 61913 h 854869"/>
                    <a:gd name="connsiteX9" fmla="*/ 233363 w 464344"/>
                    <a:gd name="connsiteY9" fmla="*/ 0 h 854869"/>
                    <a:gd name="connsiteX0" fmla="*/ 230981 w 467334"/>
                    <a:gd name="connsiteY0" fmla="*/ 0 h 854869"/>
                    <a:gd name="connsiteX1" fmla="*/ 0 w 467334"/>
                    <a:gd name="connsiteY1" fmla="*/ 1947 h 854869"/>
                    <a:gd name="connsiteX2" fmla="*/ 38100 w 467334"/>
                    <a:gd name="connsiteY2" fmla="*/ 854869 h 854869"/>
                    <a:gd name="connsiteX3" fmla="*/ 195262 w 467334"/>
                    <a:gd name="connsiteY3" fmla="*/ 854869 h 854869"/>
                    <a:gd name="connsiteX4" fmla="*/ 230981 w 467334"/>
                    <a:gd name="connsiteY4" fmla="*/ 0 h 854869"/>
                    <a:gd name="connsiteX5" fmla="*/ 233363 w 467334"/>
                    <a:gd name="connsiteY5" fmla="*/ 0 h 854869"/>
                    <a:gd name="connsiteX6" fmla="*/ 269082 w 467334"/>
                    <a:gd name="connsiteY6" fmla="*/ 854869 h 854869"/>
                    <a:gd name="connsiteX7" fmla="*/ 426244 w 467334"/>
                    <a:gd name="connsiteY7" fmla="*/ 854869 h 854869"/>
                    <a:gd name="connsiteX8" fmla="*/ 467334 w 467334"/>
                    <a:gd name="connsiteY8" fmla="*/ 7398 h 854869"/>
                    <a:gd name="connsiteX9" fmla="*/ 233363 w 467334"/>
                    <a:gd name="connsiteY9" fmla="*/ 0 h 8548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67334" h="854869">
                      <a:moveTo>
                        <a:pt x="230981" y="0"/>
                      </a:moveTo>
                      <a:lnTo>
                        <a:pt x="0" y="1947"/>
                      </a:lnTo>
                      <a:lnTo>
                        <a:pt x="38100" y="854869"/>
                      </a:lnTo>
                      <a:lnTo>
                        <a:pt x="195262" y="854869"/>
                      </a:lnTo>
                      <a:lnTo>
                        <a:pt x="230981" y="0"/>
                      </a:lnTo>
                      <a:close/>
                      <a:moveTo>
                        <a:pt x="233363" y="0"/>
                      </a:moveTo>
                      <a:lnTo>
                        <a:pt x="269082" y="854869"/>
                      </a:lnTo>
                      <a:lnTo>
                        <a:pt x="426244" y="854869"/>
                      </a:lnTo>
                      <a:lnTo>
                        <a:pt x="467334" y="7398"/>
                      </a:lnTo>
                      <a:lnTo>
                        <a:pt x="233363" y="0"/>
                      </a:lnTo>
                      <a:close/>
                    </a:path>
                  </a:pathLst>
                </a:custGeom>
                <a:solidFill>
                  <a:srgbClr val="4BACC6">
                    <a:lumMod val="50000"/>
                  </a:srgbClr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99" name="Freeform 198"/>
                <p:cNvSpPr/>
                <p:nvPr/>
              </p:nvSpPr>
              <p:spPr bwMode="auto">
                <a:xfrm>
                  <a:off x="10437132" y="6024536"/>
                  <a:ext cx="159466" cy="92773"/>
                </a:xfrm>
                <a:custGeom>
                  <a:avLst/>
                  <a:gdLst>
                    <a:gd name="connsiteX0" fmla="*/ 93857 w 187714"/>
                    <a:gd name="connsiteY0" fmla="*/ 0 h 93056"/>
                    <a:gd name="connsiteX1" fmla="*/ 180525 w 187714"/>
                    <a:gd name="connsiteY1" fmla="*/ 57448 h 93056"/>
                    <a:gd name="connsiteX2" fmla="*/ 187714 w 187714"/>
                    <a:gd name="connsiteY2" fmla="*/ 93056 h 93056"/>
                    <a:gd name="connsiteX3" fmla="*/ 0 w 187714"/>
                    <a:gd name="connsiteY3" fmla="*/ 93056 h 93056"/>
                    <a:gd name="connsiteX4" fmla="*/ 7189 w 187714"/>
                    <a:gd name="connsiteY4" fmla="*/ 57448 h 93056"/>
                    <a:gd name="connsiteX5" fmla="*/ 93857 w 187714"/>
                    <a:gd name="connsiteY5" fmla="*/ 0 h 93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87714" h="93056">
                      <a:moveTo>
                        <a:pt x="93857" y="0"/>
                      </a:moveTo>
                      <a:cubicBezTo>
                        <a:pt x="132818" y="0"/>
                        <a:pt x="166246" y="23688"/>
                        <a:pt x="180525" y="57448"/>
                      </a:cubicBezTo>
                      <a:lnTo>
                        <a:pt x="187714" y="93056"/>
                      </a:lnTo>
                      <a:lnTo>
                        <a:pt x="0" y="93056"/>
                      </a:lnTo>
                      <a:lnTo>
                        <a:pt x="7189" y="57448"/>
                      </a:lnTo>
                      <a:cubicBezTo>
                        <a:pt x="21468" y="23688"/>
                        <a:pt x="54896" y="0"/>
                        <a:pt x="93857" y="0"/>
                      </a:cubicBezTo>
                      <a:close/>
                    </a:path>
                  </a:pathLst>
                </a:custGeom>
                <a:solidFill>
                  <a:srgbClr val="3F3F3F">
                    <a:lumMod val="95000"/>
                    <a:lumOff val="5000"/>
                  </a:srgbClr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2400" kern="0" dirty="0" smtClea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200" name="Freeform 199"/>
                <p:cNvSpPr/>
                <p:nvPr/>
              </p:nvSpPr>
              <p:spPr bwMode="auto">
                <a:xfrm>
                  <a:off x="10236863" y="6029944"/>
                  <a:ext cx="159466" cy="92773"/>
                </a:xfrm>
                <a:custGeom>
                  <a:avLst/>
                  <a:gdLst>
                    <a:gd name="connsiteX0" fmla="*/ 93857 w 187714"/>
                    <a:gd name="connsiteY0" fmla="*/ 0 h 93056"/>
                    <a:gd name="connsiteX1" fmla="*/ 180525 w 187714"/>
                    <a:gd name="connsiteY1" fmla="*/ 57448 h 93056"/>
                    <a:gd name="connsiteX2" fmla="*/ 187714 w 187714"/>
                    <a:gd name="connsiteY2" fmla="*/ 93056 h 93056"/>
                    <a:gd name="connsiteX3" fmla="*/ 0 w 187714"/>
                    <a:gd name="connsiteY3" fmla="*/ 93056 h 93056"/>
                    <a:gd name="connsiteX4" fmla="*/ 7189 w 187714"/>
                    <a:gd name="connsiteY4" fmla="*/ 57448 h 93056"/>
                    <a:gd name="connsiteX5" fmla="*/ 93857 w 187714"/>
                    <a:gd name="connsiteY5" fmla="*/ 0 h 93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87714" h="93056">
                      <a:moveTo>
                        <a:pt x="93857" y="0"/>
                      </a:moveTo>
                      <a:cubicBezTo>
                        <a:pt x="132818" y="0"/>
                        <a:pt x="166246" y="23688"/>
                        <a:pt x="180525" y="57448"/>
                      </a:cubicBezTo>
                      <a:lnTo>
                        <a:pt x="187714" y="93056"/>
                      </a:lnTo>
                      <a:lnTo>
                        <a:pt x="0" y="93056"/>
                      </a:lnTo>
                      <a:lnTo>
                        <a:pt x="7189" y="57448"/>
                      </a:lnTo>
                      <a:cubicBezTo>
                        <a:pt x="21468" y="23688"/>
                        <a:pt x="54896" y="0"/>
                        <a:pt x="93857" y="0"/>
                      </a:cubicBezTo>
                      <a:close/>
                    </a:path>
                  </a:pathLst>
                </a:custGeom>
                <a:solidFill>
                  <a:srgbClr val="3F3F3F">
                    <a:lumMod val="95000"/>
                    <a:lumOff val="5000"/>
                  </a:srgbClr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2400" kern="0" dirty="0" smtClea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grpSp>
              <p:nvGrpSpPr>
                <p:cNvPr id="201" name="Group 200"/>
                <p:cNvGrpSpPr/>
                <p:nvPr/>
              </p:nvGrpSpPr>
              <p:grpSpPr>
                <a:xfrm flipH="1">
                  <a:off x="9985133" y="4270518"/>
                  <a:ext cx="187051" cy="916362"/>
                  <a:chOff x="5891911" y="4348024"/>
                  <a:chExt cx="187051" cy="780844"/>
                </a:xfrm>
              </p:grpSpPr>
              <p:sp>
                <p:nvSpPr>
                  <p:cNvPr id="203" name="Rounded Rectangle 202"/>
                  <p:cNvSpPr/>
                  <p:nvPr/>
                </p:nvSpPr>
                <p:spPr bwMode="auto">
                  <a:xfrm>
                    <a:off x="5986406" y="4983218"/>
                    <a:ext cx="90837" cy="145650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FFC000"/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ctr" defTabSz="932472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US" sz="2400" kern="0" dirty="0" smtClean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204" name="Freeform 203"/>
                  <p:cNvSpPr/>
                  <p:nvPr/>
                </p:nvSpPr>
                <p:spPr bwMode="auto">
                  <a:xfrm>
                    <a:off x="5891911" y="4348024"/>
                    <a:ext cx="187051" cy="708019"/>
                  </a:xfrm>
                  <a:custGeom>
                    <a:avLst/>
                    <a:gdLst>
                      <a:gd name="connsiteX0" fmla="*/ 7144 w 238125"/>
                      <a:gd name="connsiteY0" fmla="*/ 0 h 833437"/>
                      <a:gd name="connsiteX1" fmla="*/ 238125 w 238125"/>
                      <a:gd name="connsiteY1" fmla="*/ 833437 h 833437"/>
                      <a:gd name="connsiteX2" fmla="*/ 109537 w 238125"/>
                      <a:gd name="connsiteY2" fmla="*/ 833437 h 833437"/>
                      <a:gd name="connsiteX3" fmla="*/ 0 w 238125"/>
                      <a:gd name="connsiteY3" fmla="*/ 361950 h 833437"/>
                      <a:gd name="connsiteX4" fmla="*/ 7144 w 238125"/>
                      <a:gd name="connsiteY4" fmla="*/ 0 h 833437"/>
                      <a:gd name="connsiteX0" fmla="*/ 7144 w 238125"/>
                      <a:gd name="connsiteY0" fmla="*/ 0 h 833437"/>
                      <a:gd name="connsiteX1" fmla="*/ 238125 w 238125"/>
                      <a:gd name="connsiteY1" fmla="*/ 833437 h 833437"/>
                      <a:gd name="connsiteX2" fmla="*/ 109537 w 238125"/>
                      <a:gd name="connsiteY2" fmla="*/ 833437 h 833437"/>
                      <a:gd name="connsiteX3" fmla="*/ 0 w 238125"/>
                      <a:gd name="connsiteY3" fmla="*/ 361950 h 833437"/>
                      <a:gd name="connsiteX4" fmla="*/ 7144 w 238125"/>
                      <a:gd name="connsiteY4" fmla="*/ 0 h 833437"/>
                      <a:gd name="connsiteX0" fmla="*/ 7144 w 238125"/>
                      <a:gd name="connsiteY0" fmla="*/ 0 h 833437"/>
                      <a:gd name="connsiteX1" fmla="*/ 238125 w 238125"/>
                      <a:gd name="connsiteY1" fmla="*/ 833437 h 833437"/>
                      <a:gd name="connsiteX2" fmla="*/ 109537 w 238125"/>
                      <a:gd name="connsiteY2" fmla="*/ 833437 h 833437"/>
                      <a:gd name="connsiteX3" fmla="*/ 0 w 238125"/>
                      <a:gd name="connsiteY3" fmla="*/ 361950 h 833437"/>
                      <a:gd name="connsiteX4" fmla="*/ 7144 w 238125"/>
                      <a:gd name="connsiteY4" fmla="*/ 0 h 833437"/>
                      <a:gd name="connsiteX0" fmla="*/ 7144 w 238125"/>
                      <a:gd name="connsiteY0" fmla="*/ 0 h 833437"/>
                      <a:gd name="connsiteX1" fmla="*/ 238125 w 238125"/>
                      <a:gd name="connsiteY1" fmla="*/ 833437 h 833437"/>
                      <a:gd name="connsiteX2" fmla="*/ 109537 w 238125"/>
                      <a:gd name="connsiteY2" fmla="*/ 833437 h 833437"/>
                      <a:gd name="connsiteX3" fmla="*/ 0 w 238125"/>
                      <a:gd name="connsiteY3" fmla="*/ 361950 h 833437"/>
                      <a:gd name="connsiteX4" fmla="*/ 7144 w 238125"/>
                      <a:gd name="connsiteY4" fmla="*/ 0 h 833437"/>
                      <a:gd name="connsiteX0" fmla="*/ 7144 w 238125"/>
                      <a:gd name="connsiteY0" fmla="*/ 0 h 833437"/>
                      <a:gd name="connsiteX1" fmla="*/ 238125 w 238125"/>
                      <a:gd name="connsiteY1" fmla="*/ 833437 h 833437"/>
                      <a:gd name="connsiteX2" fmla="*/ 109537 w 238125"/>
                      <a:gd name="connsiteY2" fmla="*/ 833437 h 833437"/>
                      <a:gd name="connsiteX3" fmla="*/ 0 w 238125"/>
                      <a:gd name="connsiteY3" fmla="*/ 361950 h 833437"/>
                      <a:gd name="connsiteX4" fmla="*/ 7144 w 238125"/>
                      <a:gd name="connsiteY4" fmla="*/ 0 h 833437"/>
                      <a:gd name="connsiteX0" fmla="*/ 7144 w 238125"/>
                      <a:gd name="connsiteY0" fmla="*/ 0 h 833437"/>
                      <a:gd name="connsiteX1" fmla="*/ 238125 w 238125"/>
                      <a:gd name="connsiteY1" fmla="*/ 833437 h 833437"/>
                      <a:gd name="connsiteX2" fmla="*/ 109537 w 238125"/>
                      <a:gd name="connsiteY2" fmla="*/ 833437 h 833437"/>
                      <a:gd name="connsiteX3" fmla="*/ 0 w 238125"/>
                      <a:gd name="connsiteY3" fmla="*/ 361950 h 833437"/>
                      <a:gd name="connsiteX4" fmla="*/ 7144 w 238125"/>
                      <a:gd name="connsiteY4" fmla="*/ 0 h 833437"/>
                      <a:gd name="connsiteX0" fmla="*/ 7144 w 220185"/>
                      <a:gd name="connsiteY0" fmla="*/ 0 h 833437"/>
                      <a:gd name="connsiteX1" fmla="*/ 220185 w 220185"/>
                      <a:gd name="connsiteY1" fmla="*/ 827457 h 833437"/>
                      <a:gd name="connsiteX2" fmla="*/ 109537 w 220185"/>
                      <a:gd name="connsiteY2" fmla="*/ 833437 h 833437"/>
                      <a:gd name="connsiteX3" fmla="*/ 0 w 220185"/>
                      <a:gd name="connsiteY3" fmla="*/ 361950 h 833437"/>
                      <a:gd name="connsiteX4" fmla="*/ 7144 w 220185"/>
                      <a:gd name="connsiteY4" fmla="*/ 0 h 8334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0185" h="833437">
                        <a:moveTo>
                          <a:pt x="7144" y="0"/>
                        </a:moveTo>
                        <a:cubicBezTo>
                          <a:pt x="103188" y="253999"/>
                          <a:pt x="197960" y="490114"/>
                          <a:pt x="220185" y="827457"/>
                        </a:cubicBezTo>
                        <a:cubicBezTo>
                          <a:pt x="177322" y="827457"/>
                          <a:pt x="152400" y="833437"/>
                          <a:pt x="109537" y="833437"/>
                        </a:cubicBezTo>
                        <a:cubicBezTo>
                          <a:pt x="94457" y="714376"/>
                          <a:pt x="74612" y="516731"/>
                          <a:pt x="0" y="361950"/>
                        </a:cubicBezTo>
                        <a:lnTo>
                          <a:pt x="7144" y="0"/>
                        </a:lnTo>
                        <a:close/>
                      </a:path>
                    </a:pathLst>
                  </a:custGeom>
                  <a:solidFill>
                    <a:srgbClr val="FFC000"/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ctr" defTabSz="932472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US" sz="2400" kern="0" dirty="0" smtClean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</p:grpSp>
            <p:sp>
              <p:nvSpPr>
                <p:cNvPr id="202" name="Freeform 201"/>
                <p:cNvSpPr/>
                <p:nvPr/>
              </p:nvSpPr>
              <p:spPr>
                <a:xfrm>
                  <a:off x="10030750" y="4246102"/>
                  <a:ext cx="753534" cy="855255"/>
                </a:xfrm>
                <a:custGeom>
                  <a:avLst/>
                  <a:gdLst>
                    <a:gd name="connsiteX0" fmla="*/ 143934 w 753534"/>
                    <a:gd name="connsiteY0" fmla="*/ 855134 h 855134"/>
                    <a:gd name="connsiteX1" fmla="*/ 148167 w 753534"/>
                    <a:gd name="connsiteY1" fmla="*/ 436034 h 855134"/>
                    <a:gd name="connsiteX2" fmla="*/ 131234 w 753534"/>
                    <a:gd name="connsiteY2" fmla="*/ 457200 h 855134"/>
                    <a:gd name="connsiteX3" fmla="*/ 0 w 753534"/>
                    <a:gd name="connsiteY3" fmla="*/ 410634 h 855134"/>
                    <a:gd name="connsiteX4" fmla="*/ 127000 w 753534"/>
                    <a:gd name="connsiteY4" fmla="*/ 25400 h 855134"/>
                    <a:gd name="connsiteX5" fmla="*/ 317500 w 753534"/>
                    <a:gd name="connsiteY5" fmla="*/ 0 h 855134"/>
                    <a:gd name="connsiteX6" fmla="*/ 359834 w 753534"/>
                    <a:gd name="connsiteY6" fmla="*/ 38100 h 855134"/>
                    <a:gd name="connsiteX7" fmla="*/ 419100 w 753534"/>
                    <a:gd name="connsiteY7" fmla="*/ 33867 h 855134"/>
                    <a:gd name="connsiteX8" fmla="*/ 461434 w 753534"/>
                    <a:gd name="connsiteY8" fmla="*/ 4234 h 855134"/>
                    <a:gd name="connsiteX9" fmla="*/ 630767 w 753534"/>
                    <a:gd name="connsiteY9" fmla="*/ 25400 h 855134"/>
                    <a:gd name="connsiteX10" fmla="*/ 753534 w 753534"/>
                    <a:gd name="connsiteY10" fmla="*/ 419100 h 855134"/>
                    <a:gd name="connsiteX11" fmla="*/ 622300 w 753534"/>
                    <a:gd name="connsiteY11" fmla="*/ 452967 h 855134"/>
                    <a:gd name="connsiteX12" fmla="*/ 605367 w 753534"/>
                    <a:gd name="connsiteY12" fmla="*/ 431800 h 855134"/>
                    <a:gd name="connsiteX13" fmla="*/ 609600 w 753534"/>
                    <a:gd name="connsiteY13" fmla="*/ 855134 h 855134"/>
                    <a:gd name="connsiteX14" fmla="*/ 143934 w 753534"/>
                    <a:gd name="connsiteY14" fmla="*/ 855134 h 855134"/>
                    <a:gd name="connsiteX0" fmla="*/ 143934 w 753534"/>
                    <a:gd name="connsiteY0" fmla="*/ 855134 h 855134"/>
                    <a:gd name="connsiteX1" fmla="*/ 148167 w 753534"/>
                    <a:gd name="connsiteY1" fmla="*/ 436034 h 855134"/>
                    <a:gd name="connsiteX2" fmla="*/ 131234 w 753534"/>
                    <a:gd name="connsiteY2" fmla="*/ 457200 h 855134"/>
                    <a:gd name="connsiteX3" fmla="*/ 0 w 753534"/>
                    <a:gd name="connsiteY3" fmla="*/ 410634 h 855134"/>
                    <a:gd name="connsiteX4" fmla="*/ 127000 w 753534"/>
                    <a:gd name="connsiteY4" fmla="*/ 25400 h 855134"/>
                    <a:gd name="connsiteX5" fmla="*/ 317500 w 753534"/>
                    <a:gd name="connsiteY5" fmla="*/ 0 h 855134"/>
                    <a:gd name="connsiteX6" fmla="*/ 359834 w 753534"/>
                    <a:gd name="connsiteY6" fmla="*/ 38100 h 855134"/>
                    <a:gd name="connsiteX7" fmla="*/ 419100 w 753534"/>
                    <a:gd name="connsiteY7" fmla="*/ 33867 h 855134"/>
                    <a:gd name="connsiteX8" fmla="*/ 461434 w 753534"/>
                    <a:gd name="connsiteY8" fmla="*/ 4234 h 855134"/>
                    <a:gd name="connsiteX9" fmla="*/ 630767 w 753534"/>
                    <a:gd name="connsiteY9" fmla="*/ 25400 h 855134"/>
                    <a:gd name="connsiteX10" fmla="*/ 753534 w 753534"/>
                    <a:gd name="connsiteY10" fmla="*/ 419100 h 855134"/>
                    <a:gd name="connsiteX11" fmla="*/ 622300 w 753534"/>
                    <a:gd name="connsiteY11" fmla="*/ 452967 h 855134"/>
                    <a:gd name="connsiteX12" fmla="*/ 605367 w 753534"/>
                    <a:gd name="connsiteY12" fmla="*/ 431800 h 855134"/>
                    <a:gd name="connsiteX13" fmla="*/ 609600 w 753534"/>
                    <a:gd name="connsiteY13" fmla="*/ 855134 h 855134"/>
                    <a:gd name="connsiteX14" fmla="*/ 143934 w 753534"/>
                    <a:gd name="connsiteY14" fmla="*/ 855134 h 855134"/>
                    <a:gd name="connsiteX0" fmla="*/ 143934 w 753534"/>
                    <a:gd name="connsiteY0" fmla="*/ 855134 h 855134"/>
                    <a:gd name="connsiteX1" fmla="*/ 148167 w 753534"/>
                    <a:gd name="connsiteY1" fmla="*/ 436034 h 855134"/>
                    <a:gd name="connsiteX2" fmla="*/ 131234 w 753534"/>
                    <a:gd name="connsiteY2" fmla="*/ 457200 h 855134"/>
                    <a:gd name="connsiteX3" fmla="*/ 0 w 753534"/>
                    <a:gd name="connsiteY3" fmla="*/ 410634 h 855134"/>
                    <a:gd name="connsiteX4" fmla="*/ 127000 w 753534"/>
                    <a:gd name="connsiteY4" fmla="*/ 25400 h 855134"/>
                    <a:gd name="connsiteX5" fmla="*/ 317500 w 753534"/>
                    <a:gd name="connsiteY5" fmla="*/ 0 h 855134"/>
                    <a:gd name="connsiteX6" fmla="*/ 359834 w 753534"/>
                    <a:gd name="connsiteY6" fmla="*/ 38100 h 855134"/>
                    <a:gd name="connsiteX7" fmla="*/ 419100 w 753534"/>
                    <a:gd name="connsiteY7" fmla="*/ 33867 h 855134"/>
                    <a:gd name="connsiteX8" fmla="*/ 461434 w 753534"/>
                    <a:gd name="connsiteY8" fmla="*/ 4234 h 855134"/>
                    <a:gd name="connsiteX9" fmla="*/ 630767 w 753534"/>
                    <a:gd name="connsiteY9" fmla="*/ 25400 h 855134"/>
                    <a:gd name="connsiteX10" fmla="*/ 753534 w 753534"/>
                    <a:gd name="connsiteY10" fmla="*/ 419100 h 855134"/>
                    <a:gd name="connsiteX11" fmla="*/ 622300 w 753534"/>
                    <a:gd name="connsiteY11" fmla="*/ 452967 h 855134"/>
                    <a:gd name="connsiteX12" fmla="*/ 605367 w 753534"/>
                    <a:gd name="connsiteY12" fmla="*/ 431800 h 855134"/>
                    <a:gd name="connsiteX13" fmla="*/ 609600 w 753534"/>
                    <a:gd name="connsiteY13" fmla="*/ 855134 h 855134"/>
                    <a:gd name="connsiteX14" fmla="*/ 143934 w 753534"/>
                    <a:gd name="connsiteY14" fmla="*/ 855134 h 855134"/>
                    <a:gd name="connsiteX0" fmla="*/ 143934 w 753534"/>
                    <a:gd name="connsiteY0" fmla="*/ 855134 h 855134"/>
                    <a:gd name="connsiteX1" fmla="*/ 148167 w 753534"/>
                    <a:gd name="connsiteY1" fmla="*/ 436034 h 855134"/>
                    <a:gd name="connsiteX2" fmla="*/ 131234 w 753534"/>
                    <a:gd name="connsiteY2" fmla="*/ 457200 h 855134"/>
                    <a:gd name="connsiteX3" fmla="*/ 0 w 753534"/>
                    <a:gd name="connsiteY3" fmla="*/ 410634 h 855134"/>
                    <a:gd name="connsiteX4" fmla="*/ 127000 w 753534"/>
                    <a:gd name="connsiteY4" fmla="*/ 25400 h 855134"/>
                    <a:gd name="connsiteX5" fmla="*/ 317500 w 753534"/>
                    <a:gd name="connsiteY5" fmla="*/ 0 h 855134"/>
                    <a:gd name="connsiteX6" fmla="*/ 359834 w 753534"/>
                    <a:gd name="connsiteY6" fmla="*/ 38100 h 855134"/>
                    <a:gd name="connsiteX7" fmla="*/ 419100 w 753534"/>
                    <a:gd name="connsiteY7" fmla="*/ 33867 h 855134"/>
                    <a:gd name="connsiteX8" fmla="*/ 461434 w 753534"/>
                    <a:gd name="connsiteY8" fmla="*/ 4234 h 855134"/>
                    <a:gd name="connsiteX9" fmla="*/ 630767 w 753534"/>
                    <a:gd name="connsiteY9" fmla="*/ 25400 h 855134"/>
                    <a:gd name="connsiteX10" fmla="*/ 753534 w 753534"/>
                    <a:gd name="connsiteY10" fmla="*/ 419100 h 855134"/>
                    <a:gd name="connsiteX11" fmla="*/ 622300 w 753534"/>
                    <a:gd name="connsiteY11" fmla="*/ 452967 h 855134"/>
                    <a:gd name="connsiteX12" fmla="*/ 605367 w 753534"/>
                    <a:gd name="connsiteY12" fmla="*/ 431800 h 855134"/>
                    <a:gd name="connsiteX13" fmla="*/ 609600 w 753534"/>
                    <a:gd name="connsiteY13" fmla="*/ 855134 h 855134"/>
                    <a:gd name="connsiteX14" fmla="*/ 143934 w 753534"/>
                    <a:gd name="connsiteY14" fmla="*/ 855134 h 855134"/>
                    <a:gd name="connsiteX0" fmla="*/ 143934 w 753534"/>
                    <a:gd name="connsiteY0" fmla="*/ 855134 h 855134"/>
                    <a:gd name="connsiteX1" fmla="*/ 148167 w 753534"/>
                    <a:gd name="connsiteY1" fmla="*/ 436034 h 855134"/>
                    <a:gd name="connsiteX2" fmla="*/ 131234 w 753534"/>
                    <a:gd name="connsiteY2" fmla="*/ 457200 h 855134"/>
                    <a:gd name="connsiteX3" fmla="*/ 0 w 753534"/>
                    <a:gd name="connsiteY3" fmla="*/ 410634 h 855134"/>
                    <a:gd name="connsiteX4" fmla="*/ 127000 w 753534"/>
                    <a:gd name="connsiteY4" fmla="*/ 25400 h 855134"/>
                    <a:gd name="connsiteX5" fmla="*/ 317500 w 753534"/>
                    <a:gd name="connsiteY5" fmla="*/ 0 h 855134"/>
                    <a:gd name="connsiteX6" fmla="*/ 359834 w 753534"/>
                    <a:gd name="connsiteY6" fmla="*/ 38100 h 855134"/>
                    <a:gd name="connsiteX7" fmla="*/ 419100 w 753534"/>
                    <a:gd name="connsiteY7" fmla="*/ 33867 h 855134"/>
                    <a:gd name="connsiteX8" fmla="*/ 461434 w 753534"/>
                    <a:gd name="connsiteY8" fmla="*/ 4234 h 855134"/>
                    <a:gd name="connsiteX9" fmla="*/ 630767 w 753534"/>
                    <a:gd name="connsiteY9" fmla="*/ 25400 h 855134"/>
                    <a:gd name="connsiteX10" fmla="*/ 753534 w 753534"/>
                    <a:gd name="connsiteY10" fmla="*/ 419100 h 855134"/>
                    <a:gd name="connsiteX11" fmla="*/ 622300 w 753534"/>
                    <a:gd name="connsiteY11" fmla="*/ 452967 h 855134"/>
                    <a:gd name="connsiteX12" fmla="*/ 605367 w 753534"/>
                    <a:gd name="connsiteY12" fmla="*/ 431800 h 855134"/>
                    <a:gd name="connsiteX13" fmla="*/ 609600 w 753534"/>
                    <a:gd name="connsiteY13" fmla="*/ 855134 h 855134"/>
                    <a:gd name="connsiteX14" fmla="*/ 143934 w 753534"/>
                    <a:gd name="connsiteY14" fmla="*/ 855134 h 855134"/>
                    <a:gd name="connsiteX0" fmla="*/ 143934 w 753534"/>
                    <a:gd name="connsiteY0" fmla="*/ 855134 h 855134"/>
                    <a:gd name="connsiteX1" fmla="*/ 148167 w 753534"/>
                    <a:gd name="connsiteY1" fmla="*/ 436034 h 855134"/>
                    <a:gd name="connsiteX2" fmla="*/ 131234 w 753534"/>
                    <a:gd name="connsiteY2" fmla="*/ 457200 h 855134"/>
                    <a:gd name="connsiteX3" fmla="*/ 0 w 753534"/>
                    <a:gd name="connsiteY3" fmla="*/ 410634 h 855134"/>
                    <a:gd name="connsiteX4" fmla="*/ 127000 w 753534"/>
                    <a:gd name="connsiteY4" fmla="*/ 25400 h 855134"/>
                    <a:gd name="connsiteX5" fmla="*/ 317500 w 753534"/>
                    <a:gd name="connsiteY5" fmla="*/ 0 h 855134"/>
                    <a:gd name="connsiteX6" fmla="*/ 359834 w 753534"/>
                    <a:gd name="connsiteY6" fmla="*/ 38100 h 855134"/>
                    <a:gd name="connsiteX7" fmla="*/ 419100 w 753534"/>
                    <a:gd name="connsiteY7" fmla="*/ 33867 h 855134"/>
                    <a:gd name="connsiteX8" fmla="*/ 461434 w 753534"/>
                    <a:gd name="connsiteY8" fmla="*/ 4234 h 855134"/>
                    <a:gd name="connsiteX9" fmla="*/ 630767 w 753534"/>
                    <a:gd name="connsiteY9" fmla="*/ 25400 h 855134"/>
                    <a:gd name="connsiteX10" fmla="*/ 753534 w 753534"/>
                    <a:gd name="connsiteY10" fmla="*/ 419100 h 855134"/>
                    <a:gd name="connsiteX11" fmla="*/ 622300 w 753534"/>
                    <a:gd name="connsiteY11" fmla="*/ 452967 h 855134"/>
                    <a:gd name="connsiteX12" fmla="*/ 605367 w 753534"/>
                    <a:gd name="connsiteY12" fmla="*/ 431800 h 855134"/>
                    <a:gd name="connsiteX13" fmla="*/ 609600 w 753534"/>
                    <a:gd name="connsiteY13" fmla="*/ 855134 h 855134"/>
                    <a:gd name="connsiteX14" fmla="*/ 143934 w 753534"/>
                    <a:gd name="connsiteY14" fmla="*/ 855134 h 855134"/>
                    <a:gd name="connsiteX0" fmla="*/ 143934 w 753534"/>
                    <a:gd name="connsiteY0" fmla="*/ 855255 h 855255"/>
                    <a:gd name="connsiteX1" fmla="*/ 148167 w 753534"/>
                    <a:gd name="connsiteY1" fmla="*/ 436155 h 855255"/>
                    <a:gd name="connsiteX2" fmla="*/ 131234 w 753534"/>
                    <a:gd name="connsiteY2" fmla="*/ 457321 h 855255"/>
                    <a:gd name="connsiteX3" fmla="*/ 0 w 753534"/>
                    <a:gd name="connsiteY3" fmla="*/ 410755 h 855255"/>
                    <a:gd name="connsiteX4" fmla="*/ 127000 w 753534"/>
                    <a:gd name="connsiteY4" fmla="*/ 25521 h 855255"/>
                    <a:gd name="connsiteX5" fmla="*/ 317500 w 753534"/>
                    <a:gd name="connsiteY5" fmla="*/ 121 h 855255"/>
                    <a:gd name="connsiteX6" fmla="*/ 359834 w 753534"/>
                    <a:gd name="connsiteY6" fmla="*/ 38221 h 855255"/>
                    <a:gd name="connsiteX7" fmla="*/ 419100 w 753534"/>
                    <a:gd name="connsiteY7" fmla="*/ 33988 h 855255"/>
                    <a:gd name="connsiteX8" fmla="*/ 463611 w 753534"/>
                    <a:gd name="connsiteY8" fmla="*/ 0 h 855255"/>
                    <a:gd name="connsiteX9" fmla="*/ 630767 w 753534"/>
                    <a:gd name="connsiteY9" fmla="*/ 25521 h 855255"/>
                    <a:gd name="connsiteX10" fmla="*/ 753534 w 753534"/>
                    <a:gd name="connsiteY10" fmla="*/ 419221 h 855255"/>
                    <a:gd name="connsiteX11" fmla="*/ 622300 w 753534"/>
                    <a:gd name="connsiteY11" fmla="*/ 453088 h 855255"/>
                    <a:gd name="connsiteX12" fmla="*/ 605367 w 753534"/>
                    <a:gd name="connsiteY12" fmla="*/ 431921 h 855255"/>
                    <a:gd name="connsiteX13" fmla="*/ 609600 w 753534"/>
                    <a:gd name="connsiteY13" fmla="*/ 855255 h 855255"/>
                    <a:gd name="connsiteX14" fmla="*/ 143934 w 753534"/>
                    <a:gd name="connsiteY14" fmla="*/ 855255 h 855255"/>
                    <a:gd name="connsiteX0" fmla="*/ 143934 w 753534"/>
                    <a:gd name="connsiteY0" fmla="*/ 855255 h 855255"/>
                    <a:gd name="connsiteX1" fmla="*/ 148167 w 753534"/>
                    <a:gd name="connsiteY1" fmla="*/ 436155 h 855255"/>
                    <a:gd name="connsiteX2" fmla="*/ 131234 w 753534"/>
                    <a:gd name="connsiteY2" fmla="*/ 457321 h 855255"/>
                    <a:gd name="connsiteX3" fmla="*/ 0 w 753534"/>
                    <a:gd name="connsiteY3" fmla="*/ 410755 h 855255"/>
                    <a:gd name="connsiteX4" fmla="*/ 127000 w 753534"/>
                    <a:gd name="connsiteY4" fmla="*/ 25521 h 855255"/>
                    <a:gd name="connsiteX5" fmla="*/ 317500 w 753534"/>
                    <a:gd name="connsiteY5" fmla="*/ 121 h 855255"/>
                    <a:gd name="connsiteX6" fmla="*/ 362011 w 753534"/>
                    <a:gd name="connsiteY6" fmla="*/ 38221 h 855255"/>
                    <a:gd name="connsiteX7" fmla="*/ 419100 w 753534"/>
                    <a:gd name="connsiteY7" fmla="*/ 33988 h 855255"/>
                    <a:gd name="connsiteX8" fmla="*/ 463611 w 753534"/>
                    <a:gd name="connsiteY8" fmla="*/ 0 h 855255"/>
                    <a:gd name="connsiteX9" fmla="*/ 630767 w 753534"/>
                    <a:gd name="connsiteY9" fmla="*/ 25521 h 855255"/>
                    <a:gd name="connsiteX10" fmla="*/ 753534 w 753534"/>
                    <a:gd name="connsiteY10" fmla="*/ 419221 h 855255"/>
                    <a:gd name="connsiteX11" fmla="*/ 622300 w 753534"/>
                    <a:gd name="connsiteY11" fmla="*/ 453088 h 855255"/>
                    <a:gd name="connsiteX12" fmla="*/ 605367 w 753534"/>
                    <a:gd name="connsiteY12" fmla="*/ 431921 h 855255"/>
                    <a:gd name="connsiteX13" fmla="*/ 609600 w 753534"/>
                    <a:gd name="connsiteY13" fmla="*/ 855255 h 855255"/>
                    <a:gd name="connsiteX14" fmla="*/ 143934 w 753534"/>
                    <a:gd name="connsiteY14" fmla="*/ 855255 h 855255"/>
                    <a:gd name="connsiteX0" fmla="*/ 157381 w 753534"/>
                    <a:gd name="connsiteY0" fmla="*/ 850773 h 855255"/>
                    <a:gd name="connsiteX1" fmla="*/ 148167 w 753534"/>
                    <a:gd name="connsiteY1" fmla="*/ 436155 h 855255"/>
                    <a:gd name="connsiteX2" fmla="*/ 131234 w 753534"/>
                    <a:gd name="connsiteY2" fmla="*/ 457321 h 855255"/>
                    <a:gd name="connsiteX3" fmla="*/ 0 w 753534"/>
                    <a:gd name="connsiteY3" fmla="*/ 410755 h 855255"/>
                    <a:gd name="connsiteX4" fmla="*/ 127000 w 753534"/>
                    <a:gd name="connsiteY4" fmla="*/ 25521 h 855255"/>
                    <a:gd name="connsiteX5" fmla="*/ 317500 w 753534"/>
                    <a:gd name="connsiteY5" fmla="*/ 121 h 855255"/>
                    <a:gd name="connsiteX6" fmla="*/ 362011 w 753534"/>
                    <a:gd name="connsiteY6" fmla="*/ 38221 h 855255"/>
                    <a:gd name="connsiteX7" fmla="*/ 419100 w 753534"/>
                    <a:gd name="connsiteY7" fmla="*/ 33988 h 855255"/>
                    <a:gd name="connsiteX8" fmla="*/ 463611 w 753534"/>
                    <a:gd name="connsiteY8" fmla="*/ 0 h 855255"/>
                    <a:gd name="connsiteX9" fmla="*/ 630767 w 753534"/>
                    <a:gd name="connsiteY9" fmla="*/ 25521 h 855255"/>
                    <a:gd name="connsiteX10" fmla="*/ 753534 w 753534"/>
                    <a:gd name="connsiteY10" fmla="*/ 419221 h 855255"/>
                    <a:gd name="connsiteX11" fmla="*/ 622300 w 753534"/>
                    <a:gd name="connsiteY11" fmla="*/ 453088 h 855255"/>
                    <a:gd name="connsiteX12" fmla="*/ 605367 w 753534"/>
                    <a:gd name="connsiteY12" fmla="*/ 431921 h 855255"/>
                    <a:gd name="connsiteX13" fmla="*/ 609600 w 753534"/>
                    <a:gd name="connsiteY13" fmla="*/ 855255 h 855255"/>
                    <a:gd name="connsiteX14" fmla="*/ 157381 w 753534"/>
                    <a:gd name="connsiteY14" fmla="*/ 850773 h 855255"/>
                    <a:gd name="connsiteX0" fmla="*/ 157381 w 753534"/>
                    <a:gd name="connsiteY0" fmla="*/ 850773 h 855255"/>
                    <a:gd name="connsiteX1" fmla="*/ 148167 w 753534"/>
                    <a:gd name="connsiteY1" fmla="*/ 436155 h 855255"/>
                    <a:gd name="connsiteX2" fmla="*/ 131234 w 753534"/>
                    <a:gd name="connsiteY2" fmla="*/ 457321 h 855255"/>
                    <a:gd name="connsiteX3" fmla="*/ 0 w 753534"/>
                    <a:gd name="connsiteY3" fmla="*/ 410755 h 855255"/>
                    <a:gd name="connsiteX4" fmla="*/ 127000 w 753534"/>
                    <a:gd name="connsiteY4" fmla="*/ 25521 h 855255"/>
                    <a:gd name="connsiteX5" fmla="*/ 317500 w 753534"/>
                    <a:gd name="connsiteY5" fmla="*/ 121 h 855255"/>
                    <a:gd name="connsiteX6" fmla="*/ 362011 w 753534"/>
                    <a:gd name="connsiteY6" fmla="*/ 38221 h 855255"/>
                    <a:gd name="connsiteX7" fmla="*/ 419100 w 753534"/>
                    <a:gd name="connsiteY7" fmla="*/ 33988 h 855255"/>
                    <a:gd name="connsiteX8" fmla="*/ 463611 w 753534"/>
                    <a:gd name="connsiteY8" fmla="*/ 0 h 855255"/>
                    <a:gd name="connsiteX9" fmla="*/ 630767 w 753534"/>
                    <a:gd name="connsiteY9" fmla="*/ 25521 h 855255"/>
                    <a:gd name="connsiteX10" fmla="*/ 753534 w 753534"/>
                    <a:gd name="connsiteY10" fmla="*/ 419221 h 855255"/>
                    <a:gd name="connsiteX11" fmla="*/ 622300 w 753534"/>
                    <a:gd name="connsiteY11" fmla="*/ 453088 h 855255"/>
                    <a:gd name="connsiteX12" fmla="*/ 605367 w 753534"/>
                    <a:gd name="connsiteY12" fmla="*/ 431921 h 855255"/>
                    <a:gd name="connsiteX13" fmla="*/ 596153 w 753534"/>
                    <a:gd name="connsiteY13" fmla="*/ 855255 h 855255"/>
                    <a:gd name="connsiteX14" fmla="*/ 157381 w 753534"/>
                    <a:gd name="connsiteY14" fmla="*/ 850773 h 8552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753534" h="855255">
                      <a:moveTo>
                        <a:pt x="157381" y="850773"/>
                      </a:moveTo>
                      <a:lnTo>
                        <a:pt x="148167" y="436155"/>
                      </a:lnTo>
                      <a:lnTo>
                        <a:pt x="131234" y="457321"/>
                      </a:lnTo>
                      <a:lnTo>
                        <a:pt x="0" y="410755"/>
                      </a:lnTo>
                      <a:lnTo>
                        <a:pt x="127000" y="25521"/>
                      </a:lnTo>
                      <a:lnTo>
                        <a:pt x="317500" y="121"/>
                      </a:lnTo>
                      <a:cubicBezTo>
                        <a:pt x="331611" y="12821"/>
                        <a:pt x="339191" y="23344"/>
                        <a:pt x="362011" y="38221"/>
                      </a:cubicBezTo>
                      <a:cubicBezTo>
                        <a:pt x="394829" y="38987"/>
                        <a:pt x="394990" y="35399"/>
                        <a:pt x="419100" y="33988"/>
                      </a:cubicBezTo>
                      <a:cubicBezTo>
                        <a:pt x="441920" y="17579"/>
                        <a:pt x="449500" y="9878"/>
                        <a:pt x="463611" y="0"/>
                      </a:cubicBezTo>
                      <a:lnTo>
                        <a:pt x="630767" y="25521"/>
                      </a:lnTo>
                      <a:lnTo>
                        <a:pt x="753534" y="419221"/>
                      </a:lnTo>
                      <a:lnTo>
                        <a:pt x="622300" y="453088"/>
                      </a:lnTo>
                      <a:lnTo>
                        <a:pt x="605367" y="431921"/>
                      </a:lnTo>
                      <a:lnTo>
                        <a:pt x="596153" y="855255"/>
                      </a:lnTo>
                      <a:lnTo>
                        <a:pt x="157381" y="850773"/>
                      </a:lnTo>
                      <a:close/>
                    </a:path>
                  </a:pathLst>
                </a:custGeom>
                <a:solidFill>
                  <a:srgbClr val="FD7425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185" name="Group 184"/>
            <p:cNvGrpSpPr/>
            <p:nvPr/>
          </p:nvGrpSpPr>
          <p:grpSpPr>
            <a:xfrm>
              <a:off x="7223586" y="4258464"/>
              <a:ext cx="723588" cy="503066"/>
              <a:chOff x="7548883" y="4114998"/>
              <a:chExt cx="1041646" cy="724192"/>
            </a:xfrm>
          </p:grpSpPr>
          <p:sp>
            <p:nvSpPr>
              <p:cNvPr id="186" name="Rounded Rectangle 185"/>
              <p:cNvSpPr/>
              <p:nvPr/>
            </p:nvSpPr>
            <p:spPr bwMode="auto">
              <a:xfrm>
                <a:off x="7647189" y="4122655"/>
                <a:ext cx="831085" cy="709832"/>
              </a:xfrm>
              <a:prstGeom prst="roundRect">
                <a:avLst>
                  <a:gd name="adj" fmla="val 8466"/>
                </a:avLst>
              </a:prstGeom>
              <a:solidFill>
                <a:sysClr val="window" lastClr="FFFFFF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87" name="Freeform 186"/>
              <p:cNvSpPr>
                <a:spLocks noEditPoints="1"/>
              </p:cNvSpPr>
              <p:nvPr/>
            </p:nvSpPr>
            <p:spPr bwMode="black">
              <a:xfrm>
                <a:off x="7548883" y="4114998"/>
                <a:ext cx="1041646" cy="724192"/>
              </a:xfrm>
              <a:custGeom>
                <a:avLst/>
                <a:gdLst/>
                <a:ahLst/>
                <a:cxnLst>
                  <a:cxn ang="0">
                    <a:pos x="774" y="456"/>
                  </a:cxn>
                  <a:cxn ang="0">
                    <a:pos x="774" y="36"/>
                  </a:cxn>
                  <a:cxn ang="0">
                    <a:pos x="737" y="0"/>
                  </a:cxn>
                  <a:cxn ang="0">
                    <a:pos x="107" y="0"/>
                  </a:cxn>
                  <a:cxn ang="0">
                    <a:pos x="71" y="36"/>
                  </a:cxn>
                  <a:cxn ang="0">
                    <a:pos x="71" y="456"/>
                  </a:cxn>
                  <a:cxn ang="0">
                    <a:pos x="0" y="544"/>
                  </a:cxn>
                  <a:cxn ang="0">
                    <a:pos x="44" y="588"/>
                  </a:cxn>
                  <a:cxn ang="0">
                    <a:pos x="800" y="588"/>
                  </a:cxn>
                  <a:cxn ang="0">
                    <a:pos x="844" y="544"/>
                  </a:cxn>
                  <a:cxn ang="0">
                    <a:pos x="774" y="456"/>
                  </a:cxn>
                  <a:cxn ang="0">
                    <a:pos x="481" y="554"/>
                  </a:cxn>
                  <a:cxn ang="0">
                    <a:pos x="350" y="554"/>
                  </a:cxn>
                  <a:cxn ang="0">
                    <a:pos x="337" y="547"/>
                  </a:cxn>
                  <a:cxn ang="0">
                    <a:pos x="352" y="519"/>
                  </a:cxn>
                  <a:cxn ang="0">
                    <a:pos x="363" y="514"/>
                  </a:cxn>
                  <a:cxn ang="0">
                    <a:pos x="468" y="514"/>
                  </a:cxn>
                  <a:cxn ang="0">
                    <a:pos x="478" y="519"/>
                  </a:cxn>
                  <a:cxn ang="0">
                    <a:pos x="494" y="547"/>
                  </a:cxn>
                  <a:cxn ang="0">
                    <a:pos x="481" y="554"/>
                  </a:cxn>
                  <a:cxn ang="0">
                    <a:pos x="748" y="456"/>
                  </a:cxn>
                  <a:cxn ang="0">
                    <a:pos x="99" y="456"/>
                  </a:cxn>
                  <a:cxn ang="0">
                    <a:pos x="99" y="42"/>
                  </a:cxn>
                  <a:cxn ang="0">
                    <a:pos x="117" y="24"/>
                  </a:cxn>
                  <a:cxn ang="0">
                    <a:pos x="730" y="24"/>
                  </a:cxn>
                  <a:cxn ang="0">
                    <a:pos x="748" y="42"/>
                  </a:cxn>
                  <a:cxn ang="0">
                    <a:pos x="748" y="456"/>
                  </a:cxn>
                </a:cxnLst>
                <a:rect l="0" t="0" r="r" b="b"/>
                <a:pathLst>
                  <a:path w="844" h="588">
                    <a:moveTo>
                      <a:pt x="774" y="456"/>
                    </a:moveTo>
                    <a:cubicBezTo>
                      <a:pt x="774" y="36"/>
                      <a:pt x="774" y="36"/>
                      <a:pt x="774" y="36"/>
                    </a:cubicBezTo>
                    <a:cubicBezTo>
                      <a:pt x="774" y="16"/>
                      <a:pt x="757" y="0"/>
                      <a:pt x="737" y="0"/>
                    </a:cubicBezTo>
                    <a:cubicBezTo>
                      <a:pt x="107" y="0"/>
                      <a:pt x="107" y="0"/>
                      <a:pt x="107" y="0"/>
                    </a:cubicBezTo>
                    <a:cubicBezTo>
                      <a:pt x="87" y="0"/>
                      <a:pt x="71" y="16"/>
                      <a:pt x="71" y="36"/>
                    </a:cubicBezTo>
                    <a:cubicBezTo>
                      <a:pt x="71" y="456"/>
                      <a:pt x="71" y="456"/>
                      <a:pt x="71" y="456"/>
                    </a:cubicBezTo>
                    <a:cubicBezTo>
                      <a:pt x="0" y="544"/>
                      <a:pt x="0" y="544"/>
                      <a:pt x="0" y="544"/>
                    </a:cubicBezTo>
                    <a:cubicBezTo>
                      <a:pt x="0" y="568"/>
                      <a:pt x="20" y="588"/>
                      <a:pt x="44" y="588"/>
                    </a:cubicBezTo>
                    <a:cubicBezTo>
                      <a:pt x="800" y="588"/>
                      <a:pt x="800" y="588"/>
                      <a:pt x="800" y="588"/>
                    </a:cubicBezTo>
                    <a:cubicBezTo>
                      <a:pt x="824" y="588"/>
                      <a:pt x="844" y="568"/>
                      <a:pt x="844" y="544"/>
                    </a:cubicBezTo>
                    <a:lnTo>
                      <a:pt x="774" y="456"/>
                    </a:lnTo>
                    <a:close/>
                    <a:moveTo>
                      <a:pt x="481" y="554"/>
                    </a:moveTo>
                    <a:cubicBezTo>
                      <a:pt x="350" y="554"/>
                      <a:pt x="350" y="554"/>
                      <a:pt x="350" y="554"/>
                    </a:cubicBezTo>
                    <a:cubicBezTo>
                      <a:pt x="343" y="554"/>
                      <a:pt x="337" y="551"/>
                      <a:pt x="337" y="547"/>
                    </a:cubicBezTo>
                    <a:cubicBezTo>
                      <a:pt x="352" y="519"/>
                      <a:pt x="352" y="519"/>
                      <a:pt x="352" y="519"/>
                    </a:cubicBezTo>
                    <a:cubicBezTo>
                      <a:pt x="352" y="516"/>
                      <a:pt x="357" y="514"/>
                      <a:pt x="363" y="514"/>
                    </a:cubicBezTo>
                    <a:cubicBezTo>
                      <a:pt x="468" y="514"/>
                      <a:pt x="468" y="514"/>
                      <a:pt x="468" y="514"/>
                    </a:cubicBezTo>
                    <a:cubicBezTo>
                      <a:pt x="473" y="514"/>
                      <a:pt x="478" y="516"/>
                      <a:pt x="478" y="519"/>
                    </a:cubicBezTo>
                    <a:cubicBezTo>
                      <a:pt x="494" y="547"/>
                      <a:pt x="494" y="547"/>
                      <a:pt x="494" y="547"/>
                    </a:cubicBezTo>
                    <a:cubicBezTo>
                      <a:pt x="494" y="551"/>
                      <a:pt x="488" y="554"/>
                      <a:pt x="481" y="554"/>
                    </a:cubicBezTo>
                    <a:close/>
                    <a:moveTo>
                      <a:pt x="748" y="456"/>
                    </a:moveTo>
                    <a:cubicBezTo>
                      <a:pt x="99" y="456"/>
                      <a:pt x="99" y="456"/>
                      <a:pt x="99" y="456"/>
                    </a:cubicBezTo>
                    <a:cubicBezTo>
                      <a:pt x="99" y="42"/>
                      <a:pt x="99" y="42"/>
                      <a:pt x="99" y="42"/>
                    </a:cubicBezTo>
                    <a:cubicBezTo>
                      <a:pt x="99" y="32"/>
                      <a:pt x="107" y="24"/>
                      <a:pt x="117" y="24"/>
                    </a:cubicBezTo>
                    <a:cubicBezTo>
                      <a:pt x="730" y="24"/>
                      <a:pt x="730" y="24"/>
                      <a:pt x="730" y="24"/>
                    </a:cubicBezTo>
                    <a:cubicBezTo>
                      <a:pt x="740" y="24"/>
                      <a:pt x="748" y="32"/>
                      <a:pt x="748" y="42"/>
                    </a:cubicBezTo>
                    <a:lnTo>
                      <a:pt x="748" y="456"/>
                    </a:lnTo>
                    <a:close/>
                  </a:path>
                </a:pathLst>
              </a:custGeom>
              <a:solidFill>
                <a:schemeClr val="accent2"/>
              </a:solidFill>
              <a:extLst/>
            </p:spPr>
            <p:txBody>
              <a:bodyPr vert="horz" wrap="square" lIns="82305" tIns="41153" rIns="82305" bIns="4115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188" name="Group 187"/>
              <p:cNvGrpSpPr/>
              <p:nvPr/>
            </p:nvGrpSpPr>
            <p:grpSpPr>
              <a:xfrm>
                <a:off x="7699506" y="4176588"/>
                <a:ext cx="430249" cy="272641"/>
                <a:chOff x="4514106" y="3476226"/>
                <a:chExt cx="697117" cy="441752"/>
              </a:xfrm>
            </p:grpSpPr>
            <p:sp>
              <p:nvSpPr>
                <p:cNvPr id="189" name="Rectangle 188"/>
                <p:cNvSpPr/>
                <p:nvPr/>
              </p:nvSpPr>
              <p:spPr bwMode="auto">
                <a:xfrm>
                  <a:off x="4514106" y="3703469"/>
                  <a:ext cx="219786" cy="213643"/>
                </a:xfrm>
                <a:prstGeom prst="rect">
                  <a:avLst/>
                </a:prstGeom>
                <a:solidFill>
                  <a:srgbClr val="4BACC6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90" name="Rectangle 189"/>
                <p:cNvSpPr/>
                <p:nvPr/>
              </p:nvSpPr>
              <p:spPr bwMode="auto">
                <a:xfrm>
                  <a:off x="4752723" y="3704335"/>
                  <a:ext cx="219787" cy="213643"/>
                </a:xfrm>
                <a:prstGeom prst="rect">
                  <a:avLst/>
                </a:prstGeom>
                <a:solidFill>
                  <a:srgbClr val="ADD40D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91" name="Rectangle 190"/>
                <p:cNvSpPr/>
                <p:nvPr/>
              </p:nvSpPr>
              <p:spPr bwMode="auto">
                <a:xfrm>
                  <a:off x="4514106" y="3476226"/>
                  <a:ext cx="219786" cy="213643"/>
                </a:xfrm>
                <a:prstGeom prst="rect">
                  <a:avLst/>
                </a:prstGeom>
                <a:solidFill>
                  <a:srgbClr val="AB0086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92" name="Rectangle 191"/>
                <p:cNvSpPr/>
                <p:nvPr/>
              </p:nvSpPr>
              <p:spPr bwMode="auto">
                <a:xfrm>
                  <a:off x="4752723" y="3476226"/>
                  <a:ext cx="219786" cy="213643"/>
                </a:xfrm>
                <a:prstGeom prst="rect">
                  <a:avLst/>
                </a:prstGeom>
                <a:solidFill>
                  <a:srgbClr val="FD7425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93" name="Rectangle 192"/>
                <p:cNvSpPr/>
                <p:nvPr/>
              </p:nvSpPr>
              <p:spPr bwMode="auto">
                <a:xfrm>
                  <a:off x="4991436" y="3704335"/>
                  <a:ext cx="219787" cy="213643"/>
                </a:xfrm>
                <a:prstGeom prst="rect">
                  <a:avLst/>
                </a:prstGeom>
                <a:solidFill>
                  <a:srgbClr val="FD7425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915920166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8C38CC9D-5CAE-4BD2-B8EF-F987705ECAA1" descr="1ACDE37F-D35F-4017-AF3B-3340F217168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38" b="18695"/>
          <a:stretch/>
        </p:blipFill>
        <p:spPr bwMode="auto">
          <a:xfrm>
            <a:off x="1725964" y="619304"/>
            <a:ext cx="6826684" cy="4613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88128903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" y="487"/>
            <a:ext cx="6044664" cy="3399641"/>
          </a:xfrm>
          <a:prstGeom prst="rect">
            <a:avLst/>
          </a:prstGeom>
          <a:solidFill>
            <a:srgbClr val="4B004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4196"/>
            <a:endParaRPr lang="en-US" sz="2157">
              <a:solidFill>
                <a:prstClr val="white"/>
              </a:solidFill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6133742" y="487"/>
            <a:ext cx="6058258" cy="3399641"/>
          </a:xfrm>
          <a:prstGeom prst="rect">
            <a:avLst/>
          </a:prstGeom>
          <a:solidFill>
            <a:srgbClr val="FD742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4196"/>
            <a:endParaRPr lang="en-US" sz="2157">
              <a:solidFill>
                <a:prstClr val="white"/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1" y="3482049"/>
            <a:ext cx="6044664" cy="3399641"/>
          </a:xfrm>
          <a:prstGeom prst="rect">
            <a:avLst/>
          </a:prstGeom>
          <a:solidFill>
            <a:srgbClr val="FEA83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4196"/>
            <a:endParaRPr lang="en-US" sz="2157">
              <a:solidFill>
                <a:prstClr val="white"/>
              </a:solidFill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6133742" y="3482049"/>
            <a:ext cx="6058258" cy="3399641"/>
          </a:xfrm>
          <a:prstGeom prst="rect">
            <a:avLst/>
          </a:prstGeom>
          <a:solidFill>
            <a:srgbClr val="AB008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4196"/>
            <a:endParaRPr lang="en-US" sz="2157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1" y="486"/>
            <a:ext cx="12191998" cy="6881204"/>
          </a:xfrm>
          <a:prstGeom prst="rect">
            <a:avLst/>
          </a:prstGeom>
          <a:solidFill>
            <a:schemeClr val="bg1">
              <a:alpha val="66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44821" rIns="44821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96091" fontAlgn="base">
              <a:spcBef>
                <a:spcPct val="0"/>
              </a:spcBef>
              <a:spcAft>
                <a:spcPct val="0"/>
              </a:spcAft>
            </a:pPr>
            <a:endParaRPr lang="en-US" sz="1372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idx="4294967295"/>
          </p:nvPr>
        </p:nvSpPr>
        <p:spPr>
          <a:xfrm>
            <a:off x="1" y="694594"/>
            <a:ext cx="3576362" cy="879306"/>
          </a:xfrm>
        </p:spPr>
        <p:txBody>
          <a:bodyPr>
            <a:normAutofit fontScale="90000"/>
          </a:bodyPr>
          <a:lstStyle/>
          <a:p>
            <a:r>
              <a:rPr lang="en-US" sz="3137" dirty="0">
                <a:solidFill>
                  <a:srgbClr val="4B0045"/>
                </a:solidFill>
                <a:latin typeface="Segoe UI Semibold"/>
                <a:cs typeface="Segoe UI Semibold"/>
              </a:rPr>
              <a:t>Connect with customers</a:t>
            </a:r>
          </a:p>
        </p:txBody>
      </p:sp>
      <p:sp>
        <p:nvSpPr>
          <p:cNvPr id="45" name="Title 1"/>
          <p:cNvSpPr txBox="1">
            <a:spLocks/>
          </p:cNvSpPr>
          <p:nvPr/>
        </p:nvSpPr>
        <p:spPr>
          <a:xfrm>
            <a:off x="7704437" y="580189"/>
            <a:ext cx="4007604" cy="879785"/>
          </a:xfrm>
          <a:prstGeom prst="rect">
            <a:avLst/>
          </a:prstGeom>
        </p:spPr>
        <p:txBody>
          <a:bodyPr vert="horz" wrap="square" lIns="143428" tIns="89642" rIns="143428" bIns="89642" rtlCol="0" anchor="t">
            <a:noAutofit/>
          </a:bodyPr>
          <a:lstStyle>
            <a:lvl1pPr algn="l" defTabSz="93290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6003" b="0" kern="1200" cap="none" spc="-102" baseline="0">
                <a:ln w="3175"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r"/>
            <a:r>
              <a:rPr sz="3529" dirty="0">
                <a:solidFill>
                  <a:srgbClr val="FD7425"/>
                </a:solidFill>
                <a:latin typeface="Segoe UI Semibold"/>
                <a:cs typeface="Segoe UI Semibold"/>
              </a:rPr>
              <a:t>Grow </a:t>
            </a:r>
          </a:p>
          <a:p>
            <a:pPr algn="r"/>
            <a:r>
              <a:rPr sz="3529" dirty="0">
                <a:solidFill>
                  <a:srgbClr val="FD7425"/>
                </a:solidFill>
                <a:latin typeface="Segoe UI Semibold"/>
                <a:cs typeface="Segoe UI Semibold"/>
              </a:rPr>
              <a:t>efficiently</a:t>
            </a:r>
          </a:p>
        </p:txBody>
      </p:sp>
      <p:sp>
        <p:nvSpPr>
          <p:cNvPr id="50" name="Title 1"/>
          <p:cNvSpPr txBox="1">
            <a:spLocks/>
          </p:cNvSpPr>
          <p:nvPr/>
        </p:nvSpPr>
        <p:spPr>
          <a:xfrm>
            <a:off x="395881" y="4881582"/>
            <a:ext cx="3890631" cy="879785"/>
          </a:xfrm>
          <a:prstGeom prst="rect">
            <a:avLst/>
          </a:prstGeom>
        </p:spPr>
        <p:txBody>
          <a:bodyPr vert="horz" wrap="square" lIns="143428" tIns="89642" rIns="143428" bIns="89642" rtlCol="0" anchor="t">
            <a:noAutofit/>
          </a:bodyPr>
          <a:lstStyle>
            <a:lvl1pPr algn="l" defTabSz="93290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6003" b="0" kern="1200" cap="none" spc="-102" baseline="0">
                <a:ln w="3175"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sz="3529" dirty="0">
                <a:solidFill>
                  <a:srgbClr val="C0504D"/>
                </a:solidFill>
                <a:latin typeface="Segoe UI Semibold"/>
                <a:cs typeface="Segoe UI Semibold"/>
              </a:rPr>
              <a:t>Safeguard </a:t>
            </a:r>
          </a:p>
          <a:p>
            <a:r>
              <a:rPr sz="3529" dirty="0">
                <a:solidFill>
                  <a:srgbClr val="C0504D"/>
                </a:solidFill>
                <a:latin typeface="Segoe UI Semibold"/>
                <a:cs typeface="Segoe UI Semibold"/>
              </a:rPr>
              <a:t>your business</a:t>
            </a:r>
          </a:p>
        </p:txBody>
      </p:sp>
      <p:sp>
        <p:nvSpPr>
          <p:cNvPr id="51" name="Title 1"/>
          <p:cNvSpPr txBox="1">
            <a:spLocks/>
          </p:cNvSpPr>
          <p:nvPr/>
        </p:nvSpPr>
        <p:spPr>
          <a:xfrm>
            <a:off x="7720885" y="4881583"/>
            <a:ext cx="4007604" cy="879785"/>
          </a:xfrm>
          <a:prstGeom prst="rect">
            <a:avLst/>
          </a:prstGeom>
        </p:spPr>
        <p:txBody>
          <a:bodyPr vert="horz" wrap="square" lIns="143428" tIns="89642" rIns="143428" bIns="89642" rtlCol="0" anchor="t">
            <a:noAutofit/>
          </a:bodyPr>
          <a:lstStyle>
            <a:lvl1pPr algn="l" defTabSz="93290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6003" b="0" kern="1200" cap="none" spc="-102" baseline="0">
                <a:ln w="3175"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r"/>
            <a:r>
              <a:rPr sz="3529" dirty="0">
                <a:solidFill>
                  <a:srgbClr val="AB0086"/>
                </a:solidFill>
                <a:latin typeface="Segoe UI Semibold"/>
                <a:cs typeface="Segoe UI Semibold"/>
              </a:rPr>
              <a:t>Business </a:t>
            </a:r>
            <a:endParaRPr sz="3529" dirty="0" smtClean="0">
              <a:solidFill>
                <a:srgbClr val="AB0086"/>
              </a:solidFill>
              <a:latin typeface="Segoe UI Semibold"/>
              <a:cs typeface="Segoe UI Semibold"/>
            </a:endParaRPr>
          </a:p>
          <a:p>
            <a:pPr algn="r"/>
            <a:r>
              <a:rPr sz="3529" dirty="0" smtClean="0">
                <a:solidFill>
                  <a:srgbClr val="AB0086"/>
                </a:solidFill>
                <a:latin typeface="Segoe UI Semibold"/>
                <a:cs typeface="Segoe UI Semibold"/>
              </a:rPr>
              <a:t>anywhere</a:t>
            </a:r>
            <a:endParaRPr sz="3529" dirty="0">
              <a:solidFill>
                <a:srgbClr val="AB0086"/>
              </a:solidFill>
              <a:latin typeface="Segoe UI Semibold"/>
              <a:cs typeface="Segoe UI Semibold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2886654" y="-118505"/>
            <a:ext cx="6404653" cy="6764955"/>
            <a:chOff x="2944537" y="-129767"/>
            <a:chExt cx="6533080" cy="6900606"/>
          </a:xfrm>
        </p:grpSpPr>
        <p:sp>
          <p:nvSpPr>
            <p:cNvPr id="8" name="Oval 7"/>
            <p:cNvSpPr/>
            <p:nvPr/>
          </p:nvSpPr>
          <p:spPr bwMode="auto">
            <a:xfrm>
              <a:off x="2944537" y="237759"/>
              <a:ext cx="6533080" cy="6533080"/>
            </a:xfrm>
            <a:prstGeom prst="ellipse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4821" tIns="44821" rIns="44821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96091" fontAlgn="base">
                <a:spcBef>
                  <a:spcPct val="0"/>
                </a:spcBef>
                <a:spcAft>
                  <a:spcPct val="0"/>
                </a:spcAft>
              </a:pPr>
              <a:endParaRPr lang="en-US" sz="2157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" name="Block Arc 22"/>
            <p:cNvSpPr/>
            <p:nvPr/>
          </p:nvSpPr>
          <p:spPr bwMode="auto">
            <a:xfrm rot="18895467">
              <a:off x="3156520" y="431644"/>
              <a:ext cx="6126578" cy="6126578"/>
            </a:xfrm>
            <a:prstGeom prst="blockArc">
              <a:avLst>
                <a:gd name="adj1" fmla="val 13529147"/>
                <a:gd name="adj2" fmla="val 16172180"/>
                <a:gd name="adj3" fmla="val 26006"/>
              </a:avLst>
            </a:prstGeom>
            <a:solidFill>
              <a:srgbClr val="4B004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</a:pPr>
              <a:endParaRPr lang="en-IN" sz="3137" dirty="0" err="1">
                <a:solidFill>
                  <a:srgbClr val="FD7425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4" name="Block Arc 23"/>
            <p:cNvSpPr/>
            <p:nvPr/>
          </p:nvSpPr>
          <p:spPr bwMode="auto">
            <a:xfrm rot="13500000">
              <a:off x="3156520" y="431644"/>
              <a:ext cx="6126578" cy="6126578"/>
            </a:xfrm>
            <a:prstGeom prst="blockArc">
              <a:avLst>
                <a:gd name="adj1" fmla="val 13529147"/>
                <a:gd name="adj2" fmla="val 16172180"/>
                <a:gd name="adj3" fmla="val 26006"/>
              </a:avLst>
            </a:prstGeom>
            <a:solidFill>
              <a:srgbClr val="FEA83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</a:pPr>
              <a:endParaRPr lang="en-IN" sz="3137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5" name="Block Arc 24"/>
            <p:cNvSpPr/>
            <p:nvPr/>
          </p:nvSpPr>
          <p:spPr bwMode="auto">
            <a:xfrm rot="8095707">
              <a:off x="3156520" y="431644"/>
              <a:ext cx="6126578" cy="6126578"/>
            </a:xfrm>
            <a:prstGeom prst="blockArc">
              <a:avLst>
                <a:gd name="adj1" fmla="val 13529147"/>
                <a:gd name="adj2" fmla="val 16172180"/>
                <a:gd name="adj3" fmla="val 26006"/>
              </a:avLst>
            </a:prstGeom>
            <a:solidFill>
              <a:srgbClr val="AB008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</a:pPr>
              <a:endParaRPr lang="en-IN" sz="3137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6" name="Block Arc 25"/>
            <p:cNvSpPr/>
            <p:nvPr/>
          </p:nvSpPr>
          <p:spPr bwMode="auto">
            <a:xfrm rot="2702956">
              <a:off x="3156520" y="431644"/>
              <a:ext cx="6126578" cy="6126578"/>
            </a:xfrm>
            <a:prstGeom prst="blockArc">
              <a:avLst>
                <a:gd name="adj1" fmla="val 13529147"/>
                <a:gd name="adj2" fmla="val 16172180"/>
                <a:gd name="adj3" fmla="val 26006"/>
              </a:avLst>
            </a:prstGeom>
            <a:solidFill>
              <a:srgbClr val="FD742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</a:pPr>
              <a:endParaRPr lang="en-IN" sz="3137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7" name="Block Arc 26"/>
            <p:cNvSpPr/>
            <p:nvPr/>
          </p:nvSpPr>
          <p:spPr bwMode="auto">
            <a:xfrm>
              <a:off x="3156520" y="431644"/>
              <a:ext cx="6126578" cy="6126578"/>
            </a:xfrm>
            <a:prstGeom prst="blockArc">
              <a:avLst>
                <a:gd name="adj1" fmla="val 13529147"/>
                <a:gd name="adj2" fmla="val 16172180"/>
                <a:gd name="adj3" fmla="val 26006"/>
              </a:avLst>
            </a:prstGeom>
            <a:solidFill>
              <a:srgbClr val="4B004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</a:pPr>
              <a:endParaRPr lang="en-IN" sz="3137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8" name="Block Arc 27"/>
            <p:cNvSpPr/>
            <p:nvPr/>
          </p:nvSpPr>
          <p:spPr bwMode="auto">
            <a:xfrm rot="16200000">
              <a:off x="3156520" y="431644"/>
              <a:ext cx="6126578" cy="6126578"/>
            </a:xfrm>
            <a:prstGeom prst="blockArc">
              <a:avLst>
                <a:gd name="adj1" fmla="val 13529147"/>
                <a:gd name="adj2" fmla="val 16172180"/>
                <a:gd name="adj3" fmla="val 26006"/>
              </a:avLst>
            </a:prstGeom>
            <a:solidFill>
              <a:srgbClr val="FEA83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</a:pPr>
              <a:endParaRPr lang="en-IN" sz="3137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9" name="Block Arc 28"/>
            <p:cNvSpPr/>
            <p:nvPr/>
          </p:nvSpPr>
          <p:spPr bwMode="auto">
            <a:xfrm rot="10800000">
              <a:off x="3156520" y="431644"/>
              <a:ext cx="6126578" cy="6126578"/>
            </a:xfrm>
            <a:prstGeom prst="blockArc">
              <a:avLst>
                <a:gd name="adj1" fmla="val 13529147"/>
                <a:gd name="adj2" fmla="val 16172180"/>
                <a:gd name="adj3" fmla="val 26006"/>
              </a:avLst>
            </a:prstGeom>
            <a:solidFill>
              <a:srgbClr val="AB008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</a:pPr>
              <a:endParaRPr lang="en-IN" sz="3137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0" name="Block Arc 29"/>
            <p:cNvSpPr/>
            <p:nvPr/>
          </p:nvSpPr>
          <p:spPr bwMode="auto">
            <a:xfrm rot="5400000">
              <a:off x="3156520" y="431644"/>
              <a:ext cx="6126578" cy="6126578"/>
            </a:xfrm>
            <a:prstGeom prst="blockArc">
              <a:avLst>
                <a:gd name="adj1" fmla="val 13529147"/>
                <a:gd name="adj2" fmla="val 16172180"/>
                <a:gd name="adj3" fmla="val 26006"/>
              </a:avLst>
            </a:prstGeom>
            <a:solidFill>
              <a:srgbClr val="FD742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</a:pPr>
              <a:endParaRPr lang="en-IN" sz="3137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1" name="Flowchart: Connector 30"/>
            <p:cNvSpPr/>
            <p:nvPr/>
          </p:nvSpPr>
          <p:spPr bwMode="auto">
            <a:xfrm>
              <a:off x="4751857" y="2020118"/>
              <a:ext cx="2935530" cy="2949260"/>
            </a:xfrm>
            <a:prstGeom prst="flowChartConnector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695" tIns="45695" rIns="45695" bIns="4569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561" fontAlgn="base">
                <a:spcBef>
                  <a:spcPct val="0"/>
                </a:spcBef>
                <a:spcAft>
                  <a:spcPct val="0"/>
                </a:spcAft>
              </a:pPr>
              <a:endPara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4427368" y="951746"/>
              <a:ext cx="1769409" cy="995293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 defTabSz="913949"/>
              <a:r>
                <a:rPr lang="en-US" sz="1765" dirty="0">
                  <a:solidFill>
                    <a:prstClr val="white"/>
                  </a:solidFill>
                  <a:latin typeface="Segoe UI Semilight"/>
                  <a:cs typeface="Segoe UI Semilight"/>
                </a:rPr>
                <a:t>Increase </a:t>
              </a:r>
              <a:br>
                <a:rPr lang="en-US" sz="1765" dirty="0">
                  <a:solidFill>
                    <a:prstClr val="white"/>
                  </a:solidFill>
                  <a:latin typeface="Segoe UI Semilight"/>
                  <a:cs typeface="Segoe UI Semilight"/>
                </a:rPr>
              </a:br>
              <a:r>
                <a:rPr lang="en-US" sz="1765" dirty="0">
                  <a:solidFill>
                    <a:prstClr val="white"/>
                  </a:solidFill>
                  <a:latin typeface="Segoe UI Semilight"/>
                  <a:cs typeface="Segoe UI Semilight"/>
                </a:rPr>
                <a:t>your</a:t>
              </a:r>
              <a:br>
                <a:rPr lang="en-US" sz="1765" dirty="0">
                  <a:solidFill>
                    <a:prstClr val="white"/>
                  </a:solidFill>
                  <a:latin typeface="Segoe UI Semilight"/>
                  <a:cs typeface="Segoe UI Semilight"/>
                </a:rPr>
              </a:br>
              <a:r>
                <a:rPr lang="en-US" sz="1765" dirty="0">
                  <a:solidFill>
                    <a:prstClr val="white"/>
                  </a:solidFill>
                  <a:latin typeface="Segoe UI Semilight"/>
                  <a:cs typeface="Segoe UI Semilight"/>
                </a:rPr>
                <a:t>sales </a:t>
              </a: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7413883" y="2152213"/>
              <a:ext cx="1909011" cy="995293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 defTabSz="913949"/>
              <a:r>
                <a:rPr lang="en-US" sz="1765" dirty="0">
                  <a:solidFill>
                    <a:srgbClr val="4B0045"/>
                  </a:solidFill>
                  <a:latin typeface="Segoe UI Semilight"/>
                  <a:cs typeface="Segoe UI Semilight"/>
                </a:rPr>
                <a:t>Get the </a:t>
              </a:r>
              <a:br>
                <a:rPr lang="en-US" sz="1765" dirty="0">
                  <a:solidFill>
                    <a:srgbClr val="4B0045"/>
                  </a:solidFill>
                  <a:latin typeface="Segoe UI Semilight"/>
                  <a:cs typeface="Segoe UI Semilight"/>
                </a:rPr>
              </a:br>
              <a:r>
                <a:rPr lang="en-US" sz="1765" dirty="0">
                  <a:solidFill>
                    <a:srgbClr val="4B0045"/>
                  </a:solidFill>
                  <a:latin typeface="Segoe UI Semilight"/>
                  <a:cs typeface="Segoe UI Semilight"/>
                </a:rPr>
                <a:t>most out </a:t>
              </a:r>
              <a:br>
                <a:rPr lang="en-US" sz="1765" dirty="0">
                  <a:solidFill>
                    <a:srgbClr val="4B0045"/>
                  </a:solidFill>
                  <a:latin typeface="Segoe UI Semilight"/>
                  <a:cs typeface="Segoe UI Semilight"/>
                </a:rPr>
              </a:br>
              <a:r>
                <a:rPr lang="en-US" sz="1765" dirty="0">
                  <a:solidFill>
                    <a:srgbClr val="4B0045"/>
                  </a:solidFill>
                  <a:latin typeface="Segoe UI Semilight"/>
                  <a:cs typeface="Segoe UI Semilight"/>
                </a:rPr>
                <a:t>of your</a:t>
              </a:r>
            </a:p>
            <a:p>
              <a:pPr algn="ctr" defTabSz="913949"/>
              <a:r>
                <a:rPr lang="en-US" sz="1765" dirty="0">
                  <a:solidFill>
                    <a:srgbClr val="4B0045"/>
                  </a:solidFill>
                  <a:latin typeface="Segoe UI Semilight"/>
                  <a:cs typeface="Segoe UI Semilight"/>
                </a:rPr>
                <a:t>technology</a:t>
              </a: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6185396" y="951746"/>
              <a:ext cx="1769409" cy="995293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 defTabSz="913949"/>
              <a:r>
                <a:rPr lang="en-US" sz="1765" dirty="0">
                  <a:solidFill>
                    <a:srgbClr val="4B0045"/>
                  </a:solidFill>
                  <a:latin typeface="Segoe UI Semilight"/>
                  <a:cs typeface="Segoe UI Semilight"/>
                </a:rPr>
                <a:t>Adapt to </a:t>
              </a:r>
              <a:br>
                <a:rPr lang="en-US" sz="1765" dirty="0">
                  <a:solidFill>
                    <a:srgbClr val="4B0045"/>
                  </a:solidFill>
                  <a:latin typeface="Segoe UI Semilight"/>
                  <a:cs typeface="Segoe UI Semilight"/>
                </a:rPr>
              </a:br>
              <a:r>
                <a:rPr lang="en-US" sz="1765" dirty="0">
                  <a:solidFill>
                    <a:srgbClr val="4B0045"/>
                  </a:solidFill>
                  <a:latin typeface="Segoe UI Semilight"/>
                  <a:cs typeface="Segoe UI Semilight"/>
                </a:rPr>
                <a:t>change</a:t>
              </a:r>
            </a:p>
          </p:txBody>
        </p:sp>
        <p:cxnSp>
          <p:nvCxnSpPr>
            <p:cNvPr id="35" name="Straight Connector 34"/>
            <p:cNvCxnSpPr/>
            <p:nvPr/>
          </p:nvCxnSpPr>
          <p:spPr>
            <a:xfrm>
              <a:off x="6217656" y="413929"/>
              <a:ext cx="0" cy="6157446"/>
            </a:xfrm>
            <a:prstGeom prst="line">
              <a:avLst/>
            </a:prstGeom>
            <a:ln w="38100"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/>
          </p:nvCxnSpPr>
          <p:spPr>
            <a:xfrm>
              <a:off x="4053683" y="1328807"/>
              <a:ext cx="4331883" cy="4331883"/>
            </a:xfrm>
            <a:prstGeom prst="line">
              <a:avLst/>
            </a:prstGeom>
            <a:ln w="38100"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/>
          </p:nvCxnSpPr>
          <p:spPr>
            <a:xfrm>
              <a:off x="3138805" y="3492651"/>
              <a:ext cx="6157446" cy="0"/>
            </a:xfrm>
            <a:prstGeom prst="line">
              <a:avLst/>
            </a:prstGeom>
            <a:ln w="38100"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/>
          </p:nvCxnSpPr>
          <p:spPr>
            <a:xfrm flipV="1">
              <a:off x="4053683" y="1328809"/>
              <a:ext cx="4331882" cy="4331881"/>
            </a:xfrm>
            <a:prstGeom prst="line">
              <a:avLst/>
            </a:prstGeom>
            <a:ln w="38100"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TextBox 38"/>
            <p:cNvSpPr txBox="1"/>
            <p:nvPr/>
          </p:nvSpPr>
          <p:spPr>
            <a:xfrm>
              <a:off x="3224970" y="3805124"/>
              <a:ext cx="1769409" cy="995293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 defTabSz="913949"/>
              <a:r>
                <a:rPr lang="en-US" sz="1765" dirty="0">
                  <a:solidFill>
                    <a:srgbClr val="AB0086"/>
                  </a:solidFill>
                  <a:latin typeface="Segoe UI Semilight"/>
                  <a:cs typeface="Segoe UI Semilight"/>
                </a:rPr>
                <a:t>Be prepared </a:t>
              </a:r>
            </a:p>
            <a:p>
              <a:pPr algn="ctr" defTabSz="913949"/>
              <a:r>
                <a:rPr lang="en-US" sz="1765" dirty="0">
                  <a:solidFill>
                    <a:srgbClr val="AB0086"/>
                  </a:solidFill>
                  <a:latin typeface="Segoe UI Semilight"/>
                  <a:cs typeface="Segoe UI Semilight"/>
                </a:rPr>
                <a:t>for the</a:t>
              </a:r>
            </a:p>
            <a:p>
              <a:pPr algn="ctr" defTabSz="913949"/>
              <a:r>
                <a:rPr lang="en-US" sz="1765" dirty="0">
                  <a:solidFill>
                    <a:srgbClr val="AB0086"/>
                  </a:solidFill>
                  <a:latin typeface="Segoe UI Semilight"/>
                  <a:cs typeface="Segoe UI Semilight"/>
                </a:rPr>
                <a:t>unexpected</a:t>
              </a: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4417940" y="5073563"/>
              <a:ext cx="1769409" cy="995293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 defTabSz="913949"/>
              <a:r>
                <a:rPr lang="en-US" sz="1765" dirty="0">
                  <a:solidFill>
                    <a:srgbClr val="AB0086"/>
                  </a:solidFill>
                  <a:latin typeface="Segoe UI Semilight"/>
                  <a:cs typeface="Segoe UI Semilight"/>
                </a:rPr>
                <a:t>Protect </a:t>
              </a:r>
              <a:br>
                <a:rPr lang="en-US" sz="1765" dirty="0">
                  <a:solidFill>
                    <a:srgbClr val="AB0086"/>
                  </a:solidFill>
                  <a:latin typeface="Segoe UI Semilight"/>
                  <a:cs typeface="Segoe UI Semilight"/>
                </a:rPr>
              </a:br>
              <a:r>
                <a:rPr lang="en-US" sz="1765" dirty="0">
                  <a:solidFill>
                    <a:srgbClr val="AB0086"/>
                  </a:solidFill>
                  <a:latin typeface="Segoe UI Semilight"/>
                  <a:cs typeface="Segoe UI Semilight"/>
                </a:rPr>
                <a:t>and control </a:t>
              </a:r>
              <a:br>
                <a:rPr lang="en-US" sz="1765" dirty="0">
                  <a:solidFill>
                    <a:srgbClr val="AB0086"/>
                  </a:solidFill>
                  <a:latin typeface="Segoe UI Semilight"/>
                  <a:cs typeface="Segoe UI Semilight"/>
                </a:rPr>
              </a:br>
              <a:r>
                <a:rPr lang="en-US" sz="1765" dirty="0">
                  <a:solidFill>
                    <a:srgbClr val="AB0086"/>
                  </a:solidFill>
                  <a:latin typeface="Segoe UI Semilight"/>
                  <a:cs typeface="Segoe UI Semilight"/>
                </a:rPr>
                <a:t>your data</a:t>
              </a: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6173535" y="5123141"/>
              <a:ext cx="1769409" cy="995293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 defTabSz="913949"/>
              <a:r>
                <a:rPr lang="en-US" sz="1765" dirty="0">
                  <a:solidFill>
                    <a:prstClr val="white"/>
                  </a:solidFill>
                  <a:latin typeface="Segoe UI Semilight"/>
                  <a:cs typeface="Segoe UI Semilight"/>
                </a:rPr>
                <a:t>Work </a:t>
              </a:r>
              <a:br>
                <a:rPr lang="en-US" sz="1765" dirty="0">
                  <a:solidFill>
                    <a:prstClr val="white"/>
                  </a:solidFill>
                  <a:latin typeface="Segoe UI Semilight"/>
                  <a:cs typeface="Segoe UI Semilight"/>
                </a:rPr>
              </a:br>
              <a:r>
                <a:rPr lang="en-US" sz="1765" dirty="0">
                  <a:solidFill>
                    <a:prstClr val="white"/>
                  </a:solidFill>
                  <a:latin typeface="Segoe UI Semilight"/>
                  <a:cs typeface="Segoe UI Semilight"/>
                </a:rPr>
                <a:t>together </a:t>
              </a:r>
              <a:br>
                <a:rPr lang="en-US" sz="1765" dirty="0">
                  <a:solidFill>
                    <a:prstClr val="white"/>
                  </a:solidFill>
                  <a:latin typeface="Segoe UI Semilight"/>
                  <a:cs typeface="Segoe UI Semilight"/>
                </a:rPr>
              </a:br>
              <a:r>
                <a:rPr lang="en-US" sz="1765" dirty="0">
                  <a:solidFill>
                    <a:prstClr val="white"/>
                  </a:solidFill>
                  <a:latin typeface="Segoe UI Semilight"/>
                  <a:cs typeface="Segoe UI Semilight"/>
                </a:rPr>
                <a:t>easily</a:t>
              </a: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7410705" y="3719339"/>
              <a:ext cx="1717371" cy="1173509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 defTabSz="913949"/>
              <a:r>
                <a:rPr lang="en-US" sz="1765" dirty="0">
                  <a:solidFill>
                    <a:prstClr val="white"/>
                  </a:solidFill>
                  <a:latin typeface="Segoe UI Semilight"/>
                  <a:cs typeface="Segoe UI Semilight"/>
                </a:rPr>
                <a:t>Get your</a:t>
              </a:r>
              <a:br>
                <a:rPr lang="en-US" sz="1765" dirty="0">
                  <a:solidFill>
                    <a:prstClr val="white"/>
                  </a:solidFill>
                  <a:latin typeface="Segoe UI Semilight"/>
                  <a:cs typeface="Segoe UI Semilight"/>
                </a:rPr>
              </a:br>
              <a:r>
                <a:rPr lang="en-US" sz="1765" dirty="0">
                  <a:solidFill>
                    <a:prstClr val="white"/>
                  </a:solidFill>
                  <a:latin typeface="Segoe UI Semilight"/>
                  <a:cs typeface="Segoe UI Semilight"/>
                </a:rPr>
                <a:t>work done</a:t>
              </a:r>
            </a:p>
            <a:p>
              <a:pPr algn="ctr" defTabSz="913949"/>
              <a:r>
                <a:rPr lang="en-US" sz="1765" dirty="0">
                  <a:solidFill>
                    <a:prstClr val="white"/>
                  </a:solidFill>
                  <a:latin typeface="Segoe UI Semilight"/>
                  <a:cs typeface="Segoe UI Semilight"/>
                </a:rPr>
                <a:t>anywhere</a:t>
              </a: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3224619" y="2156543"/>
              <a:ext cx="1769409" cy="995293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 defTabSz="913949"/>
              <a:r>
                <a:rPr lang="en-US" sz="1765" dirty="0">
                  <a:solidFill>
                    <a:prstClr val="white"/>
                  </a:solidFill>
                  <a:latin typeface="Segoe UI Semilight"/>
                  <a:cs typeface="Segoe UI Semilight"/>
                </a:rPr>
                <a:t>Understand </a:t>
              </a:r>
              <a:br>
                <a:rPr lang="en-US" sz="1765" dirty="0">
                  <a:solidFill>
                    <a:prstClr val="white"/>
                  </a:solidFill>
                  <a:latin typeface="Segoe UI Semilight"/>
                  <a:cs typeface="Segoe UI Semilight"/>
                </a:rPr>
              </a:br>
              <a:r>
                <a:rPr lang="en-US" sz="1765" dirty="0">
                  <a:solidFill>
                    <a:prstClr val="white"/>
                  </a:solidFill>
                  <a:latin typeface="Segoe UI Semilight"/>
                  <a:cs typeface="Segoe UI Semilight"/>
                </a:rPr>
                <a:t>your </a:t>
              </a:r>
            </a:p>
            <a:p>
              <a:pPr algn="ctr" defTabSz="913949"/>
              <a:r>
                <a:rPr lang="en-US" sz="1765" dirty="0">
                  <a:solidFill>
                    <a:prstClr val="white"/>
                  </a:solidFill>
                  <a:latin typeface="Segoe UI Semilight"/>
                  <a:cs typeface="Segoe UI Semilight"/>
                </a:rPr>
                <a:t>customer </a:t>
              </a:r>
            </a:p>
          </p:txBody>
        </p:sp>
        <p:sp>
          <p:nvSpPr>
            <p:cNvPr id="4" name="TextBox 3"/>
            <p:cNvSpPr txBox="1"/>
            <p:nvPr/>
          </p:nvSpPr>
          <p:spPr>
            <a:xfrm>
              <a:off x="4743340" y="-129767"/>
              <a:ext cx="914400" cy="914400"/>
            </a:xfrm>
            <a:prstGeom prst="rect">
              <a:avLst/>
            </a:prstGeom>
            <a:noFill/>
          </p:spPr>
          <p:txBody>
            <a:bodyPr wrap="none" lIns="179285" tIns="143428" rIns="179285" bIns="143428" rtlCol="0">
              <a:noAutofit/>
            </a:bodyPr>
            <a:lstStyle/>
            <a:p>
              <a:pPr defTabSz="544196">
                <a:lnSpc>
                  <a:spcPct val="90000"/>
                </a:lnSpc>
                <a:spcAft>
                  <a:spcPts val="588"/>
                </a:spcAft>
              </a:pPr>
              <a:endParaRPr lang="en-US" sz="2353" dirty="0"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</a:endParaRPr>
            </a:p>
          </p:txBody>
        </p:sp>
      </p:grpSp>
      <p:sp>
        <p:nvSpPr>
          <p:cNvPr id="11" name="Rectangle 10"/>
          <p:cNvSpPr/>
          <p:nvPr/>
        </p:nvSpPr>
        <p:spPr bwMode="auto">
          <a:xfrm>
            <a:off x="1" y="-7643"/>
            <a:ext cx="12192000" cy="268927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44821" rIns="44821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96091" fontAlgn="base">
              <a:spcBef>
                <a:spcPct val="0"/>
              </a:spcBef>
              <a:spcAft>
                <a:spcPct val="0"/>
              </a:spcAft>
            </a:pPr>
            <a:endParaRPr lang="en-US" sz="2157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9" name="Rectangle 48"/>
          <p:cNvSpPr/>
          <p:nvPr/>
        </p:nvSpPr>
        <p:spPr bwMode="auto">
          <a:xfrm>
            <a:off x="1" y="6612252"/>
            <a:ext cx="12192000" cy="268927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44821" rIns="44821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96091" fontAlgn="base">
              <a:spcBef>
                <a:spcPct val="0"/>
              </a:spcBef>
              <a:spcAft>
                <a:spcPct val="0"/>
              </a:spcAft>
            </a:pPr>
            <a:endParaRPr lang="en-US" sz="2157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2" name="Rectangle 51"/>
          <p:cNvSpPr/>
          <p:nvPr/>
        </p:nvSpPr>
        <p:spPr bwMode="auto">
          <a:xfrm rot="5400000">
            <a:off x="-3323389" y="3310737"/>
            <a:ext cx="6900683" cy="268927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44821" rIns="44821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96091" fontAlgn="base">
              <a:spcBef>
                <a:spcPct val="0"/>
              </a:spcBef>
              <a:spcAft>
                <a:spcPct val="0"/>
              </a:spcAft>
            </a:pPr>
            <a:endParaRPr lang="en-US" sz="2157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3" name="Rectangle 52"/>
          <p:cNvSpPr/>
          <p:nvPr/>
        </p:nvSpPr>
        <p:spPr bwMode="auto">
          <a:xfrm rot="5400000">
            <a:off x="8613641" y="3310737"/>
            <a:ext cx="6900683" cy="268927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44821" rIns="44821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96091" fontAlgn="base">
              <a:spcBef>
                <a:spcPct val="0"/>
              </a:spcBef>
              <a:spcAft>
                <a:spcPct val="0"/>
              </a:spcAft>
            </a:pPr>
            <a:endParaRPr lang="en-US" sz="2157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3101864" y="3148485"/>
            <a:ext cx="6006142" cy="528021"/>
          </a:xfrm>
          <a:prstGeom prst="rect">
            <a:avLst/>
          </a:prstGeom>
          <a:noFill/>
        </p:spPr>
        <p:txBody>
          <a:bodyPr wrap="square" bIns="0" rtlCol="0">
            <a:spAutoFit/>
          </a:bodyPr>
          <a:lstStyle/>
          <a:p>
            <a:pPr algn="ctr" defTabSz="544196"/>
            <a:r>
              <a:rPr lang="en-US" sz="3137" dirty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/>
                <a:cs typeface="Segoe UI Semibold"/>
              </a:rPr>
              <a:t>ModernBiz</a:t>
            </a:r>
          </a:p>
        </p:txBody>
      </p:sp>
    </p:spTree>
    <p:extLst>
      <p:ext uri="{BB962C8B-B14F-4D97-AF65-F5344CB8AC3E}">
        <p14:creationId xmlns:p14="http://schemas.microsoft.com/office/powerpoint/2010/main" val="56765294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5" grpId="0"/>
      <p:bldP spid="50" grpId="0"/>
      <p:bldP spid="51" grpId="0"/>
      <p:bldP spid="54" grpId="0"/>
    </p:bld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7" name="Rectangle 846"/>
          <p:cNvSpPr/>
          <p:nvPr/>
        </p:nvSpPr>
        <p:spPr>
          <a:xfrm>
            <a:off x="3271730" y="1022333"/>
            <a:ext cx="4583054" cy="5271659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0" name="Freeform 629"/>
          <p:cNvSpPr/>
          <p:nvPr/>
        </p:nvSpPr>
        <p:spPr bwMode="auto">
          <a:xfrm rot="17100000">
            <a:off x="4522219" y="3993012"/>
            <a:ext cx="784140" cy="45719"/>
          </a:xfrm>
          <a:custGeom>
            <a:avLst/>
            <a:gdLst>
              <a:gd name="connsiteX0" fmla="*/ 911225 w 917575"/>
              <a:gd name="connsiteY0" fmla="*/ 98425 h 247650"/>
              <a:gd name="connsiteX1" fmla="*/ 0 w 917575"/>
              <a:gd name="connsiteY1" fmla="*/ 0 h 247650"/>
              <a:gd name="connsiteX2" fmla="*/ 12700 w 917575"/>
              <a:gd name="connsiteY2" fmla="*/ 225425 h 247650"/>
              <a:gd name="connsiteX3" fmla="*/ 917575 w 917575"/>
              <a:gd name="connsiteY3" fmla="*/ 247650 h 247650"/>
              <a:gd name="connsiteX4" fmla="*/ 911225 w 917575"/>
              <a:gd name="connsiteY4" fmla="*/ 98425 h 247650"/>
              <a:gd name="connsiteX0" fmla="*/ 915125 w 921475"/>
              <a:gd name="connsiteY0" fmla="*/ 98425 h 247650"/>
              <a:gd name="connsiteX1" fmla="*/ 3900 w 921475"/>
              <a:gd name="connsiteY1" fmla="*/ 0 h 247650"/>
              <a:gd name="connsiteX2" fmla="*/ 16600 w 921475"/>
              <a:gd name="connsiteY2" fmla="*/ 225425 h 247650"/>
              <a:gd name="connsiteX3" fmla="*/ 921475 w 921475"/>
              <a:gd name="connsiteY3" fmla="*/ 247650 h 247650"/>
              <a:gd name="connsiteX4" fmla="*/ 915125 w 921475"/>
              <a:gd name="connsiteY4" fmla="*/ 98425 h 247650"/>
              <a:gd name="connsiteX0" fmla="*/ 915125 w 921475"/>
              <a:gd name="connsiteY0" fmla="*/ 98425 h 247650"/>
              <a:gd name="connsiteX1" fmla="*/ 3900 w 921475"/>
              <a:gd name="connsiteY1" fmla="*/ 0 h 247650"/>
              <a:gd name="connsiteX2" fmla="*/ 16600 w 921475"/>
              <a:gd name="connsiteY2" fmla="*/ 225425 h 247650"/>
              <a:gd name="connsiteX3" fmla="*/ 921475 w 921475"/>
              <a:gd name="connsiteY3" fmla="*/ 247650 h 247650"/>
              <a:gd name="connsiteX4" fmla="*/ 915125 w 921475"/>
              <a:gd name="connsiteY4" fmla="*/ 98425 h 247650"/>
              <a:gd name="connsiteX0" fmla="*/ 915125 w 921475"/>
              <a:gd name="connsiteY0" fmla="*/ 98425 h 247650"/>
              <a:gd name="connsiteX1" fmla="*/ 3900 w 921475"/>
              <a:gd name="connsiteY1" fmla="*/ 0 h 247650"/>
              <a:gd name="connsiteX2" fmla="*/ 16600 w 921475"/>
              <a:gd name="connsiteY2" fmla="*/ 225425 h 247650"/>
              <a:gd name="connsiteX3" fmla="*/ 921475 w 921475"/>
              <a:gd name="connsiteY3" fmla="*/ 247650 h 247650"/>
              <a:gd name="connsiteX4" fmla="*/ 915125 w 921475"/>
              <a:gd name="connsiteY4" fmla="*/ 98425 h 247650"/>
              <a:gd name="connsiteX0" fmla="*/ 915125 w 921475"/>
              <a:gd name="connsiteY0" fmla="*/ 98425 h 264157"/>
              <a:gd name="connsiteX1" fmla="*/ 3900 w 921475"/>
              <a:gd name="connsiteY1" fmla="*/ 0 h 264157"/>
              <a:gd name="connsiteX2" fmla="*/ 16600 w 921475"/>
              <a:gd name="connsiteY2" fmla="*/ 225425 h 264157"/>
              <a:gd name="connsiteX3" fmla="*/ 921475 w 921475"/>
              <a:gd name="connsiteY3" fmla="*/ 247650 h 264157"/>
              <a:gd name="connsiteX4" fmla="*/ 915125 w 921475"/>
              <a:gd name="connsiteY4" fmla="*/ 98425 h 264157"/>
              <a:gd name="connsiteX0" fmla="*/ 915125 w 921475"/>
              <a:gd name="connsiteY0" fmla="*/ 98425 h 281274"/>
              <a:gd name="connsiteX1" fmla="*/ 3900 w 921475"/>
              <a:gd name="connsiteY1" fmla="*/ 0 h 281274"/>
              <a:gd name="connsiteX2" fmla="*/ 16600 w 921475"/>
              <a:gd name="connsiteY2" fmla="*/ 225425 h 281274"/>
              <a:gd name="connsiteX3" fmla="*/ 921475 w 921475"/>
              <a:gd name="connsiteY3" fmla="*/ 247650 h 281274"/>
              <a:gd name="connsiteX4" fmla="*/ 915125 w 921475"/>
              <a:gd name="connsiteY4" fmla="*/ 98425 h 281274"/>
              <a:gd name="connsiteX0" fmla="*/ 915125 w 921475"/>
              <a:gd name="connsiteY0" fmla="*/ 98425 h 281274"/>
              <a:gd name="connsiteX1" fmla="*/ 3900 w 921475"/>
              <a:gd name="connsiteY1" fmla="*/ 0 h 281274"/>
              <a:gd name="connsiteX2" fmla="*/ 16600 w 921475"/>
              <a:gd name="connsiteY2" fmla="*/ 225425 h 281274"/>
              <a:gd name="connsiteX3" fmla="*/ 921475 w 921475"/>
              <a:gd name="connsiteY3" fmla="*/ 247650 h 281274"/>
              <a:gd name="connsiteX4" fmla="*/ 915125 w 921475"/>
              <a:gd name="connsiteY4" fmla="*/ 98425 h 281274"/>
              <a:gd name="connsiteX0" fmla="*/ 910363 w 921475"/>
              <a:gd name="connsiteY0" fmla="*/ 107950 h 281274"/>
              <a:gd name="connsiteX1" fmla="*/ 3900 w 921475"/>
              <a:gd name="connsiteY1" fmla="*/ 0 h 281274"/>
              <a:gd name="connsiteX2" fmla="*/ 16600 w 921475"/>
              <a:gd name="connsiteY2" fmla="*/ 225425 h 281274"/>
              <a:gd name="connsiteX3" fmla="*/ 921475 w 921475"/>
              <a:gd name="connsiteY3" fmla="*/ 247650 h 281274"/>
              <a:gd name="connsiteX4" fmla="*/ 910363 w 921475"/>
              <a:gd name="connsiteY4" fmla="*/ 107950 h 281274"/>
              <a:gd name="connsiteX0" fmla="*/ 894026 w 905138"/>
              <a:gd name="connsiteY0" fmla="*/ 107950 h 281274"/>
              <a:gd name="connsiteX1" fmla="*/ 56620 w 905138"/>
              <a:gd name="connsiteY1" fmla="*/ 0 h 281274"/>
              <a:gd name="connsiteX2" fmla="*/ 263 w 905138"/>
              <a:gd name="connsiteY2" fmla="*/ 225425 h 281274"/>
              <a:gd name="connsiteX3" fmla="*/ 905138 w 905138"/>
              <a:gd name="connsiteY3" fmla="*/ 247650 h 281274"/>
              <a:gd name="connsiteX4" fmla="*/ 894026 w 905138"/>
              <a:gd name="connsiteY4" fmla="*/ 107950 h 281274"/>
              <a:gd name="connsiteX0" fmla="*/ 861164 w 872276"/>
              <a:gd name="connsiteY0" fmla="*/ 107950 h 295592"/>
              <a:gd name="connsiteX1" fmla="*/ 23758 w 872276"/>
              <a:gd name="connsiteY1" fmla="*/ 0 h 295592"/>
              <a:gd name="connsiteX2" fmla="*/ 738 w 872276"/>
              <a:gd name="connsiteY2" fmla="*/ 251619 h 295592"/>
              <a:gd name="connsiteX3" fmla="*/ 872276 w 872276"/>
              <a:gd name="connsiteY3" fmla="*/ 247650 h 295592"/>
              <a:gd name="connsiteX4" fmla="*/ 861164 w 872276"/>
              <a:gd name="connsiteY4" fmla="*/ 107950 h 295592"/>
              <a:gd name="connsiteX0" fmla="*/ 856648 w 867760"/>
              <a:gd name="connsiteY0" fmla="*/ 107950 h 289918"/>
              <a:gd name="connsiteX1" fmla="*/ 19242 w 867760"/>
              <a:gd name="connsiteY1" fmla="*/ 0 h 289918"/>
              <a:gd name="connsiteX2" fmla="*/ 984 w 867760"/>
              <a:gd name="connsiteY2" fmla="*/ 242094 h 289918"/>
              <a:gd name="connsiteX3" fmla="*/ 867760 w 867760"/>
              <a:gd name="connsiteY3" fmla="*/ 247650 h 289918"/>
              <a:gd name="connsiteX4" fmla="*/ 856648 w 867760"/>
              <a:gd name="connsiteY4" fmla="*/ 107950 h 289918"/>
              <a:gd name="connsiteX0" fmla="*/ 856648 w 867760"/>
              <a:gd name="connsiteY0" fmla="*/ 107950 h 294068"/>
              <a:gd name="connsiteX1" fmla="*/ 19242 w 867760"/>
              <a:gd name="connsiteY1" fmla="*/ 0 h 294068"/>
              <a:gd name="connsiteX2" fmla="*/ 984 w 867760"/>
              <a:gd name="connsiteY2" fmla="*/ 242094 h 294068"/>
              <a:gd name="connsiteX3" fmla="*/ 867760 w 867760"/>
              <a:gd name="connsiteY3" fmla="*/ 247650 h 294068"/>
              <a:gd name="connsiteX4" fmla="*/ 856648 w 867760"/>
              <a:gd name="connsiteY4" fmla="*/ 107950 h 294068"/>
              <a:gd name="connsiteX0" fmla="*/ 856648 w 867760"/>
              <a:gd name="connsiteY0" fmla="*/ 107950 h 294068"/>
              <a:gd name="connsiteX1" fmla="*/ 19242 w 867760"/>
              <a:gd name="connsiteY1" fmla="*/ 0 h 294068"/>
              <a:gd name="connsiteX2" fmla="*/ 984 w 867760"/>
              <a:gd name="connsiteY2" fmla="*/ 242094 h 294068"/>
              <a:gd name="connsiteX3" fmla="*/ 867760 w 867760"/>
              <a:gd name="connsiteY3" fmla="*/ 247650 h 294068"/>
              <a:gd name="connsiteX4" fmla="*/ 856648 w 867760"/>
              <a:gd name="connsiteY4" fmla="*/ 107950 h 294068"/>
              <a:gd name="connsiteX0" fmla="*/ 856648 w 948088"/>
              <a:gd name="connsiteY0" fmla="*/ 107950 h 294068"/>
              <a:gd name="connsiteX1" fmla="*/ 19242 w 948088"/>
              <a:gd name="connsiteY1" fmla="*/ 0 h 294068"/>
              <a:gd name="connsiteX2" fmla="*/ 984 w 948088"/>
              <a:gd name="connsiteY2" fmla="*/ 242094 h 294068"/>
              <a:gd name="connsiteX3" fmla="*/ 867760 w 948088"/>
              <a:gd name="connsiteY3" fmla="*/ 247650 h 294068"/>
              <a:gd name="connsiteX4" fmla="*/ 948088 w 948088"/>
              <a:gd name="connsiteY4" fmla="*/ 199390 h 294068"/>
              <a:gd name="connsiteX0" fmla="*/ 856648 w 867760"/>
              <a:gd name="connsiteY0" fmla="*/ 107950 h 294068"/>
              <a:gd name="connsiteX1" fmla="*/ 19242 w 867760"/>
              <a:gd name="connsiteY1" fmla="*/ 0 h 294068"/>
              <a:gd name="connsiteX2" fmla="*/ 984 w 867760"/>
              <a:gd name="connsiteY2" fmla="*/ 242094 h 294068"/>
              <a:gd name="connsiteX3" fmla="*/ 867760 w 867760"/>
              <a:gd name="connsiteY3" fmla="*/ 247650 h 294068"/>
              <a:gd name="connsiteX0" fmla="*/ 825692 w 867760"/>
              <a:gd name="connsiteY0" fmla="*/ 110331 h 294068"/>
              <a:gd name="connsiteX1" fmla="*/ 19242 w 867760"/>
              <a:gd name="connsiteY1" fmla="*/ 0 h 294068"/>
              <a:gd name="connsiteX2" fmla="*/ 984 w 867760"/>
              <a:gd name="connsiteY2" fmla="*/ 242094 h 294068"/>
              <a:gd name="connsiteX3" fmla="*/ 867760 w 867760"/>
              <a:gd name="connsiteY3" fmla="*/ 247650 h 294068"/>
              <a:gd name="connsiteX0" fmla="*/ 825692 w 862997"/>
              <a:gd name="connsiteY0" fmla="*/ 110331 h 290857"/>
              <a:gd name="connsiteX1" fmla="*/ 19242 w 862997"/>
              <a:gd name="connsiteY1" fmla="*/ 0 h 290857"/>
              <a:gd name="connsiteX2" fmla="*/ 984 w 862997"/>
              <a:gd name="connsiteY2" fmla="*/ 242094 h 290857"/>
              <a:gd name="connsiteX3" fmla="*/ 862997 w 862997"/>
              <a:gd name="connsiteY3" fmla="*/ 240506 h 290857"/>
              <a:gd name="connsiteX0" fmla="*/ 825692 w 922099"/>
              <a:gd name="connsiteY0" fmla="*/ 110331 h 282069"/>
              <a:gd name="connsiteX1" fmla="*/ 19242 w 922099"/>
              <a:gd name="connsiteY1" fmla="*/ 0 h 282069"/>
              <a:gd name="connsiteX2" fmla="*/ 984 w 922099"/>
              <a:gd name="connsiteY2" fmla="*/ 242094 h 282069"/>
              <a:gd name="connsiteX3" fmla="*/ 922099 w 922099"/>
              <a:gd name="connsiteY3" fmla="*/ 216816 h 282069"/>
              <a:gd name="connsiteX0" fmla="*/ 928569 w 928569"/>
              <a:gd name="connsiteY0" fmla="*/ 0 h 297010"/>
              <a:gd name="connsiteX1" fmla="*/ 19242 w 928569"/>
              <a:gd name="connsiteY1" fmla="*/ 14941 h 297010"/>
              <a:gd name="connsiteX2" fmla="*/ 984 w 928569"/>
              <a:gd name="connsiteY2" fmla="*/ 257035 h 297010"/>
              <a:gd name="connsiteX3" fmla="*/ 922099 w 928569"/>
              <a:gd name="connsiteY3" fmla="*/ 231757 h 297010"/>
              <a:gd name="connsiteX0" fmla="*/ 928569 w 928569"/>
              <a:gd name="connsiteY0" fmla="*/ 0 h 297010"/>
              <a:gd name="connsiteX1" fmla="*/ 19242 w 928569"/>
              <a:gd name="connsiteY1" fmla="*/ 14941 h 297010"/>
              <a:gd name="connsiteX2" fmla="*/ 984 w 928569"/>
              <a:gd name="connsiteY2" fmla="*/ 257035 h 297010"/>
              <a:gd name="connsiteX3" fmla="*/ 922099 w 928569"/>
              <a:gd name="connsiteY3" fmla="*/ 231757 h 297010"/>
              <a:gd name="connsiteX0" fmla="*/ 933862 w 933862"/>
              <a:gd name="connsiteY0" fmla="*/ 0 h 289074"/>
              <a:gd name="connsiteX1" fmla="*/ 19242 w 933862"/>
              <a:gd name="connsiteY1" fmla="*/ 7005 h 289074"/>
              <a:gd name="connsiteX2" fmla="*/ 984 w 933862"/>
              <a:gd name="connsiteY2" fmla="*/ 249099 h 289074"/>
              <a:gd name="connsiteX3" fmla="*/ 922099 w 933862"/>
              <a:gd name="connsiteY3" fmla="*/ 223821 h 289074"/>
              <a:gd name="connsiteX0" fmla="*/ 933862 w 933862"/>
              <a:gd name="connsiteY0" fmla="*/ 0 h 288074"/>
              <a:gd name="connsiteX1" fmla="*/ 19242 w 933862"/>
              <a:gd name="connsiteY1" fmla="*/ 7005 h 288074"/>
              <a:gd name="connsiteX2" fmla="*/ 984 w 933862"/>
              <a:gd name="connsiteY2" fmla="*/ 249099 h 288074"/>
              <a:gd name="connsiteX3" fmla="*/ 931810 w 933862"/>
              <a:gd name="connsiteY3" fmla="*/ 220599 h 288074"/>
              <a:gd name="connsiteX0" fmla="*/ 938599 w 938599"/>
              <a:gd name="connsiteY0" fmla="*/ 0 h 326450"/>
              <a:gd name="connsiteX1" fmla="*/ 23979 w 938599"/>
              <a:gd name="connsiteY1" fmla="*/ 7005 h 326450"/>
              <a:gd name="connsiteX2" fmla="*/ 729 w 938599"/>
              <a:gd name="connsiteY2" fmla="*/ 298705 h 326450"/>
              <a:gd name="connsiteX3" fmla="*/ 936547 w 938599"/>
              <a:gd name="connsiteY3" fmla="*/ 220599 h 326450"/>
              <a:gd name="connsiteX0" fmla="*/ 938662 w 938662"/>
              <a:gd name="connsiteY0" fmla="*/ 0 h 326450"/>
              <a:gd name="connsiteX1" fmla="*/ 22516 w 938662"/>
              <a:gd name="connsiteY1" fmla="*/ 44492 h 326450"/>
              <a:gd name="connsiteX2" fmla="*/ 792 w 938662"/>
              <a:gd name="connsiteY2" fmla="*/ 298705 h 326450"/>
              <a:gd name="connsiteX3" fmla="*/ 936610 w 938662"/>
              <a:gd name="connsiteY3" fmla="*/ 220599 h 326450"/>
              <a:gd name="connsiteX0" fmla="*/ 940714 w 940714"/>
              <a:gd name="connsiteY0" fmla="*/ 0 h 391965"/>
              <a:gd name="connsiteX1" fmla="*/ 24568 w 940714"/>
              <a:gd name="connsiteY1" fmla="*/ 44492 h 391965"/>
              <a:gd name="connsiteX2" fmla="*/ 706 w 940714"/>
              <a:gd name="connsiteY2" fmla="*/ 372869 h 391965"/>
              <a:gd name="connsiteX3" fmla="*/ 938662 w 940714"/>
              <a:gd name="connsiteY3" fmla="*/ 220599 h 391965"/>
              <a:gd name="connsiteX0" fmla="*/ 941051 w 941051"/>
              <a:gd name="connsiteY0" fmla="*/ 24444 h 416409"/>
              <a:gd name="connsiteX1" fmla="*/ 18462 w 941051"/>
              <a:gd name="connsiteY1" fmla="*/ 0 h 416409"/>
              <a:gd name="connsiteX2" fmla="*/ 1043 w 941051"/>
              <a:gd name="connsiteY2" fmla="*/ 397313 h 416409"/>
              <a:gd name="connsiteX3" fmla="*/ 938999 w 941051"/>
              <a:gd name="connsiteY3" fmla="*/ 245043 h 416409"/>
              <a:gd name="connsiteX0" fmla="*/ 941051 w 941051"/>
              <a:gd name="connsiteY0" fmla="*/ 24444 h 431123"/>
              <a:gd name="connsiteX1" fmla="*/ 18462 w 941051"/>
              <a:gd name="connsiteY1" fmla="*/ 0 h 431123"/>
              <a:gd name="connsiteX2" fmla="*/ 1043 w 941051"/>
              <a:gd name="connsiteY2" fmla="*/ 397313 h 431123"/>
              <a:gd name="connsiteX3" fmla="*/ 938999 w 941051"/>
              <a:gd name="connsiteY3" fmla="*/ 245043 h 431123"/>
              <a:gd name="connsiteX0" fmla="*/ 941051 w 941051"/>
              <a:gd name="connsiteY0" fmla="*/ 24444 h 446622"/>
              <a:gd name="connsiteX1" fmla="*/ 18462 w 941051"/>
              <a:gd name="connsiteY1" fmla="*/ 0 h 446622"/>
              <a:gd name="connsiteX2" fmla="*/ 1043 w 941051"/>
              <a:gd name="connsiteY2" fmla="*/ 397313 h 446622"/>
              <a:gd name="connsiteX3" fmla="*/ 938999 w 941051"/>
              <a:gd name="connsiteY3" fmla="*/ 245043 h 446622"/>
              <a:gd name="connsiteX0" fmla="*/ 941051 w 941051"/>
              <a:gd name="connsiteY0" fmla="*/ 24444 h 446622"/>
              <a:gd name="connsiteX1" fmla="*/ 18462 w 941051"/>
              <a:gd name="connsiteY1" fmla="*/ 0 h 446622"/>
              <a:gd name="connsiteX2" fmla="*/ 1043 w 941051"/>
              <a:gd name="connsiteY2" fmla="*/ 397313 h 446622"/>
              <a:gd name="connsiteX3" fmla="*/ 938999 w 941051"/>
              <a:gd name="connsiteY3" fmla="*/ 245043 h 446622"/>
              <a:gd name="connsiteX0" fmla="*/ 941051 w 941051"/>
              <a:gd name="connsiteY0" fmla="*/ 24444 h 446622"/>
              <a:gd name="connsiteX1" fmla="*/ 18462 w 941051"/>
              <a:gd name="connsiteY1" fmla="*/ 0 h 446622"/>
              <a:gd name="connsiteX2" fmla="*/ 1043 w 941051"/>
              <a:gd name="connsiteY2" fmla="*/ 397313 h 446622"/>
              <a:gd name="connsiteX3" fmla="*/ 938999 w 941051"/>
              <a:gd name="connsiteY3" fmla="*/ 245043 h 446622"/>
              <a:gd name="connsiteX0" fmla="*/ 941051 w 941051"/>
              <a:gd name="connsiteY0" fmla="*/ 24444 h 441650"/>
              <a:gd name="connsiteX1" fmla="*/ 18462 w 941051"/>
              <a:gd name="connsiteY1" fmla="*/ 0 h 441650"/>
              <a:gd name="connsiteX2" fmla="*/ 1043 w 941051"/>
              <a:gd name="connsiteY2" fmla="*/ 397313 h 441650"/>
              <a:gd name="connsiteX3" fmla="*/ 938999 w 941051"/>
              <a:gd name="connsiteY3" fmla="*/ 245043 h 441650"/>
              <a:gd name="connsiteX0" fmla="*/ 941051 w 941051"/>
              <a:gd name="connsiteY0" fmla="*/ 24444 h 451425"/>
              <a:gd name="connsiteX1" fmla="*/ 18462 w 941051"/>
              <a:gd name="connsiteY1" fmla="*/ 0 h 451425"/>
              <a:gd name="connsiteX2" fmla="*/ 1043 w 941051"/>
              <a:gd name="connsiteY2" fmla="*/ 397313 h 451425"/>
              <a:gd name="connsiteX3" fmla="*/ 938999 w 941051"/>
              <a:gd name="connsiteY3" fmla="*/ 245043 h 451425"/>
              <a:gd name="connsiteX0" fmla="*/ 941051 w 941051"/>
              <a:gd name="connsiteY0" fmla="*/ 24444 h 397313"/>
              <a:gd name="connsiteX1" fmla="*/ 18462 w 941051"/>
              <a:gd name="connsiteY1" fmla="*/ 0 h 397313"/>
              <a:gd name="connsiteX2" fmla="*/ 1043 w 941051"/>
              <a:gd name="connsiteY2" fmla="*/ 397313 h 397313"/>
              <a:gd name="connsiteX0" fmla="*/ 922589 w 922589"/>
              <a:gd name="connsiteY0" fmla="*/ 24444 h 165604"/>
              <a:gd name="connsiteX1" fmla="*/ 0 w 922589"/>
              <a:gd name="connsiteY1" fmla="*/ 0 h 165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922589" h="165604">
                <a:moveTo>
                  <a:pt x="922589" y="24444"/>
                </a:moveTo>
                <a:cubicBezTo>
                  <a:pt x="730258" y="204153"/>
                  <a:pt x="339641" y="229311"/>
                  <a:pt x="0" y="0"/>
                </a:cubicBezTo>
              </a:path>
            </a:pathLst>
          </a:custGeom>
          <a:noFill/>
          <a:ln w="12700" cap="flat" cmpd="sng" algn="ctr">
            <a:solidFill>
              <a:srgbClr val="FFFFFF">
                <a:lumMod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55132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10264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65397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220529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775661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330793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85926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441058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smtClean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843" name="Group 842"/>
          <p:cNvGrpSpPr/>
          <p:nvPr/>
        </p:nvGrpSpPr>
        <p:grpSpPr>
          <a:xfrm>
            <a:off x="3406389" y="4274639"/>
            <a:ext cx="2362615" cy="1946057"/>
            <a:chOff x="3118975" y="2680139"/>
            <a:chExt cx="2362615" cy="1946057"/>
          </a:xfrm>
        </p:grpSpPr>
        <p:sp>
          <p:nvSpPr>
            <p:cNvPr id="562" name="Rectangle 561"/>
            <p:cNvSpPr>
              <a:spLocks noChangeArrowheads="1"/>
            </p:cNvSpPr>
            <p:nvPr/>
          </p:nvSpPr>
          <p:spPr bwMode="auto">
            <a:xfrm flipH="1">
              <a:off x="3118975" y="3238043"/>
              <a:ext cx="1198585" cy="1388152"/>
            </a:xfrm>
            <a:prstGeom prst="rect">
              <a:avLst/>
            </a:prstGeom>
            <a:solidFill>
              <a:srgbClr val="FFFFFF">
                <a:lumMod val="85000"/>
              </a:srgb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563" name="Group 562"/>
            <p:cNvGrpSpPr/>
            <p:nvPr/>
          </p:nvGrpSpPr>
          <p:grpSpPr>
            <a:xfrm>
              <a:off x="3439733" y="2680139"/>
              <a:ext cx="1148359" cy="1946057"/>
              <a:chOff x="5684226" y="3746521"/>
              <a:chExt cx="1249602" cy="2117627"/>
            </a:xfrm>
          </p:grpSpPr>
          <p:sp>
            <p:nvSpPr>
              <p:cNvPr id="840" name="Rectangle 839"/>
              <p:cNvSpPr>
                <a:spLocks noChangeArrowheads="1"/>
              </p:cNvSpPr>
              <p:nvPr/>
            </p:nvSpPr>
            <p:spPr bwMode="auto">
              <a:xfrm flipH="1">
                <a:off x="5684226" y="3949867"/>
                <a:ext cx="1249602" cy="1914281"/>
              </a:xfrm>
              <a:prstGeom prst="rect">
                <a:avLst/>
              </a:prstGeom>
              <a:solidFill>
                <a:srgbClr val="FFFFFF">
                  <a:lumMod val="75000"/>
                </a:srgb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3231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841" name="Rectangle 840"/>
              <p:cNvSpPr>
                <a:spLocks noChangeArrowheads="1"/>
              </p:cNvSpPr>
              <p:nvPr/>
            </p:nvSpPr>
            <p:spPr bwMode="auto">
              <a:xfrm flipH="1">
                <a:off x="5841389" y="3746521"/>
                <a:ext cx="711812" cy="287317"/>
              </a:xfrm>
              <a:prstGeom prst="rect">
                <a:avLst/>
              </a:prstGeom>
              <a:solidFill>
                <a:srgbClr val="FFFFFF">
                  <a:lumMod val="75000"/>
                </a:srgb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3231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564" name="Group 563"/>
            <p:cNvGrpSpPr/>
            <p:nvPr/>
          </p:nvGrpSpPr>
          <p:grpSpPr>
            <a:xfrm>
              <a:off x="4786064" y="3219161"/>
              <a:ext cx="695526" cy="1407034"/>
              <a:chOff x="6820905" y="4158587"/>
              <a:chExt cx="843094" cy="1705561"/>
            </a:xfrm>
          </p:grpSpPr>
          <p:sp>
            <p:nvSpPr>
              <p:cNvPr id="837" name="Rectangle 836"/>
              <p:cNvSpPr>
                <a:spLocks noChangeArrowheads="1"/>
              </p:cNvSpPr>
              <p:nvPr/>
            </p:nvSpPr>
            <p:spPr bwMode="auto">
              <a:xfrm flipH="1">
                <a:off x="6820905" y="4309376"/>
                <a:ext cx="843094" cy="1554772"/>
              </a:xfrm>
              <a:prstGeom prst="rect">
                <a:avLst/>
              </a:prstGeom>
              <a:solidFill>
                <a:srgbClr val="FFFFFF">
                  <a:lumMod val="50000"/>
                </a:srgb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3231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838" name="Rectangle 837"/>
              <p:cNvSpPr>
                <a:spLocks noChangeArrowheads="1"/>
              </p:cNvSpPr>
              <p:nvPr/>
            </p:nvSpPr>
            <p:spPr bwMode="auto">
              <a:xfrm flipH="1">
                <a:off x="7274882" y="4158587"/>
                <a:ext cx="130176" cy="162020"/>
              </a:xfrm>
              <a:prstGeom prst="rect">
                <a:avLst/>
              </a:prstGeom>
              <a:solidFill>
                <a:srgbClr val="FFFFFF">
                  <a:lumMod val="50000"/>
                </a:srgb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3231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839" name="Rectangle 838"/>
              <p:cNvSpPr>
                <a:spLocks noChangeArrowheads="1"/>
              </p:cNvSpPr>
              <p:nvPr/>
            </p:nvSpPr>
            <p:spPr bwMode="auto">
              <a:xfrm flipH="1">
                <a:off x="6911531" y="4216098"/>
                <a:ext cx="265057" cy="104509"/>
              </a:xfrm>
              <a:prstGeom prst="rect">
                <a:avLst/>
              </a:prstGeom>
              <a:solidFill>
                <a:srgbClr val="FFFFFF">
                  <a:lumMod val="50000"/>
                </a:srgb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3231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578" name="Group 577"/>
            <p:cNvGrpSpPr/>
            <p:nvPr/>
          </p:nvGrpSpPr>
          <p:grpSpPr>
            <a:xfrm>
              <a:off x="4343000" y="3723265"/>
              <a:ext cx="911575" cy="902930"/>
              <a:chOff x="6626737" y="4769645"/>
              <a:chExt cx="1104982" cy="1094503"/>
            </a:xfrm>
          </p:grpSpPr>
          <p:sp>
            <p:nvSpPr>
              <p:cNvPr id="635" name="Rectangle 634"/>
              <p:cNvSpPr>
                <a:spLocks noChangeArrowheads="1"/>
              </p:cNvSpPr>
              <p:nvPr/>
            </p:nvSpPr>
            <p:spPr bwMode="auto">
              <a:xfrm flipH="1">
                <a:off x="6626737" y="4925492"/>
                <a:ext cx="1104982" cy="938656"/>
              </a:xfrm>
              <a:prstGeom prst="rect">
                <a:avLst/>
              </a:prstGeom>
              <a:solidFill>
                <a:srgbClr val="FFFFFF">
                  <a:lumMod val="65000"/>
                </a:srgb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3231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636" name="Group 635"/>
              <p:cNvGrpSpPr/>
              <p:nvPr/>
            </p:nvGrpSpPr>
            <p:grpSpPr>
              <a:xfrm>
                <a:off x="6800879" y="4769645"/>
                <a:ext cx="295278" cy="162020"/>
                <a:chOff x="6943723" y="4769645"/>
                <a:chExt cx="221456" cy="162020"/>
              </a:xfrm>
            </p:grpSpPr>
            <p:sp>
              <p:nvSpPr>
                <p:cNvPr id="637" name="Rectangle 636"/>
                <p:cNvSpPr>
                  <a:spLocks noChangeArrowheads="1"/>
                </p:cNvSpPr>
                <p:nvPr/>
              </p:nvSpPr>
              <p:spPr bwMode="auto">
                <a:xfrm flipH="1">
                  <a:off x="6943723" y="4769645"/>
                  <a:ext cx="97631" cy="162020"/>
                </a:xfrm>
                <a:prstGeom prst="rect">
                  <a:avLst/>
                </a:prstGeom>
                <a:solidFill>
                  <a:srgbClr val="FFFFFF">
                    <a:lumMod val="65000"/>
                  </a:srgbClr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38" name="Rectangle 637"/>
                <p:cNvSpPr>
                  <a:spLocks noChangeArrowheads="1"/>
                </p:cNvSpPr>
                <p:nvPr/>
              </p:nvSpPr>
              <p:spPr bwMode="auto">
                <a:xfrm flipH="1">
                  <a:off x="7067548" y="4769645"/>
                  <a:ext cx="97631" cy="162020"/>
                </a:xfrm>
                <a:prstGeom prst="rect">
                  <a:avLst/>
                </a:prstGeom>
                <a:solidFill>
                  <a:srgbClr val="FFFFFF">
                    <a:lumMod val="65000"/>
                  </a:srgbClr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628" name="Oval 627"/>
            <p:cNvSpPr/>
            <p:nvPr/>
          </p:nvSpPr>
          <p:spPr bwMode="auto">
            <a:xfrm>
              <a:off x="4262741" y="2740381"/>
              <a:ext cx="468752" cy="468752"/>
            </a:xfrm>
            <a:prstGeom prst="ellipse">
              <a:avLst/>
            </a:prstGeom>
            <a:solidFill>
              <a:srgbClr val="E9E9E9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smtClean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79" name="Rectangle 578"/>
            <p:cNvSpPr>
              <a:spLocks noChangeArrowheads="1"/>
            </p:cNvSpPr>
            <p:nvPr/>
          </p:nvSpPr>
          <p:spPr bwMode="auto">
            <a:xfrm flipH="1">
              <a:off x="3631698" y="3463369"/>
              <a:ext cx="760646" cy="1162827"/>
            </a:xfrm>
            <a:prstGeom prst="rect">
              <a:avLst/>
            </a:prstGeom>
            <a:solidFill>
              <a:srgbClr val="9B4F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581" name="Group 580"/>
            <p:cNvGrpSpPr/>
            <p:nvPr/>
          </p:nvGrpSpPr>
          <p:grpSpPr>
            <a:xfrm>
              <a:off x="3849375" y="3537225"/>
              <a:ext cx="326005" cy="1033114"/>
              <a:chOff x="5385695" y="4544133"/>
              <a:chExt cx="485210" cy="1537635"/>
            </a:xfrm>
          </p:grpSpPr>
          <p:grpSp>
            <p:nvGrpSpPr>
              <p:cNvPr id="614" name="Group 613"/>
              <p:cNvGrpSpPr/>
              <p:nvPr/>
            </p:nvGrpSpPr>
            <p:grpSpPr>
              <a:xfrm>
                <a:off x="5391184" y="4544133"/>
                <a:ext cx="478681" cy="478678"/>
                <a:chOff x="9563100" y="2714625"/>
                <a:chExt cx="527050" cy="527050"/>
              </a:xfrm>
            </p:grpSpPr>
            <p:sp>
              <p:nvSpPr>
                <p:cNvPr id="626" name="Oval 625"/>
                <p:cNvSpPr/>
                <p:nvPr/>
              </p:nvSpPr>
              <p:spPr bwMode="auto">
                <a:xfrm>
                  <a:off x="9563100" y="2714625"/>
                  <a:ext cx="527050" cy="527050"/>
                </a:xfrm>
                <a:prstGeom prst="ellipse">
                  <a:avLst/>
                </a:prstGeom>
                <a:solidFill>
                  <a:srgbClr val="008272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>
                  <a:outerShdw dist="88900" dir="2700000" sx="90000" sy="90000" algn="tl" rotWithShape="0">
                    <a:prstClr val="black">
                      <a:alpha val="11000"/>
                    </a:prstClr>
                  </a:outerShdw>
                </a:effectLst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627" name="Freeform 626"/>
                <p:cNvSpPr>
                  <a:spLocks noEditPoints="1"/>
                </p:cNvSpPr>
                <p:nvPr/>
              </p:nvSpPr>
              <p:spPr bwMode="black">
                <a:xfrm>
                  <a:off x="9657347" y="2847096"/>
                  <a:ext cx="338556" cy="262109"/>
                </a:xfrm>
                <a:custGeom>
                  <a:avLst/>
                  <a:gdLst>
                    <a:gd name="T0" fmla="*/ 71 w 75"/>
                    <a:gd name="T1" fmla="*/ 58 h 58"/>
                    <a:gd name="T2" fmla="*/ 4 w 75"/>
                    <a:gd name="T3" fmla="*/ 58 h 58"/>
                    <a:gd name="T4" fmla="*/ 0 w 75"/>
                    <a:gd name="T5" fmla="*/ 54 h 58"/>
                    <a:gd name="T6" fmla="*/ 0 w 75"/>
                    <a:gd name="T7" fmla="*/ 4 h 58"/>
                    <a:gd name="T8" fmla="*/ 4 w 75"/>
                    <a:gd name="T9" fmla="*/ 0 h 58"/>
                    <a:gd name="T10" fmla="*/ 71 w 75"/>
                    <a:gd name="T11" fmla="*/ 0 h 58"/>
                    <a:gd name="T12" fmla="*/ 75 w 75"/>
                    <a:gd name="T13" fmla="*/ 4 h 58"/>
                    <a:gd name="T14" fmla="*/ 75 w 75"/>
                    <a:gd name="T15" fmla="*/ 54 h 58"/>
                    <a:gd name="T16" fmla="*/ 71 w 75"/>
                    <a:gd name="T17" fmla="*/ 58 h 58"/>
                    <a:gd name="T18" fmla="*/ 8 w 75"/>
                    <a:gd name="T19" fmla="*/ 50 h 58"/>
                    <a:gd name="T20" fmla="*/ 67 w 75"/>
                    <a:gd name="T21" fmla="*/ 50 h 58"/>
                    <a:gd name="T22" fmla="*/ 67 w 75"/>
                    <a:gd name="T23" fmla="*/ 16 h 58"/>
                    <a:gd name="T24" fmla="*/ 39 w 75"/>
                    <a:gd name="T25" fmla="*/ 38 h 58"/>
                    <a:gd name="T26" fmla="*/ 35 w 75"/>
                    <a:gd name="T27" fmla="*/ 38 h 58"/>
                    <a:gd name="T28" fmla="*/ 8 w 75"/>
                    <a:gd name="T29" fmla="*/ 17 h 58"/>
                    <a:gd name="T30" fmla="*/ 8 w 75"/>
                    <a:gd name="T31" fmla="*/ 50 h 58"/>
                    <a:gd name="T32" fmla="*/ 9 w 75"/>
                    <a:gd name="T33" fmla="*/ 8 h 58"/>
                    <a:gd name="T34" fmla="*/ 37 w 75"/>
                    <a:gd name="T35" fmla="*/ 30 h 58"/>
                    <a:gd name="T36" fmla="*/ 65 w 75"/>
                    <a:gd name="T37" fmla="*/ 8 h 58"/>
                    <a:gd name="T38" fmla="*/ 9 w 75"/>
                    <a:gd name="T39" fmla="*/ 8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75" h="58">
                      <a:moveTo>
                        <a:pt x="71" y="58"/>
                      </a:moveTo>
                      <a:cubicBezTo>
                        <a:pt x="4" y="58"/>
                        <a:pt x="4" y="58"/>
                        <a:pt x="4" y="58"/>
                      </a:cubicBezTo>
                      <a:cubicBezTo>
                        <a:pt x="2" y="58"/>
                        <a:pt x="0" y="56"/>
                        <a:pt x="0" y="54"/>
                      </a:cubicBez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0" y="2"/>
                        <a:pt x="2" y="0"/>
                        <a:pt x="4" y="0"/>
                      </a:cubicBezTo>
                      <a:cubicBezTo>
                        <a:pt x="71" y="0"/>
                        <a:pt x="71" y="0"/>
                        <a:pt x="71" y="0"/>
                      </a:cubicBezTo>
                      <a:cubicBezTo>
                        <a:pt x="73" y="0"/>
                        <a:pt x="75" y="2"/>
                        <a:pt x="75" y="4"/>
                      </a:cubicBezTo>
                      <a:cubicBezTo>
                        <a:pt x="75" y="54"/>
                        <a:pt x="75" y="54"/>
                        <a:pt x="75" y="54"/>
                      </a:cubicBezTo>
                      <a:cubicBezTo>
                        <a:pt x="75" y="56"/>
                        <a:pt x="73" y="58"/>
                        <a:pt x="71" y="58"/>
                      </a:cubicBezTo>
                      <a:close/>
                      <a:moveTo>
                        <a:pt x="8" y="50"/>
                      </a:moveTo>
                      <a:cubicBezTo>
                        <a:pt x="67" y="50"/>
                        <a:pt x="67" y="50"/>
                        <a:pt x="67" y="50"/>
                      </a:cubicBezTo>
                      <a:cubicBezTo>
                        <a:pt x="67" y="16"/>
                        <a:pt x="67" y="16"/>
                        <a:pt x="67" y="16"/>
                      </a:cubicBezTo>
                      <a:cubicBezTo>
                        <a:pt x="39" y="38"/>
                        <a:pt x="39" y="38"/>
                        <a:pt x="39" y="38"/>
                      </a:cubicBezTo>
                      <a:cubicBezTo>
                        <a:pt x="38" y="39"/>
                        <a:pt x="36" y="39"/>
                        <a:pt x="35" y="38"/>
                      </a:cubicBezTo>
                      <a:cubicBezTo>
                        <a:pt x="8" y="17"/>
                        <a:pt x="8" y="17"/>
                        <a:pt x="8" y="17"/>
                      </a:cubicBezTo>
                      <a:lnTo>
                        <a:pt x="8" y="50"/>
                      </a:lnTo>
                      <a:close/>
                      <a:moveTo>
                        <a:pt x="9" y="8"/>
                      </a:moveTo>
                      <a:cubicBezTo>
                        <a:pt x="37" y="30"/>
                        <a:pt x="37" y="30"/>
                        <a:pt x="37" y="30"/>
                      </a:cubicBezTo>
                      <a:cubicBezTo>
                        <a:pt x="65" y="8"/>
                        <a:pt x="65" y="8"/>
                        <a:pt x="65" y="8"/>
                      </a:cubicBezTo>
                      <a:lnTo>
                        <a:pt x="9" y="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615" name="Group 614"/>
              <p:cNvGrpSpPr/>
              <p:nvPr/>
            </p:nvGrpSpPr>
            <p:grpSpPr>
              <a:xfrm>
                <a:off x="5393363" y="5604226"/>
                <a:ext cx="477542" cy="477542"/>
                <a:chOff x="10811580" y="2714625"/>
                <a:chExt cx="527050" cy="527050"/>
              </a:xfrm>
            </p:grpSpPr>
            <p:sp>
              <p:nvSpPr>
                <p:cNvPr id="619" name="Oval 618"/>
                <p:cNvSpPr/>
                <p:nvPr/>
              </p:nvSpPr>
              <p:spPr bwMode="auto">
                <a:xfrm>
                  <a:off x="10811580" y="2714625"/>
                  <a:ext cx="527050" cy="527050"/>
                </a:xfrm>
                <a:prstGeom prst="ellipse">
                  <a:avLst/>
                </a:prstGeom>
                <a:solidFill>
                  <a:srgbClr val="DC3C00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>
                  <a:outerShdw dist="88900" dir="2700000" sx="90000" sy="90000" algn="tl" rotWithShape="0">
                    <a:prstClr val="black">
                      <a:alpha val="11000"/>
                    </a:prstClr>
                  </a:outerShdw>
                </a:effectLst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grpSp>
              <p:nvGrpSpPr>
                <p:cNvPr id="620" name="Group 619"/>
                <p:cNvGrpSpPr/>
                <p:nvPr/>
              </p:nvGrpSpPr>
              <p:grpSpPr bwMode="black">
                <a:xfrm>
                  <a:off x="10885015" y="2860260"/>
                  <a:ext cx="380201" cy="235780"/>
                  <a:chOff x="10387012" y="4103350"/>
                  <a:chExt cx="995920" cy="725626"/>
                </a:xfrm>
                <a:solidFill>
                  <a:srgbClr val="FFFFFF"/>
                </a:solidFill>
              </p:grpSpPr>
              <p:sp>
                <p:nvSpPr>
                  <p:cNvPr id="621" name="Freeform 620"/>
                  <p:cNvSpPr>
                    <a:spLocks/>
                  </p:cNvSpPr>
                  <p:nvPr/>
                </p:nvSpPr>
                <p:spPr bwMode="black">
                  <a:xfrm>
                    <a:off x="10506081" y="4218399"/>
                    <a:ext cx="706438" cy="599679"/>
                  </a:xfrm>
                  <a:custGeom>
                    <a:avLst/>
                    <a:gdLst>
                      <a:gd name="T0" fmla="*/ 183 w 188"/>
                      <a:gd name="T1" fmla="*/ 84 h 137"/>
                      <a:gd name="T2" fmla="*/ 104 w 188"/>
                      <a:gd name="T3" fmla="*/ 27 h 137"/>
                      <a:gd name="T4" fmla="*/ 86 w 188"/>
                      <a:gd name="T5" fmla="*/ 19 h 137"/>
                      <a:gd name="T6" fmla="*/ 59 w 188"/>
                      <a:gd name="T7" fmla="*/ 34 h 137"/>
                      <a:gd name="T8" fmla="*/ 56 w 188"/>
                      <a:gd name="T9" fmla="*/ 36 h 137"/>
                      <a:gd name="T10" fmla="*/ 43 w 188"/>
                      <a:gd name="T11" fmla="*/ 38 h 137"/>
                      <a:gd name="T12" fmla="*/ 43 w 188"/>
                      <a:gd name="T13" fmla="*/ 38 h 137"/>
                      <a:gd name="T14" fmla="*/ 26 w 188"/>
                      <a:gd name="T15" fmla="*/ 27 h 137"/>
                      <a:gd name="T16" fmla="*/ 24 w 188"/>
                      <a:gd name="T17" fmla="*/ 14 h 137"/>
                      <a:gd name="T18" fmla="*/ 31 w 188"/>
                      <a:gd name="T19" fmla="*/ 0 h 137"/>
                      <a:gd name="T20" fmla="*/ 21 w 188"/>
                      <a:gd name="T21" fmla="*/ 0 h 137"/>
                      <a:gd name="T22" fmla="*/ 1 w 188"/>
                      <a:gd name="T23" fmla="*/ 79 h 137"/>
                      <a:gd name="T24" fmla="*/ 4 w 188"/>
                      <a:gd name="T25" fmla="*/ 80 h 137"/>
                      <a:gd name="T26" fmla="*/ 16 w 188"/>
                      <a:gd name="T27" fmla="*/ 70 h 137"/>
                      <a:gd name="T28" fmla="*/ 22 w 188"/>
                      <a:gd name="T29" fmla="*/ 70 h 137"/>
                      <a:gd name="T30" fmla="*/ 32 w 188"/>
                      <a:gd name="T31" fmla="*/ 74 h 137"/>
                      <a:gd name="T32" fmla="*/ 43 w 188"/>
                      <a:gd name="T33" fmla="*/ 72 h 137"/>
                      <a:gd name="T34" fmla="*/ 44 w 188"/>
                      <a:gd name="T35" fmla="*/ 72 h 137"/>
                      <a:gd name="T36" fmla="*/ 53 w 188"/>
                      <a:gd name="T37" fmla="*/ 76 h 137"/>
                      <a:gd name="T38" fmla="*/ 65 w 188"/>
                      <a:gd name="T39" fmla="*/ 74 h 137"/>
                      <a:gd name="T40" fmla="*/ 67 w 188"/>
                      <a:gd name="T41" fmla="*/ 74 h 137"/>
                      <a:gd name="T42" fmla="*/ 80 w 188"/>
                      <a:gd name="T43" fmla="*/ 88 h 137"/>
                      <a:gd name="T44" fmla="*/ 83 w 188"/>
                      <a:gd name="T45" fmla="*/ 88 h 137"/>
                      <a:gd name="T46" fmla="*/ 85 w 188"/>
                      <a:gd name="T47" fmla="*/ 89 h 137"/>
                      <a:gd name="T48" fmla="*/ 99 w 188"/>
                      <a:gd name="T49" fmla="*/ 108 h 137"/>
                      <a:gd name="T50" fmla="*/ 99 w 188"/>
                      <a:gd name="T51" fmla="*/ 110 h 137"/>
                      <a:gd name="T52" fmla="*/ 96 w 188"/>
                      <a:gd name="T53" fmla="*/ 124 h 137"/>
                      <a:gd name="T54" fmla="*/ 114 w 188"/>
                      <a:gd name="T55" fmla="*/ 137 h 137"/>
                      <a:gd name="T56" fmla="*/ 123 w 188"/>
                      <a:gd name="T57" fmla="*/ 132 h 137"/>
                      <a:gd name="T58" fmla="*/ 124 w 188"/>
                      <a:gd name="T59" fmla="*/ 124 h 137"/>
                      <a:gd name="T60" fmla="*/ 108 w 188"/>
                      <a:gd name="T61" fmla="*/ 112 h 137"/>
                      <a:gd name="T62" fmla="*/ 107 w 188"/>
                      <a:gd name="T63" fmla="*/ 109 h 137"/>
                      <a:gd name="T64" fmla="*/ 110 w 188"/>
                      <a:gd name="T65" fmla="*/ 109 h 137"/>
                      <a:gd name="T66" fmla="*/ 136 w 188"/>
                      <a:gd name="T67" fmla="*/ 127 h 137"/>
                      <a:gd name="T68" fmla="*/ 145 w 188"/>
                      <a:gd name="T69" fmla="*/ 123 h 137"/>
                      <a:gd name="T70" fmla="*/ 147 w 188"/>
                      <a:gd name="T71" fmla="*/ 114 h 137"/>
                      <a:gd name="T72" fmla="*/ 117 w 188"/>
                      <a:gd name="T73" fmla="*/ 93 h 137"/>
                      <a:gd name="T74" fmla="*/ 117 w 188"/>
                      <a:gd name="T75" fmla="*/ 90 h 137"/>
                      <a:gd name="T76" fmla="*/ 120 w 188"/>
                      <a:gd name="T77" fmla="*/ 89 h 137"/>
                      <a:gd name="T78" fmla="*/ 156 w 188"/>
                      <a:gd name="T79" fmla="*/ 116 h 137"/>
                      <a:gd name="T80" fmla="*/ 165 w 188"/>
                      <a:gd name="T81" fmla="*/ 111 h 137"/>
                      <a:gd name="T82" fmla="*/ 167 w 188"/>
                      <a:gd name="T83" fmla="*/ 102 h 137"/>
                      <a:gd name="T84" fmla="*/ 137 w 188"/>
                      <a:gd name="T85" fmla="*/ 81 h 137"/>
                      <a:gd name="T86" fmla="*/ 136 w 188"/>
                      <a:gd name="T87" fmla="*/ 78 h 137"/>
                      <a:gd name="T88" fmla="*/ 139 w 188"/>
                      <a:gd name="T89" fmla="*/ 77 h 137"/>
                      <a:gd name="T90" fmla="*/ 176 w 188"/>
                      <a:gd name="T91" fmla="*/ 104 h 137"/>
                      <a:gd name="T92" fmla="*/ 185 w 188"/>
                      <a:gd name="T93" fmla="*/ 99 h 137"/>
                      <a:gd name="T94" fmla="*/ 183 w 188"/>
                      <a:gd name="T95" fmla="*/ 84 h 13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</a:cxnLst>
                    <a:rect l="0" t="0" r="r" b="b"/>
                    <a:pathLst>
                      <a:path w="188" h="137">
                        <a:moveTo>
                          <a:pt x="183" y="84"/>
                        </a:moveTo>
                        <a:cubicBezTo>
                          <a:pt x="104" y="27"/>
                          <a:pt x="104" y="27"/>
                          <a:pt x="104" y="27"/>
                        </a:cubicBezTo>
                        <a:cubicBezTo>
                          <a:pt x="86" y="19"/>
                          <a:pt x="86" y="19"/>
                          <a:pt x="86" y="19"/>
                        </a:cubicBezTo>
                        <a:cubicBezTo>
                          <a:pt x="59" y="34"/>
                          <a:pt x="59" y="34"/>
                          <a:pt x="59" y="34"/>
                        </a:cubicBezTo>
                        <a:cubicBezTo>
                          <a:pt x="56" y="36"/>
                          <a:pt x="56" y="36"/>
                          <a:pt x="56" y="36"/>
                        </a:cubicBezTo>
                        <a:cubicBezTo>
                          <a:pt x="52" y="38"/>
                          <a:pt x="47" y="39"/>
                          <a:pt x="43" y="38"/>
                        </a:cubicBezTo>
                        <a:cubicBezTo>
                          <a:pt x="43" y="38"/>
                          <a:pt x="43" y="38"/>
                          <a:pt x="43" y="38"/>
                        </a:cubicBezTo>
                        <a:cubicBezTo>
                          <a:pt x="36" y="38"/>
                          <a:pt x="30" y="34"/>
                          <a:pt x="26" y="27"/>
                        </a:cubicBezTo>
                        <a:cubicBezTo>
                          <a:pt x="24" y="23"/>
                          <a:pt x="23" y="19"/>
                          <a:pt x="24" y="14"/>
                        </a:cubicBezTo>
                        <a:cubicBezTo>
                          <a:pt x="24" y="9"/>
                          <a:pt x="27" y="4"/>
                          <a:pt x="31" y="0"/>
                        </a:cubicBezTo>
                        <a:cubicBezTo>
                          <a:pt x="25" y="0"/>
                          <a:pt x="21" y="0"/>
                          <a:pt x="21" y="0"/>
                        </a:cubicBezTo>
                        <a:cubicBezTo>
                          <a:pt x="21" y="0"/>
                          <a:pt x="0" y="40"/>
                          <a:pt x="1" y="79"/>
                        </a:cubicBezTo>
                        <a:cubicBezTo>
                          <a:pt x="4" y="80"/>
                          <a:pt x="4" y="80"/>
                          <a:pt x="4" y="80"/>
                        </a:cubicBezTo>
                        <a:cubicBezTo>
                          <a:pt x="6" y="75"/>
                          <a:pt x="10" y="72"/>
                          <a:pt x="16" y="70"/>
                        </a:cubicBezTo>
                        <a:cubicBezTo>
                          <a:pt x="18" y="70"/>
                          <a:pt x="20" y="70"/>
                          <a:pt x="22" y="70"/>
                        </a:cubicBezTo>
                        <a:cubicBezTo>
                          <a:pt x="25" y="70"/>
                          <a:pt x="29" y="72"/>
                          <a:pt x="32" y="74"/>
                        </a:cubicBezTo>
                        <a:cubicBezTo>
                          <a:pt x="35" y="72"/>
                          <a:pt x="39" y="71"/>
                          <a:pt x="43" y="72"/>
                        </a:cubicBezTo>
                        <a:cubicBezTo>
                          <a:pt x="43" y="72"/>
                          <a:pt x="44" y="72"/>
                          <a:pt x="44" y="72"/>
                        </a:cubicBezTo>
                        <a:cubicBezTo>
                          <a:pt x="48" y="72"/>
                          <a:pt x="51" y="74"/>
                          <a:pt x="53" y="76"/>
                        </a:cubicBezTo>
                        <a:cubicBezTo>
                          <a:pt x="56" y="74"/>
                          <a:pt x="60" y="73"/>
                          <a:pt x="65" y="74"/>
                        </a:cubicBezTo>
                        <a:cubicBezTo>
                          <a:pt x="65" y="74"/>
                          <a:pt x="66" y="74"/>
                          <a:pt x="67" y="74"/>
                        </a:cubicBezTo>
                        <a:cubicBezTo>
                          <a:pt x="74" y="76"/>
                          <a:pt x="79" y="81"/>
                          <a:pt x="80" y="88"/>
                        </a:cubicBezTo>
                        <a:cubicBezTo>
                          <a:pt x="81" y="88"/>
                          <a:pt x="82" y="88"/>
                          <a:pt x="83" y="88"/>
                        </a:cubicBezTo>
                        <a:cubicBezTo>
                          <a:pt x="84" y="88"/>
                          <a:pt x="84" y="88"/>
                          <a:pt x="85" y="89"/>
                        </a:cubicBezTo>
                        <a:cubicBezTo>
                          <a:pt x="94" y="91"/>
                          <a:pt x="100" y="99"/>
                          <a:pt x="99" y="108"/>
                        </a:cubicBezTo>
                        <a:cubicBezTo>
                          <a:pt x="99" y="109"/>
                          <a:pt x="99" y="110"/>
                          <a:pt x="99" y="110"/>
                        </a:cubicBezTo>
                        <a:cubicBezTo>
                          <a:pt x="96" y="124"/>
                          <a:pt x="96" y="124"/>
                          <a:pt x="96" y="124"/>
                        </a:cubicBezTo>
                        <a:cubicBezTo>
                          <a:pt x="114" y="137"/>
                          <a:pt x="114" y="137"/>
                          <a:pt x="114" y="137"/>
                        </a:cubicBezTo>
                        <a:cubicBezTo>
                          <a:pt x="117" y="137"/>
                          <a:pt x="120" y="135"/>
                          <a:pt x="123" y="132"/>
                        </a:cubicBezTo>
                        <a:cubicBezTo>
                          <a:pt x="124" y="130"/>
                          <a:pt x="125" y="127"/>
                          <a:pt x="124" y="124"/>
                        </a:cubicBezTo>
                        <a:cubicBezTo>
                          <a:pt x="108" y="112"/>
                          <a:pt x="108" y="112"/>
                          <a:pt x="108" y="112"/>
                        </a:cubicBezTo>
                        <a:cubicBezTo>
                          <a:pt x="107" y="111"/>
                          <a:pt x="107" y="110"/>
                          <a:pt x="107" y="109"/>
                        </a:cubicBezTo>
                        <a:cubicBezTo>
                          <a:pt x="108" y="108"/>
                          <a:pt x="109" y="108"/>
                          <a:pt x="110" y="109"/>
                        </a:cubicBezTo>
                        <a:cubicBezTo>
                          <a:pt x="136" y="127"/>
                          <a:pt x="136" y="127"/>
                          <a:pt x="136" y="127"/>
                        </a:cubicBezTo>
                        <a:cubicBezTo>
                          <a:pt x="140" y="127"/>
                          <a:pt x="143" y="126"/>
                          <a:pt x="145" y="123"/>
                        </a:cubicBezTo>
                        <a:cubicBezTo>
                          <a:pt x="147" y="120"/>
                          <a:pt x="147" y="117"/>
                          <a:pt x="147" y="114"/>
                        </a:cubicBezTo>
                        <a:cubicBezTo>
                          <a:pt x="117" y="93"/>
                          <a:pt x="117" y="93"/>
                          <a:pt x="117" y="93"/>
                        </a:cubicBezTo>
                        <a:cubicBezTo>
                          <a:pt x="116" y="92"/>
                          <a:pt x="116" y="91"/>
                          <a:pt x="117" y="90"/>
                        </a:cubicBezTo>
                        <a:cubicBezTo>
                          <a:pt x="117" y="89"/>
                          <a:pt x="119" y="89"/>
                          <a:pt x="120" y="89"/>
                        </a:cubicBezTo>
                        <a:cubicBezTo>
                          <a:pt x="156" y="116"/>
                          <a:pt x="156" y="116"/>
                          <a:pt x="156" y="116"/>
                        </a:cubicBezTo>
                        <a:cubicBezTo>
                          <a:pt x="159" y="116"/>
                          <a:pt x="163" y="114"/>
                          <a:pt x="165" y="111"/>
                        </a:cubicBezTo>
                        <a:cubicBezTo>
                          <a:pt x="167" y="108"/>
                          <a:pt x="167" y="105"/>
                          <a:pt x="167" y="102"/>
                        </a:cubicBezTo>
                        <a:cubicBezTo>
                          <a:pt x="137" y="81"/>
                          <a:pt x="137" y="81"/>
                          <a:pt x="137" y="81"/>
                        </a:cubicBezTo>
                        <a:cubicBezTo>
                          <a:pt x="136" y="80"/>
                          <a:pt x="136" y="79"/>
                          <a:pt x="136" y="78"/>
                        </a:cubicBezTo>
                        <a:cubicBezTo>
                          <a:pt x="137" y="77"/>
                          <a:pt x="138" y="76"/>
                          <a:pt x="139" y="77"/>
                        </a:cubicBezTo>
                        <a:cubicBezTo>
                          <a:pt x="176" y="104"/>
                          <a:pt x="176" y="104"/>
                          <a:pt x="176" y="104"/>
                        </a:cubicBezTo>
                        <a:cubicBezTo>
                          <a:pt x="180" y="104"/>
                          <a:pt x="183" y="102"/>
                          <a:pt x="185" y="99"/>
                        </a:cubicBezTo>
                        <a:cubicBezTo>
                          <a:pt x="188" y="94"/>
                          <a:pt x="187" y="87"/>
                          <a:pt x="183" y="84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solidFill>
                          <a:srgbClr val="FFFFFF">
                            <a:alpha val="0"/>
                          </a:srgbClr>
                        </a:solidFill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22" name="Freeform 621"/>
                  <p:cNvSpPr>
                    <a:spLocks/>
                  </p:cNvSpPr>
                  <p:nvPr/>
                </p:nvSpPr>
                <p:spPr bwMode="black">
                  <a:xfrm>
                    <a:off x="10615616" y="4103350"/>
                    <a:ext cx="657226" cy="452255"/>
                  </a:xfrm>
                  <a:custGeom>
                    <a:avLst/>
                    <a:gdLst>
                      <a:gd name="T0" fmla="*/ 127 w 175"/>
                      <a:gd name="T1" fmla="*/ 31 h 100"/>
                      <a:gd name="T2" fmla="*/ 119 w 175"/>
                      <a:gd name="T3" fmla="*/ 28 h 100"/>
                      <a:gd name="T4" fmla="*/ 62 w 175"/>
                      <a:gd name="T5" fmla="*/ 2 h 100"/>
                      <a:gd name="T6" fmla="*/ 49 w 175"/>
                      <a:gd name="T7" fmla="*/ 3 h 100"/>
                      <a:gd name="T8" fmla="*/ 26 w 175"/>
                      <a:gd name="T9" fmla="*/ 16 h 100"/>
                      <a:gd name="T10" fmla="*/ 9 w 175"/>
                      <a:gd name="T11" fmla="*/ 25 h 100"/>
                      <a:gd name="T12" fmla="*/ 4 w 175"/>
                      <a:gd name="T13" fmla="*/ 45 h 100"/>
                      <a:gd name="T14" fmla="*/ 15 w 175"/>
                      <a:gd name="T15" fmla="*/ 52 h 100"/>
                      <a:gd name="T16" fmla="*/ 23 w 175"/>
                      <a:gd name="T17" fmla="*/ 50 h 100"/>
                      <a:gd name="T18" fmla="*/ 23 w 175"/>
                      <a:gd name="T19" fmla="*/ 50 h 100"/>
                      <a:gd name="T20" fmla="*/ 57 w 175"/>
                      <a:gd name="T21" fmla="*/ 32 h 100"/>
                      <a:gd name="T22" fmla="*/ 79 w 175"/>
                      <a:gd name="T23" fmla="*/ 42 h 100"/>
                      <a:gd name="T24" fmla="*/ 109 w 175"/>
                      <a:gd name="T25" fmla="*/ 64 h 100"/>
                      <a:gd name="T26" fmla="*/ 158 w 175"/>
                      <a:gd name="T27" fmla="*/ 99 h 100"/>
                      <a:gd name="T28" fmla="*/ 159 w 175"/>
                      <a:gd name="T29" fmla="*/ 100 h 100"/>
                      <a:gd name="T30" fmla="*/ 173 w 175"/>
                      <a:gd name="T31" fmla="*/ 97 h 100"/>
                      <a:gd name="T32" fmla="*/ 154 w 175"/>
                      <a:gd name="T33" fmla="*/ 29 h 100"/>
                      <a:gd name="T34" fmla="*/ 127 w 175"/>
                      <a:gd name="T35" fmla="*/ 31 h 1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75" h="100">
                        <a:moveTo>
                          <a:pt x="127" y="31"/>
                        </a:moveTo>
                        <a:cubicBezTo>
                          <a:pt x="125" y="31"/>
                          <a:pt x="122" y="30"/>
                          <a:pt x="119" y="28"/>
                        </a:cubicBezTo>
                        <a:cubicBezTo>
                          <a:pt x="62" y="2"/>
                          <a:pt x="62" y="2"/>
                          <a:pt x="62" y="2"/>
                        </a:cubicBezTo>
                        <a:cubicBezTo>
                          <a:pt x="58" y="0"/>
                          <a:pt x="53" y="1"/>
                          <a:pt x="49" y="3"/>
                        </a:cubicBezTo>
                        <a:cubicBezTo>
                          <a:pt x="26" y="16"/>
                          <a:pt x="26" y="16"/>
                          <a:pt x="26" y="16"/>
                        </a:cubicBezTo>
                        <a:cubicBezTo>
                          <a:pt x="9" y="25"/>
                          <a:pt x="9" y="25"/>
                          <a:pt x="9" y="25"/>
                        </a:cubicBezTo>
                        <a:cubicBezTo>
                          <a:pt x="2" y="29"/>
                          <a:pt x="0" y="38"/>
                          <a:pt x="4" y="45"/>
                        </a:cubicBezTo>
                        <a:cubicBezTo>
                          <a:pt x="6" y="49"/>
                          <a:pt x="10" y="52"/>
                          <a:pt x="15" y="52"/>
                        </a:cubicBezTo>
                        <a:cubicBezTo>
                          <a:pt x="18" y="52"/>
                          <a:pt x="21" y="52"/>
                          <a:pt x="23" y="50"/>
                        </a:cubicBezTo>
                        <a:cubicBezTo>
                          <a:pt x="23" y="50"/>
                          <a:pt x="23" y="50"/>
                          <a:pt x="23" y="50"/>
                        </a:cubicBezTo>
                        <a:cubicBezTo>
                          <a:pt x="57" y="32"/>
                          <a:pt x="57" y="32"/>
                          <a:pt x="57" y="32"/>
                        </a:cubicBezTo>
                        <a:cubicBezTo>
                          <a:pt x="79" y="42"/>
                          <a:pt x="79" y="42"/>
                          <a:pt x="79" y="42"/>
                        </a:cubicBezTo>
                        <a:cubicBezTo>
                          <a:pt x="109" y="64"/>
                          <a:pt x="109" y="64"/>
                          <a:pt x="109" y="64"/>
                        </a:cubicBezTo>
                        <a:cubicBezTo>
                          <a:pt x="158" y="99"/>
                          <a:pt x="158" y="99"/>
                          <a:pt x="158" y="99"/>
                        </a:cubicBezTo>
                        <a:cubicBezTo>
                          <a:pt x="158" y="99"/>
                          <a:pt x="159" y="100"/>
                          <a:pt x="159" y="100"/>
                        </a:cubicBezTo>
                        <a:cubicBezTo>
                          <a:pt x="173" y="97"/>
                          <a:pt x="173" y="97"/>
                          <a:pt x="173" y="97"/>
                        </a:cubicBezTo>
                        <a:cubicBezTo>
                          <a:pt x="175" y="51"/>
                          <a:pt x="154" y="29"/>
                          <a:pt x="154" y="29"/>
                        </a:cubicBezTo>
                        <a:cubicBezTo>
                          <a:pt x="154" y="29"/>
                          <a:pt x="133" y="33"/>
                          <a:pt x="127" y="31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solidFill>
                          <a:srgbClr val="FFFFFF">
                            <a:alpha val="0"/>
                          </a:srgbClr>
                        </a:solidFill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23" name="Freeform 622"/>
                  <p:cNvSpPr>
                    <a:spLocks/>
                  </p:cNvSpPr>
                  <p:nvPr/>
                </p:nvSpPr>
                <p:spPr bwMode="black">
                  <a:xfrm>
                    <a:off x="10536238" y="4554567"/>
                    <a:ext cx="319088" cy="274409"/>
                  </a:xfrm>
                  <a:custGeom>
                    <a:avLst/>
                    <a:gdLst>
                      <a:gd name="T0" fmla="*/ 76 w 85"/>
                      <a:gd name="T1" fmla="*/ 20 h 59"/>
                      <a:gd name="T2" fmla="*/ 64 w 85"/>
                      <a:gd name="T3" fmla="*/ 25 h 59"/>
                      <a:gd name="T4" fmla="*/ 65 w 85"/>
                      <a:gd name="T5" fmla="*/ 18 h 59"/>
                      <a:gd name="T6" fmla="*/ 57 w 85"/>
                      <a:gd name="T7" fmla="*/ 5 h 59"/>
                      <a:gd name="T8" fmla="*/ 44 w 85"/>
                      <a:gd name="T9" fmla="*/ 13 h 59"/>
                      <a:gd name="T10" fmla="*/ 44 w 85"/>
                      <a:gd name="T11" fmla="*/ 14 h 59"/>
                      <a:gd name="T12" fmla="*/ 35 w 85"/>
                      <a:gd name="T13" fmla="*/ 3 h 59"/>
                      <a:gd name="T14" fmla="*/ 23 w 85"/>
                      <a:gd name="T15" fmla="*/ 10 h 59"/>
                      <a:gd name="T16" fmla="*/ 23 w 85"/>
                      <a:gd name="T17" fmla="*/ 10 h 59"/>
                      <a:gd name="T18" fmla="*/ 10 w 85"/>
                      <a:gd name="T19" fmla="*/ 1 h 59"/>
                      <a:gd name="T20" fmla="*/ 1 w 85"/>
                      <a:gd name="T21" fmla="*/ 14 h 59"/>
                      <a:gd name="T22" fmla="*/ 4 w 85"/>
                      <a:gd name="T23" fmla="*/ 28 h 59"/>
                      <a:gd name="T24" fmla="*/ 14 w 85"/>
                      <a:gd name="T25" fmla="*/ 36 h 59"/>
                      <a:gd name="T26" fmla="*/ 17 w 85"/>
                      <a:gd name="T27" fmla="*/ 36 h 59"/>
                      <a:gd name="T28" fmla="*/ 19 w 85"/>
                      <a:gd name="T29" fmla="*/ 35 h 59"/>
                      <a:gd name="T30" fmla="*/ 27 w 85"/>
                      <a:gd name="T31" fmla="*/ 43 h 59"/>
                      <a:gd name="T32" fmla="*/ 28 w 85"/>
                      <a:gd name="T33" fmla="*/ 43 h 59"/>
                      <a:gd name="T34" fmla="*/ 39 w 85"/>
                      <a:gd name="T35" fmla="*/ 38 h 59"/>
                      <a:gd name="T36" fmla="*/ 38 w 85"/>
                      <a:gd name="T37" fmla="*/ 39 h 59"/>
                      <a:gd name="T38" fmla="*/ 47 w 85"/>
                      <a:gd name="T39" fmla="*/ 52 h 59"/>
                      <a:gd name="T40" fmla="*/ 48 w 85"/>
                      <a:gd name="T41" fmla="*/ 52 h 59"/>
                      <a:gd name="T42" fmla="*/ 58 w 85"/>
                      <a:gd name="T43" fmla="*/ 47 h 59"/>
                      <a:gd name="T44" fmla="*/ 67 w 85"/>
                      <a:gd name="T45" fmla="*/ 59 h 59"/>
                      <a:gd name="T46" fmla="*/ 68 w 85"/>
                      <a:gd name="T47" fmla="*/ 59 h 59"/>
                      <a:gd name="T48" fmla="*/ 80 w 85"/>
                      <a:gd name="T49" fmla="*/ 50 h 59"/>
                      <a:gd name="T50" fmla="*/ 84 w 85"/>
                      <a:gd name="T51" fmla="*/ 33 h 59"/>
                      <a:gd name="T52" fmla="*/ 76 w 85"/>
                      <a:gd name="T53" fmla="*/ 20 h 5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</a:cxnLst>
                    <a:rect l="0" t="0" r="r" b="b"/>
                    <a:pathLst>
                      <a:path w="85" h="59">
                        <a:moveTo>
                          <a:pt x="76" y="20"/>
                        </a:moveTo>
                        <a:cubicBezTo>
                          <a:pt x="71" y="19"/>
                          <a:pt x="66" y="21"/>
                          <a:pt x="64" y="25"/>
                        </a:cubicBezTo>
                        <a:cubicBezTo>
                          <a:pt x="65" y="18"/>
                          <a:pt x="65" y="18"/>
                          <a:pt x="65" y="18"/>
                        </a:cubicBezTo>
                        <a:cubicBezTo>
                          <a:pt x="67" y="12"/>
                          <a:pt x="63" y="6"/>
                          <a:pt x="57" y="5"/>
                        </a:cubicBezTo>
                        <a:cubicBezTo>
                          <a:pt x="51" y="4"/>
                          <a:pt x="45" y="7"/>
                          <a:pt x="44" y="13"/>
                        </a:cubicBezTo>
                        <a:cubicBezTo>
                          <a:pt x="44" y="14"/>
                          <a:pt x="44" y="14"/>
                          <a:pt x="44" y="14"/>
                        </a:cubicBezTo>
                        <a:cubicBezTo>
                          <a:pt x="44" y="9"/>
                          <a:pt x="40" y="4"/>
                          <a:pt x="35" y="3"/>
                        </a:cubicBezTo>
                        <a:cubicBezTo>
                          <a:pt x="30" y="2"/>
                          <a:pt x="24" y="5"/>
                          <a:pt x="23" y="10"/>
                        </a:cubicBezTo>
                        <a:cubicBezTo>
                          <a:pt x="23" y="10"/>
                          <a:pt x="23" y="10"/>
                          <a:pt x="23" y="10"/>
                        </a:cubicBezTo>
                        <a:cubicBezTo>
                          <a:pt x="21" y="4"/>
                          <a:pt x="15" y="0"/>
                          <a:pt x="10" y="1"/>
                        </a:cubicBezTo>
                        <a:cubicBezTo>
                          <a:pt x="4" y="3"/>
                          <a:pt x="0" y="8"/>
                          <a:pt x="1" y="14"/>
                        </a:cubicBezTo>
                        <a:cubicBezTo>
                          <a:pt x="4" y="28"/>
                          <a:pt x="4" y="28"/>
                          <a:pt x="4" y="28"/>
                        </a:cubicBezTo>
                        <a:cubicBezTo>
                          <a:pt x="5" y="32"/>
                          <a:pt x="9" y="36"/>
                          <a:pt x="14" y="36"/>
                        </a:cubicBezTo>
                        <a:cubicBezTo>
                          <a:pt x="15" y="36"/>
                          <a:pt x="16" y="36"/>
                          <a:pt x="17" y="36"/>
                        </a:cubicBezTo>
                        <a:cubicBezTo>
                          <a:pt x="18" y="36"/>
                          <a:pt x="18" y="36"/>
                          <a:pt x="19" y="35"/>
                        </a:cubicBezTo>
                        <a:cubicBezTo>
                          <a:pt x="20" y="39"/>
                          <a:pt x="23" y="42"/>
                          <a:pt x="27" y="43"/>
                        </a:cubicBezTo>
                        <a:cubicBezTo>
                          <a:pt x="28" y="43"/>
                          <a:pt x="28" y="43"/>
                          <a:pt x="28" y="43"/>
                        </a:cubicBezTo>
                        <a:cubicBezTo>
                          <a:pt x="32" y="43"/>
                          <a:pt x="36" y="41"/>
                          <a:pt x="39" y="38"/>
                        </a:cubicBezTo>
                        <a:cubicBezTo>
                          <a:pt x="38" y="39"/>
                          <a:pt x="38" y="39"/>
                          <a:pt x="38" y="39"/>
                        </a:cubicBezTo>
                        <a:cubicBezTo>
                          <a:pt x="37" y="44"/>
                          <a:pt x="41" y="50"/>
                          <a:pt x="47" y="52"/>
                        </a:cubicBezTo>
                        <a:cubicBezTo>
                          <a:pt x="47" y="52"/>
                          <a:pt x="47" y="52"/>
                          <a:pt x="48" y="52"/>
                        </a:cubicBezTo>
                        <a:cubicBezTo>
                          <a:pt x="52" y="52"/>
                          <a:pt x="56" y="50"/>
                          <a:pt x="58" y="47"/>
                        </a:cubicBezTo>
                        <a:cubicBezTo>
                          <a:pt x="58" y="52"/>
                          <a:pt x="61" y="57"/>
                          <a:pt x="67" y="59"/>
                        </a:cubicBezTo>
                        <a:cubicBezTo>
                          <a:pt x="67" y="59"/>
                          <a:pt x="67" y="59"/>
                          <a:pt x="68" y="59"/>
                        </a:cubicBezTo>
                        <a:cubicBezTo>
                          <a:pt x="73" y="59"/>
                          <a:pt x="78" y="56"/>
                          <a:pt x="80" y="50"/>
                        </a:cubicBezTo>
                        <a:cubicBezTo>
                          <a:pt x="84" y="33"/>
                          <a:pt x="84" y="33"/>
                          <a:pt x="84" y="33"/>
                        </a:cubicBezTo>
                        <a:cubicBezTo>
                          <a:pt x="85" y="27"/>
                          <a:pt x="81" y="21"/>
                          <a:pt x="76" y="2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solidFill>
                          <a:srgbClr val="FFFFFF">
                            <a:alpha val="0"/>
                          </a:srgbClr>
                        </a:solidFill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24" name="Freeform 623"/>
                  <p:cNvSpPr>
                    <a:spLocks/>
                  </p:cNvSpPr>
                  <p:nvPr/>
                </p:nvSpPr>
                <p:spPr bwMode="black">
                  <a:xfrm>
                    <a:off x="11207741" y="4198910"/>
                    <a:ext cx="175191" cy="359859"/>
                  </a:xfrm>
                  <a:custGeom>
                    <a:avLst/>
                    <a:gdLst>
                      <a:gd name="T0" fmla="*/ 41 w 41"/>
                      <a:gd name="T1" fmla="*/ 77 h 85"/>
                      <a:gd name="T2" fmla="*/ 33 w 41"/>
                      <a:gd name="T3" fmla="*/ 7 h 85"/>
                      <a:gd name="T4" fmla="*/ 24 w 41"/>
                      <a:gd name="T5" fmla="*/ 1 h 85"/>
                      <a:gd name="T6" fmla="*/ 0 w 41"/>
                      <a:gd name="T7" fmla="*/ 7 h 85"/>
                      <a:gd name="T8" fmla="*/ 22 w 41"/>
                      <a:gd name="T9" fmla="*/ 85 h 85"/>
                      <a:gd name="T10" fmla="*/ 33 w 41"/>
                      <a:gd name="T11" fmla="*/ 85 h 85"/>
                      <a:gd name="T12" fmla="*/ 41 w 41"/>
                      <a:gd name="T13" fmla="*/ 77 h 8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1" h="85">
                        <a:moveTo>
                          <a:pt x="41" y="77"/>
                        </a:moveTo>
                        <a:cubicBezTo>
                          <a:pt x="33" y="7"/>
                          <a:pt x="33" y="7"/>
                          <a:pt x="33" y="7"/>
                        </a:cubicBezTo>
                        <a:cubicBezTo>
                          <a:pt x="32" y="2"/>
                          <a:pt x="28" y="0"/>
                          <a:pt x="24" y="1"/>
                        </a:cubicBezTo>
                        <a:cubicBezTo>
                          <a:pt x="0" y="7"/>
                          <a:pt x="0" y="7"/>
                          <a:pt x="0" y="7"/>
                        </a:cubicBezTo>
                        <a:cubicBezTo>
                          <a:pt x="0" y="7"/>
                          <a:pt x="25" y="32"/>
                          <a:pt x="22" y="85"/>
                        </a:cubicBezTo>
                        <a:cubicBezTo>
                          <a:pt x="33" y="85"/>
                          <a:pt x="33" y="85"/>
                          <a:pt x="33" y="85"/>
                        </a:cubicBezTo>
                        <a:cubicBezTo>
                          <a:pt x="38" y="85"/>
                          <a:pt x="41" y="81"/>
                          <a:pt x="41" y="77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solidFill>
                          <a:srgbClr val="FFFFFF">
                            <a:alpha val="0"/>
                          </a:srgbClr>
                        </a:solidFill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25" name="Freeform 624"/>
                  <p:cNvSpPr>
                    <a:spLocks/>
                  </p:cNvSpPr>
                  <p:nvPr/>
                </p:nvSpPr>
                <p:spPr bwMode="black">
                  <a:xfrm>
                    <a:off x="10387012" y="4206348"/>
                    <a:ext cx="176211" cy="352424"/>
                  </a:xfrm>
                  <a:custGeom>
                    <a:avLst/>
                    <a:gdLst>
                      <a:gd name="T0" fmla="*/ 47 w 47"/>
                      <a:gd name="T1" fmla="*/ 9 h 94"/>
                      <a:gd name="T2" fmla="*/ 35 w 47"/>
                      <a:gd name="T3" fmla="*/ 2 h 94"/>
                      <a:gd name="T4" fmla="*/ 25 w 47"/>
                      <a:gd name="T5" fmla="*/ 6 h 94"/>
                      <a:gd name="T6" fmla="*/ 2 w 47"/>
                      <a:gd name="T7" fmla="*/ 81 h 94"/>
                      <a:gd name="T8" fmla="*/ 7 w 47"/>
                      <a:gd name="T9" fmla="*/ 90 h 94"/>
                      <a:gd name="T10" fmla="*/ 26 w 47"/>
                      <a:gd name="T11" fmla="*/ 94 h 94"/>
                      <a:gd name="T12" fmla="*/ 47 w 47"/>
                      <a:gd name="T13" fmla="*/ 9 h 9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7" h="94">
                        <a:moveTo>
                          <a:pt x="47" y="9"/>
                        </a:moveTo>
                        <a:cubicBezTo>
                          <a:pt x="35" y="2"/>
                          <a:pt x="35" y="2"/>
                          <a:pt x="35" y="2"/>
                        </a:cubicBezTo>
                        <a:cubicBezTo>
                          <a:pt x="31" y="0"/>
                          <a:pt x="27" y="2"/>
                          <a:pt x="25" y="6"/>
                        </a:cubicBezTo>
                        <a:cubicBezTo>
                          <a:pt x="2" y="81"/>
                          <a:pt x="2" y="81"/>
                          <a:pt x="2" y="81"/>
                        </a:cubicBezTo>
                        <a:cubicBezTo>
                          <a:pt x="0" y="86"/>
                          <a:pt x="3" y="90"/>
                          <a:pt x="7" y="90"/>
                        </a:cubicBezTo>
                        <a:cubicBezTo>
                          <a:pt x="26" y="94"/>
                          <a:pt x="26" y="94"/>
                          <a:pt x="26" y="94"/>
                        </a:cubicBezTo>
                        <a:cubicBezTo>
                          <a:pt x="24" y="52"/>
                          <a:pt x="47" y="9"/>
                          <a:pt x="47" y="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solidFill>
                          <a:srgbClr val="FFFFFF">
                            <a:alpha val="0"/>
                          </a:srgbClr>
                        </a:solidFill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616" name="Group 615"/>
              <p:cNvGrpSpPr/>
              <p:nvPr/>
            </p:nvGrpSpPr>
            <p:grpSpPr>
              <a:xfrm>
                <a:off x="5385695" y="5074928"/>
                <a:ext cx="477542" cy="477542"/>
                <a:chOff x="10187340" y="2714625"/>
                <a:chExt cx="527050" cy="527050"/>
              </a:xfrm>
            </p:grpSpPr>
            <p:sp>
              <p:nvSpPr>
                <p:cNvPr id="617" name="Oval 616"/>
                <p:cNvSpPr/>
                <p:nvPr/>
              </p:nvSpPr>
              <p:spPr bwMode="auto">
                <a:xfrm>
                  <a:off x="10187340" y="2714625"/>
                  <a:ext cx="527050" cy="527050"/>
                </a:xfrm>
                <a:prstGeom prst="ellipse">
                  <a:avLst/>
                </a:prstGeom>
                <a:solidFill>
                  <a:srgbClr val="68217A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>
                  <a:outerShdw dist="88900" dir="2700000" sx="90000" sy="90000" algn="tl" rotWithShape="0">
                    <a:prstClr val="black">
                      <a:alpha val="11000"/>
                    </a:prstClr>
                  </a:outerShdw>
                </a:effectLst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618" name="Freeform 617"/>
                <p:cNvSpPr>
                  <a:spLocks noEditPoints="1"/>
                </p:cNvSpPr>
                <p:nvPr/>
              </p:nvSpPr>
              <p:spPr bwMode="black">
                <a:xfrm>
                  <a:off x="10308202" y="2835488"/>
                  <a:ext cx="285327" cy="285325"/>
                </a:xfrm>
                <a:custGeom>
                  <a:avLst/>
                  <a:gdLst>
                    <a:gd name="T0" fmla="*/ 47 w 66"/>
                    <a:gd name="T1" fmla="*/ 37 h 66"/>
                    <a:gd name="T2" fmla="*/ 51 w 66"/>
                    <a:gd name="T3" fmla="*/ 33 h 66"/>
                    <a:gd name="T4" fmla="*/ 47 w 66"/>
                    <a:gd name="T5" fmla="*/ 29 h 66"/>
                    <a:gd name="T6" fmla="*/ 37 w 66"/>
                    <a:gd name="T7" fmla="*/ 29 h 66"/>
                    <a:gd name="T8" fmla="*/ 37 w 66"/>
                    <a:gd name="T9" fmla="*/ 16 h 66"/>
                    <a:gd name="T10" fmla="*/ 33 w 66"/>
                    <a:gd name="T11" fmla="*/ 13 h 66"/>
                    <a:gd name="T12" fmla="*/ 29 w 66"/>
                    <a:gd name="T13" fmla="*/ 16 h 66"/>
                    <a:gd name="T14" fmla="*/ 29 w 66"/>
                    <a:gd name="T15" fmla="*/ 33 h 66"/>
                    <a:gd name="T16" fmla="*/ 33 w 66"/>
                    <a:gd name="T17" fmla="*/ 37 h 66"/>
                    <a:gd name="T18" fmla="*/ 47 w 66"/>
                    <a:gd name="T19" fmla="*/ 37 h 66"/>
                    <a:gd name="T20" fmla="*/ 33 w 66"/>
                    <a:gd name="T21" fmla="*/ 8 h 66"/>
                    <a:gd name="T22" fmla="*/ 58 w 66"/>
                    <a:gd name="T23" fmla="*/ 33 h 66"/>
                    <a:gd name="T24" fmla="*/ 33 w 66"/>
                    <a:gd name="T25" fmla="*/ 58 h 66"/>
                    <a:gd name="T26" fmla="*/ 8 w 66"/>
                    <a:gd name="T27" fmla="*/ 33 h 66"/>
                    <a:gd name="T28" fmla="*/ 33 w 66"/>
                    <a:gd name="T29" fmla="*/ 8 h 66"/>
                    <a:gd name="T30" fmla="*/ 33 w 66"/>
                    <a:gd name="T31" fmla="*/ 66 h 66"/>
                    <a:gd name="T32" fmla="*/ 66 w 66"/>
                    <a:gd name="T33" fmla="*/ 33 h 66"/>
                    <a:gd name="T34" fmla="*/ 33 w 66"/>
                    <a:gd name="T35" fmla="*/ 0 h 66"/>
                    <a:gd name="T36" fmla="*/ 0 w 66"/>
                    <a:gd name="T37" fmla="*/ 33 h 66"/>
                    <a:gd name="T38" fmla="*/ 33 w 66"/>
                    <a:gd name="T39" fmla="*/ 66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66" h="66">
                      <a:moveTo>
                        <a:pt x="47" y="37"/>
                      </a:moveTo>
                      <a:cubicBezTo>
                        <a:pt x="49" y="37"/>
                        <a:pt x="51" y="35"/>
                        <a:pt x="51" y="33"/>
                      </a:cubicBezTo>
                      <a:cubicBezTo>
                        <a:pt x="51" y="31"/>
                        <a:pt x="49" y="29"/>
                        <a:pt x="47" y="29"/>
                      </a:cubicBezTo>
                      <a:cubicBezTo>
                        <a:pt x="37" y="29"/>
                        <a:pt x="37" y="29"/>
                        <a:pt x="37" y="29"/>
                      </a:cubicBezTo>
                      <a:cubicBezTo>
                        <a:pt x="37" y="16"/>
                        <a:pt x="37" y="16"/>
                        <a:pt x="37" y="16"/>
                      </a:cubicBezTo>
                      <a:cubicBezTo>
                        <a:pt x="37" y="14"/>
                        <a:pt x="35" y="13"/>
                        <a:pt x="33" y="13"/>
                      </a:cubicBezTo>
                      <a:cubicBezTo>
                        <a:pt x="31" y="13"/>
                        <a:pt x="29" y="14"/>
                        <a:pt x="29" y="16"/>
                      </a:cubicBezTo>
                      <a:cubicBezTo>
                        <a:pt x="29" y="33"/>
                        <a:pt x="29" y="33"/>
                        <a:pt x="29" y="33"/>
                      </a:cubicBezTo>
                      <a:cubicBezTo>
                        <a:pt x="29" y="35"/>
                        <a:pt x="31" y="37"/>
                        <a:pt x="33" y="37"/>
                      </a:cubicBezTo>
                      <a:lnTo>
                        <a:pt x="47" y="37"/>
                      </a:lnTo>
                      <a:close/>
                      <a:moveTo>
                        <a:pt x="33" y="8"/>
                      </a:moveTo>
                      <a:cubicBezTo>
                        <a:pt x="47" y="8"/>
                        <a:pt x="58" y="19"/>
                        <a:pt x="58" y="33"/>
                      </a:cubicBezTo>
                      <a:cubicBezTo>
                        <a:pt x="58" y="47"/>
                        <a:pt x="47" y="58"/>
                        <a:pt x="33" y="58"/>
                      </a:cubicBezTo>
                      <a:cubicBezTo>
                        <a:pt x="19" y="58"/>
                        <a:pt x="8" y="47"/>
                        <a:pt x="8" y="33"/>
                      </a:cubicBezTo>
                      <a:cubicBezTo>
                        <a:pt x="8" y="19"/>
                        <a:pt x="19" y="8"/>
                        <a:pt x="33" y="8"/>
                      </a:cubicBezTo>
                      <a:moveTo>
                        <a:pt x="33" y="66"/>
                      </a:moveTo>
                      <a:cubicBezTo>
                        <a:pt x="51" y="66"/>
                        <a:pt x="66" y="51"/>
                        <a:pt x="66" y="33"/>
                      </a:cubicBezTo>
                      <a:cubicBezTo>
                        <a:pt x="66" y="15"/>
                        <a:pt x="51" y="0"/>
                        <a:pt x="33" y="0"/>
                      </a:cubicBezTo>
                      <a:cubicBezTo>
                        <a:pt x="15" y="0"/>
                        <a:pt x="0" y="15"/>
                        <a:pt x="0" y="33"/>
                      </a:cubicBezTo>
                      <a:cubicBezTo>
                        <a:pt x="0" y="51"/>
                        <a:pt x="15" y="66"/>
                        <a:pt x="33" y="66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629" name="Freeform 628"/>
          <p:cNvSpPr/>
          <p:nvPr/>
        </p:nvSpPr>
        <p:spPr bwMode="auto">
          <a:xfrm rot="17100000">
            <a:off x="4554187" y="4040051"/>
            <a:ext cx="887588" cy="126244"/>
          </a:xfrm>
          <a:custGeom>
            <a:avLst/>
            <a:gdLst>
              <a:gd name="connsiteX0" fmla="*/ 911225 w 917575"/>
              <a:gd name="connsiteY0" fmla="*/ 98425 h 247650"/>
              <a:gd name="connsiteX1" fmla="*/ 0 w 917575"/>
              <a:gd name="connsiteY1" fmla="*/ 0 h 247650"/>
              <a:gd name="connsiteX2" fmla="*/ 12700 w 917575"/>
              <a:gd name="connsiteY2" fmla="*/ 225425 h 247650"/>
              <a:gd name="connsiteX3" fmla="*/ 917575 w 917575"/>
              <a:gd name="connsiteY3" fmla="*/ 247650 h 247650"/>
              <a:gd name="connsiteX4" fmla="*/ 911225 w 917575"/>
              <a:gd name="connsiteY4" fmla="*/ 98425 h 247650"/>
              <a:gd name="connsiteX0" fmla="*/ 915125 w 921475"/>
              <a:gd name="connsiteY0" fmla="*/ 98425 h 247650"/>
              <a:gd name="connsiteX1" fmla="*/ 3900 w 921475"/>
              <a:gd name="connsiteY1" fmla="*/ 0 h 247650"/>
              <a:gd name="connsiteX2" fmla="*/ 16600 w 921475"/>
              <a:gd name="connsiteY2" fmla="*/ 225425 h 247650"/>
              <a:gd name="connsiteX3" fmla="*/ 921475 w 921475"/>
              <a:gd name="connsiteY3" fmla="*/ 247650 h 247650"/>
              <a:gd name="connsiteX4" fmla="*/ 915125 w 921475"/>
              <a:gd name="connsiteY4" fmla="*/ 98425 h 247650"/>
              <a:gd name="connsiteX0" fmla="*/ 915125 w 921475"/>
              <a:gd name="connsiteY0" fmla="*/ 98425 h 247650"/>
              <a:gd name="connsiteX1" fmla="*/ 3900 w 921475"/>
              <a:gd name="connsiteY1" fmla="*/ 0 h 247650"/>
              <a:gd name="connsiteX2" fmla="*/ 16600 w 921475"/>
              <a:gd name="connsiteY2" fmla="*/ 225425 h 247650"/>
              <a:gd name="connsiteX3" fmla="*/ 921475 w 921475"/>
              <a:gd name="connsiteY3" fmla="*/ 247650 h 247650"/>
              <a:gd name="connsiteX4" fmla="*/ 915125 w 921475"/>
              <a:gd name="connsiteY4" fmla="*/ 98425 h 247650"/>
              <a:gd name="connsiteX0" fmla="*/ 915125 w 921475"/>
              <a:gd name="connsiteY0" fmla="*/ 98425 h 247650"/>
              <a:gd name="connsiteX1" fmla="*/ 3900 w 921475"/>
              <a:gd name="connsiteY1" fmla="*/ 0 h 247650"/>
              <a:gd name="connsiteX2" fmla="*/ 16600 w 921475"/>
              <a:gd name="connsiteY2" fmla="*/ 225425 h 247650"/>
              <a:gd name="connsiteX3" fmla="*/ 921475 w 921475"/>
              <a:gd name="connsiteY3" fmla="*/ 247650 h 247650"/>
              <a:gd name="connsiteX4" fmla="*/ 915125 w 921475"/>
              <a:gd name="connsiteY4" fmla="*/ 98425 h 247650"/>
              <a:gd name="connsiteX0" fmla="*/ 915125 w 921475"/>
              <a:gd name="connsiteY0" fmla="*/ 98425 h 264157"/>
              <a:gd name="connsiteX1" fmla="*/ 3900 w 921475"/>
              <a:gd name="connsiteY1" fmla="*/ 0 h 264157"/>
              <a:gd name="connsiteX2" fmla="*/ 16600 w 921475"/>
              <a:gd name="connsiteY2" fmla="*/ 225425 h 264157"/>
              <a:gd name="connsiteX3" fmla="*/ 921475 w 921475"/>
              <a:gd name="connsiteY3" fmla="*/ 247650 h 264157"/>
              <a:gd name="connsiteX4" fmla="*/ 915125 w 921475"/>
              <a:gd name="connsiteY4" fmla="*/ 98425 h 264157"/>
              <a:gd name="connsiteX0" fmla="*/ 915125 w 921475"/>
              <a:gd name="connsiteY0" fmla="*/ 98425 h 281274"/>
              <a:gd name="connsiteX1" fmla="*/ 3900 w 921475"/>
              <a:gd name="connsiteY1" fmla="*/ 0 h 281274"/>
              <a:gd name="connsiteX2" fmla="*/ 16600 w 921475"/>
              <a:gd name="connsiteY2" fmla="*/ 225425 h 281274"/>
              <a:gd name="connsiteX3" fmla="*/ 921475 w 921475"/>
              <a:gd name="connsiteY3" fmla="*/ 247650 h 281274"/>
              <a:gd name="connsiteX4" fmla="*/ 915125 w 921475"/>
              <a:gd name="connsiteY4" fmla="*/ 98425 h 281274"/>
              <a:gd name="connsiteX0" fmla="*/ 915125 w 921475"/>
              <a:gd name="connsiteY0" fmla="*/ 98425 h 281274"/>
              <a:gd name="connsiteX1" fmla="*/ 3900 w 921475"/>
              <a:gd name="connsiteY1" fmla="*/ 0 h 281274"/>
              <a:gd name="connsiteX2" fmla="*/ 16600 w 921475"/>
              <a:gd name="connsiteY2" fmla="*/ 225425 h 281274"/>
              <a:gd name="connsiteX3" fmla="*/ 921475 w 921475"/>
              <a:gd name="connsiteY3" fmla="*/ 247650 h 281274"/>
              <a:gd name="connsiteX4" fmla="*/ 915125 w 921475"/>
              <a:gd name="connsiteY4" fmla="*/ 98425 h 281274"/>
              <a:gd name="connsiteX0" fmla="*/ 910363 w 921475"/>
              <a:gd name="connsiteY0" fmla="*/ 107950 h 281274"/>
              <a:gd name="connsiteX1" fmla="*/ 3900 w 921475"/>
              <a:gd name="connsiteY1" fmla="*/ 0 h 281274"/>
              <a:gd name="connsiteX2" fmla="*/ 16600 w 921475"/>
              <a:gd name="connsiteY2" fmla="*/ 225425 h 281274"/>
              <a:gd name="connsiteX3" fmla="*/ 921475 w 921475"/>
              <a:gd name="connsiteY3" fmla="*/ 247650 h 281274"/>
              <a:gd name="connsiteX4" fmla="*/ 910363 w 921475"/>
              <a:gd name="connsiteY4" fmla="*/ 107950 h 281274"/>
              <a:gd name="connsiteX0" fmla="*/ 894026 w 905138"/>
              <a:gd name="connsiteY0" fmla="*/ 107950 h 281274"/>
              <a:gd name="connsiteX1" fmla="*/ 56620 w 905138"/>
              <a:gd name="connsiteY1" fmla="*/ 0 h 281274"/>
              <a:gd name="connsiteX2" fmla="*/ 263 w 905138"/>
              <a:gd name="connsiteY2" fmla="*/ 225425 h 281274"/>
              <a:gd name="connsiteX3" fmla="*/ 905138 w 905138"/>
              <a:gd name="connsiteY3" fmla="*/ 247650 h 281274"/>
              <a:gd name="connsiteX4" fmla="*/ 894026 w 905138"/>
              <a:gd name="connsiteY4" fmla="*/ 107950 h 281274"/>
              <a:gd name="connsiteX0" fmla="*/ 861164 w 872276"/>
              <a:gd name="connsiteY0" fmla="*/ 107950 h 295592"/>
              <a:gd name="connsiteX1" fmla="*/ 23758 w 872276"/>
              <a:gd name="connsiteY1" fmla="*/ 0 h 295592"/>
              <a:gd name="connsiteX2" fmla="*/ 738 w 872276"/>
              <a:gd name="connsiteY2" fmla="*/ 251619 h 295592"/>
              <a:gd name="connsiteX3" fmla="*/ 872276 w 872276"/>
              <a:gd name="connsiteY3" fmla="*/ 247650 h 295592"/>
              <a:gd name="connsiteX4" fmla="*/ 861164 w 872276"/>
              <a:gd name="connsiteY4" fmla="*/ 107950 h 295592"/>
              <a:gd name="connsiteX0" fmla="*/ 856648 w 867760"/>
              <a:gd name="connsiteY0" fmla="*/ 107950 h 289918"/>
              <a:gd name="connsiteX1" fmla="*/ 19242 w 867760"/>
              <a:gd name="connsiteY1" fmla="*/ 0 h 289918"/>
              <a:gd name="connsiteX2" fmla="*/ 984 w 867760"/>
              <a:gd name="connsiteY2" fmla="*/ 242094 h 289918"/>
              <a:gd name="connsiteX3" fmla="*/ 867760 w 867760"/>
              <a:gd name="connsiteY3" fmla="*/ 247650 h 289918"/>
              <a:gd name="connsiteX4" fmla="*/ 856648 w 867760"/>
              <a:gd name="connsiteY4" fmla="*/ 107950 h 289918"/>
              <a:gd name="connsiteX0" fmla="*/ 856648 w 867760"/>
              <a:gd name="connsiteY0" fmla="*/ 107950 h 294068"/>
              <a:gd name="connsiteX1" fmla="*/ 19242 w 867760"/>
              <a:gd name="connsiteY1" fmla="*/ 0 h 294068"/>
              <a:gd name="connsiteX2" fmla="*/ 984 w 867760"/>
              <a:gd name="connsiteY2" fmla="*/ 242094 h 294068"/>
              <a:gd name="connsiteX3" fmla="*/ 867760 w 867760"/>
              <a:gd name="connsiteY3" fmla="*/ 247650 h 294068"/>
              <a:gd name="connsiteX4" fmla="*/ 856648 w 867760"/>
              <a:gd name="connsiteY4" fmla="*/ 107950 h 294068"/>
              <a:gd name="connsiteX0" fmla="*/ 856648 w 867760"/>
              <a:gd name="connsiteY0" fmla="*/ 107950 h 294068"/>
              <a:gd name="connsiteX1" fmla="*/ 19242 w 867760"/>
              <a:gd name="connsiteY1" fmla="*/ 0 h 294068"/>
              <a:gd name="connsiteX2" fmla="*/ 984 w 867760"/>
              <a:gd name="connsiteY2" fmla="*/ 242094 h 294068"/>
              <a:gd name="connsiteX3" fmla="*/ 867760 w 867760"/>
              <a:gd name="connsiteY3" fmla="*/ 247650 h 294068"/>
              <a:gd name="connsiteX4" fmla="*/ 856648 w 867760"/>
              <a:gd name="connsiteY4" fmla="*/ 107950 h 294068"/>
              <a:gd name="connsiteX0" fmla="*/ 856648 w 948088"/>
              <a:gd name="connsiteY0" fmla="*/ 107950 h 294068"/>
              <a:gd name="connsiteX1" fmla="*/ 19242 w 948088"/>
              <a:gd name="connsiteY1" fmla="*/ 0 h 294068"/>
              <a:gd name="connsiteX2" fmla="*/ 984 w 948088"/>
              <a:gd name="connsiteY2" fmla="*/ 242094 h 294068"/>
              <a:gd name="connsiteX3" fmla="*/ 867760 w 948088"/>
              <a:gd name="connsiteY3" fmla="*/ 247650 h 294068"/>
              <a:gd name="connsiteX4" fmla="*/ 948088 w 948088"/>
              <a:gd name="connsiteY4" fmla="*/ 199390 h 294068"/>
              <a:gd name="connsiteX0" fmla="*/ 856648 w 867760"/>
              <a:gd name="connsiteY0" fmla="*/ 107950 h 294068"/>
              <a:gd name="connsiteX1" fmla="*/ 19242 w 867760"/>
              <a:gd name="connsiteY1" fmla="*/ 0 h 294068"/>
              <a:gd name="connsiteX2" fmla="*/ 984 w 867760"/>
              <a:gd name="connsiteY2" fmla="*/ 242094 h 294068"/>
              <a:gd name="connsiteX3" fmla="*/ 867760 w 867760"/>
              <a:gd name="connsiteY3" fmla="*/ 247650 h 294068"/>
              <a:gd name="connsiteX0" fmla="*/ 825692 w 867760"/>
              <a:gd name="connsiteY0" fmla="*/ 110331 h 294068"/>
              <a:gd name="connsiteX1" fmla="*/ 19242 w 867760"/>
              <a:gd name="connsiteY1" fmla="*/ 0 h 294068"/>
              <a:gd name="connsiteX2" fmla="*/ 984 w 867760"/>
              <a:gd name="connsiteY2" fmla="*/ 242094 h 294068"/>
              <a:gd name="connsiteX3" fmla="*/ 867760 w 867760"/>
              <a:gd name="connsiteY3" fmla="*/ 247650 h 294068"/>
              <a:gd name="connsiteX0" fmla="*/ 825692 w 862997"/>
              <a:gd name="connsiteY0" fmla="*/ 110331 h 290857"/>
              <a:gd name="connsiteX1" fmla="*/ 19242 w 862997"/>
              <a:gd name="connsiteY1" fmla="*/ 0 h 290857"/>
              <a:gd name="connsiteX2" fmla="*/ 984 w 862997"/>
              <a:gd name="connsiteY2" fmla="*/ 242094 h 290857"/>
              <a:gd name="connsiteX3" fmla="*/ 862997 w 862997"/>
              <a:gd name="connsiteY3" fmla="*/ 240506 h 290857"/>
              <a:gd name="connsiteX0" fmla="*/ 825692 w 922099"/>
              <a:gd name="connsiteY0" fmla="*/ 110331 h 282069"/>
              <a:gd name="connsiteX1" fmla="*/ 19242 w 922099"/>
              <a:gd name="connsiteY1" fmla="*/ 0 h 282069"/>
              <a:gd name="connsiteX2" fmla="*/ 984 w 922099"/>
              <a:gd name="connsiteY2" fmla="*/ 242094 h 282069"/>
              <a:gd name="connsiteX3" fmla="*/ 922099 w 922099"/>
              <a:gd name="connsiteY3" fmla="*/ 216816 h 282069"/>
              <a:gd name="connsiteX0" fmla="*/ 928569 w 928569"/>
              <a:gd name="connsiteY0" fmla="*/ 0 h 297010"/>
              <a:gd name="connsiteX1" fmla="*/ 19242 w 928569"/>
              <a:gd name="connsiteY1" fmla="*/ 14941 h 297010"/>
              <a:gd name="connsiteX2" fmla="*/ 984 w 928569"/>
              <a:gd name="connsiteY2" fmla="*/ 257035 h 297010"/>
              <a:gd name="connsiteX3" fmla="*/ 922099 w 928569"/>
              <a:gd name="connsiteY3" fmla="*/ 231757 h 297010"/>
              <a:gd name="connsiteX0" fmla="*/ 928569 w 928569"/>
              <a:gd name="connsiteY0" fmla="*/ 0 h 297010"/>
              <a:gd name="connsiteX1" fmla="*/ 19242 w 928569"/>
              <a:gd name="connsiteY1" fmla="*/ 14941 h 297010"/>
              <a:gd name="connsiteX2" fmla="*/ 984 w 928569"/>
              <a:gd name="connsiteY2" fmla="*/ 257035 h 297010"/>
              <a:gd name="connsiteX3" fmla="*/ 922099 w 928569"/>
              <a:gd name="connsiteY3" fmla="*/ 231757 h 297010"/>
              <a:gd name="connsiteX0" fmla="*/ 933862 w 933862"/>
              <a:gd name="connsiteY0" fmla="*/ 0 h 289074"/>
              <a:gd name="connsiteX1" fmla="*/ 19242 w 933862"/>
              <a:gd name="connsiteY1" fmla="*/ 7005 h 289074"/>
              <a:gd name="connsiteX2" fmla="*/ 984 w 933862"/>
              <a:gd name="connsiteY2" fmla="*/ 249099 h 289074"/>
              <a:gd name="connsiteX3" fmla="*/ 922099 w 933862"/>
              <a:gd name="connsiteY3" fmla="*/ 223821 h 289074"/>
              <a:gd name="connsiteX0" fmla="*/ 933862 w 933862"/>
              <a:gd name="connsiteY0" fmla="*/ 0 h 288074"/>
              <a:gd name="connsiteX1" fmla="*/ 19242 w 933862"/>
              <a:gd name="connsiteY1" fmla="*/ 7005 h 288074"/>
              <a:gd name="connsiteX2" fmla="*/ 984 w 933862"/>
              <a:gd name="connsiteY2" fmla="*/ 249099 h 288074"/>
              <a:gd name="connsiteX3" fmla="*/ 931810 w 933862"/>
              <a:gd name="connsiteY3" fmla="*/ 220599 h 288074"/>
              <a:gd name="connsiteX0" fmla="*/ 938599 w 938599"/>
              <a:gd name="connsiteY0" fmla="*/ 0 h 326450"/>
              <a:gd name="connsiteX1" fmla="*/ 23979 w 938599"/>
              <a:gd name="connsiteY1" fmla="*/ 7005 h 326450"/>
              <a:gd name="connsiteX2" fmla="*/ 729 w 938599"/>
              <a:gd name="connsiteY2" fmla="*/ 298705 h 326450"/>
              <a:gd name="connsiteX3" fmla="*/ 936547 w 938599"/>
              <a:gd name="connsiteY3" fmla="*/ 220599 h 326450"/>
              <a:gd name="connsiteX0" fmla="*/ 938662 w 938662"/>
              <a:gd name="connsiteY0" fmla="*/ 0 h 326450"/>
              <a:gd name="connsiteX1" fmla="*/ 22516 w 938662"/>
              <a:gd name="connsiteY1" fmla="*/ 44492 h 326450"/>
              <a:gd name="connsiteX2" fmla="*/ 792 w 938662"/>
              <a:gd name="connsiteY2" fmla="*/ 298705 h 326450"/>
              <a:gd name="connsiteX3" fmla="*/ 936610 w 938662"/>
              <a:gd name="connsiteY3" fmla="*/ 220599 h 326450"/>
              <a:gd name="connsiteX0" fmla="*/ 940714 w 940714"/>
              <a:gd name="connsiteY0" fmla="*/ 0 h 391965"/>
              <a:gd name="connsiteX1" fmla="*/ 24568 w 940714"/>
              <a:gd name="connsiteY1" fmla="*/ 44492 h 391965"/>
              <a:gd name="connsiteX2" fmla="*/ 706 w 940714"/>
              <a:gd name="connsiteY2" fmla="*/ 372869 h 391965"/>
              <a:gd name="connsiteX3" fmla="*/ 938662 w 940714"/>
              <a:gd name="connsiteY3" fmla="*/ 220599 h 391965"/>
              <a:gd name="connsiteX0" fmla="*/ 941051 w 941051"/>
              <a:gd name="connsiteY0" fmla="*/ 24444 h 416409"/>
              <a:gd name="connsiteX1" fmla="*/ 18462 w 941051"/>
              <a:gd name="connsiteY1" fmla="*/ 0 h 416409"/>
              <a:gd name="connsiteX2" fmla="*/ 1043 w 941051"/>
              <a:gd name="connsiteY2" fmla="*/ 397313 h 416409"/>
              <a:gd name="connsiteX3" fmla="*/ 938999 w 941051"/>
              <a:gd name="connsiteY3" fmla="*/ 245043 h 416409"/>
              <a:gd name="connsiteX0" fmla="*/ 941051 w 941051"/>
              <a:gd name="connsiteY0" fmla="*/ 24444 h 431123"/>
              <a:gd name="connsiteX1" fmla="*/ 18462 w 941051"/>
              <a:gd name="connsiteY1" fmla="*/ 0 h 431123"/>
              <a:gd name="connsiteX2" fmla="*/ 1043 w 941051"/>
              <a:gd name="connsiteY2" fmla="*/ 397313 h 431123"/>
              <a:gd name="connsiteX3" fmla="*/ 938999 w 941051"/>
              <a:gd name="connsiteY3" fmla="*/ 245043 h 431123"/>
              <a:gd name="connsiteX0" fmla="*/ 941051 w 941051"/>
              <a:gd name="connsiteY0" fmla="*/ 24444 h 446622"/>
              <a:gd name="connsiteX1" fmla="*/ 18462 w 941051"/>
              <a:gd name="connsiteY1" fmla="*/ 0 h 446622"/>
              <a:gd name="connsiteX2" fmla="*/ 1043 w 941051"/>
              <a:gd name="connsiteY2" fmla="*/ 397313 h 446622"/>
              <a:gd name="connsiteX3" fmla="*/ 938999 w 941051"/>
              <a:gd name="connsiteY3" fmla="*/ 245043 h 446622"/>
              <a:gd name="connsiteX0" fmla="*/ 941051 w 941051"/>
              <a:gd name="connsiteY0" fmla="*/ 24444 h 446622"/>
              <a:gd name="connsiteX1" fmla="*/ 18462 w 941051"/>
              <a:gd name="connsiteY1" fmla="*/ 0 h 446622"/>
              <a:gd name="connsiteX2" fmla="*/ 1043 w 941051"/>
              <a:gd name="connsiteY2" fmla="*/ 397313 h 446622"/>
              <a:gd name="connsiteX3" fmla="*/ 938999 w 941051"/>
              <a:gd name="connsiteY3" fmla="*/ 245043 h 446622"/>
              <a:gd name="connsiteX0" fmla="*/ 941051 w 941051"/>
              <a:gd name="connsiteY0" fmla="*/ 24444 h 446622"/>
              <a:gd name="connsiteX1" fmla="*/ 18462 w 941051"/>
              <a:gd name="connsiteY1" fmla="*/ 0 h 446622"/>
              <a:gd name="connsiteX2" fmla="*/ 1043 w 941051"/>
              <a:gd name="connsiteY2" fmla="*/ 397313 h 446622"/>
              <a:gd name="connsiteX3" fmla="*/ 938999 w 941051"/>
              <a:gd name="connsiteY3" fmla="*/ 245043 h 446622"/>
              <a:gd name="connsiteX0" fmla="*/ 941051 w 941051"/>
              <a:gd name="connsiteY0" fmla="*/ 24444 h 441650"/>
              <a:gd name="connsiteX1" fmla="*/ 18462 w 941051"/>
              <a:gd name="connsiteY1" fmla="*/ 0 h 441650"/>
              <a:gd name="connsiteX2" fmla="*/ 1043 w 941051"/>
              <a:gd name="connsiteY2" fmla="*/ 397313 h 441650"/>
              <a:gd name="connsiteX3" fmla="*/ 938999 w 941051"/>
              <a:gd name="connsiteY3" fmla="*/ 245043 h 441650"/>
              <a:gd name="connsiteX0" fmla="*/ 941051 w 941051"/>
              <a:gd name="connsiteY0" fmla="*/ 24444 h 451425"/>
              <a:gd name="connsiteX1" fmla="*/ 18462 w 941051"/>
              <a:gd name="connsiteY1" fmla="*/ 0 h 451425"/>
              <a:gd name="connsiteX2" fmla="*/ 1043 w 941051"/>
              <a:gd name="connsiteY2" fmla="*/ 397313 h 451425"/>
              <a:gd name="connsiteX3" fmla="*/ 938999 w 941051"/>
              <a:gd name="connsiteY3" fmla="*/ 245043 h 451425"/>
              <a:gd name="connsiteX0" fmla="*/ 18462 w 938999"/>
              <a:gd name="connsiteY0" fmla="*/ 0 h 451425"/>
              <a:gd name="connsiteX1" fmla="*/ 1043 w 938999"/>
              <a:gd name="connsiteY1" fmla="*/ 397313 h 451425"/>
              <a:gd name="connsiteX2" fmla="*/ 938999 w 938999"/>
              <a:gd name="connsiteY2" fmla="*/ 245043 h 451425"/>
              <a:gd name="connsiteX0" fmla="*/ 0 w 937956"/>
              <a:gd name="connsiteY0" fmla="*/ 152270 h 206382"/>
              <a:gd name="connsiteX1" fmla="*/ 937956 w 937956"/>
              <a:gd name="connsiteY1" fmla="*/ 0 h 2063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937956" h="206382">
                <a:moveTo>
                  <a:pt x="0" y="152270"/>
                </a:moveTo>
                <a:cubicBezTo>
                  <a:pt x="264522" y="263871"/>
                  <a:pt x="769431" y="197892"/>
                  <a:pt x="937956" y="0"/>
                </a:cubicBezTo>
              </a:path>
            </a:pathLst>
          </a:custGeom>
          <a:noFill/>
          <a:ln w="12700" cap="flat" cmpd="sng" algn="ctr">
            <a:solidFill>
              <a:srgbClr val="FFFFFF">
                <a:lumMod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55132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10264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65397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220529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775661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330793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85926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441058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smtClean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31" name="Freeform 630"/>
          <p:cNvSpPr/>
          <p:nvPr/>
        </p:nvSpPr>
        <p:spPr bwMode="auto">
          <a:xfrm flipH="1">
            <a:off x="4563284" y="4351081"/>
            <a:ext cx="417956" cy="417956"/>
          </a:xfrm>
          <a:custGeom>
            <a:avLst/>
            <a:gdLst>
              <a:gd name="connsiteX0" fmla="*/ 145865 w 291729"/>
              <a:gd name="connsiteY0" fmla="*/ 114631 h 291729"/>
              <a:gd name="connsiteX1" fmla="*/ 177098 w 291729"/>
              <a:gd name="connsiteY1" fmla="*/ 145864 h 291729"/>
              <a:gd name="connsiteX2" fmla="*/ 145865 w 291729"/>
              <a:gd name="connsiteY2" fmla="*/ 177097 h 291729"/>
              <a:gd name="connsiteX3" fmla="*/ 114632 w 291729"/>
              <a:gd name="connsiteY3" fmla="*/ 145864 h 291729"/>
              <a:gd name="connsiteX4" fmla="*/ 145865 w 291729"/>
              <a:gd name="connsiteY4" fmla="*/ 114631 h 291729"/>
              <a:gd name="connsiteX5" fmla="*/ 145865 w 291729"/>
              <a:gd name="connsiteY5" fmla="*/ 83398 h 291729"/>
              <a:gd name="connsiteX6" fmla="*/ 83398 w 291729"/>
              <a:gd name="connsiteY6" fmla="*/ 145864 h 291729"/>
              <a:gd name="connsiteX7" fmla="*/ 145865 w 291729"/>
              <a:gd name="connsiteY7" fmla="*/ 208331 h 291729"/>
              <a:gd name="connsiteX8" fmla="*/ 208331 w 291729"/>
              <a:gd name="connsiteY8" fmla="*/ 145864 h 291729"/>
              <a:gd name="connsiteX9" fmla="*/ 145865 w 291729"/>
              <a:gd name="connsiteY9" fmla="*/ 83398 h 291729"/>
              <a:gd name="connsiteX10" fmla="*/ 145865 w 291729"/>
              <a:gd name="connsiteY10" fmla="*/ 58818 h 291729"/>
              <a:gd name="connsiteX11" fmla="*/ 232911 w 291729"/>
              <a:gd name="connsiteY11" fmla="*/ 145864 h 291729"/>
              <a:gd name="connsiteX12" fmla="*/ 145865 w 291729"/>
              <a:gd name="connsiteY12" fmla="*/ 232911 h 291729"/>
              <a:gd name="connsiteX13" fmla="*/ 58818 w 291729"/>
              <a:gd name="connsiteY13" fmla="*/ 145864 h 291729"/>
              <a:gd name="connsiteX14" fmla="*/ 145865 w 291729"/>
              <a:gd name="connsiteY14" fmla="*/ 58818 h 291729"/>
              <a:gd name="connsiteX15" fmla="*/ 145865 w 291729"/>
              <a:gd name="connsiteY15" fmla="*/ 0 h 291729"/>
              <a:gd name="connsiteX16" fmla="*/ 124844 w 291729"/>
              <a:gd name="connsiteY16" fmla="*/ 1685 h 291729"/>
              <a:gd name="connsiteX17" fmla="*/ 125016 w 291729"/>
              <a:gd name="connsiteY17" fmla="*/ 2554 h 291729"/>
              <a:gd name="connsiteX18" fmla="*/ 55760 w 291729"/>
              <a:gd name="connsiteY18" fmla="*/ 31305 h 291729"/>
              <a:gd name="connsiteX19" fmla="*/ 28785 w 291729"/>
              <a:gd name="connsiteY19" fmla="*/ 59284 h 291729"/>
              <a:gd name="connsiteX20" fmla="*/ 31207 w 291729"/>
              <a:gd name="connsiteY20" fmla="*/ 61206 h 291729"/>
              <a:gd name="connsiteX21" fmla="*/ 1283 w 291729"/>
              <a:gd name="connsiteY21" fmla="*/ 127090 h 291729"/>
              <a:gd name="connsiteX22" fmla="*/ 0 w 291729"/>
              <a:gd name="connsiteY22" fmla="*/ 145864 h 291729"/>
              <a:gd name="connsiteX23" fmla="*/ 1378 w 291729"/>
              <a:gd name="connsiteY23" fmla="*/ 164875 h 291729"/>
              <a:gd name="connsiteX24" fmla="*/ 29318 w 291729"/>
              <a:gd name="connsiteY24" fmla="*/ 233312 h 291729"/>
              <a:gd name="connsiteX25" fmla="*/ 56959 w 291729"/>
              <a:gd name="connsiteY25" fmla="*/ 261161 h 291729"/>
              <a:gd name="connsiteX26" fmla="*/ 125422 w 291729"/>
              <a:gd name="connsiteY26" fmla="*/ 290164 h 291729"/>
              <a:gd name="connsiteX27" fmla="*/ 145865 w 291729"/>
              <a:gd name="connsiteY27" fmla="*/ 291729 h 291729"/>
              <a:gd name="connsiteX28" fmla="*/ 166715 w 291729"/>
              <a:gd name="connsiteY28" fmla="*/ 290070 h 291729"/>
              <a:gd name="connsiteX29" fmla="*/ 234667 w 291729"/>
              <a:gd name="connsiteY29" fmla="*/ 261398 h 291729"/>
              <a:gd name="connsiteX30" fmla="*/ 262144 w 291729"/>
              <a:gd name="connsiteY30" fmla="*/ 233492 h 291729"/>
              <a:gd name="connsiteX31" fmla="*/ 287596 w 291729"/>
              <a:gd name="connsiteY31" fmla="*/ 164999 h 291729"/>
              <a:gd name="connsiteX32" fmla="*/ 287651 w 291729"/>
              <a:gd name="connsiteY32" fmla="*/ 165012 h 291729"/>
              <a:gd name="connsiteX33" fmla="*/ 290468 w 291729"/>
              <a:gd name="connsiteY33" fmla="*/ 163948 h 291729"/>
              <a:gd name="connsiteX34" fmla="*/ 291729 w 291729"/>
              <a:gd name="connsiteY34" fmla="*/ 145864 h 291729"/>
              <a:gd name="connsiteX35" fmla="*/ 290514 w 291729"/>
              <a:gd name="connsiteY35" fmla="*/ 127921 h 291729"/>
              <a:gd name="connsiteX36" fmla="*/ 262274 w 291729"/>
              <a:gd name="connsiteY36" fmla="*/ 58233 h 291729"/>
              <a:gd name="connsiteX37" fmla="*/ 234365 w 291729"/>
              <a:gd name="connsiteY37" fmla="*/ 30260 h 291729"/>
              <a:gd name="connsiteX38" fmla="*/ 230089 w 291729"/>
              <a:gd name="connsiteY38" fmla="*/ 34887 h 291729"/>
              <a:gd name="connsiteX39" fmla="*/ 166845 w 291729"/>
              <a:gd name="connsiteY39" fmla="*/ 1663 h 291729"/>
              <a:gd name="connsiteX40" fmla="*/ 145865 w 291729"/>
              <a:gd name="connsiteY40" fmla="*/ 0 h 291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291729" h="291729">
                <a:moveTo>
                  <a:pt x="145865" y="114631"/>
                </a:moveTo>
                <a:cubicBezTo>
                  <a:pt x="163114" y="114631"/>
                  <a:pt x="177098" y="128615"/>
                  <a:pt x="177098" y="145864"/>
                </a:cubicBezTo>
                <a:cubicBezTo>
                  <a:pt x="177098" y="163114"/>
                  <a:pt x="163114" y="177097"/>
                  <a:pt x="145865" y="177097"/>
                </a:cubicBezTo>
                <a:cubicBezTo>
                  <a:pt x="128615" y="177097"/>
                  <a:pt x="114632" y="163114"/>
                  <a:pt x="114632" y="145864"/>
                </a:cubicBezTo>
                <a:cubicBezTo>
                  <a:pt x="114632" y="128615"/>
                  <a:pt x="128615" y="114631"/>
                  <a:pt x="145865" y="114631"/>
                </a:cubicBezTo>
                <a:close/>
                <a:moveTo>
                  <a:pt x="145865" y="83398"/>
                </a:moveTo>
                <a:cubicBezTo>
                  <a:pt x="111365" y="83398"/>
                  <a:pt x="83398" y="111365"/>
                  <a:pt x="83398" y="145864"/>
                </a:cubicBezTo>
                <a:cubicBezTo>
                  <a:pt x="83398" y="180364"/>
                  <a:pt x="111365" y="208331"/>
                  <a:pt x="145865" y="208331"/>
                </a:cubicBezTo>
                <a:cubicBezTo>
                  <a:pt x="180364" y="208331"/>
                  <a:pt x="208331" y="180364"/>
                  <a:pt x="208331" y="145864"/>
                </a:cubicBezTo>
                <a:cubicBezTo>
                  <a:pt x="208331" y="111365"/>
                  <a:pt x="180364" y="83398"/>
                  <a:pt x="145865" y="83398"/>
                </a:cubicBezTo>
                <a:close/>
                <a:moveTo>
                  <a:pt x="145865" y="58818"/>
                </a:moveTo>
                <a:cubicBezTo>
                  <a:pt x="193939" y="58818"/>
                  <a:pt x="232911" y="97790"/>
                  <a:pt x="232911" y="145864"/>
                </a:cubicBezTo>
                <a:cubicBezTo>
                  <a:pt x="232911" y="193939"/>
                  <a:pt x="193939" y="232911"/>
                  <a:pt x="145865" y="232911"/>
                </a:cubicBezTo>
                <a:cubicBezTo>
                  <a:pt x="97790" y="232911"/>
                  <a:pt x="58818" y="193939"/>
                  <a:pt x="58818" y="145864"/>
                </a:cubicBezTo>
                <a:cubicBezTo>
                  <a:pt x="58818" y="97790"/>
                  <a:pt x="97790" y="58818"/>
                  <a:pt x="145865" y="58818"/>
                </a:cubicBezTo>
                <a:close/>
                <a:moveTo>
                  <a:pt x="145865" y="0"/>
                </a:moveTo>
                <a:cubicBezTo>
                  <a:pt x="138718" y="0"/>
                  <a:pt x="131691" y="514"/>
                  <a:pt x="124844" y="1685"/>
                </a:cubicBezTo>
                <a:lnTo>
                  <a:pt x="125016" y="2554"/>
                </a:lnTo>
                <a:cubicBezTo>
                  <a:pt x="126690" y="11300"/>
                  <a:pt x="104050" y="61175"/>
                  <a:pt x="55760" y="31305"/>
                </a:cubicBezTo>
                <a:cubicBezTo>
                  <a:pt x="45512" y="39329"/>
                  <a:pt x="36375" y="48701"/>
                  <a:pt x="28785" y="59284"/>
                </a:cubicBezTo>
                <a:lnTo>
                  <a:pt x="31207" y="61206"/>
                </a:lnTo>
                <a:cubicBezTo>
                  <a:pt x="37966" y="66641"/>
                  <a:pt x="52417" y="116734"/>
                  <a:pt x="1283" y="127090"/>
                </a:cubicBezTo>
                <a:cubicBezTo>
                  <a:pt x="408" y="133229"/>
                  <a:pt x="0" y="139499"/>
                  <a:pt x="0" y="145864"/>
                </a:cubicBezTo>
                <a:cubicBezTo>
                  <a:pt x="0" y="152314"/>
                  <a:pt x="419" y="158666"/>
                  <a:pt x="1378" y="164875"/>
                </a:cubicBezTo>
                <a:cubicBezTo>
                  <a:pt x="12732" y="165109"/>
                  <a:pt x="56989" y="187566"/>
                  <a:pt x="29318" y="233312"/>
                </a:cubicBezTo>
                <a:cubicBezTo>
                  <a:pt x="37179" y="243854"/>
                  <a:pt x="46439" y="253286"/>
                  <a:pt x="56959" y="261161"/>
                </a:cubicBezTo>
                <a:cubicBezTo>
                  <a:pt x="67159" y="252829"/>
                  <a:pt x="112090" y="238655"/>
                  <a:pt x="125422" y="290164"/>
                </a:cubicBezTo>
                <a:cubicBezTo>
                  <a:pt x="132088" y="291244"/>
                  <a:pt x="138919" y="291729"/>
                  <a:pt x="145865" y="291729"/>
                </a:cubicBezTo>
                <a:cubicBezTo>
                  <a:pt x="152953" y="291729"/>
                  <a:pt x="159923" y="291224"/>
                  <a:pt x="166715" y="290070"/>
                </a:cubicBezTo>
                <a:cubicBezTo>
                  <a:pt x="166294" y="279586"/>
                  <a:pt x="188582" y="233895"/>
                  <a:pt x="234667" y="261398"/>
                </a:cubicBezTo>
                <a:cubicBezTo>
                  <a:pt x="245092" y="253431"/>
                  <a:pt x="254399" y="244082"/>
                  <a:pt x="262144" y="233492"/>
                </a:cubicBezTo>
                <a:cubicBezTo>
                  <a:pt x="252860" y="220784"/>
                  <a:pt x="240199" y="181279"/>
                  <a:pt x="287596" y="164999"/>
                </a:cubicBezTo>
                <a:lnTo>
                  <a:pt x="287651" y="165012"/>
                </a:lnTo>
                <a:cubicBezTo>
                  <a:pt x="288472" y="164600"/>
                  <a:pt x="289415" y="164241"/>
                  <a:pt x="290468" y="163948"/>
                </a:cubicBezTo>
                <a:cubicBezTo>
                  <a:pt x="291351" y="158037"/>
                  <a:pt x="291729" y="151995"/>
                  <a:pt x="291729" y="145864"/>
                </a:cubicBezTo>
                <a:cubicBezTo>
                  <a:pt x="291729" y="139784"/>
                  <a:pt x="291357" y="133791"/>
                  <a:pt x="290514" y="127921"/>
                </a:cubicBezTo>
                <a:cubicBezTo>
                  <a:pt x="281035" y="129142"/>
                  <a:pt x="232186" y="106341"/>
                  <a:pt x="262274" y="58233"/>
                </a:cubicBezTo>
                <a:cubicBezTo>
                  <a:pt x="254341" y="47629"/>
                  <a:pt x="244990" y="38153"/>
                  <a:pt x="234365" y="30260"/>
                </a:cubicBezTo>
                <a:lnTo>
                  <a:pt x="230089" y="34887"/>
                </a:lnTo>
                <a:cubicBezTo>
                  <a:pt x="224222" y="41153"/>
                  <a:pt x="174163" y="51646"/>
                  <a:pt x="166845" y="1663"/>
                </a:cubicBezTo>
                <a:cubicBezTo>
                  <a:pt x="160010" y="512"/>
                  <a:pt x="152997" y="0"/>
                  <a:pt x="145865" y="0"/>
                </a:cubicBezTo>
                <a:close/>
              </a:path>
            </a:pathLst>
          </a:custGeom>
          <a:solidFill>
            <a:srgbClr val="FFFFFF">
              <a:lumMod val="6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="horz" wrap="square" lIns="91440" tIns="45720" rIns="45720" bIns="9144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55132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10264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65397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220529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775661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330793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85926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441058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09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-50" normalizeH="0" baseline="0" noProof="0" dirty="0" smtClean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65" name="Oval 3"/>
          <p:cNvSpPr/>
          <p:nvPr/>
        </p:nvSpPr>
        <p:spPr>
          <a:xfrm>
            <a:off x="5241797" y="2259629"/>
            <a:ext cx="2484632" cy="1068369"/>
          </a:xfrm>
          <a:custGeom>
            <a:avLst/>
            <a:gdLst/>
            <a:ahLst/>
            <a:cxnLst/>
            <a:rect l="l" t="t" r="r" b="b"/>
            <a:pathLst>
              <a:path w="3526262" h="1620949">
                <a:moveTo>
                  <a:pt x="1905000" y="0"/>
                </a:moveTo>
                <a:cubicBezTo>
                  <a:pt x="2160688" y="0"/>
                  <a:pt x="2383694" y="113064"/>
                  <a:pt x="2499237" y="282370"/>
                </a:cubicBezTo>
                <a:cubicBezTo>
                  <a:pt x="2575283" y="213250"/>
                  <a:pt x="2678425" y="171450"/>
                  <a:pt x="2791830" y="171450"/>
                </a:cubicBezTo>
                <a:cubicBezTo>
                  <a:pt x="3026775" y="171450"/>
                  <a:pt x="3217672" y="350859"/>
                  <a:pt x="3220758" y="573537"/>
                </a:cubicBezTo>
                <a:cubicBezTo>
                  <a:pt x="3397786" y="622453"/>
                  <a:pt x="3526262" y="778390"/>
                  <a:pt x="3526262" y="962874"/>
                </a:cubicBezTo>
                <a:cubicBezTo>
                  <a:pt x="3526262" y="1188608"/>
                  <a:pt x="3333910" y="1371601"/>
                  <a:pt x="3096631" y="1371601"/>
                </a:cubicBezTo>
                <a:cubicBezTo>
                  <a:pt x="3059788" y="1371601"/>
                  <a:pt x="3024029" y="1367189"/>
                  <a:pt x="2990261" y="1357433"/>
                </a:cubicBezTo>
                <a:cubicBezTo>
                  <a:pt x="2927759" y="1511709"/>
                  <a:pt x="2766228" y="1620949"/>
                  <a:pt x="2577016" y="1620949"/>
                </a:cubicBezTo>
                <a:cubicBezTo>
                  <a:pt x="2414017" y="1620949"/>
                  <a:pt x="2271559" y="1539879"/>
                  <a:pt x="2196015" y="1418135"/>
                </a:cubicBezTo>
                <a:cubicBezTo>
                  <a:pt x="2120472" y="1539878"/>
                  <a:pt x="1978014" y="1620948"/>
                  <a:pt x="1815015" y="1620948"/>
                </a:cubicBezTo>
                <a:cubicBezTo>
                  <a:pt x="1656048" y="1620948"/>
                  <a:pt x="1516619" y="1543840"/>
                  <a:pt x="1439398" y="1427276"/>
                </a:cubicBezTo>
                <a:cubicBezTo>
                  <a:pt x="1357285" y="1544659"/>
                  <a:pt x="1220952" y="1620948"/>
                  <a:pt x="1066800" y="1620948"/>
                </a:cubicBezTo>
                <a:cubicBezTo>
                  <a:pt x="870242" y="1620948"/>
                  <a:pt x="702654" y="1496911"/>
                  <a:pt x="639503" y="1322297"/>
                </a:cubicBezTo>
                <a:cubicBezTo>
                  <a:pt x="575919" y="1362710"/>
                  <a:pt x="500200" y="1385558"/>
                  <a:pt x="419100" y="1385558"/>
                </a:cubicBezTo>
                <a:cubicBezTo>
                  <a:pt x="187637" y="1385558"/>
                  <a:pt x="0" y="1199441"/>
                  <a:pt x="0" y="969853"/>
                </a:cubicBezTo>
                <a:cubicBezTo>
                  <a:pt x="0" y="740265"/>
                  <a:pt x="187637" y="554148"/>
                  <a:pt x="419100" y="554148"/>
                </a:cubicBezTo>
                <a:cubicBezTo>
                  <a:pt x="466502" y="554148"/>
                  <a:pt x="512065" y="561954"/>
                  <a:pt x="553956" y="578110"/>
                </a:cubicBezTo>
                <a:cubicBezTo>
                  <a:pt x="607567" y="387831"/>
                  <a:pt x="782911" y="249348"/>
                  <a:pt x="990600" y="249348"/>
                </a:cubicBezTo>
                <a:cubicBezTo>
                  <a:pt x="1096279" y="249348"/>
                  <a:pt x="1193583" y="285202"/>
                  <a:pt x="1269841" y="346915"/>
                </a:cubicBezTo>
                <a:cubicBezTo>
                  <a:pt x="1370673" y="143326"/>
                  <a:pt x="1617122" y="0"/>
                  <a:pt x="1905000" y="0"/>
                </a:cubicBezTo>
                <a:close/>
              </a:path>
            </a:pathLst>
          </a:custGeom>
          <a:solidFill>
            <a:srgbClr val="0072C6"/>
          </a:solidFill>
          <a:ln w="381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55132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10264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65397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220529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775661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330793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85926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441058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3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-25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66" name="Oval 3"/>
          <p:cNvSpPr/>
          <p:nvPr/>
        </p:nvSpPr>
        <p:spPr>
          <a:xfrm>
            <a:off x="4905959" y="2319211"/>
            <a:ext cx="1876143" cy="806724"/>
          </a:xfrm>
          <a:custGeom>
            <a:avLst/>
            <a:gdLst/>
            <a:ahLst/>
            <a:cxnLst/>
            <a:rect l="l" t="t" r="r" b="b"/>
            <a:pathLst>
              <a:path w="3526262" h="1620949">
                <a:moveTo>
                  <a:pt x="1905000" y="0"/>
                </a:moveTo>
                <a:cubicBezTo>
                  <a:pt x="2160688" y="0"/>
                  <a:pt x="2383694" y="113064"/>
                  <a:pt x="2499237" y="282370"/>
                </a:cubicBezTo>
                <a:cubicBezTo>
                  <a:pt x="2575283" y="213250"/>
                  <a:pt x="2678425" y="171450"/>
                  <a:pt x="2791830" y="171450"/>
                </a:cubicBezTo>
                <a:cubicBezTo>
                  <a:pt x="3026775" y="171450"/>
                  <a:pt x="3217672" y="350859"/>
                  <a:pt x="3220758" y="573537"/>
                </a:cubicBezTo>
                <a:cubicBezTo>
                  <a:pt x="3397786" y="622453"/>
                  <a:pt x="3526262" y="778390"/>
                  <a:pt x="3526262" y="962874"/>
                </a:cubicBezTo>
                <a:cubicBezTo>
                  <a:pt x="3526262" y="1188608"/>
                  <a:pt x="3333910" y="1371601"/>
                  <a:pt x="3096631" y="1371601"/>
                </a:cubicBezTo>
                <a:cubicBezTo>
                  <a:pt x="3059788" y="1371601"/>
                  <a:pt x="3024029" y="1367189"/>
                  <a:pt x="2990261" y="1357433"/>
                </a:cubicBezTo>
                <a:cubicBezTo>
                  <a:pt x="2927759" y="1511709"/>
                  <a:pt x="2766228" y="1620949"/>
                  <a:pt x="2577016" y="1620949"/>
                </a:cubicBezTo>
                <a:cubicBezTo>
                  <a:pt x="2414017" y="1620949"/>
                  <a:pt x="2271559" y="1539879"/>
                  <a:pt x="2196015" y="1418135"/>
                </a:cubicBezTo>
                <a:cubicBezTo>
                  <a:pt x="2120472" y="1539878"/>
                  <a:pt x="1978014" y="1620948"/>
                  <a:pt x="1815015" y="1620948"/>
                </a:cubicBezTo>
                <a:cubicBezTo>
                  <a:pt x="1656048" y="1620948"/>
                  <a:pt x="1516619" y="1543840"/>
                  <a:pt x="1439398" y="1427276"/>
                </a:cubicBezTo>
                <a:cubicBezTo>
                  <a:pt x="1357285" y="1544659"/>
                  <a:pt x="1220952" y="1620948"/>
                  <a:pt x="1066800" y="1620948"/>
                </a:cubicBezTo>
                <a:cubicBezTo>
                  <a:pt x="870242" y="1620948"/>
                  <a:pt x="702654" y="1496911"/>
                  <a:pt x="639503" y="1322297"/>
                </a:cubicBezTo>
                <a:cubicBezTo>
                  <a:pt x="575919" y="1362710"/>
                  <a:pt x="500200" y="1385558"/>
                  <a:pt x="419100" y="1385558"/>
                </a:cubicBezTo>
                <a:cubicBezTo>
                  <a:pt x="187637" y="1385558"/>
                  <a:pt x="0" y="1199441"/>
                  <a:pt x="0" y="969853"/>
                </a:cubicBezTo>
                <a:cubicBezTo>
                  <a:pt x="0" y="740265"/>
                  <a:pt x="187637" y="554148"/>
                  <a:pt x="419100" y="554148"/>
                </a:cubicBezTo>
                <a:cubicBezTo>
                  <a:pt x="466502" y="554148"/>
                  <a:pt x="512065" y="561954"/>
                  <a:pt x="553956" y="578110"/>
                </a:cubicBezTo>
                <a:cubicBezTo>
                  <a:pt x="607567" y="387831"/>
                  <a:pt x="782911" y="249348"/>
                  <a:pt x="990600" y="249348"/>
                </a:cubicBezTo>
                <a:cubicBezTo>
                  <a:pt x="1096279" y="249348"/>
                  <a:pt x="1193583" y="285202"/>
                  <a:pt x="1269841" y="346915"/>
                </a:cubicBezTo>
                <a:cubicBezTo>
                  <a:pt x="1370673" y="143326"/>
                  <a:pt x="1617122" y="0"/>
                  <a:pt x="1905000" y="0"/>
                </a:cubicBezTo>
                <a:close/>
              </a:path>
            </a:pathLst>
          </a:custGeom>
          <a:solidFill>
            <a:srgbClr val="0072C6"/>
          </a:solidFill>
          <a:ln w="381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55132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10264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65397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220529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775661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330793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85926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441058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3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-25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567" name="Group 566"/>
          <p:cNvGrpSpPr/>
          <p:nvPr/>
        </p:nvGrpSpPr>
        <p:grpSpPr>
          <a:xfrm>
            <a:off x="5180334" y="1802230"/>
            <a:ext cx="1836495" cy="1418104"/>
            <a:chOff x="8236464" y="969127"/>
            <a:chExt cx="2348136" cy="1813183"/>
          </a:xfrm>
        </p:grpSpPr>
        <p:grpSp>
          <p:nvGrpSpPr>
            <p:cNvPr id="648" name="Group 647"/>
            <p:cNvGrpSpPr/>
            <p:nvPr/>
          </p:nvGrpSpPr>
          <p:grpSpPr>
            <a:xfrm>
              <a:off x="9876941" y="1194914"/>
              <a:ext cx="707659" cy="1587396"/>
              <a:chOff x="4717311" y="310701"/>
              <a:chExt cx="997472" cy="2237494"/>
            </a:xfrm>
          </p:grpSpPr>
          <p:sp>
            <p:nvSpPr>
              <p:cNvPr id="775" name="Rectangle 774"/>
              <p:cNvSpPr/>
              <p:nvPr/>
            </p:nvSpPr>
            <p:spPr bwMode="auto">
              <a:xfrm>
                <a:off x="4717311" y="310701"/>
                <a:ext cx="997472" cy="2237494"/>
              </a:xfrm>
              <a:prstGeom prst="rect">
                <a:avLst/>
              </a:prstGeom>
              <a:solidFill>
                <a:srgbClr val="FF8C00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-2500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76" name="Rectangle 775"/>
              <p:cNvSpPr/>
              <p:nvPr/>
            </p:nvSpPr>
            <p:spPr bwMode="auto">
              <a:xfrm>
                <a:off x="4798357" y="388761"/>
                <a:ext cx="835381" cy="1996918"/>
              </a:xfrm>
              <a:prstGeom prst="rect">
                <a:avLst/>
              </a:prstGeom>
              <a:solidFill>
                <a:srgbClr val="FFFFFF">
                  <a:lumMod val="75000"/>
                </a:srgb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-2500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777" name="Group 776"/>
              <p:cNvGrpSpPr/>
              <p:nvPr/>
            </p:nvGrpSpPr>
            <p:grpSpPr>
              <a:xfrm>
                <a:off x="4838974" y="429271"/>
                <a:ext cx="754147" cy="274179"/>
                <a:chOff x="4838974" y="429271"/>
                <a:chExt cx="754147" cy="274179"/>
              </a:xfrm>
            </p:grpSpPr>
            <p:sp>
              <p:nvSpPr>
                <p:cNvPr id="828" name="Rectangle 827"/>
                <p:cNvSpPr/>
                <p:nvPr/>
              </p:nvSpPr>
              <p:spPr bwMode="auto">
                <a:xfrm>
                  <a:off x="4838974" y="429271"/>
                  <a:ext cx="754147" cy="274179"/>
                </a:xfrm>
                <a:prstGeom prst="rect">
                  <a:avLst/>
                </a:prstGeom>
                <a:solidFill>
                  <a:srgbClr val="FFFFFF">
                    <a:lumMod val="95000"/>
                  </a:srgbClr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-2500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grpSp>
              <p:nvGrpSpPr>
                <p:cNvPr id="829" name="Group 828"/>
                <p:cNvGrpSpPr/>
                <p:nvPr/>
              </p:nvGrpSpPr>
              <p:grpSpPr>
                <a:xfrm>
                  <a:off x="4870868" y="464463"/>
                  <a:ext cx="345154" cy="203795"/>
                  <a:chOff x="5878465" y="462955"/>
                  <a:chExt cx="495026" cy="274179"/>
                </a:xfrm>
              </p:grpSpPr>
              <p:sp>
                <p:nvSpPr>
                  <p:cNvPr id="831" name="Rectangle 830"/>
                  <p:cNvSpPr/>
                  <p:nvPr/>
                </p:nvSpPr>
                <p:spPr bwMode="auto">
                  <a:xfrm>
                    <a:off x="587846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832" name="Rectangle 831"/>
                  <p:cNvSpPr/>
                  <p:nvPr/>
                </p:nvSpPr>
                <p:spPr bwMode="auto">
                  <a:xfrm>
                    <a:off x="596482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833" name="Rectangle 832"/>
                  <p:cNvSpPr/>
                  <p:nvPr/>
                </p:nvSpPr>
                <p:spPr bwMode="auto">
                  <a:xfrm>
                    <a:off x="605118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834" name="Rectangle 833"/>
                  <p:cNvSpPr/>
                  <p:nvPr/>
                </p:nvSpPr>
                <p:spPr bwMode="auto">
                  <a:xfrm>
                    <a:off x="613754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835" name="Rectangle 834"/>
                  <p:cNvSpPr/>
                  <p:nvPr/>
                </p:nvSpPr>
                <p:spPr bwMode="auto">
                  <a:xfrm>
                    <a:off x="622390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836" name="Rectangle 835"/>
                  <p:cNvSpPr/>
                  <p:nvPr/>
                </p:nvSpPr>
                <p:spPr bwMode="auto">
                  <a:xfrm>
                    <a:off x="631026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</p:grpSp>
            <p:sp>
              <p:nvSpPr>
                <p:cNvPr id="830" name="Oval 829"/>
                <p:cNvSpPr/>
                <p:nvPr/>
              </p:nvSpPr>
              <p:spPr bwMode="auto">
                <a:xfrm>
                  <a:off x="5429250" y="512385"/>
                  <a:ext cx="107950" cy="107950"/>
                </a:xfrm>
                <a:prstGeom prst="ellipse">
                  <a:avLst/>
                </a:prstGeom>
                <a:solidFill>
                  <a:srgbClr val="00B050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-2500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grpSp>
            <p:nvGrpSpPr>
              <p:cNvPr id="778" name="Group 777"/>
              <p:cNvGrpSpPr/>
              <p:nvPr/>
            </p:nvGrpSpPr>
            <p:grpSpPr>
              <a:xfrm>
                <a:off x="4838974" y="735274"/>
                <a:ext cx="754147" cy="274179"/>
                <a:chOff x="4838974" y="429271"/>
                <a:chExt cx="754147" cy="274179"/>
              </a:xfrm>
            </p:grpSpPr>
            <p:sp>
              <p:nvSpPr>
                <p:cNvPr id="819" name="Rectangle 818"/>
                <p:cNvSpPr/>
                <p:nvPr/>
              </p:nvSpPr>
              <p:spPr bwMode="auto">
                <a:xfrm>
                  <a:off x="4838974" y="429271"/>
                  <a:ext cx="754147" cy="274179"/>
                </a:xfrm>
                <a:prstGeom prst="rect">
                  <a:avLst/>
                </a:prstGeom>
                <a:solidFill>
                  <a:srgbClr val="FFFFFF">
                    <a:lumMod val="95000"/>
                  </a:srgbClr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-2500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grpSp>
              <p:nvGrpSpPr>
                <p:cNvPr id="820" name="Group 819"/>
                <p:cNvGrpSpPr/>
                <p:nvPr/>
              </p:nvGrpSpPr>
              <p:grpSpPr>
                <a:xfrm>
                  <a:off x="4870868" y="464463"/>
                  <a:ext cx="345154" cy="203795"/>
                  <a:chOff x="5878465" y="462955"/>
                  <a:chExt cx="495026" cy="274179"/>
                </a:xfrm>
              </p:grpSpPr>
              <p:sp>
                <p:nvSpPr>
                  <p:cNvPr id="822" name="Rectangle 821"/>
                  <p:cNvSpPr/>
                  <p:nvPr/>
                </p:nvSpPr>
                <p:spPr bwMode="auto">
                  <a:xfrm>
                    <a:off x="587846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823" name="Rectangle 822"/>
                  <p:cNvSpPr/>
                  <p:nvPr/>
                </p:nvSpPr>
                <p:spPr bwMode="auto">
                  <a:xfrm>
                    <a:off x="596482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824" name="Rectangle 823"/>
                  <p:cNvSpPr/>
                  <p:nvPr/>
                </p:nvSpPr>
                <p:spPr bwMode="auto">
                  <a:xfrm>
                    <a:off x="605118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825" name="Rectangle 824"/>
                  <p:cNvSpPr/>
                  <p:nvPr/>
                </p:nvSpPr>
                <p:spPr bwMode="auto">
                  <a:xfrm>
                    <a:off x="613754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826" name="Rectangle 825"/>
                  <p:cNvSpPr/>
                  <p:nvPr/>
                </p:nvSpPr>
                <p:spPr bwMode="auto">
                  <a:xfrm>
                    <a:off x="622390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827" name="Rectangle 826"/>
                  <p:cNvSpPr/>
                  <p:nvPr/>
                </p:nvSpPr>
                <p:spPr bwMode="auto">
                  <a:xfrm>
                    <a:off x="631026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</p:grpSp>
            <p:sp>
              <p:nvSpPr>
                <p:cNvPr id="821" name="Oval 820"/>
                <p:cNvSpPr/>
                <p:nvPr/>
              </p:nvSpPr>
              <p:spPr bwMode="auto">
                <a:xfrm>
                  <a:off x="5429250" y="512385"/>
                  <a:ext cx="107950" cy="107950"/>
                </a:xfrm>
                <a:prstGeom prst="ellipse">
                  <a:avLst/>
                </a:prstGeom>
                <a:solidFill>
                  <a:srgbClr val="00B050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-2500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grpSp>
            <p:nvGrpSpPr>
              <p:cNvPr id="779" name="Group 778"/>
              <p:cNvGrpSpPr/>
              <p:nvPr/>
            </p:nvGrpSpPr>
            <p:grpSpPr>
              <a:xfrm>
                <a:off x="4838974" y="1041277"/>
                <a:ext cx="754147" cy="274179"/>
                <a:chOff x="4838974" y="429271"/>
                <a:chExt cx="754147" cy="274179"/>
              </a:xfrm>
            </p:grpSpPr>
            <p:sp>
              <p:nvSpPr>
                <p:cNvPr id="810" name="Rectangle 809"/>
                <p:cNvSpPr/>
                <p:nvPr/>
              </p:nvSpPr>
              <p:spPr bwMode="auto">
                <a:xfrm>
                  <a:off x="4838974" y="429271"/>
                  <a:ext cx="754147" cy="274179"/>
                </a:xfrm>
                <a:prstGeom prst="rect">
                  <a:avLst/>
                </a:prstGeom>
                <a:solidFill>
                  <a:srgbClr val="FFFFFF">
                    <a:lumMod val="95000"/>
                  </a:srgbClr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-2500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grpSp>
              <p:nvGrpSpPr>
                <p:cNvPr id="811" name="Group 810"/>
                <p:cNvGrpSpPr/>
                <p:nvPr/>
              </p:nvGrpSpPr>
              <p:grpSpPr>
                <a:xfrm>
                  <a:off x="4870868" y="464463"/>
                  <a:ext cx="345154" cy="203795"/>
                  <a:chOff x="5878465" y="462955"/>
                  <a:chExt cx="495026" cy="274179"/>
                </a:xfrm>
              </p:grpSpPr>
              <p:sp>
                <p:nvSpPr>
                  <p:cNvPr id="813" name="Rectangle 812"/>
                  <p:cNvSpPr/>
                  <p:nvPr/>
                </p:nvSpPr>
                <p:spPr bwMode="auto">
                  <a:xfrm>
                    <a:off x="587846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814" name="Rectangle 813"/>
                  <p:cNvSpPr/>
                  <p:nvPr/>
                </p:nvSpPr>
                <p:spPr bwMode="auto">
                  <a:xfrm>
                    <a:off x="596482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815" name="Rectangle 814"/>
                  <p:cNvSpPr/>
                  <p:nvPr/>
                </p:nvSpPr>
                <p:spPr bwMode="auto">
                  <a:xfrm>
                    <a:off x="605118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816" name="Rectangle 815"/>
                  <p:cNvSpPr/>
                  <p:nvPr/>
                </p:nvSpPr>
                <p:spPr bwMode="auto">
                  <a:xfrm>
                    <a:off x="613754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817" name="Rectangle 816"/>
                  <p:cNvSpPr/>
                  <p:nvPr/>
                </p:nvSpPr>
                <p:spPr bwMode="auto">
                  <a:xfrm>
                    <a:off x="622390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818" name="Rectangle 817"/>
                  <p:cNvSpPr/>
                  <p:nvPr/>
                </p:nvSpPr>
                <p:spPr bwMode="auto">
                  <a:xfrm>
                    <a:off x="631026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</p:grpSp>
            <p:sp>
              <p:nvSpPr>
                <p:cNvPr id="812" name="Oval 811"/>
                <p:cNvSpPr/>
                <p:nvPr/>
              </p:nvSpPr>
              <p:spPr bwMode="auto">
                <a:xfrm>
                  <a:off x="5429250" y="512385"/>
                  <a:ext cx="107950" cy="107950"/>
                </a:xfrm>
                <a:prstGeom prst="ellipse">
                  <a:avLst/>
                </a:prstGeom>
                <a:solidFill>
                  <a:srgbClr val="00B050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-2500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grpSp>
            <p:nvGrpSpPr>
              <p:cNvPr id="780" name="Group 779"/>
              <p:cNvGrpSpPr/>
              <p:nvPr/>
            </p:nvGrpSpPr>
            <p:grpSpPr>
              <a:xfrm>
                <a:off x="4838974" y="1347280"/>
                <a:ext cx="754147" cy="274179"/>
                <a:chOff x="4838974" y="429271"/>
                <a:chExt cx="754147" cy="274179"/>
              </a:xfrm>
            </p:grpSpPr>
            <p:sp>
              <p:nvSpPr>
                <p:cNvPr id="801" name="Rectangle 800"/>
                <p:cNvSpPr/>
                <p:nvPr/>
              </p:nvSpPr>
              <p:spPr bwMode="auto">
                <a:xfrm>
                  <a:off x="4838974" y="429271"/>
                  <a:ext cx="754147" cy="274179"/>
                </a:xfrm>
                <a:prstGeom prst="rect">
                  <a:avLst/>
                </a:prstGeom>
                <a:solidFill>
                  <a:srgbClr val="FFFFFF">
                    <a:lumMod val="95000"/>
                  </a:srgbClr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-2500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grpSp>
              <p:nvGrpSpPr>
                <p:cNvPr id="802" name="Group 801"/>
                <p:cNvGrpSpPr/>
                <p:nvPr/>
              </p:nvGrpSpPr>
              <p:grpSpPr>
                <a:xfrm>
                  <a:off x="4870868" y="464463"/>
                  <a:ext cx="345154" cy="203795"/>
                  <a:chOff x="5878465" y="462955"/>
                  <a:chExt cx="495026" cy="274179"/>
                </a:xfrm>
              </p:grpSpPr>
              <p:sp>
                <p:nvSpPr>
                  <p:cNvPr id="804" name="Rectangle 803"/>
                  <p:cNvSpPr/>
                  <p:nvPr/>
                </p:nvSpPr>
                <p:spPr bwMode="auto">
                  <a:xfrm>
                    <a:off x="587846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805" name="Rectangle 804"/>
                  <p:cNvSpPr/>
                  <p:nvPr/>
                </p:nvSpPr>
                <p:spPr bwMode="auto">
                  <a:xfrm>
                    <a:off x="596482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806" name="Rectangle 805"/>
                  <p:cNvSpPr/>
                  <p:nvPr/>
                </p:nvSpPr>
                <p:spPr bwMode="auto">
                  <a:xfrm>
                    <a:off x="605118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807" name="Rectangle 806"/>
                  <p:cNvSpPr/>
                  <p:nvPr/>
                </p:nvSpPr>
                <p:spPr bwMode="auto">
                  <a:xfrm>
                    <a:off x="613754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808" name="Rectangle 807"/>
                  <p:cNvSpPr/>
                  <p:nvPr/>
                </p:nvSpPr>
                <p:spPr bwMode="auto">
                  <a:xfrm>
                    <a:off x="622390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809" name="Rectangle 808"/>
                  <p:cNvSpPr/>
                  <p:nvPr/>
                </p:nvSpPr>
                <p:spPr bwMode="auto">
                  <a:xfrm>
                    <a:off x="631026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</p:grpSp>
            <p:sp>
              <p:nvSpPr>
                <p:cNvPr id="803" name="Oval 802"/>
                <p:cNvSpPr/>
                <p:nvPr/>
              </p:nvSpPr>
              <p:spPr bwMode="auto">
                <a:xfrm>
                  <a:off x="5429250" y="512385"/>
                  <a:ext cx="107950" cy="107950"/>
                </a:xfrm>
                <a:prstGeom prst="ellipse">
                  <a:avLst/>
                </a:prstGeom>
                <a:solidFill>
                  <a:srgbClr val="00B050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-2500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grpSp>
            <p:nvGrpSpPr>
              <p:cNvPr id="781" name="Group 780"/>
              <p:cNvGrpSpPr/>
              <p:nvPr/>
            </p:nvGrpSpPr>
            <p:grpSpPr>
              <a:xfrm>
                <a:off x="4838974" y="1653283"/>
                <a:ext cx="754147" cy="274179"/>
                <a:chOff x="4838974" y="429271"/>
                <a:chExt cx="754147" cy="274179"/>
              </a:xfrm>
            </p:grpSpPr>
            <p:sp>
              <p:nvSpPr>
                <p:cNvPr id="792" name="Rectangle 791"/>
                <p:cNvSpPr/>
                <p:nvPr/>
              </p:nvSpPr>
              <p:spPr bwMode="auto">
                <a:xfrm>
                  <a:off x="4838974" y="429271"/>
                  <a:ext cx="754147" cy="274179"/>
                </a:xfrm>
                <a:prstGeom prst="rect">
                  <a:avLst/>
                </a:prstGeom>
                <a:solidFill>
                  <a:srgbClr val="FFFFFF">
                    <a:lumMod val="95000"/>
                  </a:srgbClr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-2500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grpSp>
              <p:nvGrpSpPr>
                <p:cNvPr id="793" name="Group 792"/>
                <p:cNvGrpSpPr/>
                <p:nvPr/>
              </p:nvGrpSpPr>
              <p:grpSpPr>
                <a:xfrm>
                  <a:off x="4870868" y="464463"/>
                  <a:ext cx="345154" cy="203795"/>
                  <a:chOff x="5878465" y="462955"/>
                  <a:chExt cx="495026" cy="274179"/>
                </a:xfrm>
              </p:grpSpPr>
              <p:sp>
                <p:nvSpPr>
                  <p:cNvPr id="795" name="Rectangle 794"/>
                  <p:cNvSpPr/>
                  <p:nvPr/>
                </p:nvSpPr>
                <p:spPr bwMode="auto">
                  <a:xfrm>
                    <a:off x="587846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796" name="Rectangle 795"/>
                  <p:cNvSpPr/>
                  <p:nvPr/>
                </p:nvSpPr>
                <p:spPr bwMode="auto">
                  <a:xfrm>
                    <a:off x="596482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797" name="Rectangle 796"/>
                  <p:cNvSpPr/>
                  <p:nvPr/>
                </p:nvSpPr>
                <p:spPr bwMode="auto">
                  <a:xfrm>
                    <a:off x="605118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798" name="Rectangle 797"/>
                  <p:cNvSpPr/>
                  <p:nvPr/>
                </p:nvSpPr>
                <p:spPr bwMode="auto">
                  <a:xfrm>
                    <a:off x="613754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799" name="Rectangle 798"/>
                  <p:cNvSpPr/>
                  <p:nvPr/>
                </p:nvSpPr>
                <p:spPr bwMode="auto">
                  <a:xfrm>
                    <a:off x="622390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800" name="Rectangle 799"/>
                  <p:cNvSpPr/>
                  <p:nvPr/>
                </p:nvSpPr>
                <p:spPr bwMode="auto">
                  <a:xfrm>
                    <a:off x="631026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</p:grpSp>
            <p:sp>
              <p:nvSpPr>
                <p:cNvPr id="794" name="Oval 793"/>
                <p:cNvSpPr/>
                <p:nvPr/>
              </p:nvSpPr>
              <p:spPr bwMode="auto">
                <a:xfrm>
                  <a:off x="5429250" y="512385"/>
                  <a:ext cx="107950" cy="107950"/>
                </a:xfrm>
                <a:prstGeom prst="ellipse">
                  <a:avLst/>
                </a:prstGeom>
                <a:solidFill>
                  <a:srgbClr val="00B050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-2500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grpSp>
            <p:nvGrpSpPr>
              <p:cNvPr id="782" name="Group 781"/>
              <p:cNvGrpSpPr/>
              <p:nvPr/>
            </p:nvGrpSpPr>
            <p:grpSpPr>
              <a:xfrm>
                <a:off x="4838974" y="1959287"/>
                <a:ext cx="754147" cy="274179"/>
                <a:chOff x="4838974" y="429271"/>
                <a:chExt cx="754147" cy="274179"/>
              </a:xfrm>
            </p:grpSpPr>
            <p:sp>
              <p:nvSpPr>
                <p:cNvPr id="783" name="Rectangle 782"/>
                <p:cNvSpPr/>
                <p:nvPr/>
              </p:nvSpPr>
              <p:spPr bwMode="auto">
                <a:xfrm>
                  <a:off x="4838974" y="429271"/>
                  <a:ext cx="754147" cy="274179"/>
                </a:xfrm>
                <a:prstGeom prst="rect">
                  <a:avLst/>
                </a:prstGeom>
                <a:solidFill>
                  <a:srgbClr val="FFFFFF">
                    <a:lumMod val="95000"/>
                  </a:srgbClr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-2500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grpSp>
              <p:nvGrpSpPr>
                <p:cNvPr id="784" name="Group 783"/>
                <p:cNvGrpSpPr/>
                <p:nvPr/>
              </p:nvGrpSpPr>
              <p:grpSpPr>
                <a:xfrm>
                  <a:off x="4870868" y="464463"/>
                  <a:ext cx="345154" cy="203795"/>
                  <a:chOff x="5878465" y="462955"/>
                  <a:chExt cx="495026" cy="274179"/>
                </a:xfrm>
              </p:grpSpPr>
              <p:sp>
                <p:nvSpPr>
                  <p:cNvPr id="786" name="Rectangle 785"/>
                  <p:cNvSpPr/>
                  <p:nvPr/>
                </p:nvSpPr>
                <p:spPr bwMode="auto">
                  <a:xfrm>
                    <a:off x="587846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787" name="Rectangle 786"/>
                  <p:cNvSpPr/>
                  <p:nvPr/>
                </p:nvSpPr>
                <p:spPr bwMode="auto">
                  <a:xfrm>
                    <a:off x="596482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788" name="Rectangle 787"/>
                  <p:cNvSpPr/>
                  <p:nvPr/>
                </p:nvSpPr>
                <p:spPr bwMode="auto">
                  <a:xfrm>
                    <a:off x="605118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789" name="Rectangle 788"/>
                  <p:cNvSpPr/>
                  <p:nvPr/>
                </p:nvSpPr>
                <p:spPr bwMode="auto">
                  <a:xfrm>
                    <a:off x="613754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790" name="Rectangle 789"/>
                  <p:cNvSpPr/>
                  <p:nvPr/>
                </p:nvSpPr>
                <p:spPr bwMode="auto">
                  <a:xfrm>
                    <a:off x="622390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791" name="Rectangle 790"/>
                  <p:cNvSpPr/>
                  <p:nvPr/>
                </p:nvSpPr>
                <p:spPr bwMode="auto">
                  <a:xfrm>
                    <a:off x="631026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</p:grpSp>
            <p:sp>
              <p:nvSpPr>
                <p:cNvPr id="785" name="Oval 784"/>
                <p:cNvSpPr/>
                <p:nvPr/>
              </p:nvSpPr>
              <p:spPr bwMode="auto">
                <a:xfrm>
                  <a:off x="5429250" y="512385"/>
                  <a:ext cx="107950" cy="107950"/>
                </a:xfrm>
                <a:prstGeom prst="ellipse">
                  <a:avLst/>
                </a:prstGeom>
                <a:solidFill>
                  <a:srgbClr val="00B050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-2500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</p:grpSp>
        <p:grpSp>
          <p:nvGrpSpPr>
            <p:cNvPr id="649" name="Group 648"/>
            <p:cNvGrpSpPr/>
            <p:nvPr/>
          </p:nvGrpSpPr>
          <p:grpSpPr>
            <a:xfrm>
              <a:off x="9006374" y="969127"/>
              <a:ext cx="808315" cy="1813183"/>
              <a:chOff x="4717311" y="310701"/>
              <a:chExt cx="997472" cy="2237494"/>
            </a:xfrm>
          </p:grpSpPr>
          <p:sp>
            <p:nvSpPr>
              <p:cNvPr id="713" name="Rectangle 712"/>
              <p:cNvSpPr/>
              <p:nvPr/>
            </p:nvSpPr>
            <p:spPr bwMode="auto">
              <a:xfrm>
                <a:off x="4717311" y="310701"/>
                <a:ext cx="997472" cy="2237494"/>
              </a:xfrm>
              <a:prstGeom prst="rect">
                <a:avLst/>
              </a:prstGeom>
              <a:solidFill>
                <a:srgbClr val="DC3C00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-2500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14" name="Rectangle 713"/>
              <p:cNvSpPr/>
              <p:nvPr/>
            </p:nvSpPr>
            <p:spPr bwMode="auto">
              <a:xfrm>
                <a:off x="4798357" y="388761"/>
                <a:ext cx="835381" cy="1996918"/>
              </a:xfrm>
              <a:prstGeom prst="rect">
                <a:avLst/>
              </a:prstGeom>
              <a:solidFill>
                <a:srgbClr val="FFFFFF">
                  <a:lumMod val="75000"/>
                </a:srgb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-2500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715" name="Group 714"/>
              <p:cNvGrpSpPr/>
              <p:nvPr/>
            </p:nvGrpSpPr>
            <p:grpSpPr>
              <a:xfrm>
                <a:off x="4838974" y="429271"/>
                <a:ext cx="754147" cy="274179"/>
                <a:chOff x="4838974" y="429271"/>
                <a:chExt cx="754147" cy="274179"/>
              </a:xfrm>
            </p:grpSpPr>
            <p:sp>
              <p:nvSpPr>
                <p:cNvPr id="766" name="Rectangle 765"/>
                <p:cNvSpPr/>
                <p:nvPr/>
              </p:nvSpPr>
              <p:spPr bwMode="auto">
                <a:xfrm>
                  <a:off x="4838974" y="429271"/>
                  <a:ext cx="754147" cy="274179"/>
                </a:xfrm>
                <a:prstGeom prst="rect">
                  <a:avLst/>
                </a:prstGeom>
                <a:solidFill>
                  <a:srgbClr val="FFFFFF">
                    <a:lumMod val="95000"/>
                  </a:srgbClr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-2500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grpSp>
              <p:nvGrpSpPr>
                <p:cNvPr id="767" name="Group 766"/>
                <p:cNvGrpSpPr/>
                <p:nvPr/>
              </p:nvGrpSpPr>
              <p:grpSpPr>
                <a:xfrm>
                  <a:off x="4870868" y="464463"/>
                  <a:ext cx="345154" cy="203795"/>
                  <a:chOff x="5878465" y="462955"/>
                  <a:chExt cx="495026" cy="274179"/>
                </a:xfrm>
              </p:grpSpPr>
              <p:sp>
                <p:nvSpPr>
                  <p:cNvPr id="769" name="Rectangle 768"/>
                  <p:cNvSpPr/>
                  <p:nvPr/>
                </p:nvSpPr>
                <p:spPr bwMode="auto">
                  <a:xfrm>
                    <a:off x="587846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770" name="Rectangle 769"/>
                  <p:cNvSpPr/>
                  <p:nvPr/>
                </p:nvSpPr>
                <p:spPr bwMode="auto">
                  <a:xfrm>
                    <a:off x="596482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771" name="Rectangle 770"/>
                  <p:cNvSpPr/>
                  <p:nvPr/>
                </p:nvSpPr>
                <p:spPr bwMode="auto">
                  <a:xfrm>
                    <a:off x="605118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772" name="Rectangle 771"/>
                  <p:cNvSpPr/>
                  <p:nvPr/>
                </p:nvSpPr>
                <p:spPr bwMode="auto">
                  <a:xfrm>
                    <a:off x="613754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773" name="Rectangle 772"/>
                  <p:cNvSpPr/>
                  <p:nvPr/>
                </p:nvSpPr>
                <p:spPr bwMode="auto">
                  <a:xfrm>
                    <a:off x="622390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774" name="Rectangle 773"/>
                  <p:cNvSpPr/>
                  <p:nvPr/>
                </p:nvSpPr>
                <p:spPr bwMode="auto">
                  <a:xfrm>
                    <a:off x="631026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</p:grpSp>
            <p:sp>
              <p:nvSpPr>
                <p:cNvPr id="768" name="Oval 767"/>
                <p:cNvSpPr/>
                <p:nvPr/>
              </p:nvSpPr>
              <p:spPr bwMode="auto">
                <a:xfrm>
                  <a:off x="5429250" y="512385"/>
                  <a:ext cx="107950" cy="107950"/>
                </a:xfrm>
                <a:prstGeom prst="ellipse">
                  <a:avLst/>
                </a:prstGeom>
                <a:solidFill>
                  <a:srgbClr val="00B050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-2500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grpSp>
            <p:nvGrpSpPr>
              <p:cNvPr id="716" name="Group 715"/>
              <p:cNvGrpSpPr/>
              <p:nvPr/>
            </p:nvGrpSpPr>
            <p:grpSpPr>
              <a:xfrm>
                <a:off x="4838974" y="735274"/>
                <a:ext cx="754147" cy="274179"/>
                <a:chOff x="4838974" y="429271"/>
                <a:chExt cx="754147" cy="274179"/>
              </a:xfrm>
            </p:grpSpPr>
            <p:sp>
              <p:nvSpPr>
                <p:cNvPr id="757" name="Rectangle 756"/>
                <p:cNvSpPr/>
                <p:nvPr/>
              </p:nvSpPr>
              <p:spPr bwMode="auto">
                <a:xfrm>
                  <a:off x="4838974" y="429271"/>
                  <a:ext cx="754147" cy="274179"/>
                </a:xfrm>
                <a:prstGeom prst="rect">
                  <a:avLst/>
                </a:prstGeom>
                <a:solidFill>
                  <a:srgbClr val="FFFFFF">
                    <a:lumMod val="95000"/>
                  </a:srgbClr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-2500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grpSp>
              <p:nvGrpSpPr>
                <p:cNvPr id="758" name="Group 757"/>
                <p:cNvGrpSpPr/>
                <p:nvPr/>
              </p:nvGrpSpPr>
              <p:grpSpPr>
                <a:xfrm>
                  <a:off x="4870868" y="464463"/>
                  <a:ext cx="345154" cy="203795"/>
                  <a:chOff x="5878465" y="462955"/>
                  <a:chExt cx="495026" cy="274179"/>
                </a:xfrm>
              </p:grpSpPr>
              <p:sp>
                <p:nvSpPr>
                  <p:cNvPr id="760" name="Rectangle 759"/>
                  <p:cNvSpPr/>
                  <p:nvPr/>
                </p:nvSpPr>
                <p:spPr bwMode="auto">
                  <a:xfrm>
                    <a:off x="587846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761" name="Rectangle 760"/>
                  <p:cNvSpPr/>
                  <p:nvPr/>
                </p:nvSpPr>
                <p:spPr bwMode="auto">
                  <a:xfrm>
                    <a:off x="596482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762" name="Rectangle 761"/>
                  <p:cNvSpPr/>
                  <p:nvPr/>
                </p:nvSpPr>
                <p:spPr bwMode="auto">
                  <a:xfrm>
                    <a:off x="605118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763" name="Rectangle 762"/>
                  <p:cNvSpPr/>
                  <p:nvPr/>
                </p:nvSpPr>
                <p:spPr bwMode="auto">
                  <a:xfrm>
                    <a:off x="613754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764" name="Rectangle 763"/>
                  <p:cNvSpPr/>
                  <p:nvPr/>
                </p:nvSpPr>
                <p:spPr bwMode="auto">
                  <a:xfrm>
                    <a:off x="622390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765" name="Rectangle 764"/>
                  <p:cNvSpPr/>
                  <p:nvPr/>
                </p:nvSpPr>
                <p:spPr bwMode="auto">
                  <a:xfrm>
                    <a:off x="631026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</p:grpSp>
            <p:sp>
              <p:nvSpPr>
                <p:cNvPr id="759" name="Oval 758"/>
                <p:cNvSpPr/>
                <p:nvPr/>
              </p:nvSpPr>
              <p:spPr bwMode="auto">
                <a:xfrm>
                  <a:off x="5429250" y="512385"/>
                  <a:ext cx="107950" cy="107950"/>
                </a:xfrm>
                <a:prstGeom prst="ellipse">
                  <a:avLst/>
                </a:prstGeom>
                <a:solidFill>
                  <a:srgbClr val="00B050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-2500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grpSp>
            <p:nvGrpSpPr>
              <p:cNvPr id="717" name="Group 716"/>
              <p:cNvGrpSpPr/>
              <p:nvPr/>
            </p:nvGrpSpPr>
            <p:grpSpPr>
              <a:xfrm>
                <a:off x="4838974" y="1041277"/>
                <a:ext cx="754147" cy="274179"/>
                <a:chOff x="4838974" y="429271"/>
                <a:chExt cx="754147" cy="274179"/>
              </a:xfrm>
            </p:grpSpPr>
            <p:sp>
              <p:nvSpPr>
                <p:cNvPr id="748" name="Rectangle 747"/>
                <p:cNvSpPr/>
                <p:nvPr/>
              </p:nvSpPr>
              <p:spPr bwMode="auto">
                <a:xfrm>
                  <a:off x="4838974" y="429271"/>
                  <a:ext cx="754147" cy="274179"/>
                </a:xfrm>
                <a:prstGeom prst="rect">
                  <a:avLst/>
                </a:prstGeom>
                <a:solidFill>
                  <a:srgbClr val="FFFFFF">
                    <a:lumMod val="95000"/>
                  </a:srgbClr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-2500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grpSp>
              <p:nvGrpSpPr>
                <p:cNvPr id="749" name="Group 748"/>
                <p:cNvGrpSpPr/>
                <p:nvPr/>
              </p:nvGrpSpPr>
              <p:grpSpPr>
                <a:xfrm>
                  <a:off x="4870868" y="464463"/>
                  <a:ext cx="345154" cy="203795"/>
                  <a:chOff x="5878465" y="462955"/>
                  <a:chExt cx="495026" cy="274179"/>
                </a:xfrm>
              </p:grpSpPr>
              <p:sp>
                <p:nvSpPr>
                  <p:cNvPr id="751" name="Rectangle 750"/>
                  <p:cNvSpPr/>
                  <p:nvPr/>
                </p:nvSpPr>
                <p:spPr bwMode="auto">
                  <a:xfrm>
                    <a:off x="587846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752" name="Rectangle 751"/>
                  <p:cNvSpPr/>
                  <p:nvPr/>
                </p:nvSpPr>
                <p:spPr bwMode="auto">
                  <a:xfrm>
                    <a:off x="596482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753" name="Rectangle 752"/>
                  <p:cNvSpPr/>
                  <p:nvPr/>
                </p:nvSpPr>
                <p:spPr bwMode="auto">
                  <a:xfrm>
                    <a:off x="605118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754" name="Rectangle 753"/>
                  <p:cNvSpPr/>
                  <p:nvPr/>
                </p:nvSpPr>
                <p:spPr bwMode="auto">
                  <a:xfrm>
                    <a:off x="613754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755" name="Rectangle 754"/>
                  <p:cNvSpPr/>
                  <p:nvPr/>
                </p:nvSpPr>
                <p:spPr bwMode="auto">
                  <a:xfrm>
                    <a:off x="622390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756" name="Rectangle 755"/>
                  <p:cNvSpPr/>
                  <p:nvPr/>
                </p:nvSpPr>
                <p:spPr bwMode="auto">
                  <a:xfrm>
                    <a:off x="631026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</p:grpSp>
            <p:sp>
              <p:nvSpPr>
                <p:cNvPr id="750" name="Oval 749"/>
                <p:cNvSpPr/>
                <p:nvPr/>
              </p:nvSpPr>
              <p:spPr bwMode="auto">
                <a:xfrm>
                  <a:off x="5429250" y="512385"/>
                  <a:ext cx="107950" cy="107950"/>
                </a:xfrm>
                <a:prstGeom prst="ellipse">
                  <a:avLst/>
                </a:prstGeom>
                <a:solidFill>
                  <a:srgbClr val="00B050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-2500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grpSp>
            <p:nvGrpSpPr>
              <p:cNvPr id="718" name="Group 717"/>
              <p:cNvGrpSpPr/>
              <p:nvPr/>
            </p:nvGrpSpPr>
            <p:grpSpPr>
              <a:xfrm>
                <a:off x="4838974" y="1347280"/>
                <a:ext cx="754147" cy="274179"/>
                <a:chOff x="4838974" y="429271"/>
                <a:chExt cx="754147" cy="274179"/>
              </a:xfrm>
            </p:grpSpPr>
            <p:sp>
              <p:nvSpPr>
                <p:cNvPr id="739" name="Rectangle 738"/>
                <p:cNvSpPr/>
                <p:nvPr/>
              </p:nvSpPr>
              <p:spPr bwMode="auto">
                <a:xfrm>
                  <a:off x="4838974" y="429271"/>
                  <a:ext cx="754147" cy="274179"/>
                </a:xfrm>
                <a:prstGeom prst="rect">
                  <a:avLst/>
                </a:prstGeom>
                <a:solidFill>
                  <a:srgbClr val="FFFFFF">
                    <a:lumMod val="95000"/>
                  </a:srgbClr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-2500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grpSp>
              <p:nvGrpSpPr>
                <p:cNvPr id="740" name="Group 739"/>
                <p:cNvGrpSpPr/>
                <p:nvPr/>
              </p:nvGrpSpPr>
              <p:grpSpPr>
                <a:xfrm>
                  <a:off x="4870868" y="464463"/>
                  <a:ext cx="345154" cy="203795"/>
                  <a:chOff x="5878465" y="462955"/>
                  <a:chExt cx="495026" cy="274179"/>
                </a:xfrm>
              </p:grpSpPr>
              <p:sp>
                <p:nvSpPr>
                  <p:cNvPr id="742" name="Rectangle 741"/>
                  <p:cNvSpPr/>
                  <p:nvPr/>
                </p:nvSpPr>
                <p:spPr bwMode="auto">
                  <a:xfrm>
                    <a:off x="587846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743" name="Rectangle 742"/>
                  <p:cNvSpPr/>
                  <p:nvPr/>
                </p:nvSpPr>
                <p:spPr bwMode="auto">
                  <a:xfrm>
                    <a:off x="596482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744" name="Rectangle 743"/>
                  <p:cNvSpPr/>
                  <p:nvPr/>
                </p:nvSpPr>
                <p:spPr bwMode="auto">
                  <a:xfrm>
                    <a:off x="605118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745" name="Rectangle 744"/>
                  <p:cNvSpPr/>
                  <p:nvPr/>
                </p:nvSpPr>
                <p:spPr bwMode="auto">
                  <a:xfrm>
                    <a:off x="613754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746" name="Rectangle 745"/>
                  <p:cNvSpPr/>
                  <p:nvPr/>
                </p:nvSpPr>
                <p:spPr bwMode="auto">
                  <a:xfrm>
                    <a:off x="622390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747" name="Rectangle 746"/>
                  <p:cNvSpPr/>
                  <p:nvPr/>
                </p:nvSpPr>
                <p:spPr bwMode="auto">
                  <a:xfrm>
                    <a:off x="631026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</p:grpSp>
            <p:sp>
              <p:nvSpPr>
                <p:cNvPr id="741" name="Oval 740"/>
                <p:cNvSpPr/>
                <p:nvPr/>
              </p:nvSpPr>
              <p:spPr bwMode="auto">
                <a:xfrm>
                  <a:off x="5429250" y="512385"/>
                  <a:ext cx="107950" cy="107950"/>
                </a:xfrm>
                <a:prstGeom prst="ellipse">
                  <a:avLst/>
                </a:prstGeom>
                <a:solidFill>
                  <a:srgbClr val="00B050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-2500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grpSp>
            <p:nvGrpSpPr>
              <p:cNvPr id="719" name="Group 718"/>
              <p:cNvGrpSpPr/>
              <p:nvPr/>
            </p:nvGrpSpPr>
            <p:grpSpPr>
              <a:xfrm>
                <a:off x="4838974" y="1653283"/>
                <a:ext cx="754147" cy="274179"/>
                <a:chOff x="4838974" y="429271"/>
                <a:chExt cx="754147" cy="274179"/>
              </a:xfrm>
            </p:grpSpPr>
            <p:sp>
              <p:nvSpPr>
                <p:cNvPr id="730" name="Rectangle 729"/>
                <p:cNvSpPr/>
                <p:nvPr/>
              </p:nvSpPr>
              <p:spPr bwMode="auto">
                <a:xfrm>
                  <a:off x="4838974" y="429271"/>
                  <a:ext cx="754147" cy="274179"/>
                </a:xfrm>
                <a:prstGeom prst="rect">
                  <a:avLst/>
                </a:prstGeom>
                <a:solidFill>
                  <a:srgbClr val="FFFFFF">
                    <a:lumMod val="95000"/>
                  </a:srgbClr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-2500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grpSp>
              <p:nvGrpSpPr>
                <p:cNvPr id="731" name="Group 730"/>
                <p:cNvGrpSpPr/>
                <p:nvPr/>
              </p:nvGrpSpPr>
              <p:grpSpPr>
                <a:xfrm>
                  <a:off x="4870868" y="464463"/>
                  <a:ext cx="345154" cy="203795"/>
                  <a:chOff x="5878465" y="462955"/>
                  <a:chExt cx="495026" cy="274179"/>
                </a:xfrm>
              </p:grpSpPr>
              <p:sp>
                <p:nvSpPr>
                  <p:cNvPr id="733" name="Rectangle 732"/>
                  <p:cNvSpPr/>
                  <p:nvPr/>
                </p:nvSpPr>
                <p:spPr bwMode="auto">
                  <a:xfrm>
                    <a:off x="587846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734" name="Rectangle 733"/>
                  <p:cNvSpPr/>
                  <p:nvPr/>
                </p:nvSpPr>
                <p:spPr bwMode="auto">
                  <a:xfrm>
                    <a:off x="596482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735" name="Rectangle 734"/>
                  <p:cNvSpPr/>
                  <p:nvPr/>
                </p:nvSpPr>
                <p:spPr bwMode="auto">
                  <a:xfrm>
                    <a:off x="605118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736" name="Rectangle 735"/>
                  <p:cNvSpPr/>
                  <p:nvPr/>
                </p:nvSpPr>
                <p:spPr bwMode="auto">
                  <a:xfrm>
                    <a:off x="613754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737" name="Rectangle 736"/>
                  <p:cNvSpPr/>
                  <p:nvPr/>
                </p:nvSpPr>
                <p:spPr bwMode="auto">
                  <a:xfrm>
                    <a:off x="622390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738" name="Rectangle 737"/>
                  <p:cNvSpPr/>
                  <p:nvPr/>
                </p:nvSpPr>
                <p:spPr bwMode="auto">
                  <a:xfrm>
                    <a:off x="631026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</p:grpSp>
            <p:sp>
              <p:nvSpPr>
                <p:cNvPr id="732" name="Oval 731"/>
                <p:cNvSpPr/>
                <p:nvPr/>
              </p:nvSpPr>
              <p:spPr bwMode="auto">
                <a:xfrm>
                  <a:off x="5429250" y="512385"/>
                  <a:ext cx="107950" cy="107950"/>
                </a:xfrm>
                <a:prstGeom prst="ellipse">
                  <a:avLst/>
                </a:prstGeom>
                <a:solidFill>
                  <a:srgbClr val="00B050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-2500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grpSp>
            <p:nvGrpSpPr>
              <p:cNvPr id="720" name="Group 719"/>
              <p:cNvGrpSpPr/>
              <p:nvPr/>
            </p:nvGrpSpPr>
            <p:grpSpPr>
              <a:xfrm>
                <a:off x="4838974" y="1959287"/>
                <a:ext cx="754147" cy="274179"/>
                <a:chOff x="4838974" y="429271"/>
                <a:chExt cx="754147" cy="274179"/>
              </a:xfrm>
            </p:grpSpPr>
            <p:sp>
              <p:nvSpPr>
                <p:cNvPr id="721" name="Rectangle 720"/>
                <p:cNvSpPr/>
                <p:nvPr/>
              </p:nvSpPr>
              <p:spPr bwMode="auto">
                <a:xfrm>
                  <a:off x="4838974" y="429271"/>
                  <a:ext cx="754147" cy="274179"/>
                </a:xfrm>
                <a:prstGeom prst="rect">
                  <a:avLst/>
                </a:prstGeom>
                <a:solidFill>
                  <a:srgbClr val="FFFFFF">
                    <a:lumMod val="95000"/>
                  </a:srgbClr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-2500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grpSp>
              <p:nvGrpSpPr>
                <p:cNvPr id="722" name="Group 721"/>
                <p:cNvGrpSpPr/>
                <p:nvPr/>
              </p:nvGrpSpPr>
              <p:grpSpPr>
                <a:xfrm>
                  <a:off x="4870868" y="464463"/>
                  <a:ext cx="345154" cy="203795"/>
                  <a:chOff x="5878465" y="462955"/>
                  <a:chExt cx="495026" cy="274179"/>
                </a:xfrm>
              </p:grpSpPr>
              <p:sp>
                <p:nvSpPr>
                  <p:cNvPr id="724" name="Rectangle 723"/>
                  <p:cNvSpPr/>
                  <p:nvPr/>
                </p:nvSpPr>
                <p:spPr bwMode="auto">
                  <a:xfrm>
                    <a:off x="587846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725" name="Rectangle 724"/>
                  <p:cNvSpPr/>
                  <p:nvPr/>
                </p:nvSpPr>
                <p:spPr bwMode="auto">
                  <a:xfrm>
                    <a:off x="596482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726" name="Rectangle 725"/>
                  <p:cNvSpPr/>
                  <p:nvPr/>
                </p:nvSpPr>
                <p:spPr bwMode="auto">
                  <a:xfrm>
                    <a:off x="605118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727" name="Rectangle 726"/>
                  <p:cNvSpPr/>
                  <p:nvPr/>
                </p:nvSpPr>
                <p:spPr bwMode="auto">
                  <a:xfrm>
                    <a:off x="613754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728" name="Rectangle 727"/>
                  <p:cNvSpPr/>
                  <p:nvPr/>
                </p:nvSpPr>
                <p:spPr bwMode="auto">
                  <a:xfrm>
                    <a:off x="622390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729" name="Rectangle 728"/>
                  <p:cNvSpPr/>
                  <p:nvPr/>
                </p:nvSpPr>
                <p:spPr bwMode="auto">
                  <a:xfrm>
                    <a:off x="631026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</p:grpSp>
            <p:sp>
              <p:nvSpPr>
                <p:cNvPr id="723" name="Oval 722"/>
                <p:cNvSpPr/>
                <p:nvPr/>
              </p:nvSpPr>
              <p:spPr bwMode="auto">
                <a:xfrm>
                  <a:off x="5429250" y="512385"/>
                  <a:ext cx="107950" cy="107950"/>
                </a:xfrm>
                <a:prstGeom prst="ellipse">
                  <a:avLst/>
                </a:prstGeom>
                <a:solidFill>
                  <a:srgbClr val="00B050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-2500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</p:grpSp>
        <p:grpSp>
          <p:nvGrpSpPr>
            <p:cNvPr id="650" name="Group 649"/>
            <p:cNvGrpSpPr/>
            <p:nvPr/>
          </p:nvGrpSpPr>
          <p:grpSpPr>
            <a:xfrm>
              <a:off x="8236464" y="1194914"/>
              <a:ext cx="707659" cy="1587396"/>
              <a:chOff x="4717311" y="310701"/>
              <a:chExt cx="997472" cy="2237494"/>
            </a:xfrm>
          </p:grpSpPr>
          <p:sp>
            <p:nvSpPr>
              <p:cNvPr id="651" name="Rectangle 650"/>
              <p:cNvSpPr/>
              <p:nvPr/>
            </p:nvSpPr>
            <p:spPr bwMode="auto">
              <a:xfrm>
                <a:off x="4717311" y="310701"/>
                <a:ext cx="997472" cy="2237494"/>
              </a:xfrm>
              <a:prstGeom prst="rect">
                <a:avLst/>
              </a:prstGeom>
              <a:solidFill>
                <a:srgbClr val="FF8C00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-2500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52" name="Rectangle 651"/>
              <p:cNvSpPr/>
              <p:nvPr/>
            </p:nvSpPr>
            <p:spPr bwMode="auto">
              <a:xfrm>
                <a:off x="4798357" y="388761"/>
                <a:ext cx="835381" cy="1996918"/>
              </a:xfrm>
              <a:prstGeom prst="rect">
                <a:avLst/>
              </a:prstGeom>
              <a:solidFill>
                <a:srgbClr val="FFFFFF">
                  <a:lumMod val="75000"/>
                </a:srgb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-2500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653" name="Group 652"/>
              <p:cNvGrpSpPr/>
              <p:nvPr/>
            </p:nvGrpSpPr>
            <p:grpSpPr>
              <a:xfrm>
                <a:off x="4838974" y="429271"/>
                <a:ext cx="754147" cy="274179"/>
                <a:chOff x="4838974" y="429271"/>
                <a:chExt cx="754147" cy="274179"/>
              </a:xfrm>
            </p:grpSpPr>
            <p:sp>
              <p:nvSpPr>
                <p:cNvPr id="704" name="Rectangle 703"/>
                <p:cNvSpPr/>
                <p:nvPr/>
              </p:nvSpPr>
              <p:spPr bwMode="auto">
                <a:xfrm>
                  <a:off x="4838974" y="429271"/>
                  <a:ext cx="754147" cy="274179"/>
                </a:xfrm>
                <a:prstGeom prst="rect">
                  <a:avLst/>
                </a:prstGeom>
                <a:solidFill>
                  <a:srgbClr val="FFFFFF">
                    <a:lumMod val="95000"/>
                  </a:srgbClr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-2500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grpSp>
              <p:nvGrpSpPr>
                <p:cNvPr id="705" name="Group 704"/>
                <p:cNvGrpSpPr/>
                <p:nvPr/>
              </p:nvGrpSpPr>
              <p:grpSpPr>
                <a:xfrm>
                  <a:off x="4870868" y="464463"/>
                  <a:ext cx="345154" cy="203795"/>
                  <a:chOff x="5878465" y="462955"/>
                  <a:chExt cx="495026" cy="274179"/>
                </a:xfrm>
              </p:grpSpPr>
              <p:sp>
                <p:nvSpPr>
                  <p:cNvPr id="707" name="Rectangle 706"/>
                  <p:cNvSpPr/>
                  <p:nvPr/>
                </p:nvSpPr>
                <p:spPr bwMode="auto">
                  <a:xfrm>
                    <a:off x="587846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708" name="Rectangle 707"/>
                  <p:cNvSpPr/>
                  <p:nvPr/>
                </p:nvSpPr>
                <p:spPr bwMode="auto">
                  <a:xfrm>
                    <a:off x="596482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709" name="Rectangle 708"/>
                  <p:cNvSpPr/>
                  <p:nvPr/>
                </p:nvSpPr>
                <p:spPr bwMode="auto">
                  <a:xfrm>
                    <a:off x="605118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710" name="Rectangle 709"/>
                  <p:cNvSpPr/>
                  <p:nvPr/>
                </p:nvSpPr>
                <p:spPr bwMode="auto">
                  <a:xfrm>
                    <a:off x="613754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711" name="Rectangle 710"/>
                  <p:cNvSpPr/>
                  <p:nvPr/>
                </p:nvSpPr>
                <p:spPr bwMode="auto">
                  <a:xfrm>
                    <a:off x="622390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712" name="Rectangle 711"/>
                  <p:cNvSpPr/>
                  <p:nvPr/>
                </p:nvSpPr>
                <p:spPr bwMode="auto">
                  <a:xfrm>
                    <a:off x="631026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</p:grpSp>
            <p:sp>
              <p:nvSpPr>
                <p:cNvPr id="706" name="Oval 705"/>
                <p:cNvSpPr/>
                <p:nvPr/>
              </p:nvSpPr>
              <p:spPr bwMode="auto">
                <a:xfrm>
                  <a:off x="5429250" y="512385"/>
                  <a:ext cx="107950" cy="107950"/>
                </a:xfrm>
                <a:prstGeom prst="ellipse">
                  <a:avLst/>
                </a:prstGeom>
                <a:solidFill>
                  <a:srgbClr val="00B050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-2500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grpSp>
            <p:nvGrpSpPr>
              <p:cNvPr id="654" name="Group 653"/>
              <p:cNvGrpSpPr/>
              <p:nvPr/>
            </p:nvGrpSpPr>
            <p:grpSpPr>
              <a:xfrm>
                <a:off x="4838974" y="735274"/>
                <a:ext cx="754147" cy="274179"/>
                <a:chOff x="4838974" y="429271"/>
                <a:chExt cx="754147" cy="274179"/>
              </a:xfrm>
            </p:grpSpPr>
            <p:sp>
              <p:nvSpPr>
                <p:cNvPr id="695" name="Rectangle 694"/>
                <p:cNvSpPr/>
                <p:nvPr/>
              </p:nvSpPr>
              <p:spPr bwMode="auto">
                <a:xfrm>
                  <a:off x="4838974" y="429271"/>
                  <a:ext cx="754147" cy="274179"/>
                </a:xfrm>
                <a:prstGeom prst="rect">
                  <a:avLst/>
                </a:prstGeom>
                <a:solidFill>
                  <a:srgbClr val="FFFFFF">
                    <a:lumMod val="95000"/>
                  </a:srgbClr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-2500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grpSp>
              <p:nvGrpSpPr>
                <p:cNvPr id="696" name="Group 695"/>
                <p:cNvGrpSpPr/>
                <p:nvPr/>
              </p:nvGrpSpPr>
              <p:grpSpPr>
                <a:xfrm>
                  <a:off x="4870868" y="464463"/>
                  <a:ext cx="345154" cy="203795"/>
                  <a:chOff x="5878465" y="462955"/>
                  <a:chExt cx="495026" cy="274179"/>
                </a:xfrm>
              </p:grpSpPr>
              <p:sp>
                <p:nvSpPr>
                  <p:cNvPr id="698" name="Rectangle 697"/>
                  <p:cNvSpPr/>
                  <p:nvPr/>
                </p:nvSpPr>
                <p:spPr bwMode="auto">
                  <a:xfrm>
                    <a:off x="587846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699" name="Rectangle 698"/>
                  <p:cNvSpPr/>
                  <p:nvPr/>
                </p:nvSpPr>
                <p:spPr bwMode="auto">
                  <a:xfrm>
                    <a:off x="596482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700" name="Rectangle 699"/>
                  <p:cNvSpPr/>
                  <p:nvPr/>
                </p:nvSpPr>
                <p:spPr bwMode="auto">
                  <a:xfrm>
                    <a:off x="605118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701" name="Rectangle 700"/>
                  <p:cNvSpPr/>
                  <p:nvPr/>
                </p:nvSpPr>
                <p:spPr bwMode="auto">
                  <a:xfrm>
                    <a:off x="613754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702" name="Rectangle 701"/>
                  <p:cNvSpPr/>
                  <p:nvPr/>
                </p:nvSpPr>
                <p:spPr bwMode="auto">
                  <a:xfrm>
                    <a:off x="622390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703" name="Rectangle 702"/>
                  <p:cNvSpPr/>
                  <p:nvPr/>
                </p:nvSpPr>
                <p:spPr bwMode="auto">
                  <a:xfrm>
                    <a:off x="631026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</p:grpSp>
            <p:sp>
              <p:nvSpPr>
                <p:cNvPr id="697" name="Oval 696"/>
                <p:cNvSpPr/>
                <p:nvPr/>
              </p:nvSpPr>
              <p:spPr bwMode="auto">
                <a:xfrm>
                  <a:off x="5429250" y="512385"/>
                  <a:ext cx="107950" cy="107950"/>
                </a:xfrm>
                <a:prstGeom prst="ellipse">
                  <a:avLst/>
                </a:prstGeom>
                <a:solidFill>
                  <a:srgbClr val="00B050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-2500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grpSp>
            <p:nvGrpSpPr>
              <p:cNvPr id="655" name="Group 654"/>
              <p:cNvGrpSpPr/>
              <p:nvPr/>
            </p:nvGrpSpPr>
            <p:grpSpPr>
              <a:xfrm>
                <a:off x="4838974" y="1041277"/>
                <a:ext cx="754147" cy="274179"/>
                <a:chOff x="4838974" y="429271"/>
                <a:chExt cx="754147" cy="274179"/>
              </a:xfrm>
            </p:grpSpPr>
            <p:sp>
              <p:nvSpPr>
                <p:cNvPr id="686" name="Rectangle 685"/>
                <p:cNvSpPr/>
                <p:nvPr/>
              </p:nvSpPr>
              <p:spPr bwMode="auto">
                <a:xfrm>
                  <a:off x="4838974" y="429271"/>
                  <a:ext cx="754147" cy="274179"/>
                </a:xfrm>
                <a:prstGeom prst="rect">
                  <a:avLst/>
                </a:prstGeom>
                <a:solidFill>
                  <a:srgbClr val="FFFFFF">
                    <a:lumMod val="95000"/>
                  </a:srgbClr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-2500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grpSp>
              <p:nvGrpSpPr>
                <p:cNvPr id="687" name="Group 686"/>
                <p:cNvGrpSpPr/>
                <p:nvPr/>
              </p:nvGrpSpPr>
              <p:grpSpPr>
                <a:xfrm>
                  <a:off x="4870868" y="464463"/>
                  <a:ext cx="345154" cy="203795"/>
                  <a:chOff x="5878465" y="462955"/>
                  <a:chExt cx="495026" cy="274179"/>
                </a:xfrm>
              </p:grpSpPr>
              <p:sp>
                <p:nvSpPr>
                  <p:cNvPr id="689" name="Rectangle 688"/>
                  <p:cNvSpPr/>
                  <p:nvPr/>
                </p:nvSpPr>
                <p:spPr bwMode="auto">
                  <a:xfrm>
                    <a:off x="587846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690" name="Rectangle 689"/>
                  <p:cNvSpPr/>
                  <p:nvPr/>
                </p:nvSpPr>
                <p:spPr bwMode="auto">
                  <a:xfrm>
                    <a:off x="596482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691" name="Rectangle 690"/>
                  <p:cNvSpPr/>
                  <p:nvPr/>
                </p:nvSpPr>
                <p:spPr bwMode="auto">
                  <a:xfrm>
                    <a:off x="605118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692" name="Rectangle 691"/>
                  <p:cNvSpPr/>
                  <p:nvPr/>
                </p:nvSpPr>
                <p:spPr bwMode="auto">
                  <a:xfrm>
                    <a:off x="613754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693" name="Rectangle 692"/>
                  <p:cNvSpPr/>
                  <p:nvPr/>
                </p:nvSpPr>
                <p:spPr bwMode="auto">
                  <a:xfrm>
                    <a:off x="622390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694" name="Rectangle 693"/>
                  <p:cNvSpPr/>
                  <p:nvPr/>
                </p:nvSpPr>
                <p:spPr bwMode="auto">
                  <a:xfrm>
                    <a:off x="631026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</p:grpSp>
            <p:sp>
              <p:nvSpPr>
                <p:cNvPr id="688" name="Oval 687"/>
                <p:cNvSpPr/>
                <p:nvPr/>
              </p:nvSpPr>
              <p:spPr bwMode="auto">
                <a:xfrm>
                  <a:off x="5429250" y="512385"/>
                  <a:ext cx="107950" cy="107950"/>
                </a:xfrm>
                <a:prstGeom prst="ellipse">
                  <a:avLst/>
                </a:prstGeom>
                <a:solidFill>
                  <a:srgbClr val="00B050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-2500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grpSp>
            <p:nvGrpSpPr>
              <p:cNvPr id="656" name="Group 655"/>
              <p:cNvGrpSpPr/>
              <p:nvPr/>
            </p:nvGrpSpPr>
            <p:grpSpPr>
              <a:xfrm>
                <a:off x="4838974" y="1347280"/>
                <a:ext cx="754147" cy="274179"/>
                <a:chOff x="4838974" y="429271"/>
                <a:chExt cx="754147" cy="274179"/>
              </a:xfrm>
            </p:grpSpPr>
            <p:sp>
              <p:nvSpPr>
                <p:cNvPr id="677" name="Rectangle 676"/>
                <p:cNvSpPr/>
                <p:nvPr/>
              </p:nvSpPr>
              <p:spPr bwMode="auto">
                <a:xfrm>
                  <a:off x="4838974" y="429271"/>
                  <a:ext cx="754147" cy="274179"/>
                </a:xfrm>
                <a:prstGeom prst="rect">
                  <a:avLst/>
                </a:prstGeom>
                <a:solidFill>
                  <a:srgbClr val="FFFFFF">
                    <a:lumMod val="95000"/>
                  </a:srgbClr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-2500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grpSp>
              <p:nvGrpSpPr>
                <p:cNvPr id="678" name="Group 677"/>
                <p:cNvGrpSpPr/>
                <p:nvPr/>
              </p:nvGrpSpPr>
              <p:grpSpPr>
                <a:xfrm>
                  <a:off x="4870868" y="464463"/>
                  <a:ext cx="345154" cy="203795"/>
                  <a:chOff x="5878465" y="462955"/>
                  <a:chExt cx="495026" cy="274179"/>
                </a:xfrm>
              </p:grpSpPr>
              <p:sp>
                <p:nvSpPr>
                  <p:cNvPr id="680" name="Rectangle 679"/>
                  <p:cNvSpPr/>
                  <p:nvPr/>
                </p:nvSpPr>
                <p:spPr bwMode="auto">
                  <a:xfrm>
                    <a:off x="587846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681" name="Rectangle 680"/>
                  <p:cNvSpPr/>
                  <p:nvPr/>
                </p:nvSpPr>
                <p:spPr bwMode="auto">
                  <a:xfrm>
                    <a:off x="596482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682" name="Rectangle 681"/>
                  <p:cNvSpPr/>
                  <p:nvPr/>
                </p:nvSpPr>
                <p:spPr bwMode="auto">
                  <a:xfrm>
                    <a:off x="605118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683" name="Rectangle 682"/>
                  <p:cNvSpPr/>
                  <p:nvPr/>
                </p:nvSpPr>
                <p:spPr bwMode="auto">
                  <a:xfrm>
                    <a:off x="613754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684" name="Rectangle 683"/>
                  <p:cNvSpPr/>
                  <p:nvPr/>
                </p:nvSpPr>
                <p:spPr bwMode="auto">
                  <a:xfrm>
                    <a:off x="622390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685" name="Rectangle 684"/>
                  <p:cNvSpPr/>
                  <p:nvPr/>
                </p:nvSpPr>
                <p:spPr bwMode="auto">
                  <a:xfrm>
                    <a:off x="631026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</p:grpSp>
            <p:sp>
              <p:nvSpPr>
                <p:cNvPr id="679" name="Oval 678"/>
                <p:cNvSpPr/>
                <p:nvPr/>
              </p:nvSpPr>
              <p:spPr bwMode="auto">
                <a:xfrm>
                  <a:off x="5429250" y="512385"/>
                  <a:ext cx="107950" cy="107950"/>
                </a:xfrm>
                <a:prstGeom prst="ellipse">
                  <a:avLst/>
                </a:prstGeom>
                <a:solidFill>
                  <a:srgbClr val="00B050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-2500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grpSp>
            <p:nvGrpSpPr>
              <p:cNvPr id="657" name="Group 656"/>
              <p:cNvGrpSpPr/>
              <p:nvPr/>
            </p:nvGrpSpPr>
            <p:grpSpPr>
              <a:xfrm>
                <a:off x="4838974" y="1653283"/>
                <a:ext cx="754147" cy="274179"/>
                <a:chOff x="4838974" y="429271"/>
                <a:chExt cx="754147" cy="274179"/>
              </a:xfrm>
            </p:grpSpPr>
            <p:sp>
              <p:nvSpPr>
                <p:cNvPr id="668" name="Rectangle 667"/>
                <p:cNvSpPr/>
                <p:nvPr/>
              </p:nvSpPr>
              <p:spPr bwMode="auto">
                <a:xfrm>
                  <a:off x="4838974" y="429271"/>
                  <a:ext cx="754147" cy="274179"/>
                </a:xfrm>
                <a:prstGeom prst="rect">
                  <a:avLst/>
                </a:prstGeom>
                <a:solidFill>
                  <a:srgbClr val="FFFFFF">
                    <a:lumMod val="95000"/>
                  </a:srgbClr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-2500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grpSp>
              <p:nvGrpSpPr>
                <p:cNvPr id="669" name="Group 668"/>
                <p:cNvGrpSpPr/>
                <p:nvPr/>
              </p:nvGrpSpPr>
              <p:grpSpPr>
                <a:xfrm>
                  <a:off x="4870868" y="464463"/>
                  <a:ext cx="345154" cy="203795"/>
                  <a:chOff x="5878465" y="462955"/>
                  <a:chExt cx="495026" cy="274179"/>
                </a:xfrm>
              </p:grpSpPr>
              <p:sp>
                <p:nvSpPr>
                  <p:cNvPr id="671" name="Rectangle 670"/>
                  <p:cNvSpPr/>
                  <p:nvPr/>
                </p:nvSpPr>
                <p:spPr bwMode="auto">
                  <a:xfrm>
                    <a:off x="587846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672" name="Rectangle 671"/>
                  <p:cNvSpPr/>
                  <p:nvPr/>
                </p:nvSpPr>
                <p:spPr bwMode="auto">
                  <a:xfrm>
                    <a:off x="596482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673" name="Rectangle 672"/>
                  <p:cNvSpPr/>
                  <p:nvPr/>
                </p:nvSpPr>
                <p:spPr bwMode="auto">
                  <a:xfrm>
                    <a:off x="605118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674" name="Rectangle 673"/>
                  <p:cNvSpPr/>
                  <p:nvPr/>
                </p:nvSpPr>
                <p:spPr bwMode="auto">
                  <a:xfrm>
                    <a:off x="613754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675" name="Rectangle 674"/>
                  <p:cNvSpPr/>
                  <p:nvPr/>
                </p:nvSpPr>
                <p:spPr bwMode="auto">
                  <a:xfrm>
                    <a:off x="622390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676" name="Rectangle 675"/>
                  <p:cNvSpPr/>
                  <p:nvPr/>
                </p:nvSpPr>
                <p:spPr bwMode="auto">
                  <a:xfrm>
                    <a:off x="631026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</p:grpSp>
            <p:sp>
              <p:nvSpPr>
                <p:cNvPr id="670" name="Oval 669"/>
                <p:cNvSpPr/>
                <p:nvPr/>
              </p:nvSpPr>
              <p:spPr bwMode="auto">
                <a:xfrm>
                  <a:off x="5429250" y="512385"/>
                  <a:ext cx="107950" cy="107950"/>
                </a:xfrm>
                <a:prstGeom prst="ellipse">
                  <a:avLst/>
                </a:prstGeom>
                <a:solidFill>
                  <a:srgbClr val="00B050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-2500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grpSp>
            <p:nvGrpSpPr>
              <p:cNvPr id="658" name="Group 657"/>
              <p:cNvGrpSpPr/>
              <p:nvPr/>
            </p:nvGrpSpPr>
            <p:grpSpPr>
              <a:xfrm>
                <a:off x="4838974" y="1959287"/>
                <a:ext cx="754147" cy="274179"/>
                <a:chOff x="4838974" y="429271"/>
                <a:chExt cx="754147" cy="274179"/>
              </a:xfrm>
            </p:grpSpPr>
            <p:sp>
              <p:nvSpPr>
                <p:cNvPr id="659" name="Rectangle 658"/>
                <p:cNvSpPr/>
                <p:nvPr/>
              </p:nvSpPr>
              <p:spPr bwMode="auto">
                <a:xfrm>
                  <a:off x="4838974" y="429271"/>
                  <a:ext cx="754147" cy="274179"/>
                </a:xfrm>
                <a:prstGeom prst="rect">
                  <a:avLst/>
                </a:prstGeom>
                <a:solidFill>
                  <a:srgbClr val="FFFFFF">
                    <a:lumMod val="95000"/>
                  </a:srgbClr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-2500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grpSp>
              <p:nvGrpSpPr>
                <p:cNvPr id="660" name="Group 659"/>
                <p:cNvGrpSpPr/>
                <p:nvPr/>
              </p:nvGrpSpPr>
              <p:grpSpPr>
                <a:xfrm>
                  <a:off x="4870868" y="464463"/>
                  <a:ext cx="345154" cy="203795"/>
                  <a:chOff x="5878465" y="462955"/>
                  <a:chExt cx="495026" cy="274179"/>
                </a:xfrm>
              </p:grpSpPr>
              <p:sp>
                <p:nvSpPr>
                  <p:cNvPr id="662" name="Rectangle 661"/>
                  <p:cNvSpPr/>
                  <p:nvPr/>
                </p:nvSpPr>
                <p:spPr bwMode="auto">
                  <a:xfrm>
                    <a:off x="587846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663" name="Rectangle 662"/>
                  <p:cNvSpPr/>
                  <p:nvPr/>
                </p:nvSpPr>
                <p:spPr bwMode="auto">
                  <a:xfrm>
                    <a:off x="596482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664" name="Rectangle 663"/>
                  <p:cNvSpPr/>
                  <p:nvPr/>
                </p:nvSpPr>
                <p:spPr bwMode="auto">
                  <a:xfrm>
                    <a:off x="605118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665" name="Rectangle 664"/>
                  <p:cNvSpPr/>
                  <p:nvPr/>
                </p:nvSpPr>
                <p:spPr bwMode="auto">
                  <a:xfrm>
                    <a:off x="613754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666" name="Rectangle 665"/>
                  <p:cNvSpPr/>
                  <p:nvPr/>
                </p:nvSpPr>
                <p:spPr bwMode="auto">
                  <a:xfrm>
                    <a:off x="622390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667" name="Rectangle 666"/>
                  <p:cNvSpPr/>
                  <p:nvPr/>
                </p:nvSpPr>
                <p:spPr bwMode="auto">
                  <a:xfrm>
                    <a:off x="6310265" y="462955"/>
                    <a:ext cx="63226" cy="274179"/>
                  </a:xfrm>
                  <a:prstGeom prst="rect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</p:grpSp>
            <p:sp>
              <p:nvSpPr>
                <p:cNvPr id="661" name="Oval 660"/>
                <p:cNvSpPr/>
                <p:nvPr/>
              </p:nvSpPr>
              <p:spPr bwMode="auto">
                <a:xfrm>
                  <a:off x="5429250" y="512385"/>
                  <a:ext cx="107950" cy="107950"/>
                </a:xfrm>
                <a:prstGeom prst="ellipse">
                  <a:avLst/>
                </a:prstGeom>
                <a:solidFill>
                  <a:srgbClr val="00B050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-2500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</p:grpSp>
      </p:grpSp>
      <p:sp>
        <p:nvSpPr>
          <p:cNvPr id="568" name="Oval 3"/>
          <p:cNvSpPr/>
          <p:nvPr/>
        </p:nvSpPr>
        <p:spPr>
          <a:xfrm>
            <a:off x="4699588" y="2617058"/>
            <a:ext cx="1857921" cy="798891"/>
          </a:xfrm>
          <a:custGeom>
            <a:avLst/>
            <a:gdLst/>
            <a:ahLst/>
            <a:cxnLst/>
            <a:rect l="l" t="t" r="r" b="b"/>
            <a:pathLst>
              <a:path w="3526262" h="1620949">
                <a:moveTo>
                  <a:pt x="1905000" y="0"/>
                </a:moveTo>
                <a:cubicBezTo>
                  <a:pt x="2160688" y="0"/>
                  <a:pt x="2383694" y="113064"/>
                  <a:pt x="2499237" y="282370"/>
                </a:cubicBezTo>
                <a:cubicBezTo>
                  <a:pt x="2575283" y="213250"/>
                  <a:pt x="2678425" y="171450"/>
                  <a:pt x="2791830" y="171450"/>
                </a:cubicBezTo>
                <a:cubicBezTo>
                  <a:pt x="3026775" y="171450"/>
                  <a:pt x="3217672" y="350859"/>
                  <a:pt x="3220758" y="573537"/>
                </a:cubicBezTo>
                <a:cubicBezTo>
                  <a:pt x="3397786" y="622453"/>
                  <a:pt x="3526262" y="778390"/>
                  <a:pt x="3526262" y="962874"/>
                </a:cubicBezTo>
                <a:cubicBezTo>
                  <a:pt x="3526262" y="1188608"/>
                  <a:pt x="3333910" y="1371601"/>
                  <a:pt x="3096631" y="1371601"/>
                </a:cubicBezTo>
                <a:cubicBezTo>
                  <a:pt x="3059788" y="1371601"/>
                  <a:pt x="3024029" y="1367189"/>
                  <a:pt x="2990261" y="1357433"/>
                </a:cubicBezTo>
                <a:cubicBezTo>
                  <a:pt x="2927759" y="1511709"/>
                  <a:pt x="2766228" y="1620949"/>
                  <a:pt x="2577016" y="1620949"/>
                </a:cubicBezTo>
                <a:cubicBezTo>
                  <a:pt x="2414017" y="1620949"/>
                  <a:pt x="2271559" y="1539879"/>
                  <a:pt x="2196015" y="1418135"/>
                </a:cubicBezTo>
                <a:cubicBezTo>
                  <a:pt x="2120472" y="1539878"/>
                  <a:pt x="1978014" y="1620948"/>
                  <a:pt x="1815015" y="1620948"/>
                </a:cubicBezTo>
                <a:cubicBezTo>
                  <a:pt x="1656048" y="1620948"/>
                  <a:pt x="1516619" y="1543840"/>
                  <a:pt x="1439398" y="1427276"/>
                </a:cubicBezTo>
                <a:cubicBezTo>
                  <a:pt x="1357285" y="1544659"/>
                  <a:pt x="1220952" y="1620948"/>
                  <a:pt x="1066800" y="1620948"/>
                </a:cubicBezTo>
                <a:cubicBezTo>
                  <a:pt x="870242" y="1620948"/>
                  <a:pt x="702654" y="1496911"/>
                  <a:pt x="639503" y="1322297"/>
                </a:cubicBezTo>
                <a:cubicBezTo>
                  <a:pt x="575919" y="1362710"/>
                  <a:pt x="500200" y="1385558"/>
                  <a:pt x="419100" y="1385558"/>
                </a:cubicBezTo>
                <a:cubicBezTo>
                  <a:pt x="187637" y="1385558"/>
                  <a:pt x="0" y="1199441"/>
                  <a:pt x="0" y="969853"/>
                </a:cubicBezTo>
                <a:cubicBezTo>
                  <a:pt x="0" y="740265"/>
                  <a:pt x="187637" y="554148"/>
                  <a:pt x="419100" y="554148"/>
                </a:cubicBezTo>
                <a:cubicBezTo>
                  <a:pt x="466502" y="554148"/>
                  <a:pt x="512065" y="561954"/>
                  <a:pt x="553956" y="578110"/>
                </a:cubicBezTo>
                <a:cubicBezTo>
                  <a:pt x="607567" y="387831"/>
                  <a:pt x="782911" y="249348"/>
                  <a:pt x="990600" y="249348"/>
                </a:cubicBezTo>
                <a:cubicBezTo>
                  <a:pt x="1096279" y="249348"/>
                  <a:pt x="1193583" y="285202"/>
                  <a:pt x="1269841" y="346915"/>
                </a:cubicBezTo>
                <a:cubicBezTo>
                  <a:pt x="1370673" y="143326"/>
                  <a:pt x="1617122" y="0"/>
                  <a:pt x="1905000" y="0"/>
                </a:cubicBezTo>
                <a:close/>
              </a:path>
            </a:pathLst>
          </a:custGeom>
          <a:solidFill>
            <a:srgbClr val="0072C6">
              <a:lumMod val="60000"/>
              <a:lumOff val="40000"/>
            </a:srgbClr>
          </a:solidFill>
          <a:ln w="381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55132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10264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65397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220529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775661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330793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85926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441058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3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-25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69" name="Oval 3"/>
          <p:cNvSpPr/>
          <p:nvPr/>
        </p:nvSpPr>
        <p:spPr>
          <a:xfrm flipV="1">
            <a:off x="5563257" y="2863097"/>
            <a:ext cx="1857921" cy="798891"/>
          </a:xfrm>
          <a:custGeom>
            <a:avLst/>
            <a:gdLst/>
            <a:ahLst/>
            <a:cxnLst/>
            <a:rect l="l" t="t" r="r" b="b"/>
            <a:pathLst>
              <a:path w="3526262" h="1620949">
                <a:moveTo>
                  <a:pt x="1905000" y="0"/>
                </a:moveTo>
                <a:cubicBezTo>
                  <a:pt x="2160688" y="0"/>
                  <a:pt x="2383694" y="113064"/>
                  <a:pt x="2499237" y="282370"/>
                </a:cubicBezTo>
                <a:cubicBezTo>
                  <a:pt x="2575283" y="213250"/>
                  <a:pt x="2678425" y="171450"/>
                  <a:pt x="2791830" y="171450"/>
                </a:cubicBezTo>
                <a:cubicBezTo>
                  <a:pt x="3026775" y="171450"/>
                  <a:pt x="3217672" y="350859"/>
                  <a:pt x="3220758" y="573537"/>
                </a:cubicBezTo>
                <a:cubicBezTo>
                  <a:pt x="3397786" y="622453"/>
                  <a:pt x="3526262" y="778390"/>
                  <a:pt x="3526262" y="962874"/>
                </a:cubicBezTo>
                <a:cubicBezTo>
                  <a:pt x="3526262" y="1188608"/>
                  <a:pt x="3333910" y="1371601"/>
                  <a:pt x="3096631" y="1371601"/>
                </a:cubicBezTo>
                <a:cubicBezTo>
                  <a:pt x="3059788" y="1371601"/>
                  <a:pt x="3024029" y="1367189"/>
                  <a:pt x="2990261" y="1357433"/>
                </a:cubicBezTo>
                <a:cubicBezTo>
                  <a:pt x="2927759" y="1511709"/>
                  <a:pt x="2766228" y="1620949"/>
                  <a:pt x="2577016" y="1620949"/>
                </a:cubicBezTo>
                <a:cubicBezTo>
                  <a:pt x="2414017" y="1620949"/>
                  <a:pt x="2271559" y="1539879"/>
                  <a:pt x="2196015" y="1418135"/>
                </a:cubicBezTo>
                <a:cubicBezTo>
                  <a:pt x="2120472" y="1539878"/>
                  <a:pt x="1978014" y="1620948"/>
                  <a:pt x="1815015" y="1620948"/>
                </a:cubicBezTo>
                <a:cubicBezTo>
                  <a:pt x="1656048" y="1620948"/>
                  <a:pt x="1516619" y="1543840"/>
                  <a:pt x="1439398" y="1427276"/>
                </a:cubicBezTo>
                <a:cubicBezTo>
                  <a:pt x="1357285" y="1544659"/>
                  <a:pt x="1220952" y="1620948"/>
                  <a:pt x="1066800" y="1620948"/>
                </a:cubicBezTo>
                <a:cubicBezTo>
                  <a:pt x="870242" y="1620948"/>
                  <a:pt x="702654" y="1496911"/>
                  <a:pt x="639503" y="1322297"/>
                </a:cubicBezTo>
                <a:cubicBezTo>
                  <a:pt x="575919" y="1362710"/>
                  <a:pt x="500200" y="1385558"/>
                  <a:pt x="419100" y="1385558"/>
                </a:cubicBezTo>
                <a:cubicBezTo>
                  <a:pt x="187637" y="1385558"/>
                  <a:pt x="0" y="1199441"/>
                  <a:pt x="0" y="969853"/>
                </a:cubicBezTo>
                <a:cubicBezTo>
                  <a:pt x="0" y="740265"/>
                  <a:pt x="187637" y="554148"/>
                  <a:pt x="419100" y="554148"/>
                </a:cubicBezTo>
                <a:cubicBezTo>
                  <a:pt x="466502" y="554148"/>
                  <a:pt x="512065" y="561954"/>
                  <a:pt x="553956" y="578110"/>
                </a:cubicBezTo>
                <a:cubicBezTo>
                  <a:pt x="607567" y="387831"/>
                  <a:pt x="782911" y="249348"/>
                  <a:pt x="990600" y="249348"/>
                </a:cubicBezTo>
                <a:cubicBezTo>
                  <a:pt x="1096279" y="249348"/>
                  <a:pt x="1193583" y="285202"/>
                  <a:pt x="1269841" y="346915"/>
                </a:cubicBezTo>
                <a:cubicBezTo>
                  <a:pt x="1370673" y="143326"/>
                  <a:pt x="1617122" y="0"/>
                  <a:pt x="1905000" y="0"/>
                </a:cubicBezTo>
                <a:close/>
              </a:path>
            </a:pathLst>
          </a:custGeom>
          <a:solidFill>
            <a:srgbClr val="0072C6">
              <a:lumMod val="40000"/>
              <a:lumOff val="60000"/>
            </a:srgbClr>
          </a:solidFill>
          <a:ln w="381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55132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10264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65397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220529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775661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330793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85926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441058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3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-25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70" name="Oval 3"/>
          <p:cNvSpPr/>
          <p:nvPr/>
        </p:nvSpPr>
        <p:spPr>
          <a:xfrm>
            <a:off x="5083050" y="3014891"/>
            <a:ext cx="1081082" cy="477471"/>
          </a:xfrm>
          <a:custGeom>
            <a:avLst/>
            <a:gdLst/>
            <a:ahLst/>
            <a:cxnLst/>
            <a:rect l="l" t="t" r="r" b="b"/>
            <a:pathLst>
              <a:path w="3526262" h="1620949">
                <a:moveTo>
                  <a:pt x="1905000" y="0"/>
                </a:moveTo>
                <a:cubicBezTo>
                  <a:pt x="2160688" y="0"/>
                  <a:pt x="2383694" y="113064"/>
                  <a:pt x="2499237" y="282370"/>
                </a:cubicBezTo>
                <a:cubicBezTo>
                  <a:pt x="2575283" y="213250"/>
                  <a:pt x="2678425" y="171450"/>
                  <a:pt x="2791830" y="171450"/>
                </a:cubicBezTo>
                <a:cubicBezTo>
                  <a:pt x="3026775" y="171450"/>
                  <a:pt x="3217672" y="350859"/>
                  <a:pt x="3220758" y="573537"/>
                </a:cubicBezTo>
                <a:cubicBezTo>
                  <a:pt x="3397786" y="622453"/>
                  <a:pt x="3526262" y="778390"/>
                  <a:pt x="3526262" y="962874"/>
                </a:cubicBezTo>
                <a:cubicBezTo>
                  <a:pt x="3526262" y="1188608"/>
                  <a:pt x="3333910" y="1371601"/>
                  <a:pt x="3096631" y="1371601"/>
                </a:cubicBezTo>
                <a:cubicBezTo>
                  <a:pt x="3059788" y="1371601"/>
                  <a:pt x="3024029" y="1367189"/>
                  <a:pt x="2990261" y="1357433"/>
                </a:cubicBezTo>
                <a:cubicBezTo>
                  <a:pt x="2927759" y="1511709"/>
                  <a:pt x="2766228" y="1620949"/>
                  <a:pt x="2577016" y="1620949"/>
                </a:cubicBezTo>
                <a:cubicBezTo>
                  <a:pt x="2414017" y="1620949"/>
                  <a:pt x="2271559" y="1539879"/>
                  <a:pt x="2196015" y="1418135"/>
                </a:cubicBezTo>
                <a:cubicBezTo>
                  <a:pt x="2120472" y="1539878"/>
                  <a:pt x="1978014" y="1620948"/>
                  <a:pt x="1815015" y="1620948"/>
                </a:cubicBezTo>
                <a:cubicBezTo>
                  <a:pt x="1656048" y="1620948"/>
                  <a:pt x="1516619" y="1543840"/>
                  <a:pt x="1439398" y="1427276"/>
                </a:cubicBezTo>
                <a:cubicBezTo>
                  <a:pt x="1357285" y="1544659"/>
                  <a:pt x="1220952" y="1620948"/>
                  <a:pt x="1066800" y="1620948"/>
                </a:cubicBezTo>
                <a:cubicBezTo>
                  <a:pt x="870242" y="1620948"/>
                  <a:pt x="702654" y="1496911"/>
                  <a:pt x="639503" y="1322297"/>
                </a:cubicBezTo>
                <a:cubicBezTo>
                  <a:pt x="575919" y="1362710"/>
                  <a:pt x="500200" y="1385558"/>
                  <a:pt x="419100" y="1385558"/>
                </a:cubicBezTo>
                <a:cubicBezTo>
                  <a:pt x="187637" y="1385558"/>
                  <a:pt x="0" y="1199441"/>
                  <a:pt x="0" y="969853"/>
                </a:cubicBezTo>
                <a:cubicBezTo>
                  <a:pt x="0" y="740265"/>
                  <a:pt x="187637" y="554148"/>
                  <a:pt x="419100" y="554148"/>
                </a:cubicBezTo>
                <a:cubicBezTo>
                  <a:pt x="466502" y="554148"/>
                  <a:pt x="512065" y="561954"/>
                  <a:pt x="553956" y="578110"/>
                </a:cubicBezTo>
                <a:cubicBezTo>
                  <a:pt x="607567" y="387831"/>
                  <a:pt x="782911" y="249348"/>
                  <a:pt x="990600" y="249348"/>
                </a:cubicBezTo>
                <a:cubicBezTo>
                  <a:pt x="1096279" y="249348"/>
                  <a:pt x="1193583" y="285202"/>
                  <a:pt x="1269841" y="346915"/>
                </a:cubicBezTo>
                <a:cubicBezTo>
                  <a:pt x="1370673" y="143326"/>
                  <a:pt x="1617122" y="0"/>
                  <a:pt x="1905000" y="0"/>
                </a:cubicBezTo>
                <a:close/>
              </a:path>
            </a:pathLst>
          </a:custGeom>
          <a:solidFill>
            <a:srgbClr val="0072C6">
              <a:lumMod val="20000"/>
              <a:lumOff val="80000"/>
            </a:srgbClr>
          </a:solidFill>
          <a:ln w="381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55132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10264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65397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220529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775661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330793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85926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441058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3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-25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71" name="Oval 570"/>
          <p:cNvSpPr/>
          <p:nvPr/>
        </p:nvSpPr>
        <p:spPr bwMode="auto">
          <a:xfrm>
            <a:off x="5608202" y="1117860"/>
            <a:ext cx="440375" cy="440372"/>
          </a:xfrm>
          <a:prstGeom prst="ellipse">
            <a:avLst/>
          </a:prstGeom>
          <a:solidFill>
            <a:srgbClr val="008272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dist="88900" dir="2700000" sx="90000" sy="90000" algn="tl" rotWithShape="0">
              <a:prstClr val="black">
                <a:alpha val="11000"/>
              </a:prstClr>
            </a:outerShdw>
          </a:effectLst>
        </p:spPr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55132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10264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65397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220529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775661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330793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85926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441058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-2500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72" name="Oval 571"/>
          <p:cNvSpPr/>
          <p:nvPr/>
        </p:nvSpPr>
        <p:spPr bwMode="auto">
          <a:xfrm>
            <a:off x="6946079" y="1721699"/>
            <a:ext cx="439327" cy="439327"/>
          </a:xfrm>
          <a:prstGeom prst="ellipse">
            <a:avLst/>
          </a:prstGeom>
          <a:solidFill>
            <a:srgbClr val="008272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dist="88900" dir="2700000" sx="90000" sy="90000" algn="tl" rotWithShape="0">
              <a:prstClr val="black">
                <a:alpha val="11000"/>
              </a:prstClr>
            </a:outerShdw>
          </a:effectLst>
        </p:spPr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55132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10264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65397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220529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775661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330793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85926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441058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-2500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73" name="Oval 572"/>
          <p:cNvSpPr/>
          <p:nvPr/>
        </p:nvSpPr>
        <p:spPr bwMode="auto">
          <a:xfrm>
            <a:off x="6645105" y="1353493"/>
            <a:ext cx="439327" cy="439327"/>
          </a:xfrm>
          <a:prstGeom prst="ellipse">
            <a:avLst/>
          </a:prstGeom>
          <a:solidFill>
            <a:srgbClr val="DC3C0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dist="88900" dir="2700000" sx="90000" sy="90000" algn="tl" rotWithShape="0">
              <a:prstClr val="black">
                <a:alpha val="11000"/>
              </a:prstClr>
            </a:outerShdw>
          </a:effectLst>
        </p:spPr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55132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10264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65397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220529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775661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330793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85926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441058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-25000" noProof="0" dirty="0" smtClean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574" name="Group 573"/>
          <p:cNvGrpSpPr/>
          <p:nvPr/>
        </p:nvGrpSpPr>
        <p:grpSpPr>
          <a:xfrm>
            <a:off x="5114686" y="1335615"/>
            <a:ext cx="439327" cy="439327"/>
            <a:chOff x="10811580" y="2714625"/>
            <a:chExt cx="527050" cy="527050"/>
          </a:xfrm>
        </p:grpSpPr>
        <p:sp>
          <p:nvSpPr>
            <p:cNvPr id="641" name="Oval 640"/>
            <p:cNvSpPr/>
            <p:nvPr/>
          </p:nvSpPr>
          <p:spPr bwMode="auto">
            <a:xfrm>
              <a:off x="10811580" y="2714625"/>
              <a:ext cx="527050" cy="527050"/>
            </a:xfrm>
            <a:prstGeom prst="ellipse">
              <a:avLst/>
            </a:prstGeom>
            <a:solidFill>
              <a:srgbClr val="DC3C0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dist="88900" dir="2700000" sx="90000" sy="90000" algn="tl" rotWithShape="0">
                <a:prstClr val="black">
                  <a:alpha val="11000"/>
                </a:prstClr>
              </a:outerShdw>
            </a:effectLst>
          </p:spPr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-25000" noProof="0" dirty="0" smtClean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642" name="Group 641"/>
            <p:cNvGrpSpPr/>
            <p:nvPr/>
          </p:nvGrpSpPr>
          <p:grpSpPr bwMode="black">
            <a:xfrm>
              <a:off x="10885015" y="2860260"/>
              <a:ext cx="380201" cy="235780"/>
              <a:chOff x="10387012" y="4103350"/>
              <a:chExt cx="995920" cy="725626"/>
            </a:xfrm>
            <a:solidFill>
              <a:srgbClr val="FFFFFF"/>
            </a:solidFill>
          </p:grpSpPr>
          <p:sp>
            <p:nvSpPr>
              <p:cNvPr id="643" name="Freeform 642"/>
              <p:cNvSpPr>
                <a:spLocks/>
              </p:cNvSpPr>
              <p:nvPr/>
            </p:nvSpPr>
            <p:spPr bwMode="black">
              <a:xfrm>
                <a:off x="10506081" y="4218399"/>
                <a:ext cx="706438" cy="599679"/>
              </a:xfrm>
              <a:custGeom>
                <a:avLst/>
                <a:gdLst>
                  <a:gd name="T0" fmla="*/ 183 w 188"/>
                  <a:gd name="T1" fmla="*/ 84 h 137"/>
                  <a:gd name="T2" fmla="*/ 104 w 188"/>
                  <a:gd name="T3" fmla="*/ 27 h 137"/>
                  <a:gd name="T4" fmla="*/ 86 w 188"/>
                  <a:gd name="T5" fmla="*/ 19 h 137"/>
                  <a:gd name="T6" fmla="*/ 59 w 188"/>
                  <a:gd name="T7" fmla="*/ 34 h 137"/>
                  <a:gd name="T8" fmla="*/ 56 w 188"/>
                  <a:gd name="T9" fmla="*/ 36 h 137"/>
                  <a:gd name="T10" fmla="*/ 43 w 188"/>
                  <a:gd name="T11" fmla="*/ 38 h 137"/>
                  <a:gd name="T12" fmla="*/ 43 w 188"/>
                  <a:gd name="T13" fmla="*/ 38 h 137"/>
                  <a:gd name="T14" fmla="*/ 26 w 188"/>
                  <a:gd name="T15" fmla="*/ 27 h 137"/>
                  <a:gd name="T16" fmla="*/ 24 w 188"/>
                  <a:gd name="T17" fmla="*/ 14 h 137"/>
                  <a:gd name="T18" fmla="*/ 31 w 188"/>
                  <a:gd name="T19" fmla="*/ 0 h 137"/>
                  <a:gd name="T20" fmla="*/ 21 w 188"/>
                  <a:gd name="T21" fmla="*/ 0 h 137"/>
                  <a:gd name="T22" fmla="*/ 1 w 188"/>
                  <a:gd name="T23" fmla="*/ 79 h 137"/>
                  <a:gd name="T24" fmla="*/ 4 w 188"/>
                  <a:gd name="T25" fmla="*/ 80 h 137"/>
                  <a:gd name="T26" fmla="*/ 16 w 188"/>
                  <a:gd name="T27" fmla="*/ 70 h 137"/>
                  <a:gd name="T28" fmla="*/ 22 w 188"/>
                  <a:gd name="T29" fmla="*/ 70 h 137"/>
                  <a:gd name="T30" fmla="*/ 32 w 188"/>
                  <a:gd name="T31" fmla="*/ 74 h 137"/>
                  <a:gd name="T32" fmla="*/ 43 w 188"/>
                  <a:gd name="T33" fmla="*/ 72 h 137"/>
                  <a:gd name="T34" fmla="*/ 44 w 188"/>
                  <a:gd name="T35" fmla="*/ 72 h 137"/>
                  <a:gd name="T36" fmla="*/ 53 w 188"/>
                  <a:gd name="T37" fmla="*/ 76 h 137"/>
                  <a:gd name="T38" fmla="*/ 65 w 188"/>
                  <a:gd name="T39" fmla="*/ 74 h 137"/>
                  <a:gd name="T40" fmla="*/ 67 w 188"/>
                  <a:gd name="T41" fmla="*/ 74 h 137"/>
                  <a:gd name="T42" fmla="*/ 80 w 188"/>
                  <a:gd name="T43" fmla="*/ 88 h 137"/>
                  <a:gd name="T44" fmla="*/ 83 w 188"/>
                  <a:gd name="T45" fmla="*/ 88 h 137"/>
                  <a:gd name="T46" fmla="*/ 85 w 188"/>
                  <a:gd name="T47" fmla="*/ 89 h 137"/>
                  <a:gd name="T48" fmla="*/ 99 w 188"/>
                  <a:gd name="T49" fmla="*/ 108 h 137"/>
                  <a:gd name="T50" fmla="*/ 99 w 188"/>
                  <a:gd name="T51" fmla="*/ 110 h 137"/>
                  <a:gd name="T52" fmla="*/ 96 w 188"/>
                  <a:gd name="T53" fmla="*/ 124 h 137"/>
                  <a:gd name="T54" fmla="*/ 114 w 188"/>
                  <a:gd name="T55" fmla="*/ 137 h 137"/>
                  <a:gd name="T56" fmla="*/ 123 w 188"/>
                  <a:gd name="T57" fmla="*/ 132 h 137"/>
                  <a:gd name="T58" fmla="*/ 124 w 188"/>
                  <a:gd name="T59" fmla="*/ 124 h 137"/>
                  <a:gd name="T60" fmla="*/ 108 w 188"/>
                  <a:gd name="T61" fmla="*/ 112 h 137"/>
                  <a:gd name="T62" fmla="*/ 107 w 188"/>
                  <a:gd name="T63" fmla="*/ 109 h 137"/>
                  <a:gd name="T64" fmla="*/ 110 w 188"/>
                  <a:gd name="T65" fmla="*/ 109 h 137"/>
                  <a:gd name="T66" fmla="*/ 136 w 188"/>
                  <a:gd name="T67" fmla="*/ 127 h 137"/>
                  <a:gd name="T68" fmla="*/ 145 w 188"/>
                  <a:gd name="T69" fmla="*/ 123 h 137"/>
                  <a:gd name="T70" fmla="*/ 147 w 188"/>
                  <a:gd name="T71" fmla="*/ 114 h 137"/>
                  <a:gd name="T72" fmla="*/ 117 w 188"/>
                  <a:gd name="T73" fmla="*/ 93 h 137"/>
                  <a:gd name="T74" fmla="*/ 117 w 188"/>
                  <a:gd name="T75" fmla="*/ 90 h 137"/>
                  <a:gd name="T76" fmla="*/ 120 w 188"/>
                  <a:gd name="T77" fmla="*/ 89 h 137"/>
                  <a:gd name="T78" fmla="*/ 156 w 188"/>
                  <a:gd name="T79" fmla="*/ 116 h 137"/>
                  <a:gd name="T80" fmla="*/ 165 w 188"/>
                  <a:gd name="T81" fmla="*/ 111 h 137"/>
                  <a:gd name="T82" fmla="*/ 167 w 188"/>
                  <a:gd name="T83" fmla="*/ 102 h 137"/>
                  <a:gd name="T84" fmla="*/ 137 w 188"/>
                  <a:gd name="T85" fmla="*/ 81 h 137"/>
                  <a:gd name="T86" fmla="*/ 136 w 188"/>
                  <a:gd name="T87" fmla="*/ 78 h 137"/>
                  <a:gd name="T88" fmla="*/ 139 w 188"/>
                  <a:gd name="T89" fmla="*/ 77 h 137"/>
                  <a:gd name="T90" fmla="*/ 176 w 188"/>
                  <a:gd name="T91" fmla="*/ 104 h 137"/>
                  <a:gd name="T92" fmla="*/ 185 w 188"/>
                  <a:gd name="T93" fmla="*/ 99 h 137"/>
                  <a:gd name="T94" fmla="*/ 183 w 188"/>
                  <a:gd name="T95" fmla="*/ 84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88" h="137">
                    <a:moveTo>
                      <a:pt x="183" y="84"/>
                    </a:moveTo>
                    <a:cubicBezTo>
                      <a:pt x="104" y="27"/>
                      <a:pt x="104" y="27"/>
                      <a:pt x="104" y="27"/>
                    </a:cubicBezTo>
                    <a:cubicBezTo>
                      <a:pt x="86" y="19"/>
                      <a:pt x="86" y="19"/>
                      <a:pt x="86" y="19"/>
                    </a:cubicBezTo>
                    <a:cubicBezTo>
                      <a:pt x="59" y="34"/>
                      <a:pt x="59" y="34"/>
                      <a:pt x="59" y="34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2" y="38"/>
                      <a:pt x="47" y="39"/>
                      <a:pt x="43" y="38"/>
                    </a:cubicBezTo>
                    <a:cubicBezTo>
                      <a:pt x="43" y="38"/>
                      <a:pt x="43" y="38"/>
                      <a:pt x="43" y="38"/>
                    </a:cubicBezTo>
                    <a:cubicBezTo>
                      <a:pt x="36" y="38"/>
                      <a:pt x="30" y="34"/>
                      <a:pt x="26" y="27"/>
                    </a:cubicBezTo>
                    <a:cubicBezTo>
                      <a:pt x="24" y="23"/>
                      <a:pt x="23" y="19"/>
                      <a:pt x="24" y="14"/>
                    </a:cubicBezTo>
                    <a:cubicBezTo>
                      <a:pt x="24" y="9"/>
                      <a:pt x="27" y="4"/>
                      <a:pt x="31" y="0"/>
                    </a:cubicBezTo>
                    <a:cubicBezTo>
                      <a:pt x="25" y="0"/>
                      <a:pt x="21" y="0"/>
                      <a:pt x="21" y="0"/>
                    </a:cubicBezTo>
                    <a:cubicBezTo>
                      <a:pt x="21" y="0"/>
                      <a:pt x="0" y="40"/>
                      <a:pt x="1" y="79"/>
                    </a:cubicBezTo>
                    <a:cubicBezTo>
                      <a:pt x="4" y="80"/>
                      <a:pt x="4" y="80"/>
                      <a:pt x="4" y="80"/>
                    </a:cubicBezTo>
                    <a:cubicBezTo>
                      <a:pt x="6" y="75"/>
                      <a:pt x="10" y="72"/>
                      <a:pt x="16" y="70"/>
                    </a:cubicBezTo>
                    <a:cubicBezTo>
                      <a:pt x="18" y="70"/>
                      <a:pt x="20" y="70"/>
                      <a:pt x="22" y="70"/>
                    </a:cubicBezTo>
                    <a:cubicBezTo>
                      <a:pt x="25" y="70"/>
                      <a:pt x="29" y="72"/>
                      <a:pt x="32" y="74"/>
                    </a:cubicBezTo>
                    <a:cubicBezTo>
                      <a:pt x="35" y="72"/>
                      <a:pt x="39" y="71"/>
                      <a:pt x="43" y="72"/>
                    </a:cubicBezTo>
                    <a:cubicBezTo>
                      <a:pt x="43" y="72"/>
                      <a:pt x="44" y="72"/>
                      <a:pt x="44" y="72"/>
                    </a:cubicBezTo>
                    <a:cubicBezTo>
                      <a:pt x="48" y="72"/>
                      <a:pt x="51" y="74"/>
                      <a:pt x="53" y="76"/>
                    </a:cubicBezTo>
                    <a:cubicBezTo>
                      <a:pt x="56" y="74"/>
                      <a:pt x="60" y="73"/>
                      <a:pt x="65" y="74"/>
                    </a:cubicBezTo>
                    <a:cubicBezTo>
                      <a:pt x="65" y="74"/>
                      <a:pt x="66" y="74"/>
                      <a:pt x="67" y="74"/>
                    </a:cubicBezTo>
                    <a:cubicBezTo>
                      <a:pt x="74" y="76"/>
                      <a:pt x="79" y="81"/>
                      <a:pt x="80" y="88"/>
                    </a:cubicBezTo>
                    <a:cubicBezTo>
                      <a:pt x="81" y="88"/>
                      <a:pt x="82" y="88"/>
                      <a:pt x="83" y="88"/>
                    </a:cubicBezTo>
                    <a:cubicBezTo>
                      <a:pt x="84" y="88"/>
                      <a:pt x="84" y="88"/>
                      <a:pt x="85" y="89"/>
                    </a:cubicBezTo>
                    <a:cubicBezTo>
                      <a:pt x="94" y="91"/>
                      <a:pt x="100" y="99"/>
                      <a:pt x="99" y="108"/>
                    </a:cubicBezTo>
                    <a:cubicBezTo>
                      <a:pt x="99" y="109"/>
                      <a:pt x="99" y="110"/>
                      <a:pt x="99" y="110"/>
                    </a:cubicBezTo>
                    <a:cubicBezTo>
                      <a:pt x="96" y="124"/>
                      <a:pt x="96" y="124"/>
                      <a:pt x="96" y="124"/>
                    </a:cubicBezTo>
                    <a:cubicBezTo>
                      <a:pt x="114" y="137"/>
                      <a:pt x="114" y="137"/>
                      <a:pt x="114" y="137"/>
                    </a:cubicBezTo>
                    <a:cubicBezTo>
                      <a:pt x="117" y="137"/>
                      <a:pt x="120" y="135"/>
                      <a:pt x="123" y="132"/>
                    </a:cubicBezTo>
                    <a:cubicBezTo>
                      <a:pt x="124" y="130"/>
                      <a:pt x="125" y="127"/>
                      <a:pt x="124" y="124"/>
                    </a:cubicBezTo>
                    <a:cubicBezTo>
                      <a:pt x="108" y="112"/>
                      <a:pt x="108" y="112"/>
                      <a:pt x="108" y="112"/>
                    </a:cubicBezTo>
                    <a:cubicBezTo>
                      <a:pt x="107" y="111"/>
                      <a:pt x="107" y="110"/>
                      <a:pt x="107" y="109"/>
                    </a:cubicBezTo>
                    <a:cubicBezTo>
                      <a:pt x="108" y="108"/>
                      <a:pt x="109" y="108"/>
                      <a:pt x="110" y="109"/>
                    </a:cubicBezTo>
                    <a:cubicBezTo>
                      <a:pt x="136" y="127"/>
                      <a:pt x="136" y="127"/>
                      <a:pt x="136" y="127"/>
                    </a:cubicBezTo>
                    <a:cubicBezTo>
                      <a:pt x="140" y="127"/>
                      <a:pt x="143" y="126"/>
                      <a:pt x="145" y="123"/>
                    </a:cubicBezTo>
                    <a:cubicBezTo>
                      <a:pt x="147" y="120"/>
                      <a:pt x="147" y="117"/>
                      <a:pt x="147" y="114"/>
                    </a:cubicBezTo>
                    <a:cubicBezTo>
                      <a:pt x="117" y="93"/>
                      <a:pt x="117" y="93"/>
                      <a:pt x="117" y="93"/>
                    </a:cubicBezTo>
                    <a:cubicBezTo>
                      <a:pt x="116" y="92"/>
                      <a:pt x="116" y="91"/>
                      <a:pt x="117" y="90"/>
                    </a:cubicBezTo>
                    <a:cubicBezTo>
                      <a:pt x="117" y="89"/>
                      <a:pt x="119" y="89"/>
                      <a:pt x="120" y="89"/>
                    </a:cubicBezTo>
                    <a:cubicBezTo>
                      <a:pt x="156" y="116"/>
                      <a:pt x="156" y="116"/>
                      <a:pt x="156" y="116"/>
                    </a:cubicBezTo>
                    <a:cubicBezTo>
                      <a:pt x="159" y="116"/>
                      <a:pt x="163" y="114"/>
                      <a:pt x="165" y="111"/>
                    </a:cubicBezTo>
                    <a:cubicBezTo>
                      <a:pt x="167" y="108"/>
                      <a:pt x="167" y="105"/>
                      <a:pt x="167" y="102"/>
                    </a:cubicBezTo>
                    <a:cubicBezTo>
                      <a:pt x="137" y="81"/>
                      <a:pt x="137" y="81"/>
                      <a:pt x="137" y="81"/>
                    </a:cubicBezTo>
                    <a:cubicBezTo>
                      <a:pt x="136" y="80"/>
                      <a:pt x="136" y="79"/>
                      <a:pt x="136" y="78"/>
                    </a:cubicBezTo>
                    <a:cubicBezTo>
                      <a:pt x="137" y="77"/>
                      <a:pt x="138" y="76"/>
                      <a:pt x="139" y="77"/>
                    </a:cubicBezTo>
                    <a:cubicBezTo>
                      <a:pt x="176" y="104"/>
                      <a:pt x="176" y="104"/>
                      <a:pt x="176" y="104"/>
                    </a:cubicBezTo>
                    <a:cubicBezTo>
                      <a:pt x="180" y="104"/>
                      <a:pt x="183" y="102"/>
                      <a:pt x="185" y="99"/>
                    </a:cubicBezTo>
                    <a:cubicBezTo>
                      <a:pt x="188" y="94"/>
                      <a:pt x="187" y="87"/>
                      <a:pt x="183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3231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-25000" noProof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44" name="Freeform 643"/>
              <p:cNvSpPr>
                <a:spLocks/>
              </p:cNvSpPr>
              <p:nvPr/>
            </p:nvSpPr>
            <p:spPr bwMode="black">
              <a:xfrm>
                <a:off x="10615616" y="4103350"/>
                <a:ext cx="657226" cy="452255"/>
              </a:xfrm>
              <a:custGeom>
                <a:avLst/>
                <a:gdLst>
                  <a:gd name="T0" fmla="*/ 127 w 175"/>
                  <a:gd name="T1" fmla="*/ 31 h 100"/>
                  <a:gd name="T2" fmla="*/ 119 w 175"/>
                  <a:gd name="T3" fmla="*/ 28 h 100"/>
                  <a:gd name="T4" fmla="*/ 62 w 175"/>
                  <a:gd name="T5" fmla="*/ 2 h 100"/>
                  <a:gd name="T6" fmla="*/ 49 w 175"/>
                  <a:gd name="T7" fmla="*/ 3 h 100"/>
                  <a:gd name="T8" fmla="*/ 26 w 175"/>
                  <a:gd name="T9" fmla="*/ 16 h 100"/>
                  <a:gd name="T10" fmla="*/ 9 w 175"/>
                  <a:gd name="T11" fmla="*/ 25 h 100"/>
                  <a:gd name="T12" fmla="*/ 4 w 175"/>
                  <a:gd name="T13" fmla="*/ 45 h 100"/>
                  <a:gd name="T14" fmla="*/ 15 w 175"/>
                  <a:gd name="T15" fmla="*/ 52 h 100"/>
                  <a:gd name="T16" fmla="*/ 23 w 175"/>
                  <a:gd name="T17" fmla="*/ 50 h 100"/>
                  <a:gd name="T18" fmla="*/ 23 w 175"/>
                  <a:gd name="T19" fmla="*/ 50 h 100"/>
                  <a:gd name="T20" fmla="*/ 57 w 175"/>
                  <a:gd name="T21" fmla="*/ 32 h 100"/>
                  <a:gd name="T22" fmla="*/ 79 w 175"/>
                  <a:gd name="T23" fmla="*/ 42 h 100"/>
                  <a:gd name="T24" fmla="*/ 109 w 175"/>
                  <a:gd name="T25" fmla="*/ 64 h 100"/>
                  <a:gd name="T26" fmla="*/ 158 w 175"/>
                  <a:gd name="T27" fmla="*/ 99 h 100"/>
                  <a:gd name="T28" fmla="*/ 159 w 175"/>
                  <a:gd name="T29" fmla="*/ 100 h 100"/>
                  <a:gd name="T30" fmla="*/ 173 w 175"/>
                  <a:gd name="T31" fmla="*/ 97 h 100"/>
                  <a:gd name="T32" fmla="*/ 154 w 175"/>
                  <a:gd name="T33" fmla="*/ 29 h 100"/>
                  <a:gd name="T34" fmla="*/ 127 w 175"/>
                  <a:gd name="T35" fmla="*/ 31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5" h="100">
                    <a:moveTo>
                      <a:pt x="127" y="31"/>
                    </a:moveTo>
                    <a:cubicBezTo>
                      <a:pt x="125" y="31"/>
                      <a:pt x="122" y="30"/>
                      <a:pt x="119" y="28"/>
                    </a:cubicBezTo>
                    <a:cubicBezTo>
                      <a:pt x="62" y="2"/>
                      <a:pt x="62" y="2"/>
                      <a:pt x="62" y="2"/>
                    </a:cubicBezTo>
                    <a:cubicBezTo>
                      <a:pt x="58" y="0"/>
                      <a:pt x="53" y="1"/>
                      <a:pt x="49" y="3"/>
                    </a:cubicBezTo>
                    <a:cubicBezTo>
                      <a:pt x="26" y="16"/>
                      <a:pt x="26" y="16"/>
                      <a:pt x="26" y="16"/>
                    </a:cubicBezTo>
                    <a:cubicBezTo>
                      <a:pt x="9" y="25"/>
                      <a:pt x="9" y="25"/>
                      <a:pt x="9" y="25"/>
                    </a:cubicBezTo>
                    <a:cubicBezTo>
                      <a:pt x="2" y="29"/>
                      <a:pt x="0" y="38"/>
                      <a:pt x="4" y="45"/>
                    </a:cubicBezTo>
                    <a:cubicBezTo>
                      <a:pt x="6" y="49"/>
                      <a:pt x="10" y="52"/>
                      <a:pt x="15" y="52"/>
                    </a:cubicBezTo>
                    <a:cubicBezTo>
                      <a:pt x="18" y="52"/>
                      <a:pt x="21" y="52"/>
                      <a:pt x="23" y="50"/>
                    </a:cubicBezTo>
                    <a:cubicBezTo>
                      <a:pt x="23" y="50"/>
                      <a:pt x="23" y="50"/>
                      <a:pt x="23" y="50"/>
                    </a:cubicBezTo>
                    <a:cubicBezTo>
                      <a:pt x="57" y="32"/>
                      <a:pt x="57" y="32"/>
                      <a:pt x="57" y="32"/>
                    </a:cubicBezTo>
                    <a:cubicBezTo>
                      <a:pt x="79" y="42"/>
                      <a:pt x="79" y="42"/>
                      <a:pt x="79" y="42"/>
                    </a:cubicBezTo>
                    <a:cubicBezTo>
                      <a:pt x="109" y="64"/>
                      <a:pt x="109" y="64"/>
                      <a:pt x="109" y="64"/>
                    </a:cubicBezTo>
                    <a:cubicBezTo>
                      <a:pt x="158" y="99"/>
                      <a:pt x="158" y="99"/>
                      <a:pt x="158" y="99"/>
                    </a:cubicBezTo>
                    <a:cubicBezTo>
                      <a:pt x="158" y="99"/>
                      <a:pt x="159" y="100"/>
                      <a:pt x="159" y="100"/>
                    </a:cubicBezTo>
                    <a:cubicBezTo>
                      <a:pt x="173" y="97"/>
                      <a:pt x="173" y="97"/>
                      <a:pt x="173" y="97"/>
                    </a:cubicBezTo>
                    <a:cubicBezTo>
                      <a:pt x="175" y="51"/>
                      <a:pt x="154" y="29"/>
                      <a:pt x="154" y="29"/>
                    </a:cubicBezTo>
                    <a:cubicBezTo>
                      <a:pt x="154" y="29"/>
                      <a:pt x="133" y="33"/>
                      <a:pt x="127" y="3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3231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-25000" noProof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45" name="Freeform 644"/>
              <p:cNvSpPr>
                <a:spLocks/>
              </p:cNvSpPr>
              <p:nvPr/>
            </p:nvSpPr>
            <p:spPr bwMode="black">
              <a:xfrm>
                <a:off x="10536238" y="4554567"/>
                <a:ext cx="319088" cy="274409"/>
              </a:xfrm>
              <a:custGeom>
                <a:avLst/>
                <a:gdLst>
                  <a:gd name="T0" fmla="*/ 76 w 85"/>
                  <a:gd name="T1" fmla="*/ 20 h 59"/>
                  <a:gd name="T2" fmla="*/ 64 w 85"/>
                  <a:gd name="T3" fmla="*/ 25 h 59"/>
                  <a:gd name="T4" fmla="*/ 65 w 85"/>
                  <a:gd name="T5" fmla="*/ 18 h 59"/>
                  <a:gd name="T6" fmla="*/ 57 w 85"/>
                  <a:gd name="T7" fmla="*/ 5 h 59"/>
                  <a:gd name="T8" fmla="*/ 44 w 85"/>
                  <a:gd name="T9" fmla="*/ 13 h 59"/>
                  <a:gd name="T10" fmla="*/ 44 w 85"/>
                  <a:gd name="T11" fmla="*/ 14 h 59"/>
                  <a:gd name="T12" fmla="*/ 35 w 85"/>
                  <a:gd name="T13" fmla="*/ 3 h 59"/>
                  <a:gd name="T14" fmla="*/ 23 w 85"/>
                  <a:gd name="T15" fmla="*/ 10 h 59"/>
                  <a:gd name="T16" fmla="*/ 23 w 85"/>
                  <a:gd name="T17" fmla="*/ 10 h 59"/>
                  <a:gd name="T18" fmla="*/ 10 w 85"/>
                  <a:gd name="T19" fmla="*/ 1 h 59"/>
                  <a:gd name="T20" fmla="*/ 1 w 85"/>
                  <a:gd name="T21" fmla="*/ 14 h 59"/>
                  <a:gd name="T22" fmla="*/ 4 w 85"/>
                  <a:gd name="T23" fmla="*/ 28 h 59"/>
                  <a:gd name="T24" fmla="*/ 14 w 85"/>
                  <a:gd name="T25" fmla="*/ 36 h 59"/>
                  <a:gd name="T26" fmla="*/ 17 w 85"/>
                  <a:gd name="T27" fmla="*/ 36 h 59"/>
                  <a:gd name="T28" fmla="*/ 19 w 85"/>
                  <a:gd name="T29" fmla="*/ 35 h 59"/>
                  <a:gd name="T30" fmla="*/ 27 w 85"/>
                  <a:gd name="T31" fmla="*/ 43 h 59"/>
                  <a:gd name="T32" fmla="*/ 28 w 85"/>
                  <a:gd name="T33" fmla="*/ 43 h 59"/>
                  <a:gd name="T34" fmla="*/ 39 w 85"/>
                  <a:gd name="T35" fmla="*/ 38 h 59"/>
                  <a:gd name="T36" fmla="*/ 38 w 85"/>
                  <a:gd name="T37" fmla="*/ 39 h 59"/>
                  <a:gd name="T38" fmla="*/ 47 w 85"/>
                  <a:gd name="T39" fmla="*/ 52 h 59"/>
                  <a:gd name="T40" fmla="*/ 48 w 85"/>
                  <a:gd name="T41" fmla="*/ 52 h 59"/>
                  <a:gd name="T42" fmla="*/ 58 w 85"/>
                  <a:gd name="T43" fmla="*/ 47 h 59"/>
                  <a:gd name="T44" fmla="*/ 67 w 85"/>
                  <a:gd name="T45" fmla="*/ 59 h 59"/>
                  <a:gd name="T46" fmla="*/ 68 w 85"/>
                  <a:gd name="T47" fmla="*/ 59 h 59"/>
                  <a:gd name="T48" fmla="*/ 80 w 85"/>
                  <a:gd name="T49" fmla="*/ 50 h 59"/>
                  <a:gd name="T50" fmla="*/ 84 w 85"/>
                  <a:gd name="T51" fmla="*/ 33 h 59"/>
                  <a:gd name="T52" fmla="*/ 76 w 85"/>
                  <a:gd name="T53" fmla="*/ 2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85" h="59">
                    <a:moveTo>
                      <a:pt x="76" y="20"/>
                    </a:moveTo>
                    <a:cubicBezTo>
                      <a:pt x="71" y="19"/>
                      <a:pt x="66" y="21"/>
                      <a:pt x="64" y="25"/>
                    </a:cubicBezTo>
                    <a:cubicBezTo>
                      <a:pt x="65" y="18"/>
                      <a:pt x="65" y="18"/>
                      <a:pt x="65" y="18"/>
                    </a:cubicBezTo>
                    <a:cubicBezTo>
                      <a:pt x="67" y="12"/>
                      <a:pt x="63" y="6"/>
                      <a:pt x="57" y="5"/>
                    </a:cubicBezTo>
                    <a:cubicBezTo>
                      <a:pt x="51" y="4"/>
                      <a:pt x="45" y="7"/>
                      <a:pt x="44" y="13"/>
                    </a:cubicBezTo>
                    <a:cubicBezTo>
                      <a:pt x="44" y="14"/>
                      <a:pt x="44" y="14"/>
                      <a:pt x="44" y="14"/>
                    </a:cubicBezTo>
                    <a:cubicBezTo>
                      <a:pt x="44" y="9"/>
                      <a:pt x="40" y="4"/>
                      <a:pt x="35" y="3"/>
                    </a:cubicBezTo>
                    <a:cubicBezTo>
                      <a:pt x="30" y="2"/>
                      <a:pt x="24" y="5"/>
                      <a:pt x="23" y="10"/>
                    </a:cubicBezTo>
                    <a:cubicBezTo>
                      <a:pt x="23" y="10"/>
                      <a:pt x="23" y="10"/>
                      <a:pt x="23" y="10"/>
                    </a:cubicBezTo>
                    <a:cubicBezTo>
                      <a:pt x="21" y="4"/>
                      <a:pt x="15" y="0"/>
                      <a:pt x="10" y="1"/>
                    </a:cubicBezTo>
                    <a:cubicBezTo>
                      <a:pt x="4" y="3"/>
                      <a:pt x="0" y="8"/>
                      <a:pt x="1" y="14"/>
                    </a:cubicBezTo>
                    <a:cubicBezTo>
                      <a:pt x="4" y="28"/>
                      <a:pt x="4" y="28"/>
                      <a:pt x="4" y="28"/>
                    </a:cubicBezTo>
                    <a:cubicBezTo>
                      <a:pt x="5" y="32"/>
                      <a:pt x="9" y="36"/>
                      <a:pt x="14" y="36"/>
                    </a:cubicBezTo>
                    <a:cubicBezTo>
                      <a:pt x="15" y="36"/>
                      <a:pt x="16" y="36"/>
                      <a:pt x="17" y="36"/>
                    </a:cubicBezTo>
                    <a:cubicBezTo>
                      <a:pt x="18" y="36"/>
                      <a:pt x="18" y="36"/>
                      <a:pt x="19" y="35"/>
                    </a:cubicBezTo>
                    <a:cubicBezTo>
                      <a:pt x="20" y="39"/>
                      <a:pt x="23" y="42"/>
                      <a:pt x="27" y="43"/>
                    </a:cubicBezTo>
                    <a:cubicBezTo>
                      <a:pt x="28" y="43"/>
                      <a:pt x="28" y="43"/>
                      <a:pt x="28" y="43"/>
                    </a:cubicBezTo>
                    <a:cubicBezTo>
                      <a:pt x="32" y="43"/>
                      <a:pt x="36" y="41"/>
                      <a:pt x="39" y="38"/>
                    </a:cubicBezTo>
                    <a:cubicBezTo>
                      <a:pt x="38" y="39"/>
                      <a:pt x="38" y="39"/>
                      <a:pt x="38" y="39"/>
                    </a:cubicBezTo>
                    <a:cubicBezTo>
                      <a:pt x="37" y="44"/>
                      <a:pt x="41" y="50"/>
                      <a:pt x="47" y="52"/>
                    </a:cubicBezTo>
                    <a:cubicBezTo>
                      <a:pt x="47" y="52"/>
                      <a:pt x="47" y="52"/>
                      <a:pt x="48" y="52"/>
                    </a:cubicBezTo>
                    <a:cubicBezTo>
                      <a:pt x="52" y="52"/>
                      <a:pt x="56" y="50"/>
                      <a:pt x="58" y="47"/>
                    </a:cubicBezTo>
                    <a:cubicBezTo>
                      <a:pt x="58" y="52"/>
                      <a:pt x="61" y="57"/>
                      <a:pt x="67" y="59"/>
                    </a:cubicBezTo>
                    <a:cubicBezTo>
                      <a:pt x="67" y="59"/>
                      <a:pt x="67" y="59"/>
                      <a:pt x="68" y="59"/>
                    </a:cubicBezTo>
                    <a:cubicBezTo>
                      <a:pt x="73" y="59"/>
                      <a:pt x="78" y="56"/>
                      <a:pt x="80" y="50"/>
                    </a:cubicBezTo>
                    <a:cubicBezTo>
                      <a:pt x="84" y="33"/>
                      <a:pt x="84" y="33"/>
                      <a:pt x="84" y="33"/>
                    </a:cubicBezTo>
                    <a:cubicBezTo>
                      <a:pt x="85" y="27"/>
                      <a:pt x="81" y="21"/>
                      <a:pt x="76" y="2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3231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-25000" noProof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46" name="Freeform 645"/>
              <p:cNvSpPr>
                <a:spLocks/>
              </p:cNvSpPr>
              <p:nvPr/>
            </p:nvSpPr>
            <p:spPr bwMode="black">
              <a:xfrm>
                <a:off x="11207741" y="4198910"/>
                <a:ext cx="175191" cy="359859"/>
              </a:xfrm>
              <a:custGeom>
                <a:avLst/>
                <a:gdLst>
                  <a:gd name="T0" fmla="*/ 41 w 41"/>
                  <a:gd name="T1" fmla="*/ 77 h 85"/>
                  <a:gd name="T2" fmla="*/ 33 w 41"/>
                  <a:gd name="T3" fmla="*/ 7 h 85"/>
                  <a:gd name="T4" fmla="*/ 24 w 41"/>
                  <a:gd name="T5" fmla="*/ 1 h 85"/>
                  <a:gd name="T6" fmla="*/ 0 w 41"/>
                  <a:gd name="T7" fmla="*/ 7 h 85"/>
                  <a:gd name="T8" fmla="*/ 22 w 41"/>
                  <a:gd name="T9" fmla="*/ 85 h 85"/>
                  <a:gd name="T10" fmla="*/ 33 w 41"/>
                  <a:gd name="T11" fmla="*/ 85 h 85"/>
                  <a:gd name="T12" fmla="*/ 41 w 41"/>
                  <a:gd name="T13" fmla="*/ 77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" h="85">
                    <a:moveTo>
                      <a:pt x="41" y="77"/>
                    </a:moveTo>
                    <a:cubicBezTo>
                      <a:pt x="33" y="7"/>
                      <a:pt x="33" y="7"/>
                      <a:pt x="33" y="7"/>
                    </a:cubicBezTo>
                    <a:cubicBezTo>
                      <a:pt x="32" y="2"/>
                      <a:pt x="28" y="0"/>
                      <a:pt x="24" y="1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7"/>
                      <a:pt x="25" y="32"/>
                      <a:pt x="22" y="85"/>
                    </a:cubicBezTo>
                    <a:cubicBezTo>
                      <a:pt x="33" y="85"/>
                      <a:pt x="33" y="85"/>
                      <a:pt x="33" y="85"/>
                    </a:cubicBezTo>
                    <a:cubicBezTo>
                      <a:pt x="38" y="85"/>
                      <a:pt x="41" y="81"/>
                      <a:pt x="41" y="7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3231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-25000" noProof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47" name="Freeform 646"/>
              <p:cNvSpPr>
                <a:spLocks/>
              </p:cNvSpPr>
              <p:nvPr/>
            </p:nvSpPr>
            <p:spPr bwMode="black">
              <a:xfrm>
                <a:off x="10387012" y="4206348"/>
                <a:ext cx="176211" cy="352424"/>
              </a:xfrm>
              <a:custGeom>
                <a:avLst/>
                <a:gdLst>
                  <a:gd name="T0" fmla="*/ 47 w 47"/>
                  <a:gd name="T1" fmla="*/ 9 h 94"/>
                  <a:gd name="T2" fmla="*/ 35 w 47"/>
                  <a:gd name="T3" fmla="*/ 2 h 94"/>
                  <a:gd name="T4" fmla="*/ 25 w 47"/>
                  <a:gd name="T5" fmla="*/ 6 h 94"/>
                  <a:gd name="T6" fmla="*/ 2 w 47"/>
                  <a:gd name="T7" fmla="*/ 81 h 94"/>
                  <a:gd name="T8" fmla="*/ 7 w 47"/>
                  <a:gd name="T9" fmla="*/ 90 h 94"/>
                  <a:gd name="T10" fmla="*/ 26 w 47"/>
                  <a:gd name="T11" fmla="*/ 94 h 94"/>
                  <a:gd name="T12" fmla="*/ 47 w 47"/>
                  <a:gd name="T13" fmla="*/ 9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94">
                    <a:moveTo>
                      <a:pt x="47" y="9"/>
                    </a:moveTo>
                    <a:cubicBezTo>
                      <a:pt x="35" y="2"/>
                      <a:pt x="35" y="2"/>
                      <a:pt x="35" y="2"/>
                    </a:cubicBezTo>
                    <a:cubicBezTo>
                      <a:pt x="31" y="0"/>
                      <a:pt x="27" y="2"/>
                      <a:pt x="25" y="6"/>
                    </a:cubicBezTo>
                    <a:cubicBezTo>
                      <a:pt x="2" y="81"/>
                      <a:pt x="2" y="81"/>
                      <a:pt x="2" y="81"/>
                    </a:cubicBezTo>
                    <a:cubicBezTo>
                      <a:pt x="0" y="86"/>
                      <a:pt x="3" y="90"/>
                      <a:pt x="7" y="90"/>
                    </a:cubicBezTo>
                    <a:cubicBezTo>
                      <a:pt x="26" y="94"/>
                      <a:pt x="26" y="94"/>
                      <a:pt x="26" y="94"/>
                    </a:cubicBezTo>
                    <a:cubicBezTo>
                      <a:pt x="24" y="52"/>
                      <a:pt x="47" y="9"/>
                      <a:pt x="47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3231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-25000" noProof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575" name="Group 574"/>
          <p:cNvGrpSpPr/>
          <p:nvPr/>
        </p:nvGrpSpPr>
        <p:grpSpPr>
          <a:xfrm>
            <a:off x="6183621" y="1123050"/>
            <a:ext cx="439327" cy="439327"/>
            <a:chOff x="10187340" y="2714625"/>
            <a:chExt cx="527050" cy="527050"/>
          </a:xfrm>
        </p:grpSpPr>
        <p:sp>
          <p:nvSpPr>
            <p:cNvPr id="639" name="Oval 638"/>
            <p:cNvSpPr/>
            <p:nvPr/>
          </p:nvSpPr>
          <p:spPr bwMode="auto">
            <a:xfrm>
              <a:off x="10187340" y="2714625"/>
              <a:ext cx="527050" cy="527050"/>
            </a:xfrm>
            <a:prstGeom prst="ellipse">
              <a:avLst/>
            </a:prstGeom>
            <a:solidFill>
              <a:srgbClr val="68217A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dist="88900" dir="2700000" sx="90000" sy="90000" algn="tl" rotWithShape="0">
                <a:prstClr val="black">
                  <a:alpha val="11000"/>
                </a:prstClr>
              </a:outerShdw>
            </a:effectLst>
          </p:spPr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-2500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40" name="Freeform 639"/>
            <p:cNvSpPr>
              <a:spLocks noEditPoints="1"/>
            </p:cNvSpPr>
            <p:nvPr/>
          </p:nvSpPr>
          <p:spPr bwMode="black">
            <a:xfrm>
              <a:off x="10308202" y="2835488"/>
              <a:ext cx="285327" cy="285325"/>
            </a:xfrm>
            <a:custGeom>
              <a:avLst/>
              <a:gdLst>
                <a:gd name="T0" fmla="*/ 47 w 66"/>
                <a:gd name="T1" fmla="*/ 37 h 66"/>
                <a:gd name="T2" fmla="*/ 51 w 66"/>
                <a:gd name="T3" fmla="*/ 33 h 66"/>
                <a:gd name="T4" fmla="*/ 47 w 66"/>
                <a:gd name="T5" fmla="*/ 29 h 66"/>
                <a:gd name="T6" fmla="*/ 37 w 66"/>
                <a:gd name="T7" fmla="*/ 29 h 66"/>
                <a:gd name="T8" fmla="*/ 37 w 66"/>
                <a:gd name="T9" fmla="*/ 16 h 66"/>
                <a:gd name="T10" fmla="*/ 33 w 66"/>
                <a:gd name="T11" fmla="*/ 13 h 66"/>
                <a:gd name="T12" fmla="*/ 29 w 66"/>
                <a:gd name="T13" fmla="*/ 16 h 66"/>
                <a:gd name="T14" fmla="*/ 29 w 66"/>
                <a:gd name="T15" fmla="*/ 33 h 66"/>
                <a:gd name="T16" fmla="*/ 33 w 66"/>
                <a:gd name="T17" fmla="*/ 37 h 66"/>
                <a:gd name="T18" fmla="*/ 47 w 66"/>
                <a:gd name="T19" fmla="*/ 37 h 66"/>
                <a:gd name="T20" fmla="*/ 33 w 66"/>
                <a:gd name="T21" fmla="*/ 8 h 66"/>
                <a:gd name="T22" fmla="*/ 58 w 66"/>
                <a:gd name="T23" fmla="*/ 33 h 66"/>
                <a:gd name="T24" fmla="*/ 33 w 66"/>
                <a:gd name="T25" fmla="*/ 58 h 66"/>
                <a:gd name="T26" fmla="*/ 8 w 66"/>
                <a:gd name="T27" fmla="*/ 33 h 66"/>
                <a:gd name="T28" fmla="*/ 33 w 66"/>
                <a:gd name="T29" fmla="*/ 8 h 66"/>
                <a:gd name="T30" fmla="*/ 33 w 66"/>
                <a:gd name="T31" fmla="*/ 66 h 66"/>
                <a:gd name="T32" fmla="*/ 66 w 66"/>
                <a:gd name="T33" fmla="*/ 33 h 66"/>
                <a:gd name="T34" fmla="*/ 33 w 66"/>
                <a:gd name="T35" fmla="*/ 0 h 66"/>
                <a:gd name="T36" fmla="*/ 0 w 66"/>
                <a:gd name="T37" fmla="*/ 33 h 66"/>
                <a:gd name="T38" fmla="*/ 33 w 66"/>
                <a:gd name="T39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6" h="66">
                  <a:moveTo>
                    <a:pt x="47" y="37"/>
                  </a:moveTo>
                  <a:cubicBezTo>
                    <a:pt x="49" y="37"/>
                    <a:pt x="51" y="35"/>
                    <a:pt x="51" y="33"/>
                  </a:cubicBezTo>
                  <a:cubicBezTo>
                    <a:pt x="51" y="31"/>
                    <a:pt x="49" y="29"/>
                    <a:pt x="47" y="29"/>
                  </a:cubicBezTo>
                  <a:cubicBezTo>
                    <a:pt x="37" y="29"/>
                    <a:pt x="37" y="29"/>
                    <a:pt x="37" y="29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7" y="14"/>
                    <a:pt x="35" y="13"/>
                    <a:pt x="33" y="13"/>
                  </a:cubicBezTo>
                  <a:cubicBezTo>
                    <a:pt x="31" y="13"/>
                    <a:pt x="29" y="14"/>
                    <a:pt x="29" y="16"/>
                  </a:cubicBezTo>
                  <a:cubicBezTo>
                    <a:pt x="29" y="33"/>
                    <a:pt x="29" y="33"/>
                    <a:pt x="29" y="33"/>
                  </a:cubicBezTo>
                  <a:cubicBezTo>
                    <a:pt x="29" y="35"/>
                    <a:pt x="31" y="37"/>
                    <a:pt x="33" y="37"/>
                  </a:cubicBezTo>
                  <a:lnTo>
                    <a:pt x="47" y="37"/>
                  </a:lnTo>
                  <a:close/>
                  <a:moveTo>
                    <a:pt x="33" y="8"/>
                  </a:moveTo>
                  <a:cubicBezTo>
                    <a:pt x="47" y="8"/>
                    <a:pt x="58" y="19"/>
                    <a:pt x="58" y="33"/>
                  </a:cubicBezTo>
                  <a:cubicBezTo>
                    <a:pt x="58" y="47"/>
                    <a:pt x="47" y="58"/>
                    <a:pt x="33" y="58"/>
                  </a:cubicBezTo>
                  <a:cubicBezTo>
                    <a:pt x="19" y="58"/>
                    <a:pt x="8" y="47"/>
                    <a:pt x="8" y="33"/>
                  </a:cubicBezTo>
                  <a:cubicBezTo>
                    <a:pt x="8" y="19"/>
                    <a:pt x="19" y="8"/>
                    <a:pt x="33" y="8"/>
                  </a:cubicBezTo>
                  <a:moveTo>
                    <a:pt x="33" y="66"/>
                  </a:move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576" name="Oval 575"/>
          <p:cNvSpPr/>
          <p:nvPr/>
        </p:nvSpPr>
        <p:spPr bwMode="auto">
          <a:xfrm>
            <a:off x="4812824" y="1720805"/>
            <a:ext cx="440375" cy="440372"/>
          </a:xfrm>
          <a:prstGeom prst="ellipse">
            <a:avLst/>
          </a:prstGeom>
          <a:solidFill>
            <a:srgbClr val="0072C6">
              <a:lumMod val="50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dist="88900" dir="2700000" sx="90000" sy="90000" algn="tl" rotWithShape="0">
              <a:prstClr val="black">
                <a:alpha val="11000"/>
              </a:prstClr>
            </a:outerShdw>
          </a:effectLst>
        </p:spPr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55132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10264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65397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220529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775661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330793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85926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441058" algn="l" defTabSz="555132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-2500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77" name="Freeform 576"/>
          <p:cNvSpPr>
            <a:spLocks noEditPoints="1"/>
          </p:cNvSpPr>
          <p:nvPr/>
        </p:nvSpPr>
        <p:spPr bwMode="black">
          <a:xfrm>
            <a:off x="7054721" y="1853970"/>
            <a:ext cx="246244" cy="190640"/>
          </a:xfrm>
          <a:custGeom>
            <a:avLst/>
            <a:gdLst>
              <a:gd name="T0" fmla="*/ 71 w 75"/>
              <a:gd name="T1" fmla="*/ 58 h 58"/>
              <a:gd name="T2" fmla="*/ 4 w 75"/>
              <a:gd name="T3" fmla="*/ 58 h 58"/>
              <a:gd name="T4" fmla="*/ 0 w 75"/>
              <a:gd name="T5" fmla="*/ 54 h 58"/>
              <a:gd name="T6" fmla="*/ 0 w 75"/>
              <a:gd name="T7" fmla="*/ 4 h 58"/>
              <a:gd name="T8" fmla="*/ 4 w 75"/>
              <a:gd name="T9" fmla="*/ 0 h 58"/>
              <a:gd name="T10" fmla="*/ 71 w 75"/>
              <a:gd name="T11" fmla="*/ 0 h 58"/>
              <a:gd name="T12" fmla="*/ 75 w 75"/>
              <a:gd name="T13" fmla="*/ 4 h 58"/>
              <a:gd name="T14" fmla="*/ 75 w 75"/>
              <a:gd name="T15" fmla="*/ 54 h 58"/>
              <a:gd name="T16" fmla="*/ 71 w 75"/>
              <a:gd name="T17" fmla="*/ 58 h 58"/>
              <a:gd name="T18" fmla="*/ 8 w 75"/>
              <a:gd name="T19" fmla="*/ 50 h 58"/>
              <a:gd name="T20" fmla="*/ 67 w 75"/>
              <a:gd name="T21" fmla="*/ 50 h 58"/>
              <a:gd name="T22" fmla="*/ 67 w 75"/>
              <a:gd name="T23" fmla="*/ 16 h 58"/>
              <a:gd name="T24" fmla="*/ 39 w 75"/>
              <a:gd name="T25" fmla="*/ 38 h 58"/>
              <a:gd name="T26" fmla="*/ 35 w 75"/>
              <a:gd name="T27" fmla="*/ 38 h 58"/>
              <a:gd name="T28" fmla="*/ 8 w 75"/>
              <a:gd name="T29" fmla="*/ 17 h 58"/>
              <a:gd name="T30" fmla="*/ 8 w 75"/>
              <a:gd name="T31" fmla="*/ 50 h 58"/>
              <a:gd name="T32" fmla="*/ 9 w 75"/>
              <a:gd name="T33" fmla="*/ 8 h 58"/>
              <a:gd name="T34" fmla="*/ 37 w 75"/>
              <a:gd name="T35" fmla="*/ 30 h 58"/>
              <a:gd name="T36" fmla="*/ 65 w 75"/>
              <a:gd name="T37" fmla="*/ 8 h 58"/>
              <a:gd name="T38" fmla="*/ 9 w 75"/>
              <a:gd name="T39" fmla="*/ 8 h 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75" h="58">
                <a:moveTo>
                  <a:pt x="71" y="58"/>
                </a:moveTo>
                <a:cubicBezTo>
                  <a:pt x="4" y="58"/>
                  <a:pt x="4" y="58"/>
                  <a:pt x="4" y="58"/>
                </a:cubicBezTo>
                <a:cubicBezTo>
                  <a:pt x="2" y="58"/>
                  <a:pt x="0" y="56"/>
                  <a:pt x="0" y="54"/>
                </a:cubicBezTo>
                <a:cubicBezTo>
                  <a:pt x="0" y="4"/>
                  <a:pt x="0" y="4"/>
                  <a:pt x="0" y="4"/>
                </a:cubicBezTo>
                <a:cubicBezTo>
                  <a:pt x="0" y="2"/>
                  <a:pt x="2" y="0"/>
                  <a:pt x="4" y="0"/>
                </a:cubicBezTo>
                <a:cubicBezTo>
                  <a:pt x="71" y="0"/>
                  <a:pt x="71" y="0"/>
                  <a:pt x="71" y="0"/>
                </a:cubicBezTo>
                <a:cubicBezTo>
                  <a:pt x="73" y="0"/>
                  <a:pt x="75" y="2"/>
                  <a:pt x="75" y="4"/>
                </a:cubicBezTo>
                <a:cubicBezTo>
                  <a:pt x="75" y="54"/>
                  <a:pt x="75" y="54"/>
                  <a:pt x="75" y="54"/>
                </a:cubicBezTo>
                <a:cubicBezTo>
                  <a:pt x="75" y="56"/>
                  <a:pt x="73" y="58"/>
                  <a:pt x="71" y="58"/>
                </a:cubicBezTo>
                <a:close/>
                <a:moveTo>
                  <a:pt x="8" y="50"/>
                </a:moveTo>
                <a:cubicBezTo>
                  <a:pt x="67" y="50"/>
                  <a:pt x="67" y="50"/>
                  <a:pt x="67" y="50"/>
                </a:cubicBezTo>
                <a:cubicBezTo>
                  <a:pt x="67" y="16"/>
                  <a:pt x="67" y="16"/>
                  <a:pt x="67" y="16"/>
                </a:cubicBezTo>
                <a:cubicBezTo>
                  <a:pt x="39" y="38"/>
                  <a:pt x="39" y="38"/>
                  <a:pt x="39" y="38"/>
                </a:cubicBezTo>
                <a:cubicBezTo>
                  <a:pt x="38" y="39"/>
                  <a:pt x="36" y="39"/>
                  <a:pt x="35" y="38"/>
                </a:cubicBezTo>
                <a:cubicBezTo>
                  <a:pt x="8" y="17"/>
                  <a:pt x="8" y="17"/>
                  <a:pt x="8" y="17"/>
                </a:cubicBezTo>
                <a:lnTo>
                  <a:pt x="8" y="50"/>
                </a:lnTo>
                <a:close/>
                <a:moveTo>
                  <a:pt x="9" y="8"/>
                </a:moveTo>
                <a:cubicBezTo>
                  <a:pt x="37" y="30"/>
                  <a:pt x="37" y="30"/>
                  <a:pt x="37" y="30"/>
                </a:cubicBezTo>
                <a:cubicBezTo>
                  <a:pt x="65" y="8"/>
                  <a:pt x="65" y="8"/>
                  <a:pt x="65" y="8"/>
                </a:cubicBezTo>
                <a:lnTo>
                  <a:pt x="9" y="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5132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10264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65397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20529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5661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30793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85926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41058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3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-25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582" name="Group 581"/>
          <p:cNvGrpSpPr/>
          <p:nvPr/>
        </p:nvGrpSpPr>
        <p:grpSpPr>
          <a:xfrm>
            <a:off x="7114292" y="3617847"/>
            <a:ext cx="266318" cy="530908"/>
            <a:chOff x="9357905" y="3491726"/>
            <a:chExt cx="437621" cy="872401"/>
          </a:xfrm>
        </p:grpSpPr>
        <p:sp>
          <p:nvSpPr>
            <p:cNvPr id="603" name="Rounded Rectangle 602"/>
            <p:cNvSpPr/>
            <p:nvPr/>
          </p:nvSpPr>
          <p:spPr bwMode="auto">
            <a:xfrm>
              <a:off x="9382183" y="3524481"/>
              <a:ext cx="375766" cy="818330"/>
            </a:xfrm>
            <a:prstGeom prst="round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-25000" noProof="0" dirty="0" smtClean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04" name="Rounded Rectangle 68"/>
            <p:cNvSpPr/>
            <p:nvPr/>
          </p:nvSpPr>
          <p:spPr>
            <a:xfrm>
              <a:off x="9357905" y="3491726"/>
              <a:ext cx="437621" cy="872401"/>
            </a:xfrm>
            <a:custGeom>
              <a:avLst/>
              <a:gdLst/>
              <a:ahLst/>
              <a:cxnLst/>
              <a:rect l="l" t="t" r="r" b="b"/>
              <a:pathLst>
                <a:path w="736663" h="1468542">
                  <a:moveTo>
                    <a:pt x="127441" y="1331784"/>
                  </a:moveTo>
                  <a:lnTo>
                    <a:pt x="127441" y="1333372"/>
                  </a:lnTo>
                  <a:lnTo>
                    <a:pt x="126399" y="1332578"/>
                  </a:lnTo>
                  <a:close/>
                  <a:moveTo>
                    <a:pt x="369735" y="1314798"/>
                  </a:moveTo>
                  <a:lnTo>
                    <a:pt x="357710" y="1354631"/>
                  </a:lnTo>
                  <a:cubicBezTo>
                    <a:pt x="363388" y="1358973"/>
                    <a:pt x="380090" y="1370330"/>
                    <a:pt x="405310" y="1358639"/>
                  </a:cubicBezTo>
                  <a:lnTo>
                    <a:pt x="417335" y="1317052"/>
                  </a:lnTo>
                  <a:cubicBezTo>
                    <a:pt x="391197" y="1326823"/>
                    <a:pt x="381844" y="1320309"/>
                    <a:pt x="369735" y="1314798"/>
                  </a:cubicBezTo>
                  <a:close/>
                  <a:moveTo>
                    <a:pt x="140687" y="1309718"/>
                  </a:moveTo>
                  <a:lnTo>
                    <a:pt x="110683" y="1332578"/>
                  </a:lnTo>
                  <a:lnTo>
                    <a:pt x="140687" y="1355438"/>
                  </a:lnTo>
                  <a:lnTo>
                    <a:pt x="156403" y="1355438"/>
                  </a:lnTo>
                  <a:lnTo>
                    <a:pt x="133275" y="1337817"/>
                  </a:lnTo>
                  <a:lnTo>
                    <a:pt x="218881" y="1337817"/>
                  </a:lnTo>
                  <a:lnTo>
                    <a:pt x="218881" y="1328673"/>
                  </a:lnTo>
                  <a:lnTo>
                    <a:pt x="131524" y="1328673"/>
                  </a:lnTo>
                  <a:lnTo>
                    <a:pt x="156403" y="1309718"/>
                  </a:lnTo>
                  <a:close/>
                  <a:moveTo>
                    <a:pt x="341326" y="1303311"/>
                  </a:moveTo>
                  <a:cubicBezTo>
                    <a:pt x="330365" y="1302817"/>
                    <a:pt x="321446" y="1307351"/>
                    <a:pt x="317323" y="1308656"/>
                  </a:cubicBezTo>
                  <a:lnTo>
                    <a:pt x="305799" y="1349742"/>
                  </a:lnTo>
                  <a:cubicBezTo>
                    <a:pt x="332438" y="1338385"/>
                    <a:pt x="344297" y="1348072"/>
                    <a:pt x="350393" y="1351996"/>
                  </a:cubicBezTo>
                  <a:lnTo>
                    <a:pt x="362668" y="1311412"/>
                  </a:lnTo>
                  <a:cubicBezTo>
                    <a:pt x="355215" y="1305713"/>
                    <a:pt x="347903" y="1303607"/>
                    <a:pt x="341326" y="1303311"/>
                  </a:cubicBezTo>
                  <a:close/>
                  <a:moveTo>
                    <a:pt x="609845" y="1293468"/>
                  </a:moveTo>
                  <a:cubicBezTo>
                    <a:pt x="615874" y="1293468"/>
                    <a:pt x="620761" y="1298355"/>
                    <a:pt x="620761" y="1304384"/>
                  </a:cubicBezTo>
                  <a:cubicBezTo>
                    <a:pt x="620761" y="1310412"/>
                    <a:pt x="615874" y="1315299"/>
                    <a:pt x="609845" y="1315299"/>
                  </a:cubicBezTo>
                  <a:cubicBezTo>
                    <a:pt x="603816" y="1315299"/>
                    <a:pt x="598929" y="1310412"/>
                    <a:pt x="598929" y="1304384"/>
                  </a:cubicBezTo>
                  <a:cubicBezTo>
                    <a:pt x="598929" y="1298355"/>
                    <a:pt x="603816" y="1293468"/>
                    <a:pt x="609845" y="1293468"/>
                  </a:cubicBezTo>
                  <a:close/>
                  <a:moveTo>
                    <a:pt x="609845" y="1272471"/>
                  </a:moveTo>
                  <a:cubicBezTo>
                    <a:pt x="592965" y="1272471"/>
                    <a:pt x="579282" y="1286759"/>
                    <a:pt x="579282" y="1304384"/>
                  </a:cubicBezTo>
                  <a:cubicBezTo>
                    <a:pt x="579282" y="1307127"/>
                    <a:pt x="579613" y="1309790"/>
                    <a:pt x="580345" y="1312304"/>
                  </a:cubicBezTo>
                  <a:lnTo>
                    <a:pt x="545743" y="1335166"/>
                  </a:lnTo>
                  <a:cubicBezTo>
                    <a:pt x="543087" y="1336921"/>
                    <a:pt x="542356" y="1340498"/>
                    <a:pt x="544112" y="1343154"/>
                  </a:cubicBezTo>
                  <a:lnTo>
                    <a:pt x="547808" y="1348749"/>
                  </a:lnTo>
                  <a:cubicBezTo>
                    <a:pt x="549564" y="1351406"/>
                    <a:pt x="553140" y="1352136"/>
                    <a:pt x="555796" y="1350381"/>
                  </a:cubicBezTo>
                  <a:lnTo>
                    <a:pt x="589546" y="1328081"/>
                  </a:lnTo>
                  <a:cubicBezTo>
                    <a:pt x="594873" y="1333223"/>
                    <a:pt x="602015" y="1336297"/>
                    <a:pt x="609845" y="1336297"/>
                  </a:cubicBezTo>
                  <a:cubicBezTo>
                    <a:pt x="626724" y="1336297"/>
                    <a:pt x="640408" y="1322009"/>
                    <a:pt x="640408" y="1304384"/>
                  </a:cubicBezTo>
                  <a:cubicBezTo>
                    <a:pt x="640408" y="1286759"/>
                    <a:pt x="626724" y="1272471"/>
                    <a:pt x="609845" y="1272471"/>
                  </a:cubicBezTo>
                  <a:close/>
                  <a:moveTo>
                    <a:pt x="383263" y="1263939"/>
                  </a:moveTo>
                  <a:lnTo>
                    <a:pt x="371238" y="1303772"/>
                  </a:lnTo>
                  <a:cubicBezTo>
                    <a:pt x="376917" y="1308115"/>
                    <a:pt x="393618" y="1319472"/>
                    <a:pt x="418838" y="1307781"/>
                  </a:cubicBezTo>
                  <a:lnTo>
                    <a:pt x="430863" y="1266194"/>
                  </a:lnTo>
                  <a:cubicBezTo>
                    <a:pt x="404725" y="1275964"/>
                    <a:pt x="395372" y="1269451"/>
                    <a:pt x="383263" y="1263939"/>
                  </a:cubicBezTo>
                  <a:close/>
                  <a:moveTo>
                    <a:pt x="354354" y="1252330"/>
                  </a:moveTo>
                  <a:cubicBezTo>
                    <a:pt x="343392" y="1251837"/>
                    <a:pt x="334474" y="1256371"/>
                    <a:pt x="330351" y="1257676"/>
                  </a:cubicBezTo>
                  <a:lnTo>
                    <a:pt x="318826" y="1298762"/>
                  </a:lnTo>
                  <a:cubicBezTo>
                    <a:pt x="345466" y="1287405"/>
                    <a:pt x="357324" y="1297092"/>
                    <a:pt x="363420" y="1301016"/>
                  </a:cubicBezTo>
                  <a:lnTo>
                    <a:pt x="375696" y="1260432"/>
                  </a:lnTo>
                  <a:cubicBezTo>
                    <a:pt x="368242" y="1254732"/>
                    <a:pt x="360930" y="1252626"/>
                    <a:pt x="354354" y="1252330"/>
                  </a:cubicBezTo>
                  <a:close/>
                  <a:moveTo>
                    <a:pt x="91262" y="129693"/>
                  </a:moveTo>
                  <a:lnTo>
                    <a:pt x="91262" y="1125642"/>
                  </a:lnTo>
                  <a:lnTo>
                    <a:pt x="645400" y="1125642"/>
                  </a:lnTo>
                  <a:lnTo>
                    <a:pt x="645400" y="129693"/>
                  </a:lnTo>
                  <a:close/>
                  <a:moveTo>
                    <a:pt x="46579" y="0"/>
                  </a:moveTo>
                  <a:lnTo>
                    <a:pt x="690084" y="0"/>
                  </a:lnTo>
                  <a:cubicBezTo>
                    <a:pt x="715809" y="0"/>
                    <a:pt x="736663" y="20854"/>
                    <a:pt x="736663" y="46579"/>
                  </a:cubicBezTo>
                  <a:lnTo>
                    <a:pt x="736663" y="1421963"/>
                  </a:lnTo>
                  <a:cubicBezTo>
                    <a:pt x="736663" y="1447688"/>
                    <a:pt x="715809" y="1468542"/>
                    <a:pt x="690084" y="1468542"/>
                  </a:cubicBezTo>
                  <a:lnTo>
                    <a:pt x="46579" y="1468542"/>
                  </a:lnTo>
                  <a:cubicBezTo>
                    <a:pt x="20854" y="1468542"/>
                    <a:pt x="0" y="1447688"/>
                    <a:pt x="0" y="1421963"/>
                  </a:cubicBezTo>
                  <a:lnTo>
                    <a:pt x="0" y="46579"/>
                  </a:lnTo>
                  <a:cubicBezTo>
                    <a:pt x="0" y="20854"/>
                    <a:pt x="20854" y="0"/>
                    <a:pt x="46579" y="0"/>
                  </a:cubicBezTo>
                  <a:close/>
                </a:path>
              </a:pathLst>
            </a:custGeom>
            <a:solidFill>
              <a:srgbClr val="0072C6"/>
            </a:solidFill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605" name="Group 604"/>
            <p:cNvGrpSpPr/>
            <p:nvPr/>
          </p:nvGrpSpPr>
          <p:grpSpPr>
            <a:xfrm>
              <a:off x="9439149" y="3591949"/>
              <a:ext cx="238071" cy="352384"/>
              <a:chOff x="10682344" y="3596224"/>
              <a:chExt cx="217772" cy="322341"/>
            </a:xfrm>
          </p:grpSpPr>
          <p:grpSp>
            <p:nvGrpSpPr>
              <p:cNvPr id="606" name="Group 605"/>
              <p:cNvGrpSpPr/>
              <p:nvPr/>
            </p:nvGrpSpPr>
            <p:grpSpPr>
              <a:xfrm>
                <a:off x="10682344" y="3596224"/>
                <a:ext cx="102521" cy="210484"/>
                <a:chOff x="10341626" y="2189201"/>
                <a:chExt cx="193482" cy="397237"/>
              </a:xfrm>
            </p:grpSpPr>
            <p:sp>
              <p:nvSpPr>
                <p:cNvPr id="612" name="Rectangle 611"/>
                <p:cNvSpPr/>
                <p:nvPr/>
              </p:nvSpPr>
              <p:spPr bwMode="auto">
                <a:xfrm>
                  <a:off x="10341626" y="2189201"/>
                  <a:ext cx="193482" cy="188074"/>
                </a:xfrm>
                <a:prstGeom prst="rect">
                  <a:avLst/>
                </a:prstGeom>
                <a:solidFill>
                  <a:srgbClr val="0072C6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-2500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613" name="Rectangle 612"/>
                <p:cNvSpPr/>
                <p:nvPr/>
              </p:nvSpPr>
              <p:spPr bwMode="auto">
                <a:xfrm>
                  <a:off x="10341626" y="2398364"/>
                  <a:ext cx="193482" cy="188074"/>
                </a:xfrm>
                <a:prstGeom prst="rect">
                  <a:avLst/>
                </a:prstGeom>
                <a:solidFill>
                  <a:srgbClr val="DC3C00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-2500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grpSp>
            <p:nvGrpSpPr>
              <p:cNvPr id="607" name="Group 606"/>
              <p:cNvGrpSpPr/>
              <p:nvPr/>
            </p:nvGrpSpPr>
            <p:grpSpPr>
              <a:xfrm>
                <a:off x="10797595" y="3596224"/>
                <a:ext cx="102521" cy="210484"/>
                <a:chOff x="10341626" y="2189201"/>
                <a:chExt cx="193482" cy="397237"/>
              </a:xfrm>
            </p:grpSpPr>
            <p:sp>
              <p:nvSpPr>
                <p:cNvPr id="610" name="Rectangle 609"/>
                <p:cNvSpPr/>
                <p:nvPr/>
              </p:nvSpPr>
              <p:spPr bwMode="auto">
                <a:xfrm>
                  <a:off x="10341626" y="2189201"/>
                  <a:ext cx="193482" cy="188074"/>
                </a:xfrm>
                <a:prstGeom prst="rect">
                  <a:avLst/>
                </a:prstGeom>
                <a:solidFill>
                  <a:srgbClr val="0072C6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-2500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611" name="Rectangle 610"/>
                <p:cNvSpPr/>
                <p:nvPr/>
              </p:nvSpPr>
              <p:spPr bwMode="auto">
                <a:xfrm>
                  <a:off x="10341626" y="2398364"/>
                  <a:ext cx="193482" cy="188074"/>
                </a:xfrm>
                <a:prstGeom prst="rect">
                  <a:avLst/>
                </a:prstGeom>
                <a:solidFill>
                  <a:srgbClr val="DC3C00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-2500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608" name="Rectangle 607"/>
              <p:cNvSpPr/>
              <p:nvPr/>
            </p:nvSpPr>
            <p:spPr bwMode="auto">
              <a:xfrm>
                <a:off x="10682344" y="3818910"/>
                <a:ext cx="102521" cy="99655"/>
              </a:xfrm>
              <a:prstGeom prst="rect">
                <a:avLst/>
              </a:prstGeom>
              <a:solidFill>
                <a:srgbClr val="0072C6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-2500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09" name="Rectangle 608"/>
              <p:cNvSpPr/>
              <p:nvPr/>
            </p:nvSpPr>
            <p:spPr bwMode="auto">
              <a:xfrm>
                <a:off x="10797595" y="3818910"/>
                <a:ext cx="102521" cy="99655"/>
              </a:xfrm>
              <a:prstGeom prst="rect">
                <a:avLst/>
              </a:prstGeom>
              <a:solidFill>
                <a:srgbClr val="0072C6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-2500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grpSp>
        <p:nvGrpSpPr>
          <p:cNvPr id="583" name="Group 582"/>
          <p:cNvGrpSpPr/>
          <p:nvPr/>
        </p:nvGrpSpPr>
        <p:grpSpPr>
          <a:xfrm>
            <a:off x="6253974" y="3744583"/>
            <a:ext cx="683952" cy="475508"/>
            <a:chOff x="7381716" y="3699474"/>
            <a:chExt cx="1230016" cy="855153"/>
          </a:xfrm>
        </p:grpSpPr>
        <p:sp>
          <p:nvSpPr>
            <p:cNvPr id="596" name="Freeform 595"/>
            <p:cNvSpPr>
              <a:spLocks noEditPoints="1"/>
            </p:cNvSpPr>
            <p:nvPr/>
          </p:nvSpPr>
          <p:spPr bwMode="black">
            <a:xfrm>
              <a:off x="7381716" y="3699474"/>
              <a:ext cx="1230016" cy="855153"/>
            </a:xfrm>
            <a:custGeom>
              <a:avLst/>
              <a:gdLst/>
              <a:ahLst/>
              <a:cxnLst>
                <a:cxn ang="0">
                  <a:pos x="774" y="456"/>
                </a:cxn>
                <a:cxn ang="0">
                  <a:pos x="774" y="36"/>
                </a:cxn>
                <a:cxn ang="0">
                  <a:pos x="737" y="0"/>
                </a:cxn>
                <a:cxn ang="0">
                  <a:pos x="107" y="0"/>
                </a:cxn>
                <a:cxn ang="0">
                  <a:pos x="71" y="36"/>
                </a:cxn>
                <a:cxn ang="0">
                  <a:pos x="71" y="456"/>
                </a:cxn>
                <a:cxn ang="0">
                  <a:pos x="0" y="544"/>
                </a:cxn>
                <a:cxn ang="0">
                  <a:pos x="44" y="588"/>
                </a:cxn>
                <a:cxn ang="0">
                  <a:pos x="800" y="588"/>
                </a:cxn>
                <a:cxn ang="0">
                  <a:pos x="844" y="544"/>
                </a:cxn>
                <a:cxn ang="0">
                  <a:pos x="774" y="456"/>
                </a:cxn>
                <a:cxn ang="0">
                  <a:pos x="481" y="554"/>
                </a:cxn>
                <a:cxn ang="0">
                  <a:pos x="350" y="554"/>
                </a:cxn>
                <a:cxn ang="0">
                  <a:pos x="337" y="547"/>
                </a:cxn>
                <a:cxn ang="0">
                  <a:pos x="352" y="519"/>
                </a:cxn>
                <a:cxn ang="0">
                  <a:pos x="363" y="514"/>
                </a:cxn>
                <a:cxn ang="0">
                  <a:pos x="468" y="514"/>
                </a:cxn>
                <a:cxn ang="0">
                  <a:pos x="478" y="519"/>
                </a:cxn>
                <a:cxn ang="0">
                  <a:pos x="494" y="547"/>
                </a:cxn>
                <a:cxn ang="0">
                  <a:pos x="481" y="554"/>
                </a:cxn>
                <a:cxn ang="0">
                  <a:pos x="748" y="456"/>
                </a:cxn>
                <a:cxn ang="0">
                  <a:pos x="99" y="456"/>
                </a:cxn>
                <a:cxn ang="0">
                  <a:pos x="99" y="42"/>
                </a:cxn>
                <a:cxn ang="0">
                  <a:pos x="117" y="24"/>
                </a:cxn>
                <a:cxn ang="0">
                  <a:pos x="730" y="24"/>
                </a:cxn>
                <a:cxn ang="0">
                  <a:pos x="748" y="42"/>
                </a:cxn>
                <a:cxn ang="0">
                  <a:pos x="748" y="456"/>
                </a:cxn>
              </a:cxnLst>
              <a:rect l="0" t="0" r="r" b="b"/>
              <a:pathLst>
                <a:path w="844" h="588">
                  <a:moveTo>
                    <a:pt x="774" y="456"/>
                  </a:moveTo>
                  <a:cubicBezTo>
                    <a:pt x="774" y="36"/>
                    <a:pt x="774" y="36"/>
                    <a:pt x="774" y="36"/>
                  </a:cubicBezTo>
                  <a:cubicBezTo>
                    <a:pt x="774" y="16"/>
                    <a:pt x="757" y="0"/>
                    <a:pt x="737" y="0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87" y="0"/>
                    <a:pt x="71" y="16"/>
                    <a:pt x="71" y="36"/>
                  </a:cubicBezTo>
                  <a:cubicBezTo>
                    <a:pt x="71" y="456"/>
                    <a:pt x="71" y="456"/>
                    <a:pt x="71" y="456"/>
                  </a:cubicBezTo>
                  <a:cubicBezTo>
                    <a:pt x="0" y="544"/>
                    <a:pt x="0" y="544"/>
                    <a:pt x="0" y="544"/>
                  </a:cubicBezTo>
                  <a:cubicBezTo>
                    <a:pt x="0" y="568"/>
                    <a:pt x="20" y="588"/>
                    <a:pt x="44" y="588"/>
                  </a:cubicBezTo>
                  <a:cubicBezTo>
                    <a:pt x="800" y="588"/>
                    <a:pt x="800" y="588"/>
                    <a:pt x="800" y="588"/>
                  </a:cubicBezTo>
                  <a:cubicBezTo>
                    <a:pt x="824" y="588"/>
                    <a:pt x="844" y="568"/>
                    <a:pt x="844" y="544"/>
                  </a:cubicBezTo>
                  <a:lnTo>
                    <a:pt x="774" y="456"/>
                  </a:lnTo>
                  <a:close/>
                  <a:moveTo>
                    <a:pt x="481" y="554"/>
                  </a:moveTo>
                  <a:cubicBezTo>
                    <a:pt x="350" y="554"/>
                    <a:pt x="350" y="554"/>
                    <a:pt x="350" y="554"/>
                  </a:cubicBezTo>
                  <a:cubicBezTo>
                    <a:pt x="343" y="554"/>
                    <a:pt x="337" y="551"/>
                    <a:pt x="337" y="547"/>
                  </a:cubicBezTo>
                  <a:cubicBezTo>
                    <a:pt x="352" y="519"/>
                    <a:pt x="352" y="519"/>
                    <a:pt x="352" y="519"/>
                  </a:cubicBezTo>
                  <a:cubicBezTo>
                    <a:pt x="352" y="516"/>
                    <a:pt x="357" y="514"/>
                    <a:pt x="363" y="514"/>
                  </a:cubicBezTo>
                  <a:cubicBezTo>
                    <a:pt x="468" y="514"/>
                    <a:pt x="468" y="514"/>
                    <a:pt x="468" y="514"/>
                  </a:cubicBezTo>
                  <a:cubicBezTo>
                    <a:pt x="473" y="514"/>
                    <a:pt x="478" y="516"/>
                    <a:pt x="478" y="519"/>
                  </a:cubicBezTo>
                  <a:cubicBezTo>
                    <a:pt x="494" y="547"/>
                    <a:pt x="494" y="547"/>
                    <a:pt x="494" y="547"/>
                  </a:cubicBezTo>
                  <a:cubicBezTo>
                    <a:pt x="494" y="551"/>
                    <a:pt x="488" y="554"/>
                    <a:pt x="481" y="554"/>
                  </a:cubicBezTo>
                  <a:close/>
                  <a:moveTo>
                    <a:pt x="748" y="456"/>
                  </a:moveTo>
                  <a:cubicBezTo>
                    <a:pt x="99" y="456"/>
                    <a:pt x="99" y="456"/>
                    <a:pt x="99" y="456"/>
                  </a:cubicBezTo>
                  <a:cubicBezTo>
                    <a:pt x="99" y="42"/>
                    <a:pt x="99" y="42"/>
                    <a:pt x="99" y="42"/>
                  </a:cubicBezTo>
                  <a:cubicBezTo>
                    <a:pt x="99" y="32"/>
                    <a:pt x="107" y="24"/>
                    <a:pt x="117" y="24"/>
                  </a:cubicBezTo>
                  <a:cubicBezTo>
                    <a:pt x="730" y="24"/>
                    <a:pt x="730" y="24"/>
                    <a:pt x="730" y="24"/>
                  </a:cubicBezTo>
                  <a:cubicBezTo>
                    <a:pt x="740" y="24"/>
                    <a:pt x="748" y="32"/>
                    <a:pt x="748" y="42"/>
                  </a:cubicBezTo>
                  <a:lnTo>
                    <a:pt x="748" y="456"/>
                  </a:lnTo>
                  <a:close/>
                </a:path>
              </a:pathLst>
            </a:custGeom>
            <a:solidFill>
              <a:srgbClr val="DC3C00"/>
            </a:solidFill>
            <a:extLst/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597" name="Group 596"/>
            <p:cNvGrpSpPr/>
            <p:nvPr/>
          </p:nvGrpSpPr>
          <p:grpSpPr>
            <a:xfrm>
              <a:off x="7559584" y="3772214"/>
              <a:ext cx="508056" cy="321946"/>
              <a:chOff x="4514106" y="3476226"/>
              <a:chExt cx="697117" cy="441752"/>
            </a:xfrm>
          </p:grpSpPr>
          <p:sp>
            <p:nvSpPr>
              <p:cNvPr id="598" name="Rectangle 597"/>
              <p:cNvSpPr/>
              <p:nvPr/>
            </p:nvSpPr>
            <p:spPr bwMode="auto">
              <a:xfrm>
                <a:off x="4514106" y="3703469"/>
                <a:ext cx="219786" cy="213643"/>
              </a:xfrm>
              <a:prstGeom prst="rect">
                <a:avLst/>
              </a:prstGeom>
              <a:solidFill>
                <a:srgbClr val="FF8C00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-2500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99" name="Rectangle 598"/>
              <p:cNvSpPr/>
              <p:nvPr/>
            </p:nvSpPr>
            <p:spPr bwMode="auto">
              <a:xfrm>
                <a:off x="4752723" y="3704335"/>
                <a:ext cx="219787" cy="213643"/>
              </a:xfrm>
              <a:prstGeom prst="rect">
                <a:avLst/>
              </a:prstGeom>
              <a:solidFill>
                <a:srgbClr val="008272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-2500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00" name="Rectangle 599"/>
              <p:cNvSpPr/>
              <p:nvPr/>
            </p:nvSpPr>
            <p:spPr bwMode="auto">
              <a:xfrm>
                <a:off x="4514106" y="3476226"/>
                <a:ext cx="219786" cy="213643"/>
              </a:xfrm>
              <a:prstGeom prst="rect">
                <a:avLst/>
              </a:prstGeom>
              <a:solidFill>
                <a:srgbClr val="0072C6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-2500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01" name="Rectangle 600"/>
              <p:cNvSpPr/>
              <p:nvPr/>
            </p:nvSpPr>
            <p:spPr bwMode="auto">
              <a:xfrm>
                <a:off x="4752723" y="3476226"/>
                <a:ext cx="219786" cy="213643"/>
              </a:xfrm>
              <a:prstGeom prst="rect">
                <a:avLst/>
              </a:prstGeom>
              <a:solidFill>
                <a:srgbClr val="68217A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-2500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02" name="Rectangle 601"/>
              <p:cNvSpPr/>
              <p:nvPr/>
            </p:nvSpPr>
            <p:spPr bwMode="auto">
              <a:xfrm>
                <a:off x="4991436" y="3704335"/>
                <a:ext cx="219787" cy="213643"/>
              </a:xfrm>
              <a:prstGeom prst="rect">
                <a:avLst/>
              </a:prstGeom>
              <a:solidFill>
                <a:srgbClr val="DC3C00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-2500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grpSp>
        <p:nvGrpSpPr>
          <p:cNvPr id="584" name="Group 583"/>
          <p:cNvGrpSpPr/>
          <p:nvPr/>
        </p:nvGrpSpPr>
        <p:grpSpPr>
          <a:xfrm>
            <a:off x="5769413" y="3619188"/>
            <a:ext cx="315846" cy="535364"/>
            <a:chOff x="6687194" y="3493929"/>
            <a:chExt cx="519006" cy="879723"/>
          </a:xfrm>
        </p:grpSpPr>
        <p:sp>
          <p:nvSpPr>
            <p:cNvPr id="588" name="Rectangle 79"/>
            <p:cNvSpPr/>
            <p:nvPr/>
          </p:nvSpPr>
          <p:spPr>
            <a:xfrm>
              <a:off x="6687194" y="3493929"/>
              <a:ext cx="519006" cy="879723"/>
            </a:xfrm>
            <a:custGeom>
              <a:avLst/>
              <a:gdLst/>
              <a:ahLst/>
              <a:cxnLst/>
              <a:rect l="l" t="t" r="r" b="b"/>
              <a:pathLst>
                <a:path w="1407298" h="2385394">
                  <a:moveTo>
                    <a:pt x="703650" y="2179220"/>
                  </a:moveTo>
                  <a:cubicBezTo>
                    <a:pt x="660028" y="2179220"/>
                    <a:pt x="624666" y="2214582"/>
                    <a:pt x="624666" y="2258204"/>
                  </a:cubicBezTo>
                  <a:cubicBezTo>
                    <a:pt x="624666" y="2301826"/>
                    <a:pt x="660028" y="2337188"/>
                    <a:pt x="703650" y="2337188"/>
                  </a:cubicBezTo>
                  <a:cubicBezTo>
                    <a:pt x="747272" y="2337188"/>
                    <a:pt x="782634" y="2301826"/>
                    <a:pt x="782634" y="2258204"/>
                  </a:cubicBezTo>
                  <a:cubicBezTo>
                    <a:pt x="782634" y="2214582"/>
                    <a:pt x="747272" y="2179220"/>
                    <a:pt x="703650" y="2179220"/>
                  </a:cubicBezTo>
                  <a:close/>
                  <a:moveTo>
                    <a:pt x="177553" y="179867"/>
                  </a:moveTo>
                  <a:lnTo>
                    <a:pt x="172551" y="180877"/>
                  </a:lnTo>
                  <a:lnTo>
                    <a:pt x="165667" y="180877"/>
                  </a:lnTo>
                  <a:cubicBezTo>
                    <a:pt x="144630" y="180877"/>
                    <a:pt x="127577" y="197930"/>
                    <a:pt x="127577" y="218967"/>
                  </a:cubicBezTo>
                  <a:lnTo>
                    <a:pt x="127577" y="2097793"/>
                  </a:lnTo>
                  <a:cubicBezTo>
                    <a:pt x="127577" y="2118830"/>
                    <a:pt x="144630" y="2135883"/>
                    <a:pt x="165667" y="2135883"/>
                  </a:cubicBezTo>
                  <a:lnTo>
                    <a:pt x="1241631" y="2135883"/>
                  </a:lnTo>
                  <a:cubicBezTo>
                    <a:pt x="1262668" y="2135883"/>
                    <a:pt x="1279721" y="2118830"/>
                    <a:pt x="1279721" y="2097793"/>
                  </a:cubicBezTo>
                  <a:lnTo>
                    <a:pt x="1279721" y="218967"/>
                  </a:lnTo>
                  <a:cubicBezTo>
                    <a:pt x="1279721" y="197930"/>
                    <a:pt x="1262668" y="180877"/>
                    <a:pt x="1241631" y="180877"/>
                  </a:cubicBezTo>
                  <a:lnTo>
                    <a:pt x="1234749" y="180877"/>
                  </a:lnTo>
                  <a:cubicBezTo>
                    <a:pt x="1233161" y="179963"/>
                    <a:pt x="1231465" y="179867"/>
                    <a:pt x="1229746" y="179867"/>
                  </a:cubicBezTo>
                  <a:close/>
                  <a:moveTo>
                    <a:pt x="602415" y="56498"/>
                  </a:moveTo>
                  <a:cubicBezTo>
                    <a:pt x="588290" y="56498"/>
                    <a:pt x="576839" y="67949"/>
                    <a:pt x="576839" y="82074"/>
                  </a:cubicBezTo>
                  <a:cubicBezTo>
                    <a:pt x="576839" y="96199"/>
                    <a:pt x="588290" y="107650"/>
                    <a:pt x="602415" y="107650"/>
                  </a:cubicBezTo>
                  <a:lnTo>
                    <a:pt x="804884" y="107650"/>
                  </a:lnTo>
                  <a:cubicBezTo>
                    <a:pt x="819009" y="107650"/>
                    <a:pt x="830460" y="96199"/>
                    <a:pt x="830460" y="82074"/>
                  </a:cubicBezTo>
                  <a:cubicBezTo>
                    <a:pt x="830460" y="67949"/>
                    <a:pt x="819009" y="56498"/>
                    <a:pt x="804884" y="56498"/>
                  </a:cubicBezTo>
                  <a:close/>
                  <a:moveTo>
                    <a:pt x="76685" y="0"/>
                  </a:moveTo>
                  <a:lnTo>
                    <a:pt x="1330614" y="0"/>
                  </a:lnTo>
                  <a:cubicBezTo>
                    <a:pt x="1372966" y="0"/>
                    <a:pt x="1407298" y="34333"/>
                    <a:pt x="1407298" y="76684"/>
                  </a:cubicBezTo>
                  <a:lnTo>
                    <a:pt x="1407298" y="1757263"/>
                  </a:lnTo>
                  <a:lnTo>
                    <a:pt x="1407298" y="1766789"/>
                  </a:lnTo>
                  <a:lnTo>
                    <a:pt x="1407298" y="2308710"/>
                  </a:lnTo>
                  <a:cubicBezTo>
                    <a:pt x="1407298" y="2351061"/>
                    <a:pt x="1372966" y="2385394"/>
                    <a:pt x="1330614" y="2385394"/>
                  </a:cubicBezTo>
                  <a:lnTo>
                    <a:pt x="76685" y="2385394"/>
                  </a:lnTo>
                  <a:cubicBezTo>
                    <a:pt x="34333" y="2385394"/>
                    <a:pt x="0" y="2351061"/>
                    <a:pt x="0" y="2308710"/>
                  </a:cubicBezTo>
                  <a:lnTo>
                    <a:pt x="0" y="1766789"/>
                  </a:lnTo>
                  <a:lnTo>
                    <a:pt x="0" y="1757263"/>
                  </a:lnTo>
                  <a:lnTo>
                    <a:pt x="0" y="76684"/>
                  </a:lnTo>
                  <a:cubicBezTo>
                    <a:pt x="0" y="34333"/>
                    <a:pt x="34333" y="0"/>
                    <a:pt x="76685" y="0"/>
                  </a:cubicBezTo>
                  <a:close/>
                </a:path>
              </a:pathLst>
            </a:custGeom>
            <a:solidFill>
              <a:srgbClr val="68217A"/>
            </a:solidFill>
            <a:ln w="10795" cap="flat" cmpd="sng" algn="ctr">
              <a:noFill/>
              <a:prstDash val="solid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589" name="Group 588"/>
            <p:cNvGrpSpPr/>
            <p:nvPr/>
          </p:nvGrpSpPr>
          <p:grpSpPr>
            <a:xfrm>
              <a:off x="6764987" y="3587992"/>
              <a:ext cx="314070" cy="462508"/>
              <a:chOff x="6764864" y="3556134"/>
              <a:chExt cx="314070" cy="462508"/>
            </a:xfrm>
          </p:grpSpPr>
          <p:sp>
            <p:nvSpPr>
              <p:cNvPr id="590" name="Rectangle 589"/>
              <p:cNvSpPr/>
              <p:nvPr/>
            </p:nvSpPr>
            <p:spPr bwMode="auto">
              <a:xfrm>
                <a:off x="6764864" y="3556134"/>
                <a:ext cx="147979" cy="143842"/>
              </a:xfrm>
              <a:prstGeom prst="rect">
                <a:avLst/>
              </a:prstGeom>
              <a:solidFill>
                <a:srgbClr val="FF8C00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-2500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91" name="Rectangle 590"/>
              <p:cNvSpPr/>
              <p:nvPr/>
            </p:nvSpPr>
            <p:spPr bwMode="auto">
              <a:xfrm>
                <a:off x="6764864" y="3716106"/>
                <a:ext cx="147979" cy="143842"/>
              </a:xfrm>
              <a:prstGeom prst="rect">
                <a:avLst/>
              </a:prstGeom>
              <a:solidFill>
                <a:srgbClr val="008272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-2500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92" name="Rectangle 591"/>
              <p:cNvSpPr/>
              <p:nvPr/>
            </p:nvSpPr>
            <p:spPr bwMode="auto">
              <a:xfrm>
                <a:off x="6930955" y="3556134"/>
                <a:ext cx="147979" cy="143842"/>
              </a:xfrm>
              <a:prstGeom prst="rect">
                <a:avLst/>
              </a:prstGeom>
              <a:solidFill>
                <a:srgbClr val="FF8C00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-2500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93" name="Rectangle 592"/>
              <p:cNvSpPr/>
              <p:nvPr/>
            </p:nvSpPr>
            <p:spPr bwMode="auto">
              <a:xfrm>
                <a:off x="6930955" y="3716106"/>
                <a:ext cx="147979" cy="143842"/>
              </a:xfrm>
              <a:prstGeom prst="rect">
                <a:avLst/>
              </a:prstGeom>
              <a:solidFill>
                <a:srgbClr val="008272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-2500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94" name="Rectangle 593"/>
              <p:cNvSpPr/>
              <p:nvPr/>
            </p:nvSpPr>
            <p:spPr bwMode="auto">
              <a:xfrm>
                <a:off x="6764864" y="3874799"/>
                <a:ext cx="147979" cy="143843"/>
              </a:xfrm>
              <a:prstGeom prst="rect">
                <a:avLst/>
              </a:prstGeom>
              <a:solidFill>
                <a:srgbClr val="FF8C00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-2500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95" name="Rectangle 594"/>
              <p:cNvSpPr/>
              <p:nvPr/>
            </p:nvSpPr>
            <p:spPr bwMode="auto">
              <a:xfrm>
                <a:off x="6930955" y="3874800"/>
                <a:ext cx="147979" cy="143842"/>
              </a:xfrm>
              <a:prstGeom prst="rect">
                <a:avLst/>
              </a:prstGeom>
              <a:solidFill>
                <a:srgbClr val="008272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-2500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sp>
        <p:nvSpPr>
          <p:cNvPr id="585" name="Rounded Rectangle 114700"/>
          <p:cNvSpPr/>
          <p:nvPr/>
        </p:nvSpPr>
        <p:spPr>
          <a:xfrm>
            <a:off x="6747009" y="1459370"/>
            <a:ext cx="231264" cy="221698"/>
          </a:xfrm>
          <a:custGeom>
            <a:avLst/>
            <a:gdLst/>
            <a:ahLst/>
            <a:cxnLst/>
            <a:rect l="l" t="t" r="r" b="b"/>
            <a:pathLst>
              <a:path w="2838919" h="2721500">
                <a:moveTo>
                  <a:pt x="755934" y="1066300"/>
                </a:moveTo>
                <a:lnTo>
                  <a:pt x="828528" y="1066300"/>
                </a:lnTo>
                <a:cubicBezTo>
                  <a:pt x="888487" y="1066300"/>
                  <a:pt x="937094" y="1113745"/>
                  <a:pt x="937094" y="1172271"/>
                </a:cubicBezTo>
                <a:lnTo>
                  <a:pt x="937094" y="1247635"/>
                </a:lnTo>
                <a:cubicBezTo>
                  <a:pt x="937094" y="1306161"/>
                  <a:pt x="888487" y="1353606"/>
                  <a:pt x="828528" y="1353606"/>
                </a:cubicBezTo>
                <a:lnTo>
                  <a:pt x="755934" y="1353606"/>
                </a:lnTo>
                <a:lnTo>
                  <a:pt x="746066" y="1351662"/>
                </a:lnTo>
                <a:lnTo>
                  <a:pt x="746066" y="1068244"/>
                </a:lnTo>
                <a:cubicBezTo>
                  <a:pt x="749221" y="1066450"/>
                  <a:pt x="752560" y="1066300"/>
                  <a:pt x="755934" y="1066300"/>
                </a:cubicBezTo>
                <a:close/>
                <a:moveTo>
                  <a:pt x="879785" y="894374"/>
                </a:moveTo>
                <a:lnTo>
                  <a:pt x="586874" y="907109"/>
                </a:lnTo>
                <a:lnTo>
                  <a:pt x="586874" y="1830413"/>
                </a:lnTo>
                <a:lnTo>
                  <a:pt x="749249" y="1836781"/>
                </a:lnTo>
                <a:cubicBezTo>
                  <a:pt x="747127" y="1729593"/>
                  <a:pt x="748187" y="1625589"/>
                  <a:pt x="749249" y="1521584"/>
                </a:cubicBezTo>
                <a:lnTo>
                  <a:pt x="876601" y="1524769"/>
                </a:lnTo>
                <a:cubicBezTo>
                  <a:pt x="963624" y="1512033"/>
                  <a:pt x="1117509" y="1422887"/>
                  <a:pt x="1128122" y="1225491"/>
                </a:cubicBezTo>
                <a:cubicBezTo>
                  <a:pt x="1130245" y="916661"/>
                  <a:pt x="954074" y="893843"/>
                  <a:pt x="879785" y="894374"/>
                </a:cubicBezTo>
                <a:close/>
                <a:moveTo>
                  <a:pt x="1701763" y="726839"/>
                </a:moveTo>
                <a:lnTo>
                  <a:pt x="2482813" y="726839"/>
                </a:lnTo>
                <a:lnTo>
                  <a:pt x="2482813" y="2365139"/>
                </a:lnTo>
                <a:cubicBezTo>
                  <a:pt x="2482813" y="2396702"/>
                  <a:pt x="2457226" y="2422289"/>
                  <a:pt x="2425663" y="2422289"/>
                </a:cubicBezTo>
                <a:lnTo>
                  <a:pt x="1701763" y="2422289"/>
                </a:lnTo>
                <a:lnTo>
                  <a:pt x="1701763" y="2233377"/>
                </a:lnTo>
                <a:lnTo>
                  <a:pt x="2292701" y="2233377"/>
                </a:lnTo>
                <a:cubicBezTo>
                  <a:pt x="2297747" y="2233377"/>
                  <a:pt x="2301838" y="2229286"/>
                  <a:pt x="2301838" y="2224240"/>
                </a:cubicBezTo>
                <a:lnTo>
                  <a:pt x="2301838" y="2109164"/>
                </a:lnTo>
                <a:lnTo>
                  <a:pt x="2292701" y="2100027"/>
                </a:lnTo>
                <a:lnTo>
                  <a:pt x="1701763" y="2100027"/>
                </a:lnTo>
                <a:lnTo>
                  <a:pt x="1701763" y="1940483"/>
                </a:lnTo>
                <a:lnTo>
                  <a:pt x="2292701" y="1940483"/>
                </a:lnTo>
                <a:cubicBezTo>
                  <a:pt x="2297747" y="1940483"/>
                  <a:pt x="2301838" y="1936392"/>
                  <a:pt x="2301838" y="1931346"/>
                </a:cubicBezTo>
                <a:lnTo>
                  <a:pt x="2301838" y="1816270"/>
                </a:lnTo>
                <a:lnTo>
                  <a:pt x="2292701" y="1807133"/>
                </a:lnTo>
                <a:lnTo>
                  <a:pt x="1701763" y="1807133"/>
                </a:lnTo>
                <a:lnTo>
                  <a:pt x="1701763" y="1649970"/>
                </a:lnTo>
                <a:lnTo>
                  <a:pt x="2292701" y="1649970"/>
                </a:lnTo>
                <a:cubicBezTo>
                  <a:pt x="2297747" y="1649970"/>
                  <a:pt x="2301838" y="1645879"/>
                  <a:pt x="2301838" y="1640833"/>
                </a:cubicBezTo>
                <a:lnTo>
                  <a:pt x="2301838" y="1525757"/>
                </a:lnTo>
                <a:lnTo>
                  <a:pt x="2292701" y="1516620"/>
                </a:lnTo>
                <a:lnTo>
                  <a:pt x="1701763" y="1516620"/>
                </a:lnTo>
                <a:lnTo>
                  <a:pt x="1701763" y="1351405"/>
                </a:lnTo>
                <a:lnTo>
                  <a:pt x="2271764" y="1351405"/>
                </a:lnTo>
                <a:cubicBezTo>
                  <a:pt x="2288373" y="1351405"/>
                  <a:pt x="2301838" y="1337940"/>
                  <a:pt x="2301838" y="1321331"/>
                </a:cubicBezTo>
                <a:lnTo>
                  <a:pt x="2301838" y="942567"/>
                </a:lnTo>
                <a:cubicBezTo>
                  <a:pt x="2301838" y="925958"/>
                  <a:pt x="2288373" y="912493"/>
                  <a:pt x="2271764" y="912493"/>
                </a:cubicBezTo>
                <a:lnTo>
                  <a:pt x="1701763" y="912493"/>
                </a:lnTo>
                <a:close/>
                <a:moveTo>
                  <a:pt x="2148867" y="340282"/>
                </a:moveTo>
                <a:lnTo>
                  <a:pt x="2782339" y="340282"/>
                </a:lnTo>
                <a:cubicBezTo>
                  <a:pt x="2813587" y="340282"/>
                  <a:pt x="2838919" y="365614"/>
                  <a:pt x="2838919" y="396862"/>
                </a:cubicBezTo>
                <a:lnTo>
                  <a:pt x="2838919" y="1746742"/>
                </a:lnTo>
                <a:cubicBezTo>
                  <a:pt x="2838919" y="1777990"/>
                  <a:pt x="2813587" y="1803322"/>
                  <a:pt x="2782339" y="1803322"/>
                </a:cubicBezTo>
                <a:lnTo>
                  <a:pt x="2549487" y="1803322"/>
                </a:lnTo>
                <a:lnTo>
                  <a:pt x="2549487" y="676566"/>
                </a:lnTo>
                <a:lnTo>
                  <a:pt x="2092287" y="411727"/>
                </a:lnTo>
                <a:lnTo>
                  <a:pt x="2092287" y="396862"/>
                </a:lnTo>
                <a:cubicBezTo>
                  <a:pt x="2092287" y="365614"/>
                  <a:pt x="2117619" y="340282"/>
                  <a:pt x="2148867" y="340282"/>
                </a:cubicBezTo>
                <a:close/>
                <a:moveTo>
                  <a:pt x="1640484" y="0"/>
                </a:moveTo>
                <a:lnTo>
                  <a:pt x="1640484" y="2721500"/>
                </a:lnTo>
                <a:lnTo>
                  <a:pt x="0" y="2441635"/>
                </a:lnTo>
                <a:lnTo>
                  <a:pt x="0" y="282219"/>
                </a:lnTo>
                <a:close/>
              </a:path>
            </a:pathLst>
          </a:custGeom>
          <a:solidFill>
            <a:srgbClr val="FFFFFF"/>
          </a:solidFill>
          <a:ln w="10795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5132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10264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65397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20529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5661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30793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85926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41058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-2500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86" name="Rectangle 4"/>
          <p:cNvSpPr/>
          <p:nvPr/>
        </p:nvSpPr>
        <p:spPr>
          <a:xfrm>
            <a:off x="5727517" y="1232912"/>
            <a:ext cx="227726" cy="216578"/>
          </a:xfrm>
          <a:custGeom>
            <a:avLst/>
            <a:gdLst/>
            <a:ahLst/>
            <a:cxnLst/>
            <a:rect l="l" t="t" r="r" b="b"/>
            <a:pathLst>
              <a:path w="2253672" h="2154513">
                <a:moveTo>
                  <a:pt x="1738560" y="1548363"/>
                </a:moveTo>
                <a:lnTo>
                  <a:pt x="1738560" y="1758675"/>
                </a:lnTo>
                <a:lnTo>
                  <a:pt x="2104320" y="1758675"/>
                </a:lnTo>
                <a:lnTo>
                  <a:pt x="2104320" y="1548363"/>
                </a:lnTo>
                <a:close/>
                <a:moveTo>
                  <a:pt x="1738560" y="1261283"/>
                </a:moveTo>
                <a:lnTo>
                  <a:pt x="1738560" y="1471595"/>
                </a:lnTo>
                <a:lnTo>
                  <a:pt x="2104320" y="1471595"/>
                </a:lnTo>
                <a:lnTo>
                  <a:pt x="2104320" y="1261283"/>
                </a:lnTo>
                <a:close/>
                <a:moveTo>
                  <a:pt x="1738560" y="974205"/>
                </a:moveTo>
                <a:lnTo>
                  <a:pt x="1738560" y="1184517"/>
                </a:lnTo>
                <a:lnTo>
                  <a:pt x="2104320" y="1184517"/>
                </a:lnTo>
                <a:lnTo>
                  <a:pt x="2104320" y="974205"/>
                </a:lnTo>
                <a:close/>
                <a:moveTo>
                  <a:pt x="1738560" y="687127"/>
                </a:moveTo>
                <a:lnTo>
                  <a:pt x="1738560" y="897439"/>
                </a:lnTo>
                <a:lnTo>
                  <a:pt x="2104320" y="897439"/>
                </a:lnTo>
                <a:lnTo>
                  <a:pt x="2104320" y="687127"/>
                </a:lnTo>
                <a:close/>
                <a:moveTo>
                  <a:pt x="927711" y="672099"/>
                </a:moveTo>
                <a:lnTo>
                  <a:pt x="770548" y="681624"/>
                </a:lnTo>
                <a:lnTo>
                  <a:pt x="653867" y="953087"/>
                </a:lnTo>
                <a:lnTo>
                  <a:pt x="556236" y="691149"/>
                </a:lnTo>
                <a:lnTo>
                  <a:pt x="403836" y="698293"/>
                </a:lnTo>
                <a:lnTo>
                  <a:pt x="565761" y="1065006"/>
                </a:lnTo>
                <a:lnTo>
                  <a:pt x="387167" y="1431718"/>
                </a:lnTo>
                <a:lnTo>
                  <a:pt x="541948" y="1438862"/>
                </a:lnTo>
                <a:lnTo>
                  <a:pt x="653867" y="1176924"/>
                </a:lnTo>
                <a:lnTo>
                  <a:pt x="768167" y="1455531"/>
                </a:lnTo>
                <a:lnTo>
                  <a:pt x="932473" y="1457912"/>
                </a:lnTo>
                <a:lnTo>
                  <a:pt x="744354" y="1065006"/>
                </a:lnTo>
                <a:close/>
                <a:moveTo>
                  <a:pt x="1738560" y="400049"/>
                </a:moveTo>
                <a:lnTo>
                  <a:pt x="1738560" y="610361"/>
                </a:lnTo>
                <a:lnTo>
                  <a:pt x="2104320" y="610361"/>
                </a:lnTo>
                <a:lnTo>
                  <a:pt x="2104320" y="400049"/>
                </a:lnTo>
                <a:close/>
                <a:moveTo>
                  <a:pt x="1357560" y="249239"/>
                </a:moveTo>
                <a:lnTo>
                  <a:pt x="2230092" y="249239"/>
                </a:lnTo>
                <a:cubicBezTo>
                  <a:pt x="2243115" y="249239"/>
                  <a:pt x="2253672" y="259796"/>
                  <a:pt x="2253672" y="272819"/>
                </a:cubicBezTo>
                <a:lnTo>
                  <a:pt x="2253672" y="1880723"/>
                </a:lnTo>
                <a:cubicBezTo>
                  <a:pt x="2253672" y="1893746"/>
                  <a:pt x="2243115" y="1904303"/>
                  <a:pt x="2230092" y="1904303"/>
                </a:cubicBezTo>
                <a:lnTo>
                  <a:pt x="1357560" y="1904303"/>
                </a:lnTo>
                <a:lnTo>
                  <a:pt x="1357560" y="1758675"/>
                </a:lnTo>
                <a:lnTo>
                  <a:pt x="1677600" y="1758675"/>
                </a:lnTo>
                <a:lnTo>
                  <a:pt x="1677600" y="1548363"/>
                </a:lnTo>
                <a:lnTo>
                  <a:pt x="1357560" y="1548363"/>
                </a:lnTo>
                <a:lnTo>
                  <a:pt x="1357560" y="1471595"/>
                </a:lnTo>
                <a:lnTo>
                  <a:pt x="1677600" y="1471595"/>
                </a:lnTo>
                <a:lnTo>
                  <a:pt x="1677600" y="1261283"/>
                </a:lnTo>
                <a:lnTo>
                  <a:pt x="1357560" y="1261283"/>
                </a:lnTo>
                <a:lnTo>
                  <a:pt x="1357560" y="1184517"/>
                </a:lnTo>
                <a:lnTo>
                  <a:pt x="1677600" y="1184517"/>
                </a:lnTo>
                <a:lnTo>
                  <a:pt x="1677600" y="974205"/>
                </a:lnTo>
                <a:lnTo>
                  <a:pt x="1357560" y="974205"/>
                </a:lnTo>
                <a:lnTo>
                  <a:pt x="1357560" y="897439"/>
                </a:lnTo>
                <a:lnTo>
                  <a:pt x="1677600" y="897439"/>
                </a:lnTo>
                <a:lnTo>
                  <a:pt x="1677600" y="687127"/>
                </a:lnTo>
                <a:lnTo>
                  <a:pt x="1357560" y="687127"/>
                </a:lnTo>
                <a:lnTo>
                  <a:pt x="1357560" y="610361"/>
                </a:lnTo>
                <a:lnTo>
                  <a:pt x="1677600" y="610361"/>
                </a:lnTo>
                <a:lnTo>
                  <a:pt x="1677600" y="400049"/>
                </a:lnTo>
                <a:lnTo>
                  <a:pt x="1357560" y="400049"/>
                </a:lnTo>
                <a:close/>
                <a:moveTo>
                  <a:pt x="1298713" y="0"/>
                </a:moveTo>
                <a:lnTo>
                  <a:pt x="1298713" y="2154513"/>
                </a:lnTo>
                <a:lnTo>
                  <a:pt x="0" y="1932953"/>
                </a:lnTo>
                <a:lnTo>
                  <a:pt x="0" y="223423"/>
                </a:lnTo>
                <a:close/>
              </a:path>
            </a:pathLst>
          </a:custGeom>
          <a:solidFill>
            <a:srgbClr val="FFFFFF"/>
          </a:solidFill>
          <a:ln w="10795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5132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10264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65397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20529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5661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30793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85926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41058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-2500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87" name="Rectangle 4"/>
          <p:cNvSpPr/>
          <p:nvPr/>
        </p:nvSpPr>
        <p:spPr>
          <a:xfrm>
            <a:off x="4921210" y="1823634"/>
            <a:ext cx="233140" cy="222882"/>
          </a:xfrm>
          <a:custGeom>
            <a:avLst/>
            <a:gdLst/>
            <a:ahLst/>
            <a:cxnLst/>
            <a:rect l="l" t="t" r="r" b="b"/>
            <a:pathLst>
              <a:path w="2258008" h="2158661">
                <a:moveTo>
                  <a:pt x="1054866" y="676730"/>
                </a:moveTo>
                <a:lnTo>
                  <a:pt x="905641" y="683080"/>
                </a:lnTo>
                <a:lnTo>
                  <a:pt x="810391" y="1245055"/>
                </a:lnTo>
                <a:lnTo>
                  <a:pt x="702441" y="695780"/>
                </a:lnTo>
                <a:lnTo>
                  <a:pt x="562741" y="708480"/>
                </a:lnTo>
                <a:lnTo>
                  <a:pt x="451616" y="1238705"/>
                </a:lnTo>
                <a:lnTo>
                  <a:pt x="369066" y="721180"/>
                </a:lnTo>
                <a:lnTo>
                  <a:pt x="238891" y="730705"/>
                </a:lnTo>
                <a:lnTo>
                  <a:pt x="375416" y="1438730"/>
                </a:lnTo>
                <a:lnTo>
                  <a:pt x="518291" y="1448255"/>
                </a:lnTo>
                <a:lnTo>
                  <a:pt x="626241" y="937080"/>
                </a:lnTo>
                <a:lnTo>
                  <a:pt x="727841" y="1460955"/>
                </a:lnTo>
                <a:lnTo>
                  <a:pt x="883416" y="1470480"/>
                </a:lnTo>
                <a:close/>
                <a:moveTo>
                  <a:pt x="1360172" y="249719"/>
                </a:moveTo>
                <a:lnTo>
                  <a:pt x="2234383" y="249719"/>
                </a:lnTo>
                <a:cubicBezTo>
                  <a:pt x="2247431" y="249719"/>
                  <a:pt x="2258008" y="260296"/>
                  <a:pt x="2258008" y="273344"/>
                </a:cubicBezTo>
                <a:lnTo>
                  <a:pt x="2258008" y="1884344"/>
                </a:lnTo>
                <a:cubicBezTo>
                  <a:pt x="2258008" y="1897392"/>
                  <a:pt x="2247431" y="1907969"/>
                  <a:pt x="2234383" y="1907969"/>
                </a:cubicBezTo>
                <a:lnTo>
                  <a:pt x="1360172" y="1907969"/>
                </a:lnTo>
                <a:lnTo>
                  <a:pt x="1360172" y="1703105"/>
                </a:lnTo>
                <a:lnTo>
                  <a:pt x="2054991" y="1703105"/>
                </a:lnTo>
                <a:lnTo>
                  <a:pt x="2054991" y="1602521"/>
                </a:lnTo>
                <a:lnTo>
                  <a:pt x="1360172" y="1602521"/>
                </a:lnTo>
                <a:lnTo>
                  <a:pt x="1360172" y="1474130"/>
                </a:lnTo>
                <a:lnTo>
                  <a:pt x="2054991" y="1474130"/>
                </a:lnTo>
                <a:lnTo>
                  <a:pt x="2054991" y="1373546"/>
                </a:lnTo>
                <a:lnTo>
                  <a:pt x="1360172" y="1373546"/>
                </a:lnTo>
                <a:lnTo>
                  <a:pt x="1360172" y="1245157"/>
                </a:lnTo>
                <a:lnTo>
                  <a:pt x="2054991" y="1245157"/>
                </a:lnTo>
                <a:lnTo>
                  <a:pt x="2054991" y="1144573"/>
                </a:lnTo>
                <a:lnTo>
                  <a:pt x="1360172" y="1144573"/>
                </a:lnTo>
                <a:lnTo>
                  <a:pt x="1360172" y="1016184"/>
                </a:lnTo>
                <a:lnTo>
                  <a:pt x="2054991" y="1016184"/>
                </a:lnTo>
                <a:lnTo>
                  <a:pt x="2054991" y="915600"/>
                </a:lnTo>
                <a:lnTo>
                  <a:pt x="1360172" y="915600"/>
                </a:lnTo>
                <a:lnTo>
                  <a:pt x="1360172" y="787211"/>
                </a:lnTo>
                <a:lnTo>
                  <a:pt x="2054991" y="787211"/>
                </a:lnTo>
                <a:lnTo>
                  <a:pt x="2054991" y="686627"/>
                </a:lnTo>
                <a:lnTo>
                  <a:pt x="1360172" y="686627"/>
                </a:lnTo>
                <a:lnTo>
                  <a:pt x="1360172" y="558238"/>
                </a:lnTo>
                <a:lnTo>
                  <a:pt x="2054991" y="558238"/>
                </a:lnTo>
                <a:lnTo>
                  <a:pt x="2054991" y="457654"/>
                </a:lnTo>
                <a:lnTo>
                  <a:pt x="1360172" y="457654"/>
                </a:lnTo>
                <a:close/>
                <a:moveTo>
                  <a:pt x="1301212" y="0"/>
                </a:moveTo>
                <a:lnTo>
                  <a:pt x="1301212" y="2158661"/>
                </a:lnTo>
                <a:lnTo>
                  <a:pt x="0" y="1936675"/>
                </a:lnTo>
                <a:lnTo>
                  <a:pt x="0" y="223853"/>
                </a:lnTo>
                <a:close/>
              </a:path>
            </a:pathLst>
          </a:custGeom>
          <a:solidFill>
            <a:srgbClr val="FFFFFF"/>
          </a:solidFill>
          <a:ln w="10795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5132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10264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65397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20529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5661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30793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85926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41058" algn="l" defTabSz="555132" rtl="0" eaLnBrk="1" latinLnBrk="0" hangingPunct="1"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-2500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850" name="Group 849"/>
          <p:cNvGrpSpPr/>
          <p:nvPr/>
        </p:nvGrpSpPr>
        <p:grpSpPr>
          <a:xfrm rot="2256321">
            <a:off x="4984257" y="3223045"/>
            <a:ext cx="367190" cy="474911"/>
            <a:chOff x="4848980" y="2997903"/>
            <a:chExt cx="473951" cy="612992"/>
          </a:xfrm>
        </p:grpSpPr>
        <p:sp>
          <p:nvSpPr>
            <p:cNvPr id="633" name="Oval 632"/>
            <p:cNvSpPr/>
            <p:nvPr/>
          </p:nvSpPr>
          <p:spPr bwMode="auto">
            <a:xfrm flipH="1" flipV="1">
              <a:off x="4903321" y="2997903"/>
              <a:ext cx="419610" cy="419613"/>
            </a:xfrm>
            <a:prstGeom prst="ellipse">
              <a:avLst/>
            </a:prstGeom>
            <a:solidFill>
              <a:srgbClr val="E9E9E9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-25000" noProof="0" dirty="0" smtClean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34" name="Donut 80"/>
            <p:cNvSpPr/>
            <p:nvPr/>
          </p:nvSpPr>
          <p:spPr bwMode="auto">
            <a:xfrm rot="18300336" flipV="1">
              <a:off x="4790243" y="3087596"/>
              <a:ext cx="582036" cy="464562"/>
            </a:xfrm>
            <a:custGeom>
              <a:avLst/>
              <a:gdLst/>
              <a:ahLst/>
              <a:cxnLst/>
              <a:rect l="l" t="t" r="r" b="b"/>
              <a:pathLst>
                <a:path w="4812161" h="3840901">
                  <a:moveTo>
                    <a:pt x="3296159" y="2000287"/>
                  </a:moveTo>
                  <a:cubicBezTo>
                    <a:pt x="3116881" y="2000287"/>
                    <a:pt x="2971547" y="2145621"/>
                    <a:pt x="2971547" y="2324899"/>
                  </a:cubicBezTo>
                  <a:cubicBezTo>
                    <a:pt x="2971547" y="2504177"/>
                    <a:pt x="3116881" y="2649511"/>
                    <a:pt x="3296159" y="2649511"/>
                  </a:cubicBezTo>
                  <a:cubicBezTo>
                    <a:pt x="3475437" y="2649511"/>
                    <a:pt x="3620771" y="2504177"/>
                    <a:pt x="3620771" y="2324899"/>
                  </a:cubicBezTo>
                  <a:cubicBezTo>
                    <a:pt x="3620771" y="2145621"/>
                    <a:pt x="3475437" y="2000287"/>
                    <a:pt x="3296159" y="2000287"/>
                  </a:cubicBezTo>
                  <a:close/>
                  <a:moveTo>
                    <a:pt x="3296159" y="1675675"/>
                  </a:moveTo>
                  <a:cubicBezTo>
                    <a:pt x="3654716" y="1675675"/>
                    <a:pt x="3945383" y="1966342"/>
                    <a:pt x="3945383" y="2324899"/>
                  </a:cubicBezTo>
                  <a:cubicBezTo>
                    <a:pt x="3945383" y="2683456"/>
                    <a:pt x="3654716" y="2974123"/>
                    <a:pt x="3296159" y="2974123"/>
                  </a:cubicBezTo>
                  <a:cubicBezTo>
                    <a:pt x="2937602" y="2974123"/>
                    <a:pt x="2646935" y="2683456"/>
                    <a:pt x="2646935" y="2324899"/>
                  </a:cubicBezTo>
                  <a:cubicBezTo>
                    <a:pt x="2646935" y="1966342"/>
                    <a:pt x="2937602" y="1675675"/>
                    <a:pt x="3296159" y="1675675"/>
                  </a:cubicBezTo>
                  <a:close/>
                  <a:moveTo>
                    <a:pt x="3296159" y="1420210"/>
                  </a:moveTo>
                  <a:cubicBezTo>
                    <a:pt x="2796513" y="1420210"/>
                    <a:pt x="2391470" y="1825253"/>
                    <a:pt x="2391470" y="2324899"/>
                  </a:cubicBezTo>
                  <a:cubicBezTo>
                    <a:pt x="2391470" y="2824545"/>
                    <a:pt x="2796513" y="3229588"/>
                    <a:pt x="3296159" y="3229588"/>
                  </a:cubicBezTo>
                  <a:cubicBezTo>
                    <a:pt x="3795805" y="3229588"/>
                    <a:pt x="4200848" y="2824545"/>
                    <a:pt x="4200848" y="2324899"/>
                  </a:cubicBezTo>
                  <a:cubicBezTo>
                    <a:pt x="4200848" y="1825253"/>
                    <a:pt x="3795805" y="1420210"/>
                    <a:pt x="3296159" y="1420210"/>
                  </a:cubicBezTo>
                  <a:close/>
                  <a:moveTo>
                    <a:pt x="3296159" y="808897"/>
                  </a:moveTo>
                  <a:cubicBezTo>
                    <a:pt x="3370288" y="808897"/>
                    <a:pt x="3443173" y="814218"/>
                    <a:pt x="3514208" y="826185"/>
                  </a:cubicBezTo>
                  <a:cubicBezTo>
                    <a:pt x="3590275" y="1345671"/>
                    <a:pt x="4110542" y="1236614"/>
                    <a:pt x="4171519" y="1171489"/>
                  </a:cubicBezTo>
                  <a:lnTo>
                    <a:pt x="4215967" y="1123398"/>
                  </a:lnTo>
                  <a:cubicBezTo>
                    <a:pt x="4326392" y="1205433"/>
                    <a:pt x="4423576" y="1303917"/>
                    <a:pt x="4506024" y="1414131"/>
                  </a:cubicBezTo>
                  <a:cubicBezTo>
                    <a:pt x="4193319" y="1914120"/>
                    <a:pt x="4701014" y="2151102"/>
                    <a:pt x="4799529" y="2138412"/>
                  </a:cubicBezTo>
                  <a:cubicBezTo>
                    <a:pt x="4808295" y="2199419"/>
                    <a:pt x="4812161" y="2261708"/>
                    <a:pt x="4812161" y="2324899"/>
                  </a:cubicBezTo>
                  <a:cubicBezTo>
                    <a:pt x="4812161" y="2388615"/>
                    <a:pt x="4808231" y="2451413"/>
                    <a:pt x="4799054" y="2512849"/>
                  </a:cubicBezTo>
                  <a:cubicBezTo>
                    <a:pt x="4788113" y="2515889"/>
                    <a:pt x="4778304" y="2519618"/>
                    <a:pt x="4769770" y="2523906"/>
                  </a:cubicBezTo>
                  <a:lnTo>
                    <a:pt x="4769199" y="2523774"/>
                  </a:lnTo>
                  <a:cubicBezTo>
                    <a:pt x="4276600" y="2692966"/>
                    <a:pt x="4408190" y="3103551"/>
                    <a:pt x="4504674" y="3235631"/>
                  </a:cubicBezTo>
                  <a:cubicBezTo>
                    <a:pt x="4424185" y="3345698"/>
                    <a:pt x="4327453" y="3442859"/>
                    <a:pt x="4219101" y="3525661"/>
                  </a:cubicBezTo>
                  <a:cubicBezTo>
                    <a:pt x="3740127" y="3239817"/>
                    <a:pt x="3508490" y="3714698"/>
                    <a:pt x="3512861" y="3823658"/>
                  </a:cubicBezTo>
                  <a:cubicBezTo>
                    <a:pt x="3442266" y="3835647"/>
                    <a:pt x="3369826" y="3840901"/>
                    <a:pt x="3296159" y="3840901"/>
                  </a:cubicBezTo>
                  <a:cubicBezTo>
                    <a:pt x="3223977" y="3840901"/>
                    <a:pt x="3152974" y="3835857"/>
                    <a:pt x="3083692" y="3824633"/>
                  </a:cubicBezTo>
                  <a:cubicBezTo>
                    <a:pt x="2945132" y="3289289"/>
                    <a:pt x="2478158" y="3436602"/>
                    <a:pt x="2372141" y="3523198"/>
                  </a:cubicBezTo>
                  <a:cubicBezTo>
                    <a:pt x="2262805" y="3441349"/>
                    <a:pt x="2166565" y="3343329"/>
                    <a:pt x="2084868" y="3233760"/>
                  </a:cubicBezTo>
                  <a:cubicBezTo>
                    <a:pt x="2372460" y="2758314"/>
                    <a:pt x="1912484" y="2524914"/>
                    <a:pt x="1794482" y="2522480"/>
                  </a:cubicBezTo>
                  <a:cubicBezTo>
                    <a:pt x="1784508" y="2457948"/>
                    <a:pt x="1780157" y="2391932"/>
                    <a:pt x="1780157" y="2324899"/>
                  </a:cubicBezTo>
                  <a:cubicBezTo>
                    <a:pt x="1780157" y="2258743"/>
                    <a:pt x="1784395" y="2193577"/>
                    <a:pt x="1793487" y="2129772"/>
                  </a:cubicBezTo>
                  <a:cubicBezTo>
                    <a:pt x="2324943" y="2022144"/>
                    <a:pt x="2174743" y="1501516"/>
                    <a:pt x="2104500" y="1445028"/>
                  </a:cubicBezTo>
                  <a:lnTo>
                    <a:pt x="2079323" y="1425048"/>
                  </a:lnTo>
                  <a:cubicBezTo>
                    <a:pt x="2158206" y="1315063"/>
                    <a:pt x="2253175" y="1217660"/>
                    <a:pt x="2359684" y="1134258"/>
                  </a:cubicBezTo>
                  <a:cubicBezTo>
                    <a:pt x="2861568" y="1444701"/>
                    <a:pt x="3096870" y="926345"/>
                    <a:pt x="3079479" y="835441"/>
                  </a:cubicBezTo>
                  <a:lnTo>
                    <a:pt x="3077691" y="826410"/>
                  </a:lnTo>
                  <a:cubicBezTo>
                    <a:pt x="3148845" y="814239"/>
                    <a:pt x="3221878" y="808897"/>
                    <a:pt x="3296159" y="808897"/>
                  </a:cubicBezTo>
                  <a:close/>
                  <a:moveTo>
                    <a:pt x="1005840" y="789098"/>
                  </a:moveTo>
                  <a:cubicBezTo>
                    <a:pt x="886892" y="789098"/>
                    <a:pt x="790466" y="885357"/>
                    <a:pt x="790466" y="1004099"/>
                  </a:cubicBezTo>
                  <a:cubicBezTo>
                    <a:pt x="790466" y="1122841"/>
                    <a:pt x="886892" y="1219101"/>
                    <a:pt x="1005840" y="1219101"/>
                  </a:cubicBezTo>
                  <a:cubicBezTo>
                    <a:pt x="1124788" y="1219101"/>
                    <a:pt x="1221214" y="1122841"/>
                    <a:pt x="1221214" y="1004099"/>
                  </a:cubicBezTo>
                  <a:cubicBezTo>
                    <a:pt x="1221214" y="885357"/>
                    <a:pt x="1124788" y="789098"/>
                    <a:pt x="1005840" y="789098"/>
                  </a:cubicBezTo>
                  <a:close/>
                  <a:moveTo>
                    <a:pt x="1005840" y="574096"/>
                  </a:moveTo>
                  <a:cubicBezTo>
                    <a:pt x="1243736" y="574096"/>
                    <a:pt x="1436589" y="766615"/>
                    <a:pt x="1436589" y="1004099"/>
                  </a:cubicBezTo>
                  <a:cubicBezTo>
                    <a:pt x="1436589" y="1241584"/>
                    <a:pt x="1243736" y="1434102"/>
                    <a:pt x="1005840" y="1434102"/>
                  </a:cubicBezTo>
                  <a:cubicBezTo>
                    <a:pt x="767944" y="1434102"/>
                    <a:pt x="575092" y="1241584"/>
                    <a:pt x="575092" y="1004099"/>
                  </a:cubicBezTo>
                  <a:cubicBezTo>
                    <a:pt x="575092" y="766615"/>
                    <a:pt x="767944" y="574096"/>
                    <a:pt x="1005840" y="574096"/>
                  </a:cubicBezTo>
                  <a:close/>
                  <a:moveTo>
                    <a:pt x="1005840" y="404893"/>
                  </a:moveTo>
                  <a:cubicBezTo>
                    <a:pt x="674334" y="404893"/>
                    <a:pt x="405595" y="673167"/>
                    <a:pt x="405595" y="1004099"/>
                  </a:cubicBezTo>
                  <a:cubicBezTo>
                    <a:pt x="405595" y="1335031"/>
                    <a:pt x="674334" y="1603305"/>
                    <a:pt x="1005840" y="1603305"/>
                  </a:cubicBezTo>
                  <a:cubicBezTo>
                    <a:pt x="1337346" y="1603305"/>
                    <a:pt x="1606085" y="1335031"/>
                    <a:pt x="1606085" y="1004099"/>
                  </a:cubicBezTo>
                  <a:cubicBezTo>
                    <a:pt x="1606085" y="673167"/>
                    <a:pt x="1337346" y="404893"/>
                    <a:pt x="1005840" y="404893"/>
                  </a:cubicBezTo>
                  <a:close/>
                  <a:moveTo>
                    <a:pt x="1005840" y="0"/>
                  </a:moveTo>
                  <a:cubicBezTo>
                    <a:pt x="1055023" y="0"/>
                    <a:pt x="1103381" y="3524"/>
                    <a:pt x="1150512" y="11450"/>
                  </a:cubicBezTo>
                  <a:cubicBezTo>
                    <a:pt x="1200981" y="355524"/>
                    <a:pt x="1546169" y="283291"/>
                    <a:pt x="1586626" y="240157"/>
                  </a:cubicBezTo>
                  <a:lnTo>
                    <a:pt x="1616116" y="208305"/>
                  </a:lnTo>
                  <a:cubicBezTo>
                    <a:pt x="1689381" y="262639"/>
                    <a:pt x="1753861" y="327868"/>
                    <a:pt x="1808564" y="400867"/>
                  </a:cubicBezTo>
                  <a:cubicBezTo>
                    <a:pt x="1601090" y="732026"/>
                    <a:pt x="1937936" y="888988"/>
                    <a:pt x="2003299" y="880583"/>
                  </a:cubicBezTo>
                  <a:cubicBezTo>
                    <a:pt x="2009115" y="920990"/>
                    <a:pt x="2011680" y="962246"/>
                    <a:pt x="2011680" y="1004099"/>
                  </a:cubicBezTo>
                  <a:cubicBezTo>
                    <a:pt x="2011680" y="1046300"/>
                    <a:pt x="2009073" y="1087894"/>
                    <a:pt x="2002984" y="1128585"/>
                  </a:cubicBezTo>
                  <a:cubicBezTo>
                    <a:pt x="1995725" y="1130598"/>
                    <a:pt x="1989217" y="1133068"/>
                    <a:pt x="1983554" y="1135908"/>
                  </a:cubicBezTo>
                  <a:lnTo>
                    <a:pt x="1983176" y="1135821"/>
                  </a:lnTo>
                  <a:cubicBezTo>
                    <a:pt x="1656345" y="1247882"/>
                    <a:pt x="1743653" y="1519827"/>
                    <a:pt x="1807668" y="1607308"/>
                  </a:cubicBezTo>
                  <a:cubicBezTo>
                    <a:pt x="1754265" y="1680209"/>
                    <a:pt x="1690085" y="1744562"/>
                    <a:pt x="1618196" y="1799404"/>
                  </a:cubicBezTo>
                  <a:cubicBezTo>
                    <a:pt x="1300405" y="1610080"/>
                    <a:pt x="1146718" y="1924610"/>
                    <a:pt x="1149618" y="1996778"/>
                  </a:cubicBezTo>
                  <a:cubicBezTo>
                    <a:pt x="1102780" y="2004718"/>
                    <a:pt x="1054717" y="2008198"/>
                    <a:pt x="1005840" y="2008198"/>
                  </a:cubicBezTo>
                  <a:cubicBezTo>
                    <a:pt x="957949" y="2008198"/>
                    <a:pt x="910840" y="2004857"/>
                    <a:pt x="864872" y="1997423"/>
                  </a:cubicBezTo>
                  <a:cubicBezTo>
                    <a:pt x="772940" y="1642847"/>
                    <a:pt x="463111" y="1740417"/>
                    <a:pt x="392771" y="1797773"/>
                  </a:cubicBezTo>
                  <a:cubicBezTo>
                    <a:pt x="320228" y="1743561"/>
                    <a:pt x="256375" y="1678640"/>
                    <a:pt x="202170" y="1606068"/>
                  </a:cubicBezTo>
                  <a:cubicBezTo>
                    <a:pt x="392982" y="1291164"/>
                    <a:pt x="87797" y="1136576"/>
                    <a:pt x="9505" y="1134964"/>
                  </a:cubicBezTo>
                  <a:cubicBezTo>
                    <a:pt x="2887" y="1092222"/>
                    <a:pt x="0" y="1048497"/>
                    <a:pt x="0" y="1004099"/>
                  </a:cubicBezTo>
                  <a:cubicBezTo>
                    <a:pt x="0" y="960282"/>
                    <a:pt x="2812" y="917120"/>
                    <a:pt x="8844" y="874860"/>
                  </a:cubicBezTo>
                  <a:cubicBezTo>
                    <a:pt x="361456" y="803574"/>
                    <a:pt x="261801" y="458745"/>
                    <a:pt x="215196" y="421331"/>
                  </a:cubicBezTo>
                  <a:lnTo>
                    <a:pt x="198491" y="408098"/>
                  </a:lnTo>
                  <a:cubicBezTo>
                    <a:pt x="250829" y="335251"/>
                    <a:pt x="313839" y="270738"/>
                    <a:pt x="384506" y="215498"/>
                  </a:cubicBezTo>
                  <a:cubicBezTo>
                    <a:pt x="717497" y="421114"/>
                    <a:pt x="873616" y="77790"/>
                    <a:pt x="862077" y="17581"/>
                  </a:cubicBezTo>
                  <a:lnTo>
                    <a:pt x="860891" y="11600"/>
                  </a:lnTo>
                  <a:cubicBezTo>
                    <a:pt x="908100" y="3538"/>
                    <a:pt x="956556" y="0"/>
                    <a:pt x="1005840" y="0"/>
                  </a:cubicBezTo>
                  <a:close/>
                </a:path>
              </a:pathLst>
            </a:custGeom>
            <a:solidFill>
              <a:srgbClr val="0072C6">
                <a:lumMod val="40000"/>
                <a:lumOff val="6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="horz" wrap="square" lIns="91440" tIns="45720" rIns="4572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55132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110264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665397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220529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775661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330793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885926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441058" algn="l" defTabSz="555132" rtl="0" eaLnBrk="1" latinLnBrk="0" hangingPunct="1">
                <a:defRPr sz="22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09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-50" normalizeH="0" baseline="0" noProof="0" dirty="0" smtClean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38770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7" name="Group 286"/>
          <p:cNvGrpSpPr/>
          <p:nvPr/>
        </p:nvGrpSpPr>
        <p:grpSpPr>
          <a:xfrm>
            <a:off x="3296834" y="990120"/>
            <a:ext cx="4583054" cy="5271659"/>
            <a:chOff x="3296834" y="990120"/>
            <a:chExt cx="4583054" cy="5271659"/>
          </a:xfrm>
        </p:grpSpPr>
        <p:sp>
          <p:nvSpPr>
            <p:cNvPr id="2" name="Rectangle 1"/>
            <p:cNvSpPr/>
            <p:nvPr/>
          </p:nvSpPr>
          <p:spPr>
            <a:xfrm>
              <a:off x="3296834" y="990120"/>
              <a:ext cx="4583054" cy="5271659"/>
            </a:xfrm>
            <a:prstGeom prst="rect">
              <a:avLst/>
            </a:prstGeom>
            <a:solidFill>
              <a:srgbClr val="E9E9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7" name="Group 36"/>
            <p:cNvGrpSpPr/>
            <p:nvPr/>
          </p:nvGrpSpPr>
          <p:grpSpPr>
            <a:xfrm>
              <a:off x="3388542" y="1371340"/>
              <a:ext cx="4399637" cy="4509218"/>
              <a:chOff x="4404584" y="1481538"/>
              <a:chExt cx="2714255" cy="2781859"/>
            </a:xfrm>
          </p:grpSpPr>
          <p:sp>
            <p:nvSpPr>
              <p:cNvPr id="38" name="Oval 3"/>
              <p:cNvSpPr/>
              <p:nvPr/>
            </p:nvSpPr>
            <p:spPr>
              <a:xfrm>
                <a:off x="4890798" y="2505395"/>
                <a:ext cx="2228041" cy="958037"/>
              </a:xfrm>
              <a:custGeom>
                <a:avLst/>
                <a:gdLst/>
                <a:ahLst/>
                <a:cxnLst/>
                <a:rect l="l" t="t" r="r" b="b"/>
                <a:pathLst>
                  <a:path w="3526262" h="1620949">
                    <a:moveTo>
                      <a:pt x="1905000" y="0"/>
                    </a:moveTo>
                    <a:cubicBezTo>
                      <a:pt x="2160688" y="0"/>
                      <a:pt x="2383694" y="113064"/>
                      <a:pt x="2499237" y="282370"/>
                    </a:cubicBezTo>
                    <a:cubicBezTo>
                      <a:pt x="2575283" y="213250"/>
                      <a:pt x="2678425" y="171450"/>
                      <a:pt x="2791830" y="171450"/>
                    </a:cubicBezTo>
                    <a:cubicBezTo>
                      <a:pt x="3026775" y="171450"/>
                      <a:pt x="3217672" y="350859"/>
                      <a:pt x="3220758" y="573537"/>
                    </a:cubicBezTo>
                    <a:cubicBezTo>
                      <a:pt x="3397786" y="622453"/>
                      <a:pt x="3526262" y="778390"/>
                      <a:pt x="3526262" y="962874"/>
                    </a:cubicBezTo>
                    <a:cubicBezTo>
                      <a:pt x="3526262" y="1188608"/>
                      <a:pt x="3333910" y="1371601"/>
                      <a:pt x="3096631" y="1371601"/>
                    </a:cubicBezTo>
                    <a:cubicBezTo>
                      <a:pt x="3059788" y="1371601"/>
                      <a:pt x="3024029" y="1367189"/>
                      <a:pt x="2990261" y="1357433"/>
                    </a:cubicBezTo>
                    <a:cubicBezTo>
                      <a:pt x="2927759" y="1511709"/>
                      <a:pt x="2766228" y="1620949"/>
                      <a:pt x="2577016" y="1620949"/>
                    </a:cubicBezTo>
                    <a:cubicBezTo>
                      <a:pt x="2414017" y="1620949"/>
                      <a:pt x="2271559" y="1539879"/>
                      <a:pt x="2196015" y="1418135"/>
                    </a:cubicBezTo>
                    <a:cubicBezTo>
                      <a:pt x="2120472" y="1539878"/>
                      <a:pt x="1978014" y="1620948"/>
                      <a:pt x="1815015" y="1620948"/>
                    </a:cubicBezTo>
                    <a:cubicBezTo>
                      <a:pt x="1656048" y="1620948"/>
                      <a:pt x="1516619" y="1543840"/>
                      <a:pt x="1439398" y="1427276"/>
                    </a:cubicBezTo>
                    <a:cubicBezTo>
                      <a:pt x="1357285" y="1544659"/>
                      <a:pt x="1220952" y="1620948"/>
                      <a:pt x="1066800" y="1620948"/>
                    </a:cubicBezTo>
                    <a:cubicBezTo>
                      <a:pt x="870242" y="1620948"/>
                      <a:pt x="702654" y="1496911"/>
                      <a:pt x="639503" y="1322297"/>
                    </a:cubicBezTo>
                    <a:cubicBezTo>
                      <a:pt x="575919" y="1362710"/>
                      <a:pt x="500200" y="1385558"/>
                      <a:pt x="419100" y="1385558"/>
                    </a:cubicBezTo>
                    <a:cubicBezTo>
                      <a:pt x="187637" y="1385558"/>
                      <a:pt x="0" y="1199441"/>
                      <a:pt x="0" y="969853"/>
                    </a:cubicBezTo>
                    <a:cubicBezTo>
                      <a:pt x="0" y="740265"/>
                      <a:pt x="187637" y="554148"/>
                      <a:pt x="419100" y="554148"/>
                    </a:cubicBezTo>
                    <a:cubicBezTo>
                      <a:pt x="466502" y="554148"/>
                      <a:pt x="512065" y="561954"/>
                      <a:pt x="553956" y="578110"/>
                    </a:cubicBezTo>
                    <a:cubicBezTo>
                      <a:pt x="607567" y="387831"/>
                      <a:pt x="782911" y="249348"/>
                      <a:pt x="990600" y="249348"/>
                    </a:cubicBezTo>
                    <a:cubicBezTo>
                      <a:pt x="1096279" y="249348"/>
                      <a:pt x="1193583" y="285202"/>
                      <a:pt x="1269841" y="346915"/>
                    </a:cubicBezTo>
                    <a:cubicBezTo>
                      <a:pt x="1370673" y="143326"/>
                      <a:pt x="1617122" y="0"/>
                      <a:pt x="1905000" y="0"/>
                    </a:cubicBezTo>
                    <a:close/>
                  </a:path>
                </a:pathLst>
              </a:custGeom>
              <a:solidFill>
                <a:srgbClr val="0072C6"/>
              </a:solidFill>
              <a:ln w="38100" cap="flat" cmpd="sng" algn="ctr">
                <a:noFill/>
                <a:prstDash val="solid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31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1200" cap="none" spc="0" normalizeH="0" baseline="-25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9" name="Oval 3"/>
              <p:cNvSpPr/>
              <p:nvPr/>
            </p:nvSpPr>
            <p:spPr>
              <a:xfrm>
                <a:off x="4589643" y="2558824"/>
                <a:ext cx="1682391" cy="723412"/>
              </a:xfrm>
              <a:custGeom>
                <a:avLst/>
                <a:gdLst/>
                <a:ahLst/>
                <a:cxnLst/>
                <a:rect l="l" t="t" r="r" b="b"/>
                <a:pathLst>
                  <a:path w="3526262" h="1620949">
                    <a:moveTo>
                      <a:pt x="1905000" y="0"/>
                    </a:moveTo>
                    <a:cubicBezTo>
                      <a:pt x="2160688" y="0"/>
                      <a:pt x="2383694" y="113064"/>
                      <a:pt x="2499237" y="282370"/>
                    </a:cubicBezTo>
                    <a:cubicBezTo>
                      <a:pt x="2575283" y="213250"/>
                      <a:pt x="2678425" y="171450"/>
                      <a:pt x="2791830" y="171450"/>
                    </a:cubicBezTo>
                    <a:cubicBezTo>
                      <a:pt x="3026775" y="171450"/>
                      <a:pt x="3217672" y="350859"/>
                      <a:pt x="3220758" y="573537"/>
                    </a:cubicBezTo>
                    <a:cubicBezTo>
                      <a:pt x="3397786" y="622453"/>
                      <a:pt x="3526262" y="778390"/>
                      <a:pt x="3526262" y="962874"/>
                    </a:cubicBezTo>
                    <a:cubicBezTo>
                      <a:pt x="3526262" y="1188608"/>
                      <a:pt x="3333910" y="1371601"/>
                      <a:pt x="3096631" y="1371601"/>
                    </a:cubicBezTo>
                    <a:cubicBezTo>
                      <a:pt x="3059788" y="1371601"/>
                      <a:pt x="3024029" y="1367189"/>
                      <a:pt x="2990261" y="1357433"/>
                    </a:cubicBezTo>
                    <a:cubicBezTo>
                      <a:pt x="2927759" y="1511709"/>
                      <a:pt x="2766228" y="1620949"/>
                      <a:pt x="2577016" y="1620949"/>
                    </a:cubicBezTo>
                    <a:cubicBezTo>
                      <a:pt x="2414017" y="1620949"/>
                      <a:pt x="2271559" y="1539879"/>
                      <a:pt x="2196015" y="1418135"/>
                    </a:cubicBezTo>
                    <a:cubicBezTo>
                      <a:pt x="2120472" y="1539878"/>
                      <a:pt x="1978014" y="1620948"/>
                      <a:pt x="1815015" y="1620948"/>
                    </a:cubicBezTo>
                    <a:cubicBezTo>
                      <a:pt x="1656048" y="1620948"/>
                      <a:pt x="1516619" y="1543840"/>
                      <a:pt x="1439398" y="1427276"/>
                    </a:cubicBezTo>
                    <a:cubicBezTo>
                      <a:pt x="1357285" y="1544659"/>
                      <a:pt x="1220952" y="1620948"/>
                      <a:pt x="1066800" y="1620948"/>
                    </a:cubicBezTo>
                    <a:cubicBezTo>
                      <a:pt x="870242" y="1620948"/>
                      <a:pt x="702654" y="1496911"/>
                      <a:pt x="639503" y="1322297"/>
                    </a:cubicBezTo>
                    <a:cubicBezTo>
                      <a:pt x="575919" y="1362710"/>
                      <a:pt x="500200" y="1385558"/>
                      <a:pt x="419100" y="1385558"/>
                    </a:cubicBezTo>
                    <a:cubicBezTo>
                      <a:pt x="187637" y="1385558"/>
                      <a:pt x="0" y="1199441"/>
                      <a:pt x="0" y="969853"/>
                    </a:cubicBezTo>
                    <a:cubicBezTo>
                      <a:pt x="0" y="740265"/>
                      <a:pt x="187637" y="554148"/>
                      <a:pt x="419100" y="554148"/>
                    </a:cubicBezTo>
                    <a:cubicBezTo>
                      <a:pt x="466502" y="554148"/>
                      <a:pt x="512065" y="561954"/>
                      <a:pt x="553956" y="578110"/>
                    </a:cubicBezTo>
                    <a:cubicBezTo>
                      <a:pt x="607567" y="387831"/>
                      <a:pt x="782911" y="249348"/>
                      <a:pt x="990600" y="249348"/>
                    </a:cubicBezTo>
                    <a:cubicBezTo>
                      <a:pt x="1096279" y="249348"/>
                      <a:pt x="1193583" y="285202"/>
                      <a:pt x="1269841" y="346915"/>
                    </a:cubicBezTo>
                    <a:cubicBezTo>
                      <a:pt x="1370673" y="143326"/>
                      <a:pt x="1617122" y="0"/>
                      <a:pt x="1905000" y="0"/>
                    </a:cubicBezTo>
                    <a:close/>
                  </a:path>
                </a:pathLst>
              </a:custGeom>
              <a:solidFill>
                <a:srgbClr val="0072C6"/>
              </a:solidFill>
              <a:ln w="38100" cap="flat" cmpd="sng" algn="ctr">
                <a:noFill/>
                <a:prstDash val="solid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31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1200" cap="none" spc="0" normalizeH="0" baseline="-25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40" name="Group 39"/>
              <p:cNvGrpSpPr/>
              <p:nvPr/>
            </p:nvGrpSpPr>
            <p:grpSpPr>
              <a:xfrm>
                <a:off x="4835683" y="2095232"/>
                <a:ext cx="1646838" cy="1271654"/>
                <a:chOff x="8236464" y="969127"/>
                <a:chExt cx="2348136" cy="1813183"/>
              </a:xfrm>
            </p:grpSpPr>
            <p:grpSp>
              <p:nvGrpSpPr>
                <p:cNvPr id="92" name="Group 91"/>
                <p:cNvGrpSpPr/>
                <p:nvPr/>
              </p:nvGrpSpPr>
              <p:grpSpPr>
                <a:xfrm>
                  <a:off x="9876941" y="1194914"/>
                  <a:ext cx="707659" cy="1587396"/>
                  <a:chOff x="4717311" y="310701"/>
                  <a:chExt cx="997472" cy="2237494"/>
                </a:xfrm>
              </p:grpSpPr>
              <p:sp>
                <p:nvSpPr>
                  <p:cNvPr id="219" name="Rectangle 218"/>
                  <p:cNvSpPr/>
                  <p:nvPr/>
                </p:nvSpPr>
                <p:spPr bwMode="auto">
                  <a:xfrm>
                    <a:off x="4717311" y="310701"/>
                    <a:ext cx="997472" cy="2237494"/>
                  </a:xfrm>
                  <a:prstGeom prst="rect">
                    <a:avLst/>
                  </a:prstGeom>
                  <a:solidFill>
                    <a:srgbClr val="FF8C00"/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220" name="Rectangle 219"/>
                  <p:cNvSpPr/>
                  <p:nvPr/>
                </p:nvSpPr>
                <p:spPr bwMode="auto">
                  <a:xfrm>
                    <a:off x="4798357" y="388761"/>
                    <a:ext cx="835381" cy="1996918"/>
                  </a:xfrm>
                  <a:prstGeom prst="rect">
                    <a:avLst/>
                  </a:prstGeom>
                  <a:solidFill>
                    <a:srgbClr val="FFFFFF">
                      <a:lumMod val="75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grpSp>
                <p:nvGrpSpPr>
                  <p:cNvPr id="221" name="Group 220"/>
                  <p:cNvGrpSpPr/>
                  <p:nvPr/>
                </p:nvGrpSpPr>
                <p:grpSpPr>
                  <a:xfrm>
                    <a:off x="4838974" y="429271"/>
                    <a:ext cx="754147" cy="274179"/>
                    <a:chOff x="4838974" y="429271"/>
                    <a:chExt cx="754147" cy="274179"/>
                  </a:xfrm>
                </p:grpSpPr>
                <p:sp>
                  <p:nvSpPr>
                    <p:cNvPr id="272" name="Rectangle 271"/>
                    <p:cNvSpPr/>
                    <p:nvPr/>
                  </p:nvSpPr>
                  <p:spPr bwMode="auto">
                    <a:xfrm>
                      <a:off x="4838974" y="429271"/>
                      <a:ext cx="754147" cy="274179"/>
                    </a:xfrm>
                    <a:prstGeom prst="rect">
                      <a:avLst/>
                    </a:prstGeom>
                    <a:solidFill>
                      <a:srgbClr val="FFFFFF">
                        <a:lumMod val="95000"/>
                      </a:srgbClr>
                    </a:solidFill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ot="0" spcFirstLastPara="0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32472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0" normalizeH="0" baseline="-25000" noProof="0" dirty="0" smtClean="0">
                        <a:ln>
                          <a:noFill/>
                        </a:ln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ffectLst/>
                        <a:uLnTx/>
                        <a:uFillTx/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grpSp>
                  <p:nvGrpSpPr>
                    <p:cNvPr id="273" name="Group 272"/>
                    <p:cNvGrpSpPr/>
                    <p:nvPr/>
                  </p:nvGrpSpPr>
                  <p:grpSpPr>
                    <a:xfrm>
                      <a:off x="4870868" y="464463"/>
                      <a:ext cx="345154" cy="203795"/>
                      <a:chOff x="5878465" y="462955"/>
                      <a:chExt cx="495026" cy="274179"/>
                    </a:xfrm>
                  </p:grpSpPr>
                  <p:sp>
                    <p:nvSpPr>
                      <p:cNvPr id="275" name="Rectangle 274"/>
                      <p:cNvSpPr/>
                      <p:nvPr/>
                    </p:nvSpPr>
                    <p:spPr bwMode="auto">
                      <a:xfrm>
                        <a:off x="587846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276" name="Rectangle 275"/>
                      <p:cNvSpPr/>
                      <p:nvPr/>
                    </p:nvSpPr>
                    <p:spPr bwMode="auto">
                      <a:xfrm>
                        <a:off x="596482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277" name="Rectangle 276"/>
                      <p:cNvSpPr/>
                      <p:nvPr/>
                    </p:nvSpPr>
                    <p:spPr bwMode="auto">
                      <a:xfrm>
                        <a:off x="605118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278" name="Rectangle 277"/>
                      <p:cNvSpPr/>
                      <p:nvPr/>
                    </p:nvSpPr>
                    <p:spPr bwMode="auto">
                      <a:xfrm>
                        <a:off x="613754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279" name="Rectangle 278"/>
                      <p:cNvSpPr/>
                      <p:nvPr/>
                    </p:nvSpPr>
                    <p:spPr bwMode="auto">
                      <a:xfrm>
                        <a:off x="622390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280" name="Rectangle 279"/>
                      <p:cNvSpPr/>
                      <p:nvPr/>
                    </p:nvSpPr>
                    <p:spPr bwMode="auto">
                      <a:xfrm>
                        <a:off x="631026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</p:grpSp>
                <p:sp>
                  <p:nvSpPr>
                    <p:cNvPr id="274" name="Oval 273"/>
                    <p:cNvSpPr/>
                    <p:nvPr/>
                  </p:nvSpPr>
                  <p:spPr bwMode="auto">
                    <a:xfrm>
                      <a:off x="5429250" y="512385"/>
                      <a:ext cx="107950" cy="107950"/>
                    </a:xfrm>
                    <a:prstGeom prst="ellipse">
                      <a:avLst/>
                    </a:prstGeom>
                    <a:solidFill>
                      <a:srgbClr val="00B050"/>
                    </a:solidFill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ot="0" spcFirstLastPara="0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32472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0" normalizeH="0" baseline="-25000" noProof="0" dirty="0" smtClean="0">
                        <a:ln>
                          <a:noFill/>
                        </a:ln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ffectLst/>
                        <a:uLnTx/>
                        <a:uFillTx/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</p:grpSp>
              <p:grpSp>
                <p:nvGrpSpPr>
                  <p:cNvPr id="222" name="Group 221"/>
                  <p:cNvGrpSpPr/>
                  <p:nvPr/>
                </p:nvGrpSpPr>
                <p:grpSpPr>
                  <a:xfrm>
                    <a:off x="4838974" y="735274"/>
                    <a:ext cx="754147" cy="274179"/>
                    <a:chOff x="4838974" y="429271"/>
                    <a:chExt cx="754147" cy="274179"/>
                  </a:xfrm>
                </p:grpSpPr>
                <p:sp>
                  <p:nvSpPr>
                    <p:cNvPr id="263" name="Rectangle 262"/>
                    <p:cNvSpPr/>
                    <p:nvPr/>
                  </p:nvSpPr>
                  <p:spPr bwMode="auto">
                    <a:xfrm>
                      <a:off x="4838974" y="429271"/>
                      <a:ext cx="754147" cy="274179"/>
                    </a:xfrm>
                    <a:prstGeom prst="rect">
                      <a:avLst/>
                    </a:prstGeom>
                    <a:solidFill>
                      <a:srgbClr val="FFFFFF">
                        <a:lumMod val="95000"/>
                      </a:srgbClr>
                    </a:solidFill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ot="0" spcFirstLastPara="0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32472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0" normalizeH="0" baseline="-25000" noProof="0" dirty="0" smtClean="0">
                        <a:ln>
                          <a:noFill/>
                        </a:ln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ffectLst/>
                        <a:uLnTx/>
                        <a:uFillTx/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grpSp>
                  <p:nvGrpSpPr>
                    <p:cNvPr id="264" name="Group 263"/>
                    <p:cNvGrpSpPr/>
                    <p:nvPr/>
                  </p:nvGrpSpPr>
                  <p:grpSpPr>
                    <a:xfrm>
                      <a:off x="4870868" y="464463"/>
                      <a:ext cx="345154" cy="203795"/>
                      <a:chOff x="5878465" y="462955"/>
                      <a:chExt cx="495026" cy="274179"/>
                    </a:xfrm>
                  </p:grpSpPr>
                  <p:sp>
                    <p:nvSpPr>
                      <p:cNvPr id="266" name="Rectangle 265"/>
                      <p:cNvSpPr/>
                      <p:nvPr/>
                    </p:nvSpPr>
                    <p:spPr bwMode="auto">
                      <a:xfrm>
                        <a:off x="587846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267" name="Rectangle 266"/>
                      <p:cNvSpPr/>
                      <p:nvPr/>
                    </p:nvSpPr>
                    <p:spPr bwMode="auto">
                      <a:xfrm>
                        <a:off x="596482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268" name="Rectangle 267"/>
                      <p:cNvSpPr/>
                      <p:nvPr/>
                    </p:nvSpPr>
                    <p:spPr bwMode="auto">
                      <a:xfrm>
                        <a:off x="605118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269" name="Rectangle 268"/>
                      <p:cNvSpPr/>
                      <p:nvPr/>
                    </p:nvSpPr>
                    <p:spPr bwMode="auto">
                      <a:xfrm>
                        <a:off x="613754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270" name="Rectangle 269"/>
                      <p:cNvSpPr/>
                      <p:nvPr/>
                    </p:nvSpPr>
                    <p:spPr bwMode="auto">
                      <a:xfrm>
                        <a:off x="622390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271" name="Rectangle 270"/>
                      <p:cNvSpPr/>
                      <p:nvPr/>
                    </p:nvSpPr>
                    <p:spPr bwMode="auto">
                      <a:xfrm>
                        <a:off x="631026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</p:grpSp>
                <p:sp>
                  <p:nvSpPr>
                    <p:cNvPr id="265" name="Oval 264"/>
                    <p:cNvSpPr/>
                    <p:nvPr/>
                  </p:nvSpPr>
                  <p:spPr bwMode="auto">
                    <a:xfrm>
                      <a:off x="5429250" y="512385"/>
                      <a:ext cx="107950" cy="107950"/>
                    </a:xfrm>
                    <a:prstGeom prst="ellipse">
                      <a:avLst/>
                    </a:prstGeom>
                    <a:solidFill>
                      <a:srgbClr val="00B050"/>
                    </a:solidFill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ot="0" spcFirstLastPara="0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32472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0" normalizeH="0" baseline="-25000" noProof="0" dirty="0" smtClean="0">
                        <a:ln>
                          <a:noFill/>
                        </a:ln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ffectLst/>
                        <a:uLnTx/>
                        <a:uFillTx/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</p:grpSp>
              <p:grpSp>
                <p:nvGrpSpPr>
                  <p:cNvPr id="223" name="Group 222"/>
                  <p:cNvGrpSpPr/>
                  <p:nvPr/>
                </p:nvGrpSpPr>
                <p:grpSpPr>
                  <a:xfrm>
                    <a:off x="4838974" y="1041277"/>
                    <a:ext cx="754147" cy="274179"/>
                    <a:chOff x="4838974" y="429271"/>
                    <a:chExt cx="754147" cy="274179"/>
                  </a:xfrm>
                </p:grpSpPr>
                <p:sp>
                  <p:nvSpPr>
                    <p:cNvPr id="254" name="Rectangle 253"/>
                    <p:cNvSpPr/>
                    <p:nvPr/>
                  </p:nvSpPr>
                  <p:spPr bwMode="auto">
                    <a:xfrm>
                      <a:off x="4838974" y="429271"/>
                      <a:ext cx="754147" cy="274179"/>
                    </a:xfrm>
                    <a:prstGeom prst="rect">
                      <a:avLst/>
                    </a:prstGeom>
                    <a:solidFill>
                      <a:srgbClr val="FFFFFF">
                        <a:lumMod val="95000"/>
                      </a:srgbClr>
                    </a:solidFill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ot="0" spcFirstLastPara="0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32472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0" normalizeH="0" baseline="-25000" noProof="0" dirty="0" smtClean="0">
                        <a:ln>
                          <a:noFill/>
                        </a:ln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ffectLst/>
                        <a:uLnTx/>
                        <a:uFillTx/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grpSp>
                  <p:nvGrpSpPr>
                    <p:cNvPr id="255" name="Group 254"/>
                    <p:cNvGrpSpPr/>
                    <p:nvPr/>
                  </p:nvGrpSpPr>
                  <p:grpSpPr>
                    <a:xfrm>
                      <a:off x="4870868" y="464463"/>
                      <a:ext cx="345154" cy="203795"/>
                      <a:chOff x="5878465" y="462955"/>
                      <a:chExt cx="495026" cy="274179"/>
                    </a:xfrm>
                  </p:grpSpPr>
                  <p:sp>
                    <p:nvSpPr>
                      <p:cNvPr id="257" name="Rectangle 256"/>
                      <p:cNvSpPr/>
                      <p:nvPr/>
                    </p:nvSpPr>
                    <p:spPr bwMode="auto">
                      <a:xfrm>
                        <a:off x="587846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258" name="Rectangle 257"/>
                      <p:cNvSpPr/>
                      <p:nvPr/>
                    </p:nvSpPr>
                    <p:spPr bwMode="auto">
                      <a:xfrm>
                        <a:off x="596482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259" name="Rectangle 258"/>
                      <p:cNvSpPr/>
                      <p:nvPr/>
                    </p:nvSpPr>
                    <p:spPr bwMode="auto">
                      <a:xfrm>
                        <a:off x="605118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260" name="Rectangle 259"/>
                      <p:cNvSpPr/>
                      <p:nvPr/>
                    </p:nvSpPr>
                    <p:spPr bwMode="auto">
                      <a:xfrm>
                        <a:off x="613754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261" name="Rectangle 260"/>
                      <p:cNvSpPr/>
                      <p:nvPr/>
                    </p:nvSpPr>
                    <p:spPr bwMode="auto">
                      <a:xfrm>
                        <a:off x="622390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262" name="Rectangle 261"/>
                      <p:cNvSpPr/>
                      <p:nvPr/>
                    </p:nvSpPr>
                    <p:spPr bwMode="auto">
                      <a:xfrm>
                        <a:off x="631026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</p:grpSp>
                <p:sp>
                  <p:nvSpPr>
                    <p:cNvPr id="256" name="Oval 255"/>
                    <p:cNvSpPr/>
                    <p:nvPr/>
                  </p:nvSpPr>
                  <p:spPr bwMode="auto">
                    <a:xfrm>
                      <a:off x="5429250" y="512385"/>
                      <a:ext cx="107950" cy="107950"/>
                    </a:xfrm>
                    <a:prstGeom prst="ellipse">
                      <a:avLst/>
                    </a:prstGeom>
                    <a:solidFill>
                      <a:srgbClr val="00B050"/>
                    </a:solidFill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ot="0" spcFirstLastPara="0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32472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0" normalizeH="0" baseline="-25000" noProof="0" dirty="0" smtClean="0">
                        <a:ln>
                          <a:noFill/>
                        </a:ln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ffectLst/>
                        <a:uLnTx/>
                        <a:uFillTx/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</p:grpSp>
              <p:grpSp>
                <p:nvGrpSpPr>
                  <p:cNvPr id="224" name="Group 223"/>
                  <p:cNvGrpSpPr/>
                  <p:nvPr/>
                </p:nvGrpSpPr>
                <p:grpSpPr>
                  <a:xfrm>
                    <a:off x="4838974" y="1347280"/>
                    <a:ext cx="754147" cy="274179"/>
                    <a:chOff x="4838974" y="429271"/>
                    <a:chExt cx="754147" cy="274179"/>
                  </a:xfrm>
                </p:grpSpPr>
                <p:sp>
                  <p:nvSpPr>
                    <p:cNvPr id="245" name="Rectangle 244"/>
                    <p:cNvSpPr/>
                    <p:nvPr/>
                  </p:nvSpPr>
                  <p:spPr bwMode="auto">
                    <a:xfrm>
                      <a:off x="4838974" y="429271"/>
                      <a:ext cx="754147" cy="274179"/>
                    </a:xfrm>
                    <a:prstGeom prst="rect">
                      <a:avLst/>
                    </a:prstGeom>
                    <a:solidFill>
                      <a:srgbClr val="FFFFFF">
                        <a:lumMod val="95000"/>
                      </a:srgbClr>
                    </a:solidFill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ot="0" spcFirstLastPara="0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32472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0" normalizeH="0" baseline="-25000" noProof="0" dirty="0" smtClean="0">
                        <a:ln>
                          <a:noFill/>
                        </a:ln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ffectLst/>
                        <a:uLnTx/>
                        <a:uFillTx/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grpSp>
                  <p:nvGrpSpPr>
                    <p:cNvPr id="246" name="Group 245"/>
                    <p:cNvGrpSpPr/>
                    <p:nvPr/>
                  </p:nvGrpSpPr>
                  <p:grpSpPr>
                    <a:xfrm>
                      <a:off x="4870868" y="464463"/>
                      <a:ext cx="345154" cy="203795"/>
                      <a:chOff x="5878465" y="462955"/>
                      <a:chExt cx="495026" cy="274179"/>
                    </a:xfrm>
                  </p:grpSpPr>
                  <p:sp>
                    <p:nvSpPr>
                      <p:cNvPr id="248" name="Rectangle 247"/>
                      <p:cNvSpPr/>
                      <p:nvPr/>
                    </p:nvSpPr>
                    <p:spPr bwMode="auto">
                      <a:xfrm>
                        <a:off x="587846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249" name="Rectangle 248"/>
                      <p:cNvSpPr/>
                      <p:nvPr/>
                    </p:nvSpPr>
                    <p:spPr bwMode="auto">
                      <a:xfrm>
                        <a:off x="596482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250" name="Rectangle 249"/>
                      <p:cNvSpPr/>
                      <p:nvPr/>
                    </p:nvSpPr>
                    <p:spPr bwMode="auto">
                      <a:xfrm>
                        <a:off x="605118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251" name="Rectangle 250"/>
                      <p:cNvSpPr/>
                      <p:nvPr/>
                    </p:nvSpPr>
                    <p:spPr bwMode="auto">
                      <a:xfrm>
                        <a:off x="613754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252" name="Rectangle 251"/>
                      <p:cNvSpPr/>
                      <p:nvPr/>
                    </p:nvSpPr>
                    <p:spPr bwMode="auto">
                      <a:xfrm>
                        <a:off x="622390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253" name="Rectangle 252"/>
                      <p:cNvSpPr/>
                      <p:nvPr/>
                    </p:nvSpPr>
                    <p:spPr bwMode="auto">
                      <a:xfrm>
                        <a:off x="631026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</p:grpSp>
                <p:sp>
                  <p:nvSpPr>
                    <p:cNvPr id="247" name="Oval 246"/>
                    <p:cNvSpPr/>
                    <p:nvPr/>
                  </p:nvSpPr>
                  <p:spPr bwMode="auto">
                    <a:xfrm>
                      <a:off x="5429250" y="512385"/>
                      <a:ext cx="107950" cy="107950"/>
                    </a:xfrm>
                    <a:prstGeom prst="ellipse">
                      <a:avLst/>
                    </a:prstGeom>
                    <a:solidFill>
                      <a:srgbClr val="00B050"/>
                    </a:solidFill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ot="0" spcFirstLastPara="0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32472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0" normalizeH="0" baseline="-25000" noProof="0" dirty="0" smtClean="0">
                        <a:ln>
                          <a:noFill/>
                        </a:ln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ffectLst/>
                        <a:uLnTx/>
                        <a:uFillTx/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</p:grpSp>
              <p:grpSp>
                <p:nvGrpSpPr>
                  <p:cNvPr id="225" name="Group 224"/>
                  <p:cNvGrpSpPr/>
                  <p:nvPr/>
                </p:nvGrpSpPr>
                <p:grpSpPr>
                  <a:xfrm>
                    <a:off x="4838974" y="1653283"/>
                    <a:ext cx="754147" cy="274179"/>
                    <a:chOff x="4838974" y="429271"/>
                    <a:chExt cx="754147" cy="274179"/>
                  </a:xfrm>
                </p:grpSpPr>
                <p:sp>
                  <p:nvSpPr>
                    <p:cNvPr id="236" name="Rectangle 235"/>
                    <p:cNvSpPr/>
                    <p:nvPr/>
                  </p:nvSpPr>
                  <p:spPr bwMode="auto">
                    <a:xfrm>
                      <a:off x="4838974" y="429271"/>
                      <a:ext cx="754147" cy="274179"/>
                    </a:xfrm>
                    <a:prstGeom prst="rect">
                      <a:avLst/>
                    </a:prstGeom>
                    <a:solidFill>
                      <a:srgbClr val="FFFFFF">
                        <a:lumMod val="95000"/>
                      </a:srgbClr>
                    </a:solidFill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ot="0" spcFirstLastPara="0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32472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0" normalizeH="0" baseline="-25000" noProof="0" dirty="0" smtClean="0">
                        <a:ln>
                          <a:noFill/>
                        </a:ln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ffectLst/>
                        <a:uLnTx/>
                        <a:uFillTx/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grpSp>
                  <p:nvGrpSpPr>
                    <p:cNvPr id="237" name="Group 236"/>
                    <p:cNvGrpSpPr/>
                    <p:nvPr/>
                  </p:nvGrpSpPr>
                  <p:grpSpPr>
                    <a:xfrm>
                      <a:off x="4870868" y="464463"/>
                      <a:ext cx="345154" cy="203795"/>
                      <a:chOff x="5878465" y="462955"/>
                      <a:chExt cx="495026" cy="274179"/>
                    </a:xfrm>
                  </p:grpSpPr>
                  <p:sp>
                    <p:nvSpPr>
                      <p:cNvPr id="239" name="Rectangle 238"/>
                      <p:cNvSpPr/>
                      <p:nvPr/>
                    </p:nvSpPr>
                    <p:spPr bwMode="auto">
                      <a:xfrm>
                        <a:off x="587846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240" name="Rectangle 239"/>
                      <p:cNvSpPr/>
                      <p:nvPr/>
                    </p:nvSpPr>
                    <p:spPr bwMode="auto">
                      <a:xfrm>
                        <a:off x="596482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241" name="Rectangle 240"/>
                      <p:cNvSpPr/>
                      <p:nvPr/>
                    </p:nvSpPr>
                    <p:spPr bwMode="auto">
                      <a:xfrm>
                        <a:off x="605118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242" name="Rectangle 241"/>
                      <p:cNvSpPr/>
                      <p:nvPr/>
                    </p:nvSpPr>
                    <p:spPr bwMode="auto">
                      <a:xfrm>
                        <a:off x="613754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243" name="Rectangle 242"/>
                      <p:cNvSpPr/>
                      <p:nvPr/>
                    </p:nvSpPr>
                    <p:spPr bwMode="auto">
                      <a:xfrm>
                        <a:off x="622390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244" name="Rectangle 243"/>
                      <p:cNvSpPr/>
                      <p:nvPr/>
                    </p:nvSpPr>
                    <p:spPr bwMode="auto">
                      <a:xfrm>
                        <a:off x="631026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</p:grpSp>
                <p:sp>
                  <p:nvSpPr>
                    <p:cNvPr id="238" name="Oval 237"/>
                    <p:cNvSpPr/>
                    <p:nvPr/>
                  </p:nvSpPr>
                  <p:spPr bwMode="auto">
                    <a:xfrm>
                      <a:off x="5429250" y="512385"/>
                      <a:ext cx="107950" cy="107950"/>
                    </a:xfrm>
                    <a:prstGeom prst="ellipse">
                      <a:avLst/>
                    </a:prstGeom>
                    <a:solidFill>
                      <a:srgbClr val="00B050"/>
                    </a:solidFill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ot="0" spcFirstLastPara="0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32472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0" normalizeH="0" baseline="-25000" noProof="0" dirty="0" smtClean="0">
                        <a:ln>
                          <a:noFill/>
                        </a:ln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ffectLst/>
                        <a:uLnTx/>
                        <a:uFillTx/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</p:grpSp>
              <p:grpSp>
                <p:nvGrpSpPr>
                  <p:cNvPr id="226" name="Group 225"/>
                  <p:cNvGrpSpPr/>
                  <p:nvPr/>
                </p:nvGrpSpPr>
                <p:grpSpPr>
                  <a:xfrm>
                    <a:off x="4838974" y="1959287"/>
                    <a:ext cx="754147" cy="274179"/>
                    <a:chOff x="4838974" y="429271"/>
                    <a:chExt cx="754147" cy="274179"/>
                  </a:xfrm>
                </p:grpSpPr>
                <p:sp>
                  <p:nvSpPr>
                    <p:cNvPr id="227" name="Rectangle 226"/>
                    <p:cNvSpPr/>
                    <p:nvPr/>
                  </p:nvSpPr>
                  <p:spPr bwMode="auto">
                    <a:xfrm>
                      <a:off x="4838974" y="429271"/>
                      <a:ext cx="754147" cy="274179"/>
                    </a:xfrm>
                    <a:prstGeom prst="rect">
                      <a:avLst/>
                    </a:prstGeom>
                    <a:solidFill>
                      <a:srgbClr val="FFFFFF">
                        <a:lumMod val="95000"/>
                      </a:srgbClr>
                    </a:solidFill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ot="0" spcFirstLastPara="0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32472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0" normalizeH="0" baseline="-25000" noProof="0" dirty="0" smtClean="0">
                        <a:ln>
                          <a:noFill/>
                        </a:ln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ffectLst/>
                        <a:uLnTx/>
                        <a:uFillTx/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grpSp>
                  <p:nvGrpSpPr>
                    <p:cNvPr id="228" name="Group 227"/>
                    <p:cNvGrpSpPr/>
                    <p:nvPr/>
                  </p:nvGrpSpPr>
                  <p:grpSpPr>
                    <a:xfrm>
                      <a:off x="4870868" y="464463"/>
                      <a:ext cx="345154" cy="203795"/>
                      <a:chOff x="5878465" y="462955"/>
                      <a:chExt cx="495026" cy="274179"/>
                    </a:xfrm>
                  </p:grpSpPr>
                  <p:sp>
                    <p:nvSpPr>
                      <p:cNvPr id="230" name="Rectangle 229"/>
                      <p:cNvSpPr/>
                      <p:nvPr/>
                    </p:nvSpPr>
                    <p:spPr bwMode="auto">
                      <a:xfrm>
                        <a:off x="587846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231" name="Rectangle 230"/>
                      <p:cNvSpPr/>
                      <p:nvPr/>
                    </p:nvSpPr>
                    <p:spPr bwMode="auto">
                      <a:xfrm>
                        <a:off x="596482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232" name="Rectangle 231"/>
                      <p:cNvSpPr/>
                      <p:nvPr/>
                    </p:nvSpPr>
                    <p:spPr bwMode="auto">
                      <a:xfrm>
                        <a:off x="605118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233" name="Rectangle 232"/>
                      <p:cNvSpPr/>
                      <p:nvPr/>
                    </p:nvSpPr>
                    <p:spPr bwMode="auto">
                      <a:xfrm>
                        <a:off x="613754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234" name="Rectangle 233"/>
                      <p:cNvSpPr/>
                      <p:nvPr/>
                    </p:nvSpPr>
                    <p:spPr bwMode="auto">
                      <a:xfrm>
                        <a:off x="622390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235" name="Rectangle 234"/>
                      <p:cNvSpPr/>
                      <p:nvPr/>
                    </p:nvSpPr>
                    <p:spPr bwMode="auto">
                      <a:xfrm>
                        <a:off x="631026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</p:grpSp>
                <p:sp>
                  <p:nvSpPr>
                    <p:cNvPr id="229" name="Oval 228"/>
                    <p:cNvSpPr/>
                    <p:nvPr/>
                  </p:nvSpPr>
                  <p:spPr bwMode="auto">
                    <a:xfrm>
                      <a:off x="5429250" y="512385"/>
                      <a:ext cx="107950" cy="107950"/>
                    </a:xfrm>
                    <a:prstGeom prst="ellipse">
                      <a:avLst/>
                    </a:prstGeom>
                    <a:solidFill>
                      <a:srgbClr val="00B050"/>
                    </a:solidFill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ot="0" spcFirstLastPara="0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32472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0" normalizeH="0" baseline="-25000" noProof="0" dirty="0" smtClean="0">
                        <a:ln>
                          <a:noFill/>
                        </a:ln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ffectLst/>
                        <a:uLnTx/>
                        <a:uFillTx/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</p:grpSp>
            </p:grpSp>
            <p:grpSp>
              <p:nvGrpSpPr>
                <p:cNvPr id="93" name="Group 92"/>
                <p:cNvGrpSpPr/>
                <p:nvPr/>
              </p:nvGrpSpPr>
              <p:grpSpPr>
                <a:xfrm>
                  <a:off x="9006374" y="969127"/>
                  <a:ext cx="808315" cy="1813183"/>
                  <a:chOff x="4717311" y="310701"/>
                  <a:chExt cx="997472" cy="2237494"/>
                </a:xfrm>
              </p:grpSpPr>
              <p:sp>
                <p:nvSpPr>
                  <p:cNvPr id="157" name="Rectangle 156"/>
                  <p:cNvSpPr/>
                  <p:nvPr/>
                </p:nvSpPr>
                <p:spPr bwMode="auto">
                  <a:xfrm>
                    <a:off x="4717311" y="310701"/>
                    <a:ext cx="997472" cy="2237494"/>
                  </a:xfrm>
                  <a:prstGeom prst="rect">
                    <a:avLst/>
                  </a:prstGeom>
                  <a:solidFill>
                    <a:srgbClr val="DC3C00"/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158" name="Rectangle 157"/>
                  <p:cNvSpPr/>
                  <p:nvPr/>
                </p:nvSpPr>
                <p:spPr bwMode="auto">
                  <a:xfrm>
                    <a:off x="4798357" y="388761"/>
                    <a:ext cx="835381" cy="1996918"/>
                  </a:xfrm>
                  <a:prstGeom prst="rect">
                    <a:avLst/>
                  </a:prstGeom>
                  <a:solidFill>
                    <a:srgbClr val="FFFFFF">
                      <a:lumMod val="75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grpSp>
                <p:nvGrpSpPr>
                  <p:cNvPr id="159" name="Group 158"/>
                  <p:cNvGrpSpPr/>
                  <p:nvPr/>
                </p:nvGrpSpPr>
                <p:grpSpPr>
                  <a:xfrm>
                    <a:off x="4838974" y="429271"/>
                    <a:ext cx="754147" cy="274179"/>
                    <a:chOff x="4838974" y="429271"/>
                    <a:chExt cx="754147" cy="274179"/>
                  </a:xfrm>
                </p:grpSpPr>
                <p:sp>
                  <p:nvSpPr>
                    <p:cNvPr id="210" name="Rectangle 209"/>
                    <p:cNvSpPr/>
                    <p:nvPr/>
                  </p:nvSpPr>
                  <p:spPr bwMode="auto">
                    <a:xfrm>
                      <a:off x="4838974" y="429271"/>
                      <a:ext cx="754147" cy="274179"/>
                    </a:xfrm>
                    <a:prstGeom prst="rect">
                      <a:avLst/>
                    </a:prstGeom>
                    <a:solidFill>
                      <a:srgbClr val="FFFFFF">
                        <a:lumMod val="95000"/>
                      </a:srgbClr>
                    </a:solidFill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ot="0" spcFirstLastPara="0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32472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0" normalizeH="0" baseline="-25000" noProof="0" dirty="0" smtClean="0">
                        <a:ln>
                          <a:noFill/>
                        </a:ln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ffectLst/>
                        <a:uLnTx/>
                        <a:uFillTx/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grpSp>
                  <p:nvGrpSpPr>
                    <p:cNvPr id="211" name="Group 210"/>
                    <p:cNvGrpSpPr/>
                    <p:nvPr/>
                  </p:nvGrpSpPr>
                  <p:grpSpPr>
                    <a:xfrm>
                      <a:off x="4870868" y="464463"/>
                      <a:ext cx="345154" cy="203795"/>
                      <a:chOff x="5878465" y="462955"/>
                      <a:chExt cx="495026" cy="274179"/>
                    </a:xfrm>
                  </p:grpSpPr>
                  <p:sp>
                    <p:nvSpPr>
                      <p:cNvPr id="213" name="Rectangle 212"/>
                      <p:cNvSpPr/>
                      <p:nvPr/>
                    </p:nvSpPr>
                    <p:spPr bwMode="auto">
                      <a:xfrm>
                        <a:off x="587846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214" name="Rectangle 213"/>
                      <p:cNvSpPr/>
                      <p:nvPr/>
                    </p:nvSpPr>
                    <p:spPr bwMode="auto">
                      <a:xfrm>
                        <a:off x="596482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215" name="Rectangle 214"/>
                      <p:cNvSpPr/>
                      <p:nvPr/>
                    </p:nvSpPr>
                    <p:spPr bwMode="auto">
                      <a:xfrm>
                        <a:off x="605118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216" name="Rectangle 215"/>
                      <p:cNvSpPr/>
                      <p:nvPr/>
                    </p:nvSpPr>
                    <p:spPr bwMode="auto">
                      <a:xfrm>
                        <a:off x="613754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217" name="Rectangle 216"/>
                      <p:cNvSpPr/>
                      <p:nvPr/>
                    </p:nvSpPr>
                    <p:spPr bwMode="auto">
                      <a:xfrm>
                        <a:off x="622390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218" name="Rectangle 217"/>
                      <p:cNvSpPr/>
                      <p:nvPr/>
                    </p:nvSpPr>
                    <p:spPr bwMode="auto">
                      <a:xfrm>
                        <a:off x="631026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</p:grpSp>
                <p:sp>
                  <p:nvSpPr>
                    <p:cNvPr id="212" name="Oval 211"/>
                    <p:cNvSpPr/>
                    <p:nvPr/>
                  </p:nvSpPr>
                  <p:spPr bwMode="auto">
                    <a:xfrm>
                      <a:off x="5429250" y="512385"/>
                      <a:ext cx="107950" cy="107950"/>
                    </a:xfrm>
                    <a:prstGeom prst="ellipse">
                      <a:avLst/>
                    </a:prstGeom>
                    <a:solidFill>
                      <a:srgbClr val="00B050"/>
                    </a:solidFill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ot="0" spcFirstLastPara="0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32472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0" normalizeH="0" baseline="-25000" noProof="0" dirty="0" smtClean="0">
                        <a:ln>
                          <a:noFill/>
                        </a:ln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ffectLst/>
                        <a:uLnTx/>
                        <a:uFillTx/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</p:grpSp>
              <p:grpSp>
                <p:nvGrpSpPr>
                  <p:cNvPr id="160" name="Group 159"/>
                  <p:cNvGrpSpPr/>
                  <p:nvPr/>
                </p:nvGrpSpPr>
                <p:grpSpPr>
                  <a:xfrm>
                    <a:off x="4838974" y="735274"/>
                    <a:ext cx="754147" cy="274179"/>
                    <a:chOff x="4838974" y="429271"/>
                    <a:chExt cx="754147" cy="274179"/>
                  </a:xfrm>
                </p:grpSpPr>
                <p:sp>
                  <p:nvSpPr>
                    <p:cNvPr id="201" name="Rectangle 200"/>
                    <p:cNvSpPr/>
                    <p:nvPr/>
                  </p:nvSpPr>
                  <p:spPr bwMode="auto">
                    <a:xfrm>
                      <a:off x="4838974" y="429271"/>
                      <a:ext cx="754147" cy="274179"/>
                    </a:xfrm>
                    <a:prstGeom prst="rect">
                      <a:avLst/>
                    </a:prstGeom>
                    <a:solidFill>
                      <a:srgbClr val="FFFFFF">
                        <a:lumMod val="95000"/>
                      </a:srgbClr>
                    </a:solidFill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ot="0" spcFirstLastPara="0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32472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0" normalizeH="0" baseline="-25000" noProof="0" dirty="0" smtClean="0">
                        <a:ln>
                          <a:noFill/>
                        </a:ln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ffectLst/>
                        <a:uLnTx/>
                        <a:uFillTx/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grpSp>
                  <p:nvGrpSpPr>
                    <p:cNvPr id="202" name="Group 201"/>
                    <p:cNvGrpSpPr/>
                    <p:nvPr/>
                  </p:nvGrpSpPr>
                  <p:grpSpPr>
                    <a:xfrm>
                      <a:off x="4870868" y="464463"/>
                      <a:ext cx="345154" cy="203795"/>
                      <a:chOff x="5878465" y="462955"/>
                      <a:chExt cx="495026" cy="274179"/>
                    </a:xfrm>
                  </p:grpSpPr>
                  <p:sp>
                    <p:nvSpPr>
                      <p:cNvPr id="204" name="Rectangle 203"/>
                      <p:cNvSpPr/>
                      <p:nvPr/>
                    </p:nvSpPr>
                    <p:spPr bwMode="auto">
                      <a:xfrm>
                        <a:off x="587846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205" name="Rectangle 204"/>
                      <p:cNvSpPr/>
                      <p:nvPr/>
                    </p:nvSpPr>
                    <p:spPr bwMode="auto">
                      <a:xfrm>
                        <a:off x="596482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206" name="Rectangle 205"/>
                      <p:cNvSpPr/>
                      <p:nvPr/>
                    </p:nvSpPr>
                    <p:spPr bwMode="auto">
                      <a:xfrm>
                        <a:off x="605118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207" name="Rectangle 206"/>
                      <p:cNvSpPr/>
                      <p:nvPr/>
                    </p:nvSpPr>
                    <p:spPr bwMode="auto">
                      <a:xfrm>
                        <a:off x="613754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208" name="Rectangle 207"/>
                      <p:cNvSpPr/>
                      <p:nvPr/>
                    </p:nvSpPr>
                    <p:spPr bwMode="auto">
                      <a:xfrm>
                        <a:off x="622390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209" name="Rectangle 208"/>
                      <p:cNvSpPr/>
                      <p:nvPr/>
                    </p:nvSpPr>
                    <p:spPr bwMode="auto">
                      <a:xfrm>
                        <a:off x="631026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</p:grpSp>
                <p:sp>
                  <p:nvSpPr>
                    <p:cNvPr id="203" name="Oval 202"/>
                    <p:cNvSpPr/>
                    <p:nvPr/>
                  </p:nvSpPr>
                  <p:spPr bwMode="auto">
                    <a:xfrm>
                      <a:off x="5429250" y="512385"/>
                      <a:ext cx="107950" cy="107950"/>
                    </a:xfrm>
                    <a:prstGeom prst="ellipse">
                      <a:avLst/>
                    </a:prstGeom>
                    <a:solidFill>
                      <a:srgbClr val="00B050"/>
                    </a:solidFill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ot="0" spcFirstLastPara="0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32472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0" normalizeH="0" baseline="-25000" noProof="0" dirty="0" smtClean="0">
                        <a:ln>
                          <a:noFill/>
                        </a:ln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ffectLst/>
                        <a:uLnTx/>
                        <a:uFillTx/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</p:grpSp>
              <p:grpSp>
                <p:nvGrpSpPr>
                  <p:cNvPr id="161" name="Group 160"/>
                  <p:cNvGrpSpPr/>
                  <p:nvPr/>
                </p:nvGrpSpPr>
                <p:grpSpPr>
                  <a:xfrm>
                    <a:off x="4838974" y="1041277"/>
                    <a:ext cx="754147" cy="274179"/>
                    <a:chOff x="4838974" y="429271"/>
                    <a:chExt cx="754147" cy="274179"/>
                  </a:xfrm>
                </p:grpSpPr>
                <p:sp>
                  <p:nvSpPr>
                    <p:cNvPr id="192" name="Rectangle 191"/>
                    <p:cNvSpPr/>
                    <p:nvPr/>
                  </p:nvSpPr>
                  <p:spPr bwMode="auto">
                    <a:xfrm>
                      <a:off x="4838974" y="429271"/>
                      <a:ext cx="754147" cy="274179"/>
                    </a:xfrm>
                    <a:prstGeom prst="rect">
                      <a:avLst/>
                    </a:prstGeom>
                    <a:solidFill>
                      <a:srgbClr val="FFFFFF">
                        <a:lumMod val="95000"/>
                      </a:srgbClr>
                    </a:solidFill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ot="0" spcFirstLastPara="0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32472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0" normalizeH="0" baseline="-25000" noProof="0" dirty="0" smtClean="0">
                        <a:ln>
                          <a:noFill/>
                        </a:ln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ffectLst/>
                        <a:uLnTx/>
                        <a:uFillTx/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grpSp>
                  <p:nvGrpSpPr>
                    <p:cNvPr id="193" name="Group 192"/>
                    <p:cNvGrpSpPr/>
                    <p:nvPr/>
                  </p:nvGrpSpPr>
                  <p:grpSpPr>
                    <a:xfrm>
                      <a:off x="4870868" y="464463"/>
                      <a:ext cx="345154" cy="203795"/>
                      <a:chOff x="5878465" y="462955"/>
                      <a:chExt cx="495026" cy="274179"/>
                    </a:xfrm>
                  </p:grpSpPr>
                  <p:sp>
                    <p:nvSpPr>
                      <p:cNvPr id="195" name="Rectangle 194"/>
                      <p:cNvSpPr/>
                      <p:nvPr/>
                    </p:nvSpPr>
                    <p:spPr bwMode="auto">
                      <a:xfrm>
                        <a:off x="587846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196" name="Rectangle 195"/>
                      <p:cNvSpPr/>
                      <p:nvPr/>
                    </p:nvSpPr>
                    <p:spPr bwMode="auto">
                      <a:xfrm>
                        <a:off x="596482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197" name="Rectangle 196"/>
                      <p:cNvSpPr/>
                      <p:nvPr/>
                    </p:nvSpPr>
                    <p:spPr bwMode="auto">
                      <a:xfrm>
                        <a:off x="605118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198" name="Rectangle 197"/>
                      <p:cNvSpPr/>
                      <p:nvPr/>
                    </p:nvSpPr>
                    <p:spPr bwMode="auto">
                      <a:xfrm>
                        <a:off x="613754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199" name="Rectangle 198"/>
                      <p:cNvSpPr/>
                      <p:nvPr/>
                    </p:nvSpPr>
                    <p:spPr bwMode="auto">
                      <a:xfrm>
                        <a:off x="622390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200" name="Rectangle 199"/>
                      <p:cNvSpPr/>
                      <p:nvPr/>
                    </p:nvSpPr>
                    <p:spPr bwMode="auto">
                      <a:xfrm>
                        <a:off x="631026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</p:grpSp>
                <p:sp>
                  <p:nvSpPr>
                    <p:cNvPr id="194" name="Oval 193"/>
                    <p:cNvSpPr/>
                    <p:nvPr/>
                  </p:nvSpPr>
                  <p:spPr bwMode="auto">
                    <a:xfrm>
                      <a:off x="5429250" y="512385"/>
                      <a:ext cx="107950" cy="107950"/>
                    </a:xfrm>
                    <a:prstGeom prst="ellipse">
                      <a:avLst/>
                    </a:prstGeom>
                    <a:solidFill>
                      <a:srgbClr val="00B050"/>
                    </a:solidFill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ot="0" spcFirstLastPara="0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32472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0" normalizeH="0" baseline="-25000" noProof="0" dirty="0" smtClean="0">
                        <a:ln>
                          <a:noFill/>
                        </a:ln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ffectLst/>
                        <a:uLnTx/>
                        <a:uFillTx/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</p:grpSp>
              <p:grpSp>
                <p:nvGrpSpPr>
                  <p:cNvPr id="162" name="Group 161"/>
                  <p:cNvGrpSpPr/>
                  <p:nvPr/>
                </p:nvGrpSpPr>
                <p:grpSpPr>
                  <a:xfrm>
                    <a:off x="4838974" y="1347280"/>
                    <a:ext cx="754147" cy="274179"/>
                    <a:chOff x="4838974" y="429271"/>
                    <a:chExt cx="754147" cy="274179"/>
                  </a:xfrm>
                </p:grpSpPr>
                <p:sp>
                  <p:nvSpPr>
                    <p:cNvPr id="183" name="Rectangle 182"/>
                    <p:cNvSpPr/>
                    <p:nvPr/>
                  </p:nvSpPr>
                  <p:spPr bwMode="auto">
                    <a:xfrm>
                      <a:off x="4838974" y="429271"/>
                      <a:ext cx="754147" cy="274179"/>
                    </a:xfrm>
                    <a:prstGeom prst="rect">
                      <a:avLst/>
                    </a:prstGeom>
                    <a:solidFill>
                      <a:srgbClr val="FFFFFF">
                        <a:lumMod val="95000"/>
                      </a:srgbClr>
                    </a:solidFill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ot="0" spcFirstLastPara="0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32472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0" normalizeH="0" baseline="-25000" noProof="0" dirty="0" smtClean="0">
                        <a:ln>
                          <a:noFill/>
                        </a:ln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ffectLst/>
                        <a:uLnTx/>
                        <a:uFillTx/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grpSp>
                  <p:nvGrpSpPr>
                    <p:cNvPr id="184" name="Group 183"/>
                    <p:cNvGrpSpPr/>
                    <p:nvPr/>
                  </p:nvGrpSpPr>
                  <p:grpSpPr>
                    <a:xfrm>
                      <a:off x="4870868" y="464463"/>
                      <a:ext cx="345154" cy="203795"/>
                      <a:chOff x="5878465" y="462955"/>
                      <a:chExt cx="495026" cy="274179"/>
                    </a:xfrm>
                  </p:grpSpPr>
                  <p:sp>
                    <p:nvSpPr>
                      <p:cNvPr id="186" name="Rectangle 185"/>
                      <p:cNvSpPr/>
                      <p:nvPr/>
                    </p:nvSpPr>
                    <p:spPr bwMode="auto">
                      <a:xfrm>
                        <a:off x="587846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187" name="Rectangle 186"/>
                      <p:cNvSpPr/>
                      <p:nvPr/>
                    </p:nvSpPr>
                    <p:spPr bwMode="auto">
                      <a:xfrm>
                        <a:off x="596482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188" name="Rectangle 187"/>
                      <p:cNvSpPr/>
                      <p:nvPr/>
                    </p:nvSpPr>
                    <p:spPr bwMode="auto">
                      <a:xfrm>
                        <a:off x="605118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189" name="Rectangle 188"/>
                      <p:cNvSpPr/>
                      <p:nvPr/>
                    </p:nvSpPr>
                    <p:spPr bwMode="auto">
                      <a:xfrm>
                        <a:off x="613754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190" name="Rectangle 189"/>
                      <p:cNvSpPr/>
                      <p:nvPr/>
                    </p:nvSpPr>
                    <p:spPr bwMode="auto">
                      <a:xfrm>
                        <a:off x="622390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191" name="Rectangle 190"/>
                      <p:cNvSpPr/>
                      <p:nvPr/>
                    </p:nvSpPr>
                    <p:spPr bwMode="auto">
                      <a:xfrm>
                        <a:off x="631026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</p:grpSp>
                <p:sp>
                  <p:nvSpPr>
                    <p:cNvPr id="185" name="Oval 184"/>
                    <p:cNvSpPr/>
                    <p:nvPr/>
                  </p:nvSpPr>
                  <p:spPr bwMode="auto">
                    <a:xfrm>
                      <a:off x="5429250" y="512385"/>
                      <a:ext cx="107950" cy="107950"/>
                    </a:xfrm>
                    <a:prstGeom prst="ellipse">
                      <a:avLst/>
                    </a:prstGeom>
                    <a:solidFill>
                      <a:srgbClr val="00B050"/>
                    </a:solidFill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ot="0" spcFirstLastPara="0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32472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0" normalizeH="0" baseline="-25000" noProof="0" dirty="0" smtClean="0">
                        <a:ln>
                          <a:noFill/>
                        </a:ln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ffectLst/>
                        <a:uLnTx/>
                        <a:uFillTx/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</p:grpSp>
              <p:grpSp>
                <p:nvGrpSpPr>
                  <p:cNvPr id="163" name="Group 162"/>
                  <p:cNvGrpSpPr/>
                  <p:nvPr/>
                </p:nvGrpSpPr>
                <p:grpSpPr>
                  <a:xfrm>
                    <a:off x="4838974" y="1653283"/>
                    <a:ext cx="754147" cy="274179"/>
                    <a:chOff x="4838974" y="429271"/>
                    <a:chExt cx="754147" cy="274179"/>
                  </a:xfrm>
                </p:grpSpPr>
                <p:sp>
                  <p:nvSpPr>
                    <p:cNvPr id="174" name="Rectangle 173"/>
                    <p:cNvSpPr/>
                    <p:nvPr/>
                  </p:nvSpPr>
                  <p:spPr bwMode="auto">
                    <a:xfrm>
                      <a:off x="4838974" y="429271"/>
                      <a:ext cx="754147" cy="274179"/>
                    </a:xfrm>
                    <a:prstGeom prst="rect">
                      <a:avLst/>
                    </a:prstGeom>
                    <a:solidFill>
                      <a:srgbClr val="FFFFFF">
                        <a:lumMod val="95000"/>
                      </a:srgbClr>
                    </a:solidFill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ot="0" spcFirstLastPara="0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32472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0" normalizeH="0" baseline="-25000" noProof="0" dirty="0" smtClean="0">
                        <a:ln>
                          <a:noFill/>
                        </a:ln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ffectLst/>
                        <a:uLnTx/>
                        <a:uFillTx/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grpSp>
                  <p:nvGrpSpPr>
                    <p:cNvPr id="175" name="Group 174"/>
                    <p:cNvGrpSpPr/>
                    <p:nvPr/>
                  </p:nvGrpSpPr>
                  <p:grpSpPr>
                    <a:xfrm>
                      <a:off x="4870868" y="464463"/>
                      <a:ext cx="345154" cy="203795"/>
                      <a:chOff x="5878465" y="462955"/>
                      <a:chExt cx="495026" cy="274179"/>
                    </a:xfrm>
                  </p:grpSpPr>
                  <p:sp>
                    <p:nvSpPr>
                      <p:cNvPr id="177" name="Rectangle 176"/>
                      <p:cNvSpPr/>
                      <p:nvPr/>
                    </p:nvSpPr>
                    <p:spPr bwMode="auto">
                      <a:xfrm>
                        <a:off x="587846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178" name="Rectangle 177"/>
                      <p:cNvSpPr/>
                      <p:nvPr/>
                    </p:nvSpPr>
                    <p:spPr bwMode="auto">
                      <a:xfrm>
                        <a:off x="596482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179" name="Rectangle 178"/>
                      <p:cNvSpPr/>
                      <p:nvPr/>
                    </p:nvSpPr>
                    <p:spPr bwMode="auto">
                      <a:xfrm>
                        <a:off x="605118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180" name="Rectangle 179"/>
                      <p:cNvSpPr/>
                      <p:nvPr/>
                    </p:nvSpPr>
                    <p:spPr bwMode="auto">
                      <a:xfrm>
                        <a:off x="613754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181" name="Rectangle 180"/>
                      <p:cNvSpPr/>
                      <p:nvPr/>
                    </p:nvSpPr>
                    <p:spPr bwMode="auto">
                      <a:xfrm>
                        <a:off x="622390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182" name="Rectangle 181"/>
                      <p:cNvSpPr/>
                      <p:nvPr/>
                    </p:nvSpPr>
                    <p:spPr bwMode="auto">
                      <a:xfrm>
                        <a:off x="631026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</p:grpSp>
                <p:sp>
                  <p:nvSpPr>
                    <p:cNvPr id="176" name="Oval 175"/>
                    <p:cNvSpPr/>
                    <p:nvPr/>
                  </p:nvSpPr>
                  <p:spPr bwMode="auto">
                    <a:xfrm>
                      <a:off x="5429250" y="512385"/>
                      <a:ext cx="107950" cy="107950"/>
                    </a:xfrm>
                    <a:prstGeom prst="ellipse">
                      <a:avLst/>
                    </a:prstGeom>
                    <a:solidFill>
                      <a:srgbClr val="00B050"/>
                    </a:solidFill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ot="0" spcFirstLastPara="0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32472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0" normalizeH="0" baseline="-25000" noProof="0" dirty="0" smtClean="0">
                        <a:ln>
                          <a:noFill/>
                        </a:ln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ffectLst/>
                        <a:uLnTx/>
                        <a:uFillTx/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</p:grpSp>
              <p:grpSp>
                <p:nvGrpSpPr>
                  <p:cNvPr id="164" name="Group 163"/>
                  <p:cNvGrpSpPr/>
                  <p:nvPr/>
                </p:nvGrpSpPr>
                <p:grpSpPr>
                  <a:xfrm>
                    <a:off x="4838974" y="1959287"/>
                    <a:ext cx="754147" cy="274179"/>
                    <a:chOff x="4838974" y="429271"/>
                    <a:chExt cx="754147" cy="274179"/>
                  </a:xfrm>
                </p:grpSpPr>
                <p:sp>
                  <p:nvSpPr>
                    <p:cNvPr id="165" name="Rectangle 164"/>
                    <p:cNvSpPr/>
                    <p:nvPr/>
                  </p:nvSpPr>
                  <p:spPr bwMode="auto">
                    <a:xfrm>
                      <a:off x="4838974" y="429271"/>
                      <a:ext cx="754147" cy="274179"/>
                    </a:xfrm>
                    <a:prstGeom prst="rect">
                      <a:avLst/>
                    </a:prstGeom>
                    <a:solidFill>
                      <a:srgbClr val="FFFFFF">
                        <a:lumMod val="95000"/>
                      </a:srgbClr>
                    </a:solidFill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ot="0" spcFirstLastPara="0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32472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0" normalizeH="0" baseline="-25000" noProof="0" dirty="0" smtClean="0">
                        <a:ln>
                          <a:noFill/>
                        </a:ln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ffectLst/>
                        <a:uLnTx/>
                        <a:uFillTx/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grpSp>
                  <p:nvGrpSpPr>
                    <p:cNvPr id="166" name="Group 165"/>
                    <p:cNvGrpSpPr/>
                    <p:nvPr/>
                  </p:nvGrpSpPr>
                  <p:grpSpPr>
                    <a:xfrm>
                      <a:off x="4870868" y="464463"/>
                      <a:ext cx="345154" cy="203795"/>
                      <a:chOff x="5878465" y="462955"/>
                      <a:chExt cx="495026" cy="274179"/>
                    </a:xfrm>
                  </p:grpSpPr>
                  <p:sp>
                    <p:nvSpPr>
                      <p:cNvPr id="168" name="Rectangle 167"/>
                      <p:cNvSpPr/>
                      <p:nvPr/>
                    </p:nvSpPr>
                    <p:spPr bwMode="auto">
                      <a:xfrm>
                        <a:off x="587846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169" name="Rectangle 168"/>
                      <p:cNvSpPr/>
                      <p:nvPr/>
                    </p:nvSpPr>
                    <p:spPr bwMode="auto">
                      <a:xfrm>
                        <a:off x="596482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170" name="Rectangle 169"/>
                      <p:cNvSpPr/>
                      <p:nvPr/>
                    </p:nvSpPr>
                    <p:spPr bwMode="auto">
                      <a:xfrm>
                        <a:off x="605118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171" name="Rectangle 170"/>
                      <p:cNvSpPr/>
                      <p:nvPr/>
                    </p:nvSpPr>
                    <p:spPr bwMode="auto">
                      <a:xfrm>
                        <a:off x="613754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172" name="Rectangle 171"/>
                      <p:cNvSpPr/>
                      <p:nvPr/>
                    </p:nvSpPr>
                    <p:spPr bwMode="auto">
                      <a:xfrm>
                        <a:off x="622390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173" name="Rectangle 172"/>
                      <p:cNvSpPr/>
                      <p:nvPr/>
                    </p:nvSpPr>
                    <p:spPr bwMode="auto">
                      <a:xfrm>
                        <a:off x="631026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</p:grpSp>
                <p:sp>
                  <p:nvSpPr>
                    <p:cNvPr id="167" name="Oval 166"/>
                    <p:cNvSpPr/>
                    <p:nvPr/>
                  </p:nvSpPr>
                  <p:spPr bwMode="auto">
                    <a:xfrm>
                      <a:off x="5429250" y="512385"/>
                      <a:ext cx="107950" cy="107950"/>
                    </a:xfrm>
                    <a:prstGeom prst="ellipse">
                      <a:avLst/>
                    </a:prstGeom>
                    <a:solidFill>
                      <a:srgbClr val="00B050"/>
                    </a:solidFill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ot="0" spcFirstLastPara="0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32472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0" normalizeH="0" baseline="-25000" noProof="0" dirty="0" smtClean="0">
                        <a:ln>
                          <a:noFill/>
                        </a:ln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ffectLst/>
                        <a:uLnTx/>
                        <a:uFillTx/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</p:grpSp>
            </p:grpSp>
            <p:grpSp>
              <p:nvGrpSpPr>
                <p:cNvPr id="94" name="Group 93"/>
                <p:cNvGrpSpPr/>
                <p:nvPr/>
              </p:nvGrpSpPr>
              <p:grpSpPr>
                <a:xfrm>
                  <a:off x="8236464" y="1194914"/>
                  <a:ext cx="707659" cy="1587396"/>
                  <a:chOff x="4717311" y="310701"/>
                  <a:chExt cx="997472" cy="2237494"/>
                </a:xfrm>
              </p:grpSpPr>
              <p:sp>
                <p:nvSpPr>
                  <p:cNvPr id="95" name="Rectangle 94"/>
                  <p:cNvSpPr/>
                  <p:nvPr/>
                </p:nvSpPr>
                <p:spPr bwMode="auto">
                  <a:xfrm>
                    <a:off x="4717311" y="310701"/>
                    <a:ext cx="997472" cy="2237494"/>
                  </a:xfrm>
                  <a:prstGeom prst="rect">
                    <a:avLst/>
                  </a:prstGeom>
                  <a:solidFill>
                    <a:srgbClr val="FF8C00"/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96" name="Rectangle 95"/>
                  <p:cNvSpPr/>
                  <p:nvPr/>
                </p:nvSpPr>
                <p:spPr bwMode="auto">
                  <a:xfrm>
                    <a:off x="4798357" y="388761"/>
                    <a:ext cx="835381" cy="1996918"/>
                  </a:xfrm>
                  <a:prstGeom prst="rect">
                    <a:avLst/>
                  </a:prstGeom>
                  <a:solidFill>
                    <a:srgbClr val="FFFFFF">
                      <a:lumMod val="75000"/>
                    </a:srgb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grpSp>
                <p:nvGrpSpPr>
                  <p:cNvPr id="97" name="Group 96"/>
                  <p:cNvGrpSpPr/>
                  <p:nvPr/>
                </p:nvGrpSpPr>
                <p:grpSpPr>
                  <a:xfrm>
                    <a:off x="4838974" y="429271"/>
                    <a:ext cx="754147" cy="274179"/>
                    <a:chOff x="4838974" y="429271"/>
                    <a:chExt cx="754147" cy="274179"/>
                  </a:xfrm>
                </p:grpSpPr>
                <p:sp>
                  <p:nvSpPr>
                    <p:cNvPr id="148" name="Rectangle 147"/>
                    <p:cNvSpPr/>
                    <p:nvPr/>
                  </p:nvSpPr>
                  <p:spPr bwMode="auto">
                    <a:xfrm>
                      <a:off x="4838974" y="429271"/>
                      <a:ext cx="754147" cy="274179"/>
                    </a:xfrm>
                    <a:prstGeom prst="rect">
                      <a:avLst/>
                    </a:prstGeom>
                    <a:solidFill>
                      <a:srgbClr val="FFFFFF">
                        <a:lumMod val="95000"/>
                      </a:srgbClr>
                    </a:solidFill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ot="0" spcFirstLastPara="0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32472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0" normalizeH="0" baseline="-25000" noProof="0" dirty="0" smtClean="0">
                        <a:ln>
                          <a:noFill/>
                        </a:ln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ffectLst/>
                        <a:uLnTx/>
                        <a:uFillTx/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grpSp>
                  <p:nvGrpSpPr>
                    <p:cNvPr id="149" name="Group 148"/>
                    <p:cNvGrpSpPr/>
                    <p:nvPr/>
                  </p:nvGrpSpPr>
                  <p:grpSpPr>
                    <a:xfrm>
                      <a:off x="4870868" y="464463"/>
                      <a:ext cx="345154" cy="203795"/>
                      <a:chOff x="5878465" y="462955"/>
                      <a:chExt cx="495026" cy="274179"/>
                    </a:xfrm>
                  </p:grpSpPr>
                  <p:sp>
                    <p:nvSpPr>
                      <p:cNvPr id="151" name="Rectangle 150"/>
                      <p:cNvSpPr/>
                      <p:nvPr/>
                    </p:nvSpPr>
                    <p:spPr bwMode="auto">
                      <a:xfrm>
                        <a:off x="587846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152" name="Rectangle 151"/>
                      <p:cNvSpPr/>
                      <p:nvPr/>
                    </p:nvSpPr>
                    <p:spPr bwMode="auto">
                      <a:xfrm>
                        <a:off x="596482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153" name="Rectangle 152"/>
                      <p:cNvSpPr/>
                      <p:nvPr/>
                    </p:nvSpPr>
                    <p:spPr bwMode="auto">
                      <a:xfrm>
                        <a:off x="605118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154" name="Rectangle 153"/>
                      <p:cNvSpPr/>
                      <p:nvPr/>
                    </p:nvSpPr>
                    <p:spPr bwMode="auto">
                      <a:xfrm>
                        <a:off x="613754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155" name="Rectangle 154"/>
                      <p:cNvSpPr/>
                      <p:nvPr/>
                    </p:nvSpPr>
                    <p:spPr bwMode="auto">
                      <a:xfrm>
                        <a:off x="622390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156" name="Rectangle 155"/>
                      <p:cNvSpPr/>
                      <p:nvPr/>
                    </p:nvSpPr>
                    <p:spPr bwMode="auto">
                      <a:xfrm>
                        <a:off x="631026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</p:grpSp>
                <p:sp>
                  <p:nvSpPr>
                    <p:cNvPr id="150" name="Oval 149"/>
                    <p:cNvSpPr/>
                    <p:nvPr/>
                  </p:nvSpPr>
                  <p:spPr bwMode="auto">
                    <a:xfrm>
                      <a:off x="5429250" y="512385"/>
                      <a:ext cx="107950" cy="107950"/>
                    </a:xfrm>
                    <a:prstGeom prst="ellipse">
                      <a:avLst/>
                    </a:prstGeom>
                    <a:solidFill>
                      <a:srgbClr val="00B050"/>
                    </a:solidFill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ot="0" spcFirstLastPara="0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32472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0" normalizeH="0" baseline="-25000" noProof="0" dirty="0" smtClean="0">
                        <a:ln>
                          <a:noFill/>
                        </a:ln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ffectLst/>
                        <a:uLnTx/>
                        <a:uFillTx/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</p:grpSp>
              <p:grpSp>
                <p:nvGrpSpPr>
                  <p:cNvPr id="98" name="Group 97"/>
                  <p:cNvGrpSpPr/>
                  <p:nvPr/>
                </p:nvGrpSpPr>
                <p:grpSpPr>
                  <a:xfrm>
                    <a:off x="4838974" y="735274"/>
                    <a:ext cx="754147" cy="274179"/>
                    <a:chOff x="4838974" y="429271"/>
                    <a:chExt cx="754147" cy="274179"/>
                  </a:xfrm>
                </p:grpSpPr>
                <p:sp>
                  <p:nvSpPr>
                    <p:cNvPr id="139" name="Rectangle 138"/>
                    <p:cNvSpPr/>
                    <p:nvPr/>
                  </p:nvSpPr>
                  <p:spPr bwMode="auto">
                    <a:xfrm>
                      <a:off x="4838974" y="429271"/>
                      <a:ext cx="754147" cy="274179"/>
                    </a:xfrm>
                    <a:prstGeom prst="rect">
                      <a:avLst/>
                    </a:prstGeom>
                    <a:solidFill>
                      <a:srgbClr val="FFFFFF">
                        <a:lumMod val="95000"/>
                      </a:srgbClr>
                    </a:solidFill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ot="0" spcFirstLastPara="0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32472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0" normalizeH="0" baseline="-25000" noProof="0" dirty="0" smtClean="0">
                        <a:ln>
                          <a:noFill/>
                        </a:ln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ffectLst/>
                        <a:uLnTx/>
                        <a:uFillTx/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grpSp>
                  <p:nvGrpSpPr>
                    <p:cNvPr id="140" name="Group 139"/>
                    <p:cNvGrpSpPr/>
                    <p:nvPr/>
                  </p:nvGrpSpPr>
                  <p:grpSpPr>
                    <a:xfrm>
                      <a:off x="4870868" y="464463"/>
                      <a:ext cx="345154" cy="203795"/>
                      <a:chOff x="5878465" y="462955"/>
                      <a:chExt cx="495026" cy="274179"/>
                    </a:xfrm>
                  </p:grpSpPr>
                  <p:sp>
                    <p:nvSpPr>
                      <p:cNvPr id="142" name="Rectangle 141"/>
                      <p:cNvSpPr/>
                      <p:nvPr/>
                    </p:nvSpPr>
                    <p:spPr bwMode="auto">
                      <a:xfrm>
                        <a:off x="587846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143" name="Rectangle 142"/>
                      <p:cNvSpPr/>
                      <p:nvPr/>
                    </p:nvSpPr>
                    <p:spPr bwMode="auto">
                      <a:xfrm>
                        <a:off x="596482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144" name="Rectangle 143"/>
                      <p:cNvSpPr/>
                      <p:nvPr/>
                    </p:nvSpPr>
                    <p:spPr bwMode="auto">
                      <a:xfrm>
                        <a:off x="605118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145" name="Rectangle 144"/>
                      <p:cNvSpPr/>
                      <p:nvPr/>
                    </p:nvSpPr>
                    <p:spPr bwMode="auto">
                      <a:xfrm>
                        <a:off x="613754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146" name="Rectangle 145"/>
                      <p:cNvSpPr/>
                      <p:nvPr/>
                    </p:nvSpPr>
                    <p:spPr bwMode="auto">
                      <a:xfrm>
                        <a:off x="622390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147" name="Rectangle 146"/>
                      <p:cNvSpPr/>
                      <p:nvPr/>
                    </p:nvSpPr>
                    <p:spPr bwMode="auto">
                      <a:xfrm>
                        <a:off x="631026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</p:grpSp>
                <p:sp>
                  <p:nvSpPr>
                    <p:cNvPr id="141" name="Oval 140"/>
                    <p:cNvSpPr/>
                    <p:nvPr/>
                  </p:nvSpPr>
                  <p:spPr bwMode="auto">
                    <a:xfrm>
                      <a:off x="5429250" y="512385"/>
                      <a:ext cx="107950" cy="107950"/>
                    </a:xfrm>
                    <a:prstGeom prst="ellipse">
                      <a:avLst/>
                    </a:prstGeom>
                    <a:solidFill>
                      <a:srgbClr val="00B050"/>
                    </a:solidFill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ot="0" spcFirstLastPara="0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32472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0" normalizeH="0" baseline="-25000" noProof="0" dirty="0" smtClean="0">
                        <a:ln>
                          <a:noFill/>
                        </a:ln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ffectLst/>
                        <a:uLnTx/>
                        <a:uFillTx/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</p:grpSp>
              <p:grpSp>
                <p:nvGrpSpPr>
                  <p:cNvPr id="99" name="Group 98"/>
                  <p:cNvGrpSpPr/>
                  <p:nvPr/>
                </p:nvGrpSpPr>
                <p:grpSpPr>
                  <a:xfrm>
                    <a:off x="4838974" y="1041277"/>
                    <a:ext cx="754147" cy="274179"/>
                    <a:chOff x="4838974" y="429271"/>
                    <a:chExt cx="754147" cy="274179"/>
                  </a:xfrm>
                </p:grpSpPr>
                <p:sp>
                  <p:nvSpPr>
                    <p:cNvPr id="130" name="Rectangle 129"/>
                    <p:cNvSpPr/>
                    <p:nvPr/>
                  </p:nvSpPr>
                  <p:spPr bwMode="auto">
                    <a:xfrm>
                      <a:off x="4838974" y="429271"/>
                      <a:ext cx="754147" cy="274179"/>
                    </a:xfrm>
                    <a:prstGeom prst="rect">
                      <a:avLst/>
                    </a:prstGeom>
                    <a:solidFill>
                      <a:srgbClr val="FFFFFF">
                        <a:lumMod val="95000"/>
                      </a:srgbClr>
                    </a:solidFill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ot="0" spcFirstLastPara="0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32472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0" normalizeH="0" baseline="-25000" noProof="0" dirty="0" smtClean="0">
                        <a:ln>
                          <a:noFill/>
                        </a:ln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ffectLst/>
                        <a:uLnTx/>
                        <a:uFillTx/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grpSp>
                  <p:nvGrpSpPr>
                    <p:cNvPr id="131" name="Group 130"/>
                    <p:cNvGrpSpPr/>
                    <p:nvPr/>
                  </p:nvGrpSpPr>
                  <p:grpSpPr>
                    <a:xfrm>
                      <a:off x="4870868" y="464463"/>
                      <a:ext cx="345154" cy="203795"/>
                      <a:chOff x="5878465" y="462955"/>
                      <a:chExt cx="495026" cy="274179"/>
                    </a:xfrm>
                  </p:grpSpPr>
                  <p:sp>
                    <p:nvSpPr>
                      <p:cNvPr id="133" name="Rectangle 132"/>
                      <p:cNvSpPr/>
                      <p:nvPr/>
                    </p:nvSpPr>
                    <p:spPr bwMode="auto">
                      <a:xfrm>
                        <a:off x="587846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134" name="Rectangle 133"/>
                      <p:cNvSpPr/>
                      <p:nvPr/>
                    </p:nvSpPr>
                    <p:spPr bwMode="auto">
                      <a:xfrm>
                        <a:off x="596482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135" name="Rectangle 134"/>
                      <p:cNvSpPr/>
                      <p:nvPr/>
                    </p:nvSpPr>
                    <p:spPr bwMode="auto">
                      <a:xfrm>
                        <a:off x="605118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136" name="Rectangle 135"/>
                      <p:cNvSpPr/>
                      <p:nvPr/>
                    </p:nvSpPr>
                    <p:spPr bwMode="auto">
                      <a:xfrm>
                        <a:off x="613754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137" name="Rectangle 136"/>
                      <p:cNvSpPr/>
                      <p:nvPr/>
                    </p:nvSpPr>
                    <p:spPr bwMode="auto">
                      <a:xfrm>
                        <a:off x="622390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138" name="Rectangle 137"/>
                      <p:cNvSpPr/>
                      <p:nvPr/>
                    </p:nvSpPr>
                    <p:spPr bwMode="auto">
                      <a:xfrm>
                        <a:off x="631026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</p:grpSp>
                <p:sp>
                  <p:nvSpPr>
                    <p:cNvPr id="132" name="Oval 131"/>
                    <p:cNvSpPr/>
                    <p:nvPr/>
                  </p:nvSpPr>
                  <p:spPr bwMode="auto">
                    <a:xfrm>
                      <a:off x="5429250" y="512385"/>
                      <a:ext cx="107950" cy="107950"/>
                    </a:xfrm>
                    <a:prstGeom prst="ellipse">
                      <a:avLst/>
                    </a:prstGeom>
                    <a:solidFill>
                      <a:srgbClr val="00B050"/>
                    </a:solidFill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ot="0" spcFirstLastPara="0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32472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0" normalizeH="0" baseline="-25000" noProof="0" dirty="0" smtClean="0">
                        <a:ln>
                          <a:noFill/>
                        </a:ln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ffectLst/>
                        <a:uLnTx/>
                        <a:uFillTx/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</p:grpSp>
              <p:grpSp>
                <p:nvGrpSpPr>
                  <p:cNvPr id="100" name="Group 99"/>
                  <p:cNvGrpSpPr/>
                  <p:nvPr/>
                </p:nvGrpSpPr>
                <p:grpSpPr>
                  <a:xfrm>
                    <a:off x="4838974" y="1347280"/>
                    <a:ext cx="754147" cy="274179"/>
                    <a:chOff x="4838974" y="429271"/>
                    <a:chExt cx="754147" cy="274179"/>
                  </a:xfrm>
                </p:grpSpPr>
                <p:sp>
                  <p:nvSpPr>
                    <p:cNvPr id="121" name="Rectangle 120"/>
                    <p:cNvSpPr/>
                    <p:nvPr/>
                  </p:nvSpPr>
                  <p:spPr bwMode="auto">
                    <a:xfrm>
                      <a:off x="4838974" y="429271"/>
                      <a:ext cx="754147" cy="274179"/>
                    </a:xfrm>
                    <a:prstGeom prst="rect">
                      <a:avLst/>
                    </a:prstGeom>
                    <a:solidFill>
                      <a:srgbClr val="FFFFFF">
                        <a:lumMod val="95000"/>
                      </a:srgbClr>
                    </a:solidFill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ot="0" spcFirstLastPara="0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32472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0" normalizeH="0" baseline="-25000" noProof="0" dirty="0" smtClean="0">
                        <a:ln>
                          <a:noFill/>
                        </a:ln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ffectLst/>
                        <a:uLnTx/>
                        <a:uFillTx/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grpSp>
                  <p:nvGrpSpPr>
                    <p:cNvPr id="122" name="Group 121"/>
                    <p:cNvGrpSpPr/>
                    <p:nvPr/>
                  </p:nvGrpSpPr>
                  <p:grpSpPr>
                    <a:xfrm>
                      <a:off x="4870868" y="464463"/>
                      <a:ext cx="345154" cy="203795"/>
                      <a:chOff x="5878465" y="462955"/>
                      <a:chExt cx="495026" cy="274179"/>
                    </a:xfrm>
                  </p:grpSpPr>
                  <p:sp>
                    <p:nvSpPr>
                      <p:cNvPr id="124" name="Rectangle 123"/>
                      <p:cNvSpPr/>
                      <p:nvPr/>
                    </p:nvSpPr>
                    <p:spPr bwMode="auto">
                      <a:xfrm>
                        <a:off x="587846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125" name="Rectangle 124"/>
                      <p:cNvSpPr/>
                      <p:nvPr/>
                    </p:nvSpPr>
                    <p:spPr bwMode="auto">
                      <a:xfrm>
                        <a:off x="596482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126" name="Rectangle 125"/>
                      <p:cNvSpPr/>
                      <p:nvPr/>
                    </p:nvSpPr>
                    <p:spPr bwMode="auto">
                      <a:xfrm>
                        <a:off x="605118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127" name="Rectangle 126"/>
                      <p:cNvSpPr/>
                      <p:nvPr/>
                    </p:nvSpPr>
                    <p:spPr bwMode="auto">
                      <a:xfrm>
                        <a:off x="613754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128" name="Rectangle 127"/>
                      <p:cNvSpPr/>
                      <p:nvPr/>
                    </p:nvSpPr>
                    <p:spPr bwMode="auto">
                      <a:xfrm>
                        <a:off x="622390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129" name="Rectangle 128"/>
                      <p:cNvSpPr/>
                      <p:nvPr/>
                    </p:nvSpPr>
                    <p:spPr bwMode="auto">
                      <a:xfrm>
                        <a:off x="631026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</p:grpSp>
                <p:sp>
                  <p:nvSpPr>
                    <p:cNvPr id="123" name="Oval 122"/>
                    <p:cNvSpPr/>
                    <p:nvPr/>
                  </p:nvSpPr>
                  <p:spPr bwMode="auto">
                    <a:xfrm>
                      <a:off x="5429250" y="512385"/>
                      <a:ext cx="107950" cy="107950"/>
                    </a:xfrm>
                    <a:prstGeom prst="ellipse">
                      <a:avLst/>
                    </a:prstGeom>
                    <a:solidFill>
                      <a:srgbClr val="00B050"/>
                    </a:solidFill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ot="0" spcFirstLastPara="0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32472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0" normalizeH="0" baseline="-25000" noProof="0" dirty="0" smtClean="0">
                        <a:ln>
                          <a:noFill/>
                        </a:ln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ffectLst/>
                        <a:uLnTx/>
                        <a:uFillTx/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</p:grpSp>
              <p:grpSp>
                <p:nvGrpSpPr>
                  <p:cNvPr id="101" name="Group 100"/>
                  <p:cNvGrpSpPr/>
                  <p:nvPr/>
                </p:nvGrpSpPr>
                <p:grpSpPr>
                  <a:xfrm>
                    <a:off x="4838974" y="1653283"/>
                    <a:ext cx="754147" cy="274179"/>
                    <a:chOff x="4838974" y="429271"/>
                    <a:chExt cx="754147" cy="274179"/>
                  </a:xfrm>
                </p:grpSpPr>
                <p:sp>
                  <p:nvSpPr>
                    <p:cNvPr id="112" name="Rectangle 111"/>
                    <p:cNvSpPr/>
                    <p:nvPr/>
                  </p:nvSpPr>
                  <p:spPr bwMode="auto">
                    <a:xfrm>
                      <a:off x="4838974" y="429271"/>
                      <a:ext cx="754147" cy="274179"/>
                    </a:xfrm>
                    <a:prstGeom prst="rect">
                      <a:avLst/>
                    </a:prstGeom>
                    <a:solidFill>
                      <a:srgbClr val="FFFFFF">
                        <a:lumMod val="95000"/>
                      </a:srgbClr>
                    </a:solidFill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ot="0" spcFirstLastPara="0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32472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0" normalizeH="0" baseline="-25000" noProof="0" dirty="0" smtClean="0">
                        <a:ln>
                          <a:noFill/>
                        </a:ln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ffectLst/>
                        <a:uLnTx/>
                        <a:uFillTx/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grpSp>
                  <p:nvGrpSpPr>
                    <p:cNvPr id="113" name="Group 112"/>
                    <p:cNvGrpSpPr/>
                    <p:nvPr/>
                  </p:nvGrpSpPr>
                  <p:grpSpPr>
                    <a:xfrm>
                      <a:off x="4870868" y="464463"/>
                      <a:ext cx="345154" cy="203795"/>
                      <a:chOff x="5878465" y="462955"/>
                      <a:chExt cx="495026" cy="274179"/>
                    </a:xfrm>
                  </p:grpSpPr>
                  <p:sp>
                    <p:nvSpPr>
                      <p:cNvPr id="115" name="Rectangle 114"/>
                      <p:cNvSpPr/>
                      <p:nvPr/>
                    </p:nvSpPr>
                    <p:spPr bwMode="auto">
                      <a:xfrm>
                        <a:off x="587846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116" name="Rectangle 115"/>
                      <p:cNvSpPr/>
                      <p:nvPr/>
                    </p:nvSpPr>
                    <p:spPr bwMode="auto">
                      <a:xfrm>
                        <a:off x="596482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117" name="Rectangle 116"/>
                      <p:cNvSpPr/>
                      <p:nvPr/>
                    </p:nvSpPr>
                    <p:spPr bwMode="auto">
                      <a:xfrm>
                        <a:off x="605118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118" name="Rectangle 117"/>
                      <p:cNvSpPr/>
                      <p:nvPr/>
                    </p:nvSpPr>
                    <p:spPr bwMode="auto">
                      <a:xfrm>
                        <a:off x="613754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119" name="Rectangle 118"/>
                      <p:cNvSpPr/>
                      <p:nvPr/>
                    </p:nvSpPr>
                    <p:spPr bwMode="auto">
                      <a:xfrm>
                        <a:off x="622390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120" name="Rectangle 119"/>
                      <p:cNvSpPr/>
                      <p:nvPr/>
                    </p:nvSpPr>
                    <p:spPr bwMode="auto">
                      <a:xfrm>
                        <a:off x="631026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</p:grpSp>
                <p:sp>
                  <p:nvSpPr>
                    <p:cNvPr id="114" name="Oval 113"/>
                    <p:cNvSpPr/>
                    <p:nvPr/>
                  </p:nvSpPr>
                  <p:spPr bwMode="auto">
                    <a:xfrm>
                      <a:off x="5429250" y="512385"/>
                      <a:ext cx="107950" cy="107950"/>
                    </a:xfrm>
                    <a:prstGeom prst="ellipse">
                      <a:avLst/>
                    </a:prstGeom>
                    <a:solidFill>
                      <a:srgbClr val="00B050"/>
                    </a:solidFill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ot="0" spcFirstLastPara="0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32472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0" normalizeH="0" baseline="-25000" noProof="0" dirty="0" smtClean="0">
                        <a:ln>
                          <a:noFill/>
                        </a:ln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ffectLst/>
                        <a:uLnTx/>
                        <a:uFillTx/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</p:grpSp>
              <p:grpSp>
                <p:nvGrpSpPr>
                  <p:cNvPr id="102" name="Group 101"/>
                  <p:cNvGrpSpPr/>
                  <p:nvPr/>
                </p:nvGrpSpPr>
                <p:grpSpPr>
                  <a:xfrm>
                    <a:off x="4838974" y="1959287"/>
                    <a:ext cx="754147" cy="274179"/>
                    <a:chOff x="4838974" y="429271"/>
                    <a:chExt cx="754147" cy="274179"/>
                  </a:xfrm>
                </p:grpSpPr>
                <p:sp>
                  <p:nvSpPr>
                    <p:cNvPr id="103" name="Rectangle 102"/>
                    <p:cNvSpPr/>
                    <p:nvPr/>
                  </p:nvSpPr>
                  <p:spPr bwMode="auto">
                    <a:xfrm>
                      <a:off x="4838974" y="429271"/>
                      <a:ext cx="754147" cy="274179"/>
                    </a:xfrm>
                    <a:prstGeom prst="rect">
                      <a:avLst/>
                    </a:prstGeom>
                    <a:solidFill>
                      <a:srgbClr val="FFFFFF">
                        <a:lumMod val="95000"/>
                      </a:srgbClr>
                    </a:solidFill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ot="0" spcFirstLastPara="0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32472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0" normalizeH="0" baseline="-25000" noProof="0" dirty="0" smtClean="0">
                        <a:ln>
                          <a:noFill/>
                        </a:ln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ffectLst/>
                        <a:uLnTx/>
                        <a:uFillTx/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grpSp>
                  <p:nvGrpSpPr>
                    <p:cNvPr id="104" name="Group 103"/>
                    <p:cNvGrpSpPr/>
                    <p:nvPr/>
                  </p:nvGrpSpPr>
                  <p:grpSpPr>
                    <a:xfrm>
                      <a:off x="4870868" y="464463"/>
                      <a:ext cx="345154" cy="203795"/>
                      <a:chOff x="5878465" y="462955"/>
                      <a:chExt cx="495026" cy="274179"/>
                    </a:xfrm>
                  </p:grpSpPr>
                  <p:sp>
                    <p:nvSpPr>
                      <p:cNvPr id="106" name="Rectangle 105"/>
                      <p:cNvSpPr/>
                      <p:nvPr/>
                    </p:nvSpPr>
                    <p:spPr bwMode="auto">
                      <a:xfrm>
                        <a:off x="587846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107" name="Rectangle 106"/>
                      <p:cNvSpPr/>
                      <p:nvPr/>
                    </p:nvSpPr>
                    <p:spPr bwMode="auto">
                      <a:xfrm>
                        <a:off x="596482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108" name="Rectangle 107"/>
                      <p:cNvSpPr/>
                      <p:nvPr/>
                    </p:nvSpPr>
                    <p:spPr bwMode="auto">
                      <a:xfrm>
                        <a:off x="605118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109" name="Rectangle 108"/>
                      <p:cNvSpPr/>
                      <p:nvPr/>
                    </p:nvSpPr>
                    <p:spPr bwMode="auto">
                      <a:xfrm>
                        <a:off x="613754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110" name="Rectangle 109"/>
                      <p:cNvSpPr/>
                      <p:nvPr/>
                    </p:nvSpPr>
                    <p:spPr bwMode="auto">
                      <a:xfrm>
                        <a:off x="622390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sp>
                    <p:nvSpPr>
                      <p:cNvPr id="111" name="Rectangle 110"/>
                      <p:cNvSpPr/>
                      <p:nvPr/>
                    </p:nvSpPr>
                    <p:spPr bwMode="auto">
                      <a:xfrm>
                        <a:off x="6310265" y="462955"/>
                        <a:ext cx="63226" cy="274179"/>
                      </a:xfrm>
                      <a:prstGeom prst="rect">
                        <a:avLst/>
                      </a:prstGeom>
                      <a:solidFill>
                        <a:srgbClr val="FFFFFF">
                          <a:lumMod val="50000"/>
                        </a:srgbClr>
                      </a:solidFill>
                      <a:ln w="9525" cap="flat" cmpd="sng" algn="ctr">
                        <a:noFill/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rot="0" spcFirstLastPara="0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555132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1110264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665397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2220529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775661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3330793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885926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4441058" algn="l" defTabSz="555132" rtl="0" eaLnBrk="1" latinLnBrk="0" hangingPunct="1">
                          <a:defRPr sz="22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marL="0" marR="0" lvl="0" indent="0" algn="ctr" defTabSz="932472" rtl="0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1200" cap="none" spc="0" normalizeH="0" baseline="-25000" noProof="0" dirty="0" smtClean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</p:grpSp>
                <p:sp>
                  <p:nvSpPr>
                    <p:cNvPr id="105" name="Oval 104"/>
                    <p:cNvSpPr/>
                    <p:nvPr/>
                  </p:nvSpPr>
                  <p:spPr bwMode="auto">
                    <a:xfrm>
                      <a:off x="5429250" y="512385"/>
                      <a:ext cx="107950" cy="107950"/>
                    </a:xfrm>
                    <a:prstGeom prst="ellipse">
                      <a:avLst/>
                    </a:prstGeom>
                    <a:solidFill>
                      <a:srgbClr val="00B050"/>
                    </a:solidFill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ot="0" spcFirstLastPara="0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32472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0" normalizeH="0" baseline="-25000" noProof="0" dirty="0" smtClean="0">
                        <a:ln>
                          <a:noFill/>
                        </a:ln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ffectLst/>
                        <a:uLnTx/>
                        <a:uFillTx/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</p:grpSp>
            </p:grpSp>
          </p:grpSp>
          <p:sp>
            <p:nvSpPr>
              <p:cNvPr id="41" name="Oval 3"/>
              <p:cNvSpPr/>
              <p:nvPr/>
            </p:nvSpPr>
            <p:spPr>
              <a:xfrm>
                <a:off x="4404584" y="2825912"/>
                <a:ext cx="1666051" cy="716388"/>
              </a:xfrm>
              <a:custGeom>
                <a:avLst/>
                <a:gdLst/>
                <a:ahLst/>
                <a:cxnLst/>
                <a:rect l="l" t="t" r="r" b="b"/>
                <a:pathLst>
                  <a:path w="3526262" h="1620949">
                    <a:moveTo>
                      <a:pt x="1905000" y="0"/>
                    </a:moveTo>
                    <a:cubicBezTo>
                      <a:pt x="2160688" y="0"/>
                      <a:pt x="2383694" y="113064"/>
                      <a:pt x="2499237" y="282370"/>
                    </a:cubicBezTo>
                    <a:cubicBezTo>
                      <a:pt x="2575283" y="213250"/>
                      <a:pt x="2678425" y="171450"/>
                      <a:pt x="2791830" y="171450"/>
                    </a:cubicBezTo>
                    <a:cubicBezTo>
                      <a:pt x="3026775" y="171450"/>
                      <a:pt x="3217672" y="350859"/>
                      <a:pt x="3220758" y="573537"/>
                    </a:cubicBezTo>
                    <a:cubicBezTo>
                      <a:pt x="3397786" y="622453"/>
                      <a:pt x="3526262" y="778390"/>
                      <a:pt x="3526262" y="962874"/>
                    </a:cubicBezTo>
                    <a:cubicBezTo>
                      <a:pt x="3526262" y="1188608"/>
                      <a:pt x="3333910" y="1371601"/>
                      <a:pt x="3096631" y="1371601"/>
                    </a:cubicBezTo>
                    <a:cubicBezTo>
                      <a:pt x="3059788" y="1371601"/>
                      <a:pt x="3024029" y="1367189"/>
                      <a:pt x="2990261" y="1357433"/>
                    </a:cubicBezTo>
                    <a:cubicBezTo>
                      <a:pt x="2927759" y="1511709"/>
                      <a:pt x="2766228" y="1620949"/>
                      <a:pt x="2577016" y="1620949"/>
                    </a:cubicBezTo>
                    <a:cubicBezTo>
                      <a:pt x="2414017" y="1620949"/>
                      <a:pt x="2271559" y="1539879"/>
                      <a:pt x="2196015" y="1418135"/>
                    </a:cubicBezTo>
                    <a:cubicBezTo>
                      <a:pt x="2120472" y="1539878"/>
                      <a:pt x="1978014" y="1620948"/>
                      <a:pt x="1815015" y="1620948"/>
                    </a:cubicBezTo>
                    <a:cubicBezTo>
                      <a:pt x="1656048" y="1620948"/>
                      <a:pt x="1516619" y="1543840"/>
                      <a:pt x="1439398" y="1427276"/>
                    </a:cubicBezTo>
                    <a:cubicBezTo>
                      <a:pt x="1357285" y="1544659"/>
                      <a:pt x="1220952" y="1620948"/>
                      <a:pt x="1066800" y="1620948"/>
                    </a:cubicBezTo>
                    <a:cubicBezTo>
                      <a:pt x="870242" y="1620948"/>
                      <a:pt x="702654" y="1496911"/>
                      <a:pt x="639503" y="1322297"/>
                    </a:cubicBezTo>
                    <a:cubicBezTo>
                      <a:pt x="575919" y="1362710"/>
                      <a:pt x="500200" y="1385558"/>
                      <a:pt x="419100" y="1385558"/>
                    </a:cubicBezTo>
                    <a:cubicBezTo>
                      <a:pt x="187637" y="1385558"/>
                      <a:pt x="0" y="1199441"/>
                      <a:pt x="0" y="969853"/>
                    </a:cubicBezTo>
                    <a:cubicBezTo>
                      <a:pt x="0" y="740265"/>
                      <a:pt x="187637" y="554148"/>
                      <a:pt x="419100" y="554148"/>
                    </a:cubicBezTo>
                    <a:cubicBezTo>
                      <a:pt x="466502" y="554148"/>
                      <a:pt x="512065" y="561954"/>
                      <a:pt x="553956" y="578110"/>
                    </a:cubicBezTo>
                    <a:cubicBezTo>
                      <a:pt x="607567" y="387831"/>
                      <a:pt x="782911" y="249348"/>
                      <a:pt x="990600" y="249348"/>
                    </a:cubicBezTo>
                    <a:cubicBezTo>
                      <a:pt x="1096279" y="249348"/>
                      <a:pt x="1193583" y="285202"/>
                      <a:pt x="1269841" y="346915"/>
                    </a:cubicBezTo>
                    <a:cubicBezTo>
                      <a:pt x="1370673" y="143326"/>
                      <a:pt x="1617122" y="0"/>
                      <a:pt x="1905000" y="0"/>
                    </a:cubicBezTo>
                    <a:close/>
                  </a:path>
                </a:pathLst>
              </a:custGeom>
              <a:solidFill>
                <a:srgbClr val="0072C6">
                  <a:lumMod val="60000"/>
                  <a:lumOff val="40000"/>
                </a:srgbClr>
              </a:solidFill>
              <a:ln w="38100" cap="flat" cmpd="sng" algn="ctr">
                <a:noFill/>
                <a:prstDash val="solid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31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1200" cap="none" spc="0" normalizeH="0" baseline="-25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2" name="Oval 3"/>
              <p:cNvSpPr/>
              <p:nvPr/>
            </p:nvSpPr>
            <p:spPr>
              <a:xfrm flipV="1">
                <a:off x="5179061" y="3046542"/>
                <a:ext cx="1666051" cy="716388"/>
              </a:xfrm>
              <a:custGeom>
                <a:avLst/>
                <a:gdLst/>
                <a:ahLst/>
                <a:cxnLst/>
                <a:rect l="l" t="t" r="r" b="b"/>
                <a:pathLst>
                  <a:path w="3526262" h="1620949">
                    <a:moveTo>
                      <a:pt x="1905000" y="0"/>
                    </a:moveTo>
                    <a:cubicBezTo>
                      <a:pt x="2160688" y="0"/>
                      <a:pt x="2383694" y="113064"/>
                      <a:pt x="2499237" y="282370"/>
                    </a:cubicBezTo>
                    <a:cubicBezTo>
                      <a:pt x="2575283" y="213250"/>
                      <a:pt x="2678425" y="171450"/>
                      <a:pt x="2791830" y="171450"/>
                    </a:cubicBezTo>
                    <a:cubicBezTo>
                      <a:pt x="3026775" y="171450"/>
                      <a:pt x="3217672" y="350859"/>
                      <a:pt x="3220758" y="573537"/>
                    </a:cubicBezTo>
                    <a:cubicBezTo>
                      <a:pt x="3397786" y="622453"/>
                      <a:pt x="3526262" y="778390"/>
                      <a:pt x="3526262" y="962874"/>
                    </a:cubicBezTo>
                    <a:cubicBezTo>
                      <a:pt x="3526262" y="1188608"/>
                      <a:pt x="3333910" y="1371601"/>
                      <a:pt x="3096631" y="1371601"/>
                    </a:cubicBezTo>
                    <a:cubicBezTo>
                      <a:pt x="3059788" y="1371601"/>
                      <a:pt x="3024029" y="1367189"/>
                      <a:pt x="2990261" y="1357433"/>
                    </a:cubicBezTo>
                    <a:cubicBezTo>
                      <a:pt x="2927759" y="1511709"/>
                      <a:pt x="2766228" y="1620949"/>
                      <a:pt x="2577016" y="1620949"/>
                    </a:cubicBezTo>
                    <a:cubicBezTo>
                      <a:pt x="2414017" y="1620949"/>
                      <a:pt x="2271559" y="1539879"/>
                      <a:pt x="2196015" y="1418135"/>
                    </a:cubicBezTo>
                    <a:cubicBezTo>
                      <a:pt x="2120472" y="1539878"/>
                      <a:pt x="1978014" y="1620948"/>
                      <a:pt x="1815015" y="1620948"/>
                    </a:cubicBezTo>
                    <a:cubicBezTo>
                      <a:pt x="1656048" y="1620948"/>
                      <a:pt x="1516619" y="1543840"/>
                      <a:pt x="1439398" y="1427276"/>
                    </a:cubicBezTo>
                    <a:cubicBezTo>
                      <a:pt x="1357285" y="1544659"/>
                      <a:pt x="1220952" y="1620948"/>
                      <a:pt x="1066800" y="1620948"/>
                    </a:cubicBezTo>
                    <a:cubicBezTo>
                      <a:pt x="870242" y="1620948"/>
                      <a:pt x="702654" y="1496911"/>
                      <a:pt x="639503" y="1322297"/>
                    </a:cubicBezTo>
                    <a:cubicBezTo>
                      <a:pt x="575919" y="1362710"/>
                      <a:pt x="500200" y="1385558"/>
                      <a:pt x="419100" y="1385558"/>
                    </a:cubicBezTo>
                    <a:cubicBezTo>
                      <a:pt x="187637" y="1385558"/>
                      <a:pt x="0" y="1199441"/>
                      <a:pt x="0" y="969853"/>
                    </a:cubicBezTo>
                    <a:cubicBezTo>
                      <a:pt x="0" y="740265"/>
                      <a:pt x="187637" y="554148"/>
                      <a:pt x="419100" y="554148"/>
                    </a:cubicBezTo>
                    <a:cubicBezTo>
                      <a:pt x="466502" y="554148"/>
                      <a:pt x="512065" y="561954"/>
                      <a:pt x="553956" y="578110"/>
                    </a:cubicBezTo>
                    <a:cubicBezTo>
                      <a:pt x="607567" y="387831"/>
                      <a:pt x="782911" y="249348"/>
                      <a:pt x="990600" y="249348"/>
                    </a:cubicBezTo>
                    <a:cubicBezTo>
                      <a:pt x="1096279" y="249348"/>
                      <a:pt x="1193583" y="285202"/>
                      <a:pt x="1269841" y="346915"/>
                    </a:cubicBezTo>
                    <a:cubicBezTo>
                      <a:pt x="1370673" y="143326"/>
                      <a:pt x="1617122" y="0"/>
                      <a:pt x="1905000" y="0"/>
                    </a:cubicBezTo>
                    <a:close/>
                  </a:path>
                </a:pathLst>
              </a:custGeom>
              <a:solidFill>
                <a:srgbClr val="0072C6">
                  <a:lumMod val="40000"/>
                  <a:lumOff val="60000"/>
                </a:srgbClr>
              </a:solidFill>
              <a:ln w="38100" cap="flat" cmpd="sng" algn="ctr">
                <a:noFill/>
                <a:prstDash val="solid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31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1200" cap="none" spc="0" normalizeH="0" baseline="-25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3" name="Oval 3"/>
              <p:cNvSpPr/>
              <p:nvPr/>
            </p:nvSpPr>
            <p:spPr>
              <a:xfrm>
                <a:off x="4748445" y="3182660"/>
                <a:ext cx="969437" cy="428162"/>
              </a:xfrm>
              <a:custGeom>
                <a:avLst/>
                <a:gdLst/>
                <a:ahLst/>
                <a:cxnLst/>
                <a:rect l="l" t="t" r="r" b="b"/>
                <a:pathLst>
                  <a:path w="3526262" h="1620949">
                    <a:moveTo>
                      <a:pt x="1905000" y="0"/>
                    </a:moveTo>
                    <a:cubicBezTo>
                      <a:pt x="2160688" y="0"/>
                      <a:pt x="2383694" y="113064"/>
                      <a:pt x="2499237" y="282370"/>
                    </a:cubicBezTo>
                    <a:cubicBezTo>
                      <a:pt x="2575283" y="213250"/>
                      <a:pt x="2678425" y="171450"/>
                      <a:pt x="2791830" y="171450"/>
                    </a:cubicBezTo>
                    <a:cubicBezTo>
                      <a:pt x="3026775" y="171450"/>
                      <a:pt x="3217672" y="350859"/>
                      <a:pt x="3220758" y="573537"/>
                    </a:cubicBezTo>
                    <a:cubicBezTo>
                      <a:pt x="3397786" y="622453"/>
                      <a:pt x="3526262" y="778390"/>
                      <a:pt x="3526262" y="962874"/>
                    </a:cubicBezTo>
                    <a:cubicBezTo>
                      <a:pt x="3526262" y="1188608"/>
                      <a:pt x="3333910" y="1371601"/>
                      <a:pt x="3096631" y="1371601"/>
                    </a:cubicBezTo>
                    <a:cubicBezTo>
                      <a:pt x="3059788" y="1371601"/>
                      <a:pt x="3024029" y="1367189"/>
                      <a:pt x="2990261" y="1357433"/>
                    </a:cubicBezTo>
                    <a:cubicBezTo>
                      <a:pt x="2927759" y="1511709"/>
                      <a:pt x="2766228" y="1620949"/>
                      <a:pt x="2577016" y="1620949"/>
                    </a:cubicBezTo>
                    <a:cubicBezTo>
                      <a:pt x="2414017" y="1620949"/>
                      <a:pt x="2271559" y="1539879"/>
                      <a:pt x="2196015" y="1418135"/>
                    </a:cubicBezTo>
                    <a:cubicBezTo>
                      <a:pt x="2120472" y="1539878"/>
                      <a:pt x="1978014" y="1620948"/>
                      <a:pt x="1815015" y="1620948"/>
                    </a:cubicBezTo>
                    <a:cubicBezTo>
                      <a:pt x="1656048" y="1620948"/>
                      <a:pt x="1516619" y="1543840"/>
                      <a:pt x="1439398" y="1427276"/>
                    </a:cubicBezTo>
                    <a:cubicBezTo>
                      <a:pt x="1357285" y="1544659"/>
                      <a:pt x="1220952" y="1620948"/>
                      <a:pt x="1066800" y="1620948"/>
                    </a:cubicBezTo>
                    <a:cubicBezTo>
                      <a:pt x="870242" y="1620948"/>
                      <a:pt x="702654" y="1496911"/>
                      <a:pt x="639503" y="1322297"/>
                    </a:cubicBezTo>
                    <a:cubicBezTo>
                      <a:pt x="575919" y="1362710"/>
                      <a:pt x="500200" y="1385558"/>
                      <a:pt x="419100" y="1385558"/>
                    </a:cubicBezTo>
                    <a:cubicBezTo>
                      <a:pt x="187637" y="1385558"/>
                      <a:pt x="0" y="1199441"/>
                      <a:pt x="0" y="969853"/>
                    </a:cubicBezTo>
                    <a:cubicBezTo>
                      <a:pt x="0" y="740265"/>
                      <a:pt x="187637" y="554148"/>
                      <a:pt x="419100" y="554148"/>
                    </a:cubicBezTo>
                    <a:cubicBezTo>
                      <a:pt x="466502" y="554148"/>
                      <a:pt x="512065" y="561954"/>
                      <a:pt x="553956" y="578110"/>
                    </a:cubicBezTo>
                    <a:cubicBezTo>
                      <a:pt x="607567" y="387831"/>
                      <a:pt x="782911" y="249348"/>
                      <a:pt x="990600" y="249348"/>
                    </a:cubicBezTo>
                    <a:cubicBezTo>
                      <a:pt x="1096279" y="249348"/>
                      <a:pt x="1193583" y="285202"/>
                      <a:pt x="1269841" y="346915"/>
                    </a:cubicBezTo>
                    <a:cubicBezTo>
                      <a:pt x="1370673" y="143326"/>
                      <a:pt x="1617122" y="0"/>
                      <a:pt x="1905000" y="0"/>
                    </a:cubicBezTo>
                    <a:close/>
                  </a:path>
                </a:pathLst>
              </a:custGeom>
              <a:solidFill>
                <a:srgbClr val="0072C6">
                  <a:lumMod val="20000"/>
                  <a:lumOff val="80000"/>
                </a:srgbClr>
              </a:solidFill>
              <a:ln w="38100" cap="flat" cmpd="sng" algn="ctr">
                <a:noFill/>
                <a:prstDash val="solid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31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1200" cap="none" spc="0" normalizeH="0" baseline="-25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4" name="Oval 43"/>
              <p:cNvSpPr/>
              <p:nvPr/>
            </p:nvSpPr>
            <p:spPr bwMode="auto">
              <a:xfrm>
                <a:off x="5219364" y="1481538"/>
                <a:ext cx="394897" cy="394894"/>
              </a:xfrm>
              <a:prstGeom prst="ellipse">
                <a:avLst/>
              </a:prstGeom>
              <a:solidFill>
                <a:srgbClr val="008272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outerShdw dist="88900" dir="2700000" sx="90000" sy="90000" algn="tl" rotWithShape="0">
                  <a:prstClr val="black">
                    <a:alpha val="11000"/>
                  </a:prstClr>
                </a:outerShdw>
              </a:effectLst>
            </p:spPr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-2500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5" name="Oval 44"/>
              <p:cNvSpPr/>
              <p:nvPr/>
            </p:nvSpPr>
            <p:spPr bwMode="auto">
              <a:xfrm>
                <a:off x="6419077" y="2023018"/>
                <a:ext cx="393957" cy="393957"/>
              </a:xfrm>
              <a:prstGeom prst="ellipse">
                <a:avLst/>
              </a:prstGeom>
              <a:solidFill>
                <a:srgbClr val="008272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outerShdw dist="88900" dir="2700000" sx="90000" sy="90000" algn="tl" rotWithShape="0">
                  <a:prstClr val="black">
                    <a:alpha val="11000"/>
                  </a:prstClr>
                </a:outerShdw>
              </a:effectLst>
            </p:spPr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-2500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6" name="Oval 45"/>
              <p:cNvSpPr/>
              <p:nvPr/>
            </p:nvSpPr>
            <p:spPr bwMode="auto">
              <a:xfrm>
                <a:off x="6149185" y="1692837"/>
                <a:ext cx="393957" cy="393957"/>
              </a:xfrm>
              <a:prstGeom prst="ellipse">
                <a:avLst/>
              </a:prstGeom>
              <a:solidFill>
                <a:srgbClr val="DC3C00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outerShdw dist="88900" dir="2700000" sx="90000" sy="90000" algn="tl" rotWithShape="0">
                  <a:prstClr val="black">
                    <a:alpha val="11000"/>
                  </a:prstClr>
                </a:outerShdw>
              </a:effectLst>
            </p:spPr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-2500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47" name="Group 46"/>
              <p:cNvGrpSpPr/>
              <p:nvPr/>
            </p:nvGrpSpPr>
            <p:grpSpPr>
              <a:xfrm>
                <a:off x="4776814" y="1676805"/>
                <a:ext cx="393957" cy="393957"/>
                <a:chOff x="10811580" y="2714625"/>
                <a:chExt cx="527050" cy="527050"/>
              </a:xfrm>
            </p:grpSpPr>
            <p:sp>
              <p:nvSpPr>
                <p:cNvPr id="85" name="Oval 84"/>
                <p:cNvSpPr/>
                <p:nvPr/>
              </p:nvSpPr>
              <p:spPr bwMode="auto">
                <a:xfrm>
                  <a:off x="10811580" y="2714625"/>
                  <a:ext cx="527050" cy="527050"/>
                </a:xfrm>
                <a:prstGeom prst="ellipse">
                  <a:avLst/>
                </a:prstGeom>
                <a:solidFill>
                  <a:srgbClr val="DC3C00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>
                  <a:outerShdw dist="88900" dir="2700000" sx="90000" sy="90000" algn="tl" rotWithShape="0">
                    <a:prstClr val="black">
                      <a:alpha val="11000"/>
                    </a:prstClr>
                  </a:outerShdw>
                </a:effectLst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-2500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grpSp>
              <p:nvGrpSpPr>
                <p:cNvPr id="86" name="Group 85"/>
                <p:cNvGrpSpPr/>
                <p:nvPr/>
              </p:nvGrpSpPr>
              <p:grpSpPr bwMode="black">
                <a:xfrm>
                  <a:off x="10885015" y="2860260"/>
                  <a:ext cx="380201" cy="235780"/>
                  <a:chOff x="10387012" y="4103350"/>
                  <a:chExt cx="995920" cy="725626"/>
                </a:xfrm>
                <a:solidFill>
                  <a:srgbClr val="FFFFFF"/>
                </a:solidFill>
              </p:grpSpPr>
              <p:sp>
                <p:nvSpPr>
                  <p:cNvPr id="87" name="Freeform 86"/>
                  <p:cNvSpPr>
                    <a:spLocks/>
                  </p:cNvSpPr>
                  <p:nvPr/>
                </p:nvSpPr>
                <p:spPr bwMode="black">
                  <a:xfrm>
                    <a:off x="10506081" y="4218399"/>
                    <a:ext cx="706438" cy="599679"/>
                  </a:xfrm>
                  <a:custGeom>
                    <a:avLst/>
                    <a:gdLst>
                      <a:gd name="T0" fmla="*/ 183 w 188"/>
                      <a:gd name="T1" fmla="*/ 84 h 137"/>
                      <a:gd name="T2" fmla="*/ 104 w 188"/>
                      <a:gd name="T3" fmla="*/ 27 h 137"/>
                      <a:gd name="T4" fmla="*/ 86 w 188"/>
                      <a:gd name="T5" fmla="*/ 19 h 137"/>
                      <a:gd name="T6" fmla="*/ 59 w 188"/>
                      <a:gd name="T7" fmla="*/ 34 h 137"/>
                      <a:gd name="T8" fmla="*/ 56 w 188"/>
                      <a:gd name="T9" fmla="*/ 36 h 137"/>
                      <a:gd name="T10" fmla="*/ 43 w 188"/>
                      <a:gd name="T11" fmla="*/ 38 h 137"/>
                      <a:gd name="T12" fmla="*/ 43 w 188"/>
                      <a:gd name="T13" fmla="*/ 38 h 137"/>
                      <a:gd name="T14" fmla="*/ 26 w 188"/>
                      <a:gd name="T15" fmla="*/ 27 h 137"/>
                      <a:gd name="T16" fmla="*/ 24 w 188"/>
                      <a:gd name="T17" fmla="*/ 14 h 137"/>
                      <a:gd name="T18" fmla="*/ 31 w 188"/>
                      <a:gd name="T19" fmla="*/ 0 h 137"/>
                      <a:gd name="T20" fmla="*/ 21 w 188"/>
                      <a:gd name="T21" fmla="*/ 0 h 137"/>
                      <a:gd name="T22" fmla="*/ 1 w 188"/>
                      <a:gd name="T23" fmla="*/ 79 h 137"/>
                      <a:gd name="T24" fmla="*/ 4 w 188"/>
                      <a:gd name="T25" fmla="*/ 80 h 137"/>
                      <a:gd name="T26" fmla="*/ 16 w 188"/>
                      <a:gd name="T27" fmla="*/ 70 h 137"/>
                      <a:gd name="T28" fmla="*/ 22 w 188"/>
                      <a:gd name="T29" fmla="*/ 70 h 137"/>
                      <a:gd name="T30" fmla="*/ 32 w 188"/>
                      <a:gd name="T31" fmla="*/ 74 h 137"/>
                      <a:gd name="T32" fmla="*/ 43 w 188"/>
                      <a:gd name="T33" fmla="*/ 72 h 137"/>
                      <a:gd name="T34" fmla="*/ 44 w 188"/>
                      <a:gd name="T35" fmla="*/ 72 h 137"/>
                      <a:gd name="T36" fmla="*/ 53 w 188"/>
                      <a:gd name="T37" fmla="*/ 76 h 137"/>
                      <a:gd name="T38" fmla="*/ 65 w 188"/>
                      <a:gd name="T39" fmla="*/ 74 h 137"/>
                      <a:gd name="T40" fmla="*/ 67 w 188"/>
                      <a:gd name="T41" fmla="*/ 74 h 137"/>
                      <a:gd name="T42" fmla="*/ 80 w 188"/>
                      <a:gd name="T43" fmla="*/ 88 h 137"/>
                      <a:gd name="T44" fmla="*/ 83 w 188"/>
                      <a:gd name="T45" fmla="*/ 88 h 137"/>
                      <a:gd name="T46" fmla="*/ 85 w 188"/>
                      <a:gd name="T47" fmla="*/ 89 h 137"/>
                      <a:gd name="T48" fmla="*/ 99 w 188"/>
                      <a:gd name="T49" fmla="*/ 108 h 137"/>
                      <a:gd name="T50" fmla="*/ 99 w 188"/>
                      <a:gd name="T51" fmla="*/ 110 h 137"/>
                      <a:gd name="T52" fmla="*/ 96 w 188"/>
                      <a:gd name="T53" fmla="*/ 124 h 137"/>
                      <a:gd name="T54" fmla="*/ 114 w 188"/>
                      <a:gd name="T55" fmla="*/ 137 h 137"/>
                      <a:gd name="T56" fmla="*/ 123 w 188"/>
                      <a:gd name="T57" fmla="*/ 132 h 137"/>
                      <a:gd name="T58" fmla="*/ 124 w 188"/>
                      <a:gd name="T59" fmla="*/ 124 h 137"/>
                      <a:gd name="T60" fmla="*/ 108 w 188"/>
                      <a:gd name="T61" fmla="*/ 112 h 137"/>
                      <a:gd name="T62" fmla="*/ 107 w 188"/>
                      <a:gd name="T63" fmla="*/ 109 h 137"/>
                      <a:gd name="T64" fmla="*/ 110 w 188"/>
                      <a:gd name="T65" fmla="*/ 109 h 137"/>
                      <a:gd name="T66" fmla="*/ 136 w 188"/>
                      <a:gd name="T67" fmla="*/ 127 h 137"/>
                      <a:gd name="T68" fmla="*/ 145 w 188"/>
                      <a:gd name="T69" fmla="*/ 123 h 137"/>
                      <a:gd name="T70" fmla="*/ 147 w 188"/>
                      <a:gd name="T71" fmla="*/ 114 h 137"/>
                      <a:gd name="T72" fmla="*/ 117 w 188"/>
                      <a:gd name="T73" fmla="*/ 93 h 137"/>
                      <a:gd name="T74" fmla="*/ 117 w 188"/>
                      <a:gd name="T75" fmla="*/ 90 h 137"/>
                      <a:gd name="T76" fmla="*/ 120 w 188"/>
                      <a:gd name="T77" fmla="*/ 89 h 137"/>
                      <a:gd name="T78" fmla="*/ 156 w 188"/>
                      <a:gd name="T79" fmla="*/ 116 h 137"/>
                      <a:gd name="T80" fmla="*/ 165 w 188"/>
                      <a:gd name="T81" fmla="*/ 111 h 137"/>
                      <a:gd name="T82" fmla="*/ 167 w 188"/>
                      <a:gd name="T83" fmla="*/ 102 h 137"/>
                      <a:gd name="T84" fmla="*/ 137 w 188"/>
                      <a:gd name="T85" fmla="*/ 81 h 137"/>
                      <a:gd name="T86" fmla="*/ 136 w 188"/>
                      <a:gd name="T87" fmla="*/ 78 h 137"/>
                      <a:gd name="T88" fmla="*/ 139 w 188"/>
                      <a:gd name="T89" fmla="*/ 77 h 137"/>
                      <a:gd name="T90" fmla="*/ 176 w 188"/>
                      <a:gd name="T91" fmla="*/ 104 h 137"/>
                      <a:gd name="T92" fmla="*/ 185 w 188"/>
                      <a:gd name="T93" fmla="*/ 99 h 137"/>
                      <a:gd name="T94" fmla="*/ 183 w 188"/>
                      <a:gd name="T95" fmla="*/ 84 h 13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</a:cxnLst>
                    <a:rect l="0" t="0" r="r" b="b"/>
                    <a:pathLst>
                      <a:path w="188" h="137">
                        <a:moveTo>
                          <a:pt x="183" y="84"/>
                        </a:moveTo>
                        <a:cubicBezTo>
                          <a:pt x="104" y="27"/>
                          <a:pt x="104" y="27"/>
                          <a:pt x="104" y="27"/>
                        </a:cubicBezTo>
                        <a:cubicBezTo>
                          <a:pt x="86" y="19"/>
                          <a:pt x="86" y="19"/>
                          <a:pt x="86" y="19"/>
                        </a:cubicBezTo>
                        <a:cubicBezTo>
                          <a:pt x="59" y="34"/>
                          <a:pt x="59" y="34"/>
                          <a:pt x="59" y="34"/>
                        </a:cubicBezTo>
                        <a:cubicBezTo>
                          <a:pt x="56" y="36"/>
                          <a:pt x="56" y="36"/>
                          <a:pt x="56" y="36"/>
                        </a:cubicBezTo>
                        <a:cubicBezTo>
                          <a:pt x="52" y="38"/>
                          <a:pt x="47" y="39"/>
                          <a:pt x="43" y="38"/>
                        </a:cubicBezTo>
                        <a:cubicBezTo>
                          <a:pt x="43" y="38"/>
                          <a:pt x="43" y="38"/>
                          <a:pt x="43" y="38"/>
                        </a:cubicBezTo>
                        <a:cubicBezTo>
                          <a:pt x="36" y="38"/>
                          <a:pt x="30" y="34"/>
                          <a:pt x="26" y="27"/>
                        </a:cubicBezTo>
                        <a:cubicBezTo>
                          <a:pt x="24" y="23"/>
                          <a:pt x="23" y="19"/>
                          <a:pt x="24" y="14"/>
                        </a:cubicBezTo>
                        <a:cubicBezTo>
                          <a:pt x="24" y="9"/>
                          <a:pt x="27" y="4"/>
                          <a:pt x="31" y="0"/>
                        </a:cubicBezTo>
                        <a:cubicBezTo>
                          <a:pt x="25" y="0"/>
                          <a:pt x="21" y="0"/>
                          <a:pt x="21" y="0"/>
                        </a:cubicBezTo>
                        <a:cubicBezTo>
                          <a:pt x="21" y="0"/>
                          <a:pt x="0" y="40"/>
                          <a:pt x="1" y="79"/>
                        </a:cubicBezTo>
                        <a:cubicBezTo>
                          <a:pt x="4" y="80"/>
                          <a:pt x="4" y="80"/>
                          <a:pt x="4" y="80"/>
                        </a:cubicBezTo>
                        <a:cubicBezTo>
                          <a:pt x="6" y="75"/>
                          <a:pt x="10" y="72"/>
                          <a:pt x="16" y="70"/>
                        </a:cubicBezTo>
                        <a:cubicBezTo>
                          <a:pt x="18" y="70"/>
                          <a:pt x="20" y="70"/>
                          <a:pt x="22" y="70"/>
                        </a:cubicBezTo>
                        <a:cubicBezTo>
                          <a:pt x="25" y="70"/>
                          <a:pt x="29" y="72"/>
                          <a:pt x="32" y="74"/>
                        </a:cubicBezTo>
                        <a:cubicBezTo>
                          <a:pt x="35" y="72"/>
                          <a:pt x="39" y="71"/>
                          <a:pt x="43" y="72"/>
                        </a:cubicBezTo>
                        <a:cubicBezTo>
                          <a:pt x="43" y="72"/>
                          <a:pt x="44" y="72"/>
                          <a:pt x="44" y="72"/>
                        </a:cubicBezTo>
                        <a:cubicBezTo>
                          <a:pt x="48" y="72"/>
                          <a:pt x="51" y="74"/>
                          <a:pt x="53" y="76"/>
                        </a:cubicBezTo>
                        <a:cubicBezTo>
                          <a:pt x="56" y="74"/>
                          <a:pt x="60" y="73"/>
                          <a:pt x="65" y="74"/>
                        </a:cubicBezTo>
                        <a:cubicBezTo>
                          <a:pt x="65" y="74"/>
                          <a:pt x="66" y="74"/>
                          <a:pt x="67" y="74"/>
                        </a:cubicBezTo>
                        <a:cubicBezTo>
                          <a:pt x="74" y="76"/>
                          <a:pt x="79" y="81"/>
                          <a:pt x="80" y="88"/>
                        </a:cubicBezTo>
                        <a:cubicBezTo>
                          <a:pt x="81" y="88"/>
                          <a:pt x="82" y="88"/>
                          <a:pt x="83" y="88"/>
                        </a:cubicBezTo>
                        <a:cubicBezTo>
                          <a:pt x="84" y="88"/>
                          <a:pt x="84" y="88"/>
                          <a:pt x="85" y="89"/>
                        </a:cubicBezTo>
                        <a:cubicBezTo>
                          <a:pt x="94" y="91"/>
                          <a:pt x="100" y="99"/>
                          <a:pt x="99" y="108"/>
                        </a:cubicBezTo>
                        <a:cubicBezTo>
                          <a:pt x="99" y="109"/>
                          <a:pt x="99" y="110"/>
                          <a:pt x="99" y="110"/>
                        </a:cubicBezTo>
                        <a:cubicBezTo>
                          <a:pt x="96" y="124"/>
                          <a:pt x="96" y="124"/>
                          <a:pt x="96" y="124"/>
                        </a:cubicBezTo>
                        <a:cubicBezTo>
                          <a:pt x="114" y="137"/>
                          <a:pt x="114" y="137"/>
                          <a:pt x="114" y="137"/>
                        </a:cubicBezTo>
                        <a:cubicBezTo>
                          <a:pt x="117" y="137"/>
                          <a:pt x="120" y="135"/>
                          <a:pt x="123" y="132"/>
                        </a:cubicBezTo>
                        <a:cubicBezTo>
                          <a:pt x="124" y="130"/>
                          <a:pt x="125" y="127"/>
                          <a:pt x="124" y="124"/>
                        </a:cubicBezTo>
                        <a:cubicBezTo>
                          <a:pt x="108" y="112"/>
                          <a:pt x="108" y="112"/>
                          <a:pt x="108" y="112"/>
                        </a:cubicBezTo>
                        <a:cubicBezTo>
                          <a:pt x="107" y="111"/>
                          <a:pt x="107" y="110"/>
                          <a:pt x="107" y="109"/>
                        </a:cubicBezTo>
                        <a:cubicBezTo>
                          <a:pt x="108" y="108"/>
                          <a:pt x="109" y="108"/>
                          <a:pt x="110" y="109"/>
                        </a:cubicBezTo>
                        <a:cubicBezTo>
                          <a:pt x="136" y="127"/>
                          <a:pt x="136" y="127"/>
                          <a:pt x="136" y="127"/>
                        </a:cubicBezTo>
                        <a:cubicBezTo>
                          <a:pt x="140" y="127"/>
                          <a:pt x="143" y="126"/>
                          <a:pt x="145" y="123"/>
                        </a:cubicBezTo>
                        <a:cubicBezTo>
                          <a:pt x="147" y="120"/>
                          <a:pt x="147" y="117"/>
                          <a:pt x="147" y="114"/>
                        </a:cubicBezTo>
                        <a:cubicBezTo>
                          <a:pt x="117" y="93"/>
                          <a:pt x="117" y="93"/>
                          <a:pt x="117" y="93"/>
                        </a:cubicBezTo>
                        <a:cubicBezTo>
                          <a:pt x="116" y="92"/>
                          <a:pt x="116" y="91"/>
                          <a:pt x="117" y="90"/>
                        </a:cubicBezTo>
                        <a:cubicBezTo>
                          <a:pt x="117" y="89"/>
                          <a:pt x="119" y="89"/>
                          <a:pt x="120" y="89"/>
                        </a:cubicBezTo>
                        <a:cubicBezTo>
                          <a:pt x="156" y="116"/>
                          <a:pt x="156" y="116"/>
                          <a:pt x="156" y="116"/>
                        </a:cubicBezTo>
                        <a:cubicBezTo>
                          <a:pt x="159" y="116"/>
                          <a:pt x="163" y="114"/>
                          <a:pt x="165" y="111"/>
                        </a:cubicBezTo>
                        <a:cubicBezTo>
                          <a:pt x="167" y="108"/>
                          <a:pt x="167" y="105"/>
                          <a:pt x="167" y="102"/>
                        </a:cubicBezTo>
                        <a:cubicBezTo>
                          <a:pt x="137" y="81"/>
                          <a:pt x="137" y="81"/>
                          <a:pt x="137" y="81"/>
                        </a:cubicBezTo>
                        <a:cubicBezTo>
                          <a:pt x="136" y="80"/>
                          <a:pt x="136" y="79"/>
                          <a:pt x="136" y="78"/>
                        </a:cubicBezTo>
                        <a:cubicBezTo>
                          <a:pt x="137" y="77"/>
                          <a:pt x="138" y="76"/>
                          <a:pt x="139" y="77"/>
                        </a:cubicBezTo>
                        <a:cubicBezTo>
                          <a:pt x="176" y="104"/>
                          <a:pt x="176" y="104"/>
                          <a:pt x="176" y="104"/>
                        </a:cubicBezTo>
                        <a:cubicBezTo>
                          <a:pt x="180" y="104"/>
                          <a:pt x="183" y="102"/>
                          <a:pt x="185" y="99"/>
                        </a:cubicBezTo>
                        <a:cubicBezTo>
                          <a:pt x="188" y="94"/>
                          <a:pt x="187" y="87"/>
                          <a:pt x="183" y="84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-25000" noProof="0" dirty="0">
                      <a:ln>
                        <a:solidFill>
                          <a:srgbClr val="FFFFFF">
                            <a:alpha val="0"/>
                          </a:srgbClr>
                        </a:solidFill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8" name="Freeform 87"/>
                  <p:cNvSpPr>
                    <a:spLocks/>
                  </p:cNvSpPr>
                  <p:nvPr/>
                </p:nvSpPr>
                <p:spPr bwMode="black">
                  <a:xfrm>
                    <a:off x="10615616" y="4103350"/>
                    <a:ext cx="657226" cy="452255"/>
                  </a:xfrm>
                  <a:custGeom>
                    <a:avLst/>
                    <a:gdLst>
                      <a:gd name="T0" fmla="*/ 127 w 175"/>
                      <a:gd name="T1" fmla="*/ 31 h 100"/>
                      <a:gd name="T2" fmla="*/ 119 w 175"/>
                      <a:gd name="T3" fmla="*/ 28 h 100"/>
                      <a:gd name="T4" fmla="*/ 62 w 175"/>
                      <a:gd name="T5" fmla="*/ 2 h 100"/>
                      <a:gd name="T6" fmla="*/ 49 w 175"/>
                      <a:gd name="T7" fmla="*/ 3 h 100"/>
                      <a:gd name="T8" fmla="*/ 26 w 175"/>
                      <a:gd name="T9" fmla="*/ 16 h 100"/>
                      <a:gd name="T10" fmla="*/ 9 w 175"/>
                      <a:gd name="T11" fmla="*/ 25 h 100"/>
                      <a:gd name="T12" fmla="*/ 4 w 175"/>
                      <a:gd name="T13" fmla="*/ 45 h 100"/>
                      <a:gd name="T14" fmla="*/ 15 w 175"/>
                      <a:gd name="T15" fmla="*/ 52 h 100"/>
                      <a:gd name="T16" fmla="*/ 23 w 175"/>
                      <a:gd name="T17" fmla="*/ 50 h 100"/>
                      <a:gd name="T18" fmla="*/ 23 w 175"/>
                      <a:gd name="T19" fmla="*/ 50 h 100"/>
                      <a:gd name="T20" fmla="*/ 57 w 175"/>
                      <a:gd name="T21" fmla="*/ 32 h 100"/>
                      <a:gd name="T22" fmla="*/ 79 w 175"/>
                      <a:gd name="T23" fmla="*/ 42 h 100"/>
                      <a:gd name="T24" fmla="*/ 109 w 175"/>
                      <a:gd name="T25" fmla="*/ 64 h 100"/>
                      <a:gd name="T26" fmla="*/ 158 w 175"/>
                      <a:gd name="T27" fmla="*/ 99 h 100"/>
                      <a:gd name="T28" fmla="*/ 159 w 175"/>
                      <a:gd name="T29" fmla="*/ 100 h 100"/>
                      <a:gd name="T30" fmla="*/ 173 w 175"/>
                      <a:gd name="T31" fmla="*/ 97 h 100"/>
                      <a:gd name="T32" fmla="*/ 154 w 175"/>
                      <a:gd name="T33" fmla="*/ 29 h 100"/>
                      <a:gd name="T34" fmla="*/ 127 w 175"/>
                      <a:gd name="T35" fmla="*/ 31 h 1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75" h="100">
                        <a:moveTo>
                          <a:pt x="127" y="31"/>
                        </a:moveTo>
                        <a:cubicBezTo>
                          <a:pt x="125" y="31"/>
                          <a:pt x="122" y="30"/>
                          <a:pt x="119" y="28"/>
                        </a:cubicBezTo>
                        <a:cubicBezTo>
                          <a:pt x="62" y="2"/>
                          <a:pt x="62" y="2"/>
                          <a:pt x="62" y="2"/>
                        </a:cubicBezTo>
                        <a:cubicBezTo>
                          <a:pt x="58" y="0"/>
                          <a:pt x="53" y="1"/>
                          <a:pt x="49" y="3"/>
                        </a:cubicBezTo>
                        <a:cubicBezTo>
                          <a:pt x="26" y="16"/>
                          <a:pt x="26" y="16"/>
                          <a:pt x="26" y="16"/>
                        </a:cubicBezTo>
                        <a:cubicBezTo>
                          <a:pt x="9" y="25"/>
                          <a:pt x="9" y="25"/>
                          <a:pt x="9" y="25"/>
                        </a:cubicBezTo>
                        <a:cubicBezTo>
                          <a:pt x="2" y="29"/>
                          <a:pt x="0" y="38"/>
                          <a:pt x="4" y="45"/>
                        </a:cubicBezTo>
                        <a:cubicBezTo>
                          <a:pt x="6" y="49"/>
                          <a:pt x="10" y="52"/>
                          <a:pt x="15" y="52"/>
                        </a:cubicBezTo>
                        <a:cubicBezTo>
                          <a:pt x="18" y="52"/>
                          <a:pt x="21" y="52"/>
                          <a:pt x="23" y="50"/>
                        </a:cubicBezTo>
                        <a:cubicBezTo>
                          <a:pt x="23" y="50"/>
                          <a:pt x="23" y="50"/>
                          <a:pt x="23" y="50"/>
                        </a:cubicBezTo>
                        <a:cubicBezTo>
                          <a:pt x="57" y="32"/>
                          <a:pt x="57" y="32"/>
                          <a:pt x="57" y="32"/>
                        </a:cubicBezTo>
                        <a:cubicBezTo>
                          <a:pt x="79" y="42"/>
                          <a:pt x="79" y="42"/>
                          <a:pt x="79" y="42"/>
                        </a:cubicBezTo>
                        <a:cubicBezTo>
                          <a:pt x="109" y="64"/>
                          <a:pt x="109" y="64"/>
                          <a:pt x="109" y="64"/>
                        </a:cubicBezTo>
                        <a:cubicBezTo>
                          <a:pt x="158" y="99"/>
                          <a:pt x="158" y="99"/>
                          <a:pt x="158" y="99"/>
                        </a:cubicBezTo>
                        <a:cubicBezTo>
                          <a:pt x="158" y="99"/>
                          <a:pt x="159" y="100"/>
                          <a:pt x="159" y="100"/>
                        </a:cubicBezTo>
                        <a:cubicBezTo>
                          <a:pt x="173" y="97"/>
                          <a:pt x="173" y="97"/>
                          <a:pt x="173" y="97"/>
                        </a:cubicBezTo>
                        <a:cubicBezTo>
                          <a:pt x="175" y="51"/>
                          <a:pt x="154" y="29"/>
                          <a:pt x="154" y="29"/>
                        </a:cubicBezTo>
                        <a:cubicBezTo>
                          <a:pt x="154" y="29"/>
                          <a:pt x="133" y="33"/>
                          <a:pt x="127" y="31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-25000" noProof="0" dirty="0">
                      <a:ln>
                        <a:solidFill>
                          <a:srgbClr val="FFFFFF">
                            <a:alpha val="0"/>
                          </a:srgbClr>
                        </a:solidFill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9" name="Freeform 88"/>
                  <p:cNvSpPr>
                    <a:spLocks/>
                  </p:cNvSpPr>
                  <p:nvPr/>
                </p:nvSpPr>
                <p:spPr bwMode="black">
                  <a:xfrm>
                    <a:off x="10536238" y="4554567"/>
                    <a:ext cx="319088" cy="274409"/>
                  </a:xfrm>
                  <a:custGeom>
                    <a:avLst/>
                    <a:gdLst>
                      <a:gd name="T0" fmla="*/ 76 w 85"/>
                      <a:gd name="T1" fmla="*/ 20 h 59"/>
                      <a:gd name="T2" fmla="*/ 64 w 85"/>
                      <a:gd name="T3" fmla="*/ 25 h 59"/>
                      <a:gd name="T4" fmla="*/ 65 w 85"/>
                      <a:gd name="T5" fmla="*/ 18 h 59"/>
                      <a:gd name="T6" fmla="*/ 57 w 85"/>
                      <a:gd name="T7" fmla="*/ 5 h 59"/>
                      <a:gd name="T8" fmla="*/ 44 w 85"/>
                      <a:gd name="T9" fmla="*/ 13 h 59"/>
                      <a:gd name="T10" fmla="*/ 44 w 85"/>
                      <a:gd name="T11" fmla="*/ 14 h 59"/>
                      <a:gd name="T12" fmla="*/ 35 w 85"/>
                      <a:gd name="T13" fmla="*/ 3 h 59"/>
                      <a:gd name="T14" fmla="*/ 23 w 85"/>
                      <a:gd name="T15" fmla="*/ 10 h 59"/>
                      <a:gd name="T16" fmla="*/ 23 w 85"/>
                      <a:gd name="T17" fmla="*/ 10 h 59"/>
                      <a:gd name="T18" fmla="*/ 10 w 85"/>
                      <a:gd name="T19" fmla="*/ 1 h 59"/>
                      <a:gd name="T20" fmla="*/ 1 w 85"/>
                      <a:gd name="T21" fmla="*/ 14 h 59"/>
                      <a:gd name="T22" fmla="*/ 4 w 85"/>
                      <a:gd name="T23" fmla="*/ 28 h 59"/>
                      <a:gd name="T24" fmla="*/ 14 w 85"/>
                      <a:gd name="T25" fmla="*/ 36 h 59"/>
                      <a:gd name="T26" fmla="*/ 17 w 85"/>
                      <a:gd name="T27" fmla="*/ 36 h 59"/>
                      <a:gd name="T28" fmla="*/ 19 w 85"/>
                      <a:gd name="T29" fmla="*/ 35 h 59"/>
                      <a:gd name="T30" fmla="*/ 27 w 85"/>
                      <a:gd name="T31" fmla="*/ 43 h 59"/>
                      <a:gd name="T32" fmla="*/ 28 w 85"/>
                      <a:gd name="T33" fmla="*/ 43 h 59"/>
                      <a:gd name="T34" fmla="*/ 39 w 85"/>
                      <a:gd name="T35" fmla="*/ 38 h 59"/>
                      <a:gd name="T36" fmla="*/ 38 w 85"/>
                      <a:gd name="T37" fmla="*/ 39 h 59"/>
                      <a:gd name="T38" fmla="*/ 47 w 85"/>
                      <a:gd name="T39" fmla="*/ 52 h 59"/>
                      <a:gd name="T40" fmla="*/ 48 w 85"/>
                      <a:gd name="T41" fmla="*/ 52 h 59"/>
                      <a:gd name="T42" fmla="*/ 58 w 85"/>
                      <a:gd name="T43" fmla="*/ 47 h 59"/>
                      <a:gd name="T44" fmla="*/ 67 w 85"/>
                      <a:gd name="T45" fmla="*/ 59 h 59"/>
                      <a:gd name="T46" fmla="*/ 68 w 85"/>
                      <a:gd name="T47" fmla="*/ 59 h 59"/>
                      <a:gd name="T48" fmla="*/ 80 w 85"/>
                      <a:gd name="T49" fmla="*/ 50 h 59"/>
                      <a:gd name="T50" fmla="*/ 84 w 85"/>
                      <a:gd name="T51" fmla="*/ 33 h 59"/>
                      <a:gd name="T52" fmla="*/ 76 w 85"/>
                      <a:gd name="T53" fmla="*/ 20 h 5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</a:cxnLst>
                    <a:rect l="0" t="0" r="r" b="b"/>
                    <a:pathLst>
                      <a:path w="85" h="59">
                        <a:moveTo>
                          <a:pt x="76" y="20"/>
                        </a:moveTo>
                        <a:cubicBezTo>
                          <a:pt x="71" y="19"/>
                          <a:pt x="66" y="21"/>
                          <a:pt x="64" y="25"/>
                        </a:cubicBezTo>
                        <a:cubicBezTo>
                          <a:pt x="65" y="18"/>
                          <a:pt x="65" y="18"/>
                          <a:pt x="65" y="18"/>
                        </a:cubicBezTo>
                        <a:cubicBezTo>
                          <a:pt x="67" y="12"/>
                          <a:pt x="63" y="6"/>
                          <a:pt x="57" y="5"/>
                        </a:cubicBezTo>
                        <a:cubicBezTo>
                          <a:pt x="51" y="4"/>
                          <a:pt x="45" y="7"/>
                          <a:pt x="44" y="13"/>
                        </a:cubicBezTo>
                        <a:cubicBezTo>
                          <a:pt x="44" y="14"/>
                          <a:pt x="44" y="14"/>
                          <a:pt x="44" y="14"/>
                        </a:cubicBezTo>
                        <a:cubicBezTo>
                          <a:pt x="44" y="9"/>
                          <a:pt x="40" y="4"/>
                          <a:pt x="35" y="3"/>
                        </a:cubicBezTo>
                        <a:cubicBezTo>
                          <a:pt x="30" y="2"/>
                          <a:pt x="24" y="5"/>
                          <a:pt x="23" y="10"/>
                        </a:cubicBezTo>
                        <a:cubicBezTo>
                          <a:pt x="23" y="10"/>
                          <a:pt x="23" y="10"/>
                          <a:pt x="23" y="10"/>
                        </a:cubicBezTo>
                        <a:cubicBezTo>
                          <a:pt x="21" y="4"/>
                          <a:pt x="15" y="0"/>
                          <a:pt x="10" y="1"/>
                        </a:cubicBezTo>
                        <a:cubicBezTo>
                          <a:pt x="4" y="3"/>
                          <a:pt x="0" y="8"/>
                          <a:pt x="1" y="14"/>
                        </a:cubicBezTo>
                        <a:cubicBezTo>
                          <a:pt x="4" y="28"/>
                          <a:pt x="4" y="28"/>
                          <a:pt x="4" y="28"/>
                        </a:cubicBezTo>
                        <a:cubicBezTo>
                          <a:pt x="5" y="32"/>
                          <a:pt x="9" y="36"/>
                          <a:pt x="14" y="36"/>
                        </a:cubicBezTo>
                        <a:cubicBezTo>
                          <a:pt x="15" y="36"/>
                          <a:pt x="16" y="36"/>
                          <a:pt x="17" y="36"/>
                        </a:cubicBezTo>
                        <a:cubicBezTo>
                          <a:pt x="18" y="36"/>
                          <a:pt x="18" y="36"/>
                          <a:pt x="19" y="35"/>
                        </a:cubicBezTo>
                        <a:cubicBezTo>
                          <a:pt x="20" y="39"/>
                          <a:pt x="23" y="42"/>
                          <a:pt x="27" y="43"/>
                        </a:cubicBezTo>
                        <a:cubicBezTo>
                          <a:pt x="28" y="43"/>
                          <a:pt x="28" y="43"/>
                          <a:pt x="28" y="43"/>
                        </a:cubicBezTo>
                        <a:cubicBezTo>
                          <a:pt x="32" y="43"/>
                          <a:pt x="36" y="41"/>
                          <a:pt x="39" y="38"/>
                        </a:cubicBezTo>
                        <a:cubicBezTo>
                          <a:pt x="38" y="39"/>
                          <a:pt x="38" y="39"/>
                          <a:pt x="38" y="39"/>
                        </a:cubicBezTo>
                        <a:cubicBezTo>
                          <a:pt x="37" y="44"/>
                          <a:pt x="41" y="50"/>
                          <a:pt x="47" y="52"/>
                        </a:cubicBezTo>
                        <a:cubicBezTo>
                          <a:pt x="47" y="52"/>
                          <a:pt x="47" y="52"/>
                          <a:pt x="48" y="52"/>
                        </a:cubicBezTo>
                        <a:cubicBezTo>
                          <a:pt x="52" y="52"/>
                          <a:pt x="56" y="50"/>
                          <a:pt x="58" y="47"/>
                        </a:cubicBezTo>
                        <a:cubicBezTo>
                          <a:pt x="58" y="52"/>
                          <a:pt x="61" y="57"/>
                          <a:pt x="67" y="59"/>
                        </a:cubicBezTo>
                        <a:cubicBezTo>
                          <a:pt x="67" y="59"/>
                          <a:pt x="67" y="59"/>
                          <a:pt x="68" y="59"/>
                        </a:cubicBezTo>
                        <a:cubicBezTo>
                          <a:pt x="73" y="59"/>
                          <a:pt x="78" y="56"/>
                          <a:pt x="80" y="50"/>
                        </a:cubicBezTo>
                        <a:cubicBezTo>
                          <a:pt x="84" y="33"/>
                          <a:pt x="84" y="33"/>
                          <a:pt x="84" y="33"/>
                        </a:cubicBezTo>
                        <a:cubicBezTo>
                          <a:pt x="85" y="27"/>
                          <a:pt x="81" y="21"/>
                          <a:pt x="76" y="2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-25000" noProof="0" dirty="0">
                      <a:ln>
                        <a:solidFill>
                          <a:srgbClr val="FFFFFF">
                            <a:alpha val="0"/>
                          </a:srgbClr>
                        </a:solidFill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0" name="Freeform 89"/>
                  <p:cNvSpPr>
                    <a:spLocks/>
                  </p:cNvSpPr>
                  <p:nvPr/>
                </p:nvSpPr>
                <p:spPr bwMode="black">
                  <a:xfrm>
                    <a:off x="11207741" y="4198910"/>
                    <a:ext cx="175191" cy="359859"/>
                  </a:xfrm>
                  <a:custGeom>
                    <a:avLst/>
                    <a:gdLst>
                      <a:gd name="T0" fmla="*/ 41 w 41"/>
                      <a:gd name="T1" fmla="*/ 77 h 85"/>
                      <a:gd name="T2" fmla="*/ 33 w 41"/>
                      <a:gd name="T3" fmla="*/ 7 h 85"/>
                      <a:gd name="T4" fmla="*/ 24 w 41"/>
                      <a:gd name="T5" fmla="*/ 1 h 85"/>
                      <a:gd name="T6" fmla="*/ 0 w 41"/>
                      <a:gd name="T7" fmla="*/ 7 h 85"/>
                      <a:gd name="T8" fmla="*/ 22 w 41"/>
                      <a:gd name="T9" fmla="*/ 85 h 85"/>
                      <a:gd name="T10" fmla="*/ 33 w 41"/>
                      <a:gd name="T11" fmla="*/ 85 h 85"/>
                      <a:gd name="T12" fmla="*/ 41 w 41"/>
                      <a:gd name="T13" fmla="*/ 77 h 8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1" h="85">
                        <a:moveTo>
                          <a:pt x="41" y="77"/>
                        </a:moveTo>
                        <a:cubicBezTo>
                          <a:pt x="33" y="7"/>
                          <a:pt x="33" y="7"/>
                          <a:pt x="33" y="7"/>
                        </a:cubicBezTo>
                        <a:cubicBezTo>
                          <a:pt x="32" y="2"/>
                          <a:pt x="28" y="0"/>
                          <a:pt x="24" y="1"/>
                        </a:cubicBezTo>
                        <a:cubicBezTo>
                          <a:pt x="0" y="7"/>
                          <a:pt x="0" y="7"/>
                          <a:pt x="0" y="7"/>
                        </a:cubicBezTo>
                        <a:cubicBezTo>
                          <a:pt x="0" y="7"/>
                          <a:pt x="25" y="32"/>
                          <a:pt x="22" y="85"/>
                        </a:cubicBezTo>
                        <a:cubicBezTo>
                          <a:pt x="33" y="85"/>
                          <a:pt x="33" y="85"/>
                          <a:pt x="33" y="85"/>
                        </a:cubicBezTo>
                        <a:cubicBezTo>
                          <a:pt x="38" y="85"/>
                          <a:pt x="41" y="81"/>
                          <a:pt x="41" y="77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-25000" noProof="0" dirty="0">
                      <a:ln>
                        <a:solidFill>
                          <a:srgbClr val="FFFFFF">
                            <a:alpha val="0"/>
                          </a:srgbClr>
                        </a:solidFill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1" name="Freeform 90"/>
                  <p:cNvSpPr>
                    <a:spLocks/>
                  </p:cNvSpPr>
                  <p:nvPr/>
                </p:nvSpPr>
                <p:spPr bwMode="black">
                  <a:xfrm>
                    <a:off x="10387012" y="4206348"/>
                    <a:ext cx="176211" cy="352424"/>
                  </a:xfrm>
                  <a:custGeom>
                    <a:avLst/>
                    <a:gdLst>
                      <a:gd name="T0" fmla="*/ 47 w 47"/>
                      <a:gd name="T1" fmla="*/ 9 h 94"/>
                      <a:gd name="T2" fmla="*/ 35 w 47"/>
                      <a:gd name="T3" fmla="*/ 2 h 94"/>
                      <a:gd name="T4" fmla="*/ 25 w 47"/>
                      <a:gd name="T5" fmla="*/ 6 h 94"/>
                      <a:gd name="T6" fmla="*/ 2 w 47"/>
                      <a:gd name="T7" fmla="*/ 81 h 94"/>
                      <a:gd name="T8" fmla="*/ 7 w 47"/>
                      <a:gd name="T9" fmla="*/ 90 h 94"/>
                      <a:gd name="T10" fmla="*/ 26 w 47"/>
                      <a:gd name="T11" fmla="*/ 94 h 94"/>
                      <a:gd name="T12" fmla="*/ 47 w 47"/>
                      <a:gd name="T13" fmla="*/ 9 h 9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7" h="94">
                        <a:moveTo>
                          <a:pt x="47" y="9"/>
                        </a:moveTo>
                        <a:cubicBezTo>
                          <a:pt x="35" y="2"/>
                          <a:pt x="35" y="2"/>
                          <a:pt x="35" y="2"/>
                        </a:cubicBezTo>
                        <a:cubicBezTo>
                          <a:pt x="31" y="0"/>
                          <a:pt x="27" y="2"/>
                          <a:pt x="25" y="6"/>
                        </a:cubicBezTo>
                        <a:cubicBezTo>
                          <a:pt x="2" y="81"/>
                          <a:pt x="2" y="81"/>
                          <a:pt x="2" y="81"/>
                        </a:cubicBezTo>
                        <a:cubicBezTo>
                          <a:pt x="0" y="86"/>
                          <a:pt x="3" y="90"/>
                          <a:pt x="7" y="90"/>
                        </a:cubicBezTo>
                        <a:cubicBezTo>
                          <a:pt x="26" y="94"/>
                          <a:pt x="26" y="94"/>
                          <a:pt x="26" y="94"/>
                        </a:cubicBezTo>
                        <a:cubicBezTo>
                          <a:pt x="24" y="52"/>
                          <a:pt x="47" y="9"/>
                          <a:pt x="47" y="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3231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-25000" noProof="0" dirty="0">
                      <a:ln>
                        <a:solidFill>
                          <a:srgbClr val="FFFFFF">
                            <a:alpha val="0"/>
                          </a:srgbClr>
                        </a:solidFill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48" name="Group 47"/>
              <p:cNvGrpSpPr/>
              <p:nvPr/>
            </p:nvGrpSpPr>
            <p:grpSpPr>
              <a:xfrm>
                <a:off x="5735359" y="1486192"/>
                <a:ext cx="393957" cy="393957"/>
                <a:chOff x="10187340" y="2714625"/>
                <a:chExt cx="527050" cy="527050"/>
              </a:xfrm>
            </p:grpSpPr>
            <p:sp>
              <p:nvSpPr>
                <p:cNvPr id="83" name="Oval 82"/>
                <p:cNvSpPr/>
                <p:nvPr/>
              </p:nvSpPr>
              <p:spPr bwMode="auto">
                <a:xfrm>
                  <a:off x="10187340" y="2714625"/>
                  <a:ext cx="527050" cy="527050"/>
                </a:xfrm>
                <a:prstGeom prst="ellipse">
                  <a:avLst/>
                </a:prstGeom>
                <a:solidFill>
                  <a:srgbClr val="68217A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>
                  <a:outerShdw dist="88900" dir="2700000" sx="90000" sy="90000" algn="tl" rotWithShape="0">
                    <a:prstClr val="black">
                      <a:alpha val="11000"/>
                    </a:prstClr>
                  </a:outerShdw>
                </a:effectLst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-2500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84" name="Freeform 83"/>
                <p:cNvSpPr>
                  <a:spLocks noEditPoints="1"/>
                </p:cNvSpPr>
                <p:nvPr/>
              </p:nvSpPr>
              <p:spPr bwMode="black">
                <a:xfrm>
                  <a:off x="10308202" y="2835488"/>
                  <a:ext cx="285327" cy="285325"/>
                </a:xfrm>
                <a:custGeom>
                  <a:avLst/>
                  <a:gdLst>
                    <a:gd name="T0" fmla="*/ 47 w 66"/>
                    <a:gd name="T1" fmla="*/ 37 h 66"/>
                    <a:gd name="T2" fmla="*/ 51 w 66"/>
                    <a:gd name="T3" fmla="*/ 33 h 66"/>
                    <a:gd name="T4" fmla="*/ 47 w 66"/>
                    <a:gd name="T5" fmla="*/ 29 h 66"/>
                    <a:gd name="T6" fmla="*/ 37 w 66"/>
                    <a:gd name="T7" fmla="*/ 29 h 66"/>
                    <a:gd name="T8" fmla="*/ 37 w 66"/>
                    <a:gd name="T9" fmla="*/ 16 h 66"/>
                    <a:gd name="T10" fmla="*/ 33 w 66"/>
                    <a:gd name="T11" fmla="*/ 13 h 66"/>
                    <a:gd name="T12" fmla="*/ 29 w 66"/>
                    <a:gd name="T13" fmla="*/ 16 h 66"/>
                    <a:gd name="T14" fmla="*/ 29 w 66"/>
                    <a:gd name="T15" fmla="*/ 33 h 66"/>
                    <a:gd name="T16" fmla="*/ 33 w 66"/>
                    <a:gd name="T17" fmla="*/ 37 h 66"/>
                    <a:gd name="T18" fmla="*/ 47 w 66"/>
                    <a:gd name="T19" fmla="*/ 37 h 66"/>
                    <a:gd name="T20" fmla="*/ 33 w 66"/>
                    <a:gd name="T21" fmla="*/ 8 h 66"/>
                    <a:gd name="T22" fmla="*/ 58 w 66"/>
                    <a:gd name="T23" fmla="*/ 33 h 66"/>
                    <a:gd name="T24" fmla="*/ 33 w 66"/>
                    <a:gd name="T25" fmla="*/ 58 h 66"/>
                    <a:gd name="T26" fmla="*/ 8 w 66"/>
                    <a:gd name="T27" fmla="*/ 33 h 66"/>
                    <a:gd name="T28" fmla="*/ 33 w 66"/>
                    <a:gd name="T29" fmla="*/ 8 h 66"/>
                    <a:gd name="T30" fmla="*/ 33 w 66"/>
                    <a:gd name="T31" fmla="*/ 66 h 66"/>
                    <a:gd name="T32" fmla="*/ 66 w 66"/>
                    <a:gd name="T33" fmla="*/ 33 h 66"/>
                    <a:gd name="T34" fmla="*/ 33 w 66"/>
                    <a:gd name="T35" fmla="*/ 0 h 66"/>
                    <a:gd name="T36" fmla="*/ 0 w 66"/>
                    <a:gd name="T37" fmla="*/ 33 h 66"/>
                    <a:gd name="T38" fmla="*/ 33 w 66"/>
                    <a:gd name="T39" fmla="*/ 66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66" h="66">
                      <a:moveTo>
                        <a:pt x="47" y="37"/>
                      </a:moveTo>
                      <a:cubicBezTo>
                        <a:pt x="49" y="37"/>
                        <a:pt x="51" y="35"/>
                        <a:pt x="51" y="33"/>
                      </a:cubicBezTo>
                      <a:cubicBezTo>
                        <a:pt x="51" y="31"/>
                        <a:pt x="49" y="29"/>
                        <a:pt x="47" y="29"/>
                      </a:cubicBezTo>
                      <a:cubicBezTo>
                        <a:pt x="37" y="29"/>
                        <a:pt x="37" y="29"/>
                        <a:pt x="37" y="29"/>
                      </a:cubicBezTo>
                      <a:cubicBezTo>
                        <a:pt x="37" y="16"/>
                        <a:pt x="37" y="16"/>
                        <a:pt x="37" y="16"/>
                      </a:cubicBezTo>
                      <a:cubicBezTo>
                        <a:pt x="37" y="14"/>
                        <a:pt x="35" y="13"/>
                        <a:pt x="33" y="13"/>
                      </a:cubicBezTo>
                      <a:cubicBezTo>
                        <a:pt x="31" y="13"/>
                        <a:pt x="29" y="14"/>
                        <a:pt x="29" y="16"/>
                      </a:cubicBezTo>
                      <a:cubicBezTo>
                        <a:pt x="29" y="33"/>
                        <a:pt x="29" y="33"/>
                        <a:pt x="29" y="33"/>
                      </a:cubicBezTo>
                      <a:cubicBezTo>
                        <a:pt x="29" y="35"/>
                        <a:pt x="31" y="37"/>
                        <a:pt x="33" y="37"/>
                      </a:cubicBezTo>
                      <a:lnTo>
                        <a:pt x="47" y="37"/>
                      </a:lnTo>
                      <a:close/>
                      <a:moveTo>
                        <a:pt x="33" y="8"/>
                      </a:moveTo>
                      <a:cubicBezTo>
                        <a:pt x="47" y="8"/>
                        <a:pt x="58" y="19"/>
                        <a:pt x="58" y="33"/>
                      </a:cubicBezTo>
                      <a:cubicBezTo>
                        <a:pt x="58" y="47"/>
                        <a:pt x="47" y="58"/>
                        <a:pt x="33" y="58"/>
                      </a:cubicBezTo>
                      <a:cubicBezTo>
                        <a:pt x="19" y="58"/>
                        <a:pt x="8" y="47"/>
                        <a:pt x="8" y="33"/>
                      </a:cubicBezTo>
                      <a:cubicBezTo>
                        <a:pt x="8" y="19"/>
                        <a:pt x="19" y="8"/>
                        <a:pt x="33" y="8"/>
                      </a:cubicBezTo>
                      <a:moveTo>
                        <a:pt x="33" y="66"/>
                      </a:moveTo>
                      <a:cubicBezTo>
                        <a:pt x="51" y="66"/>
                        <a:pt x="66" y="51"/>
                        <a:pt x="66" y="33"/>
                      </a:cubicBezTo>
                      <a:cubicBezTo>
                        <a:pt x="66" y="15"/>
                        <a:pt x="51" y="0"/>
                        <a:pt x="33" y="0"/>
                      </a:cubicBezTo>
                      <a:cubicBezTo>
                        <a:pt x="15" y="0"/>
                        <a:pt x="0" y="15"/>
                        <a:pt x="0" y="33"/>
                      </a:cubicBezTo>
                      <a:cubicBezTo>
                        <a:pt x="0" y="51"/>
                        <a:pt x="15" y="66"/>
                        <a:pt x="33" y="66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-2500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49" name="Oval 48"/>
              <p:cNvSpPr/>
              <p:nvPr/>
            </p:nvSpPr>
            <p:spPr bwMode="auto">
              <a:xfrm>
                <a:off x="4506126" y="2022216"/>
                <a:ext cx="394897" cy="394894"/>
              </a:xfrm>
              <a:prstGeom prst="ellipse">
                <a:avLst/>
              </a:prstGeom>
              <a:solidFill>
                <a:srgbClr val="0072C6">
                  <a:lumMod val="50000"/>
                </a:srgb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outerShdw dist="88900" dir="2700000" sx="90000" sy="90000" algn="tl" rotWithShape="0">
                  <a:prstClr val="black">
                    <a:alpha val="11000"/>
                  </a:prstClr>
                </a:outerShdw>
              </a:effectLst>
            </p:spPr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-2500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0" name="Freeform 49"/>
              <p:cNvSpPr>
                <a:spLocks noEditPoints="1"/>
              </p:cNvSpPr>
              <p:nvPr/>
            </p:nvSpPr>
            <p:spPr bwMode="black">
              <a:xfrm>
                <a:off x="6516499" y="2141629"/>
                <a:ext cx="220814" cy="170952"/>
              </a:xfrm>
              <a:custGeom>
                <a:avLst/>
                <a:gdLst>
                  <a:gd name="T0" fmla="*/ 71 w 75"/>
                  <a:gd name="T1" fmla="*/ 58 h 58"/>
                  <a:gd name="T2" fmla="*/ 4 w 75"/>
                  <a:gd name="T3" fmla="*/ 58 h 58"/>
                  <a:gd name="T4" fmla="*/ 0 w 75"/>
                  <a:gd name="T5" fmla="*/ 54 h 58"/>
                  <a:gd name="T6" fmla="*/ 0 w 75"/>
                  <a:gd name="T7" fmla="*/ 4 h 58"/>
                  <a:gd name="T8" fmla="*/ 4 w 75"/>
                  <a:gd name="T9" fmla="*/ 0 h 58"/>
                  <a:gd name="T10" fmla="*/ 71 w 75"/>
                  <a:gd name="T11" fmla="*/ 0 h 58"/>
                  <a:gd name="T12" fmla="*/ 75 w 75"/>
                  <a:gd name="T13" fmla="*/ 4 h 58"/>
                  <a:gd name="T14" fmla="*/ 75 w 75"/>
                  <a:gd name="T15" fmla="*/ 54 h 58"/>
                  <a:gd name="T16" fmla="*/ 71 w 75"/>
                  <a:gd name="T17" fmla="*/ 58 h 58"/>
                  <a:gd name="T18" fmla="*/ 8 w 75"/>
                  <a:gd name="T19" fmla="*/ 50 h 58"/>
                  <a:gd name="T20" fmla="*/ 67 w 75"/>
                  <a:gd name="T21" fmla="*/ 50 h 58"/>
                  <a:gd name="T22" fmla="*/ 67 w 75"/>
                  <a:gd name="T23" fmla="*/ 16 h 58"/>
                  <a:gd name="T24" fmla="*/ 39 w 75"/>
                  <a:gd name="T25" fmla="*/ 38 h 58"/>
                  <a:gd name="T26" fmla="*/ 35 w 75"/>
                  <a:gd name="T27" fmla="*/ 38 h 58"/>
                  <a:gd name="T28" fmla="*/ 8 w 75"/>
                  <a:gd name="T29" fmla="*/ 17 h 58"/>
                  <a:gd name="T30" fmla="*/ 8 w 75"/>
                  <a:gd name="T31" fmla="*/ 50 h 58"/>
                  <a:gd name="T32" fmla="*/ 9 w 75"/>
                  <a:gd name="T33" fmla="*/ 8 h 58"/>
                  <a:gd name="T34" fmla="*/ 37 w 75"/>
                  <a:gd name="T35" fmla="*/ 30 h 58"/>
                  <a:gd name="T36" fmla="*/ 65 w 75"/>
                  <a:gd name="T37" fmla="*/ 8 h 58"/>
                  <a:gd name="T38" fmla="*/ 9 w 75"/>
                  <a:gd name="T39" fmla="*/ 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5" h="58">
                    <a:moveTo>
                      <a:pt x="71" y="58"/>
                    </a:moveTo>
                    <a:cubicBezTo>
                      <a:pt x="4" y="58"/>
                      <a:pt x="4" y="58"/>
                      <a:pt x="4" y="58"/>
                    </a:cubicBezTo>
                    <a:cubicBezTo>
                      <a:pt x="2" y="58"/>
                      <a:pt x="0" y="56"/>
                      <a:pt x="0" y="5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1" y="0"/>
                      <a:pt x="71" y="0"/>
                      <a:pt x="71" y="0"/>
                    </a:cubicBezTo>
                    <a:cubicBezTo>
                      <a:pt x="73" y="0"/>
                      <a:pt x="75" y="2"/>
                      <a:pt x="75" y="4"/>
                    </a:cubicBezTo>
                    <a:cubicBezTo>
                      <a:pt x="75" y="54"/>
                      <a:pt x="75" y="54"/>
                      <a:pt x="75" y="54"/>
                    </a:cubicBezTo>
                    <a:cubicBezTo>
                      <a:pt x="75" y="56"/>
                      <a:pt x="73" y="58"/>
                      <a:pt x="71" y="58"/>
                    </a:cubicBezTo>
                    <a:close/>
                    <a:moveTo>
                      <a:pt x="8" y="50"/>
                    </a:moveTo>
                    <a:cubicBezTo>
                      <a:pt x="67" y="50"/>
                      <a:pt x="67" y="50"/>
                      <a:pt x="67" y="50"/>
                    </a:cubicBezTo>
                    <a:cubicBezTo>
                      <a:pt x="67" y="16"/>
                      <a:pt x="67" y="16"/>
                      <a:pt x="67" y="16"/>
                    </a:cubicBezTo>
                    <a:cubicBezTo>
                      <a:pt x="39" y="38"/>
                      <a:pt x="39" y="38"/>
                      <a:pt x="39" y="38"/>
                    </a:cubicBezTo>
                    <a:cubicBezTo>
                      <a:pt x="38" y="39"/>
                      <a:pt x="36" y="39"/>
                      <a:pt x="35" y="38"/>
                    </a:cubicBezTo>
                    <a:cubicBezTo>
                      <a:pt x="8" y="17"/>
                      <a:pt x="8" y="17"/>
                      <a:pt x="8" y="17"/>
                    </a:cubicBezTo>
                    <a:lnTo>
                      <a:pt x="8" y="50"/>
                    </a:lnTo>
                    <a:close/>
                    <a:moveTo>
                      <a:pt x="9" y="8"/>
                    </a:moveTo>
                    <a:cubicBezTo>
                      <a:pt x="37" y="30"/>
                      <a:pt x="37" y="30"/>
                      <a:pt x="37" y="30"/>
                    </a:cubicBezTo>
                    <a:cubicBezTo>
                      <a:pt x="65" y="8"/>
                      <a:pt x="65" y="8"/>
                      <a:pt x="65" y="8"/>
                    </a:cubicBezTo>
                    <a:lnTo>
                      <a:pt x="9" y="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3231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1200" cap="none" spc="0" normalizeH="0" baseline="-25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51" name="Group 50"/>
              <p:cNvGrpSpPr/>
              <p:nvPr/>
            </p:nvGrpSpPr>
            <p:grpSpPr>
              <a:xfrm>
                <a:off x="6569918" y="3723348"/>
                <a:ext cx="238815" cy="476080"/>
                <a:chOff x="9357905" y="3491726"/>
                <a:chExt cx="437621" cy="872401"/>
              </a:xfrm>
            </p:grpSpPr>
            <p:sp>
              <p:nvSpPr>
                <p:cNvPr id="72" name="Rounded Rectangle 71"/>
                <p:cNvSpPr/>
                <p:nvPr/>
              </p:nvSpPr>
              <p:spPr bwMode="auto">
                <a:xfrm>
                  <a:off x="9382183" y="3524481"/>
                  <a:ext cx="375766" cy="818330"/>
                </a:xfrm>
                <a:prstGeom prst="roundRect">
                  <a:avLst/>
                </a:prstGeom>
                <a:solidFill>
                  <a:srgbClr val="FFFFFF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-2500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73" name="Rounded Rectangle 68"/>
                <p:cNvSpPr/>
                <p:nvPr/>
              </p:nvSpPr>
              <p:spPr>
                <a:xfrm>
                  <a:off x="9357905" y="3491726"/>
                  <a:ext cx="437621" cy="8724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36663" h="1468542">
                      <a:moveTo>
                        <a:pt x="127441" y="1331784"/>
                      </a:moveTo>
                      <a:lnTo>
                        <a:pt x="127441" y="1333372"/>
                      </a:lnTo>
                      <a:lnTo>
                        <a:pt x="126399" y="1332578"/>
                      </a:lnTo>
                      <a:close/>
                      <a:moveTo>
                        <a:pt x="369735" y="1314798"/>
                      </a:moveTo>
                      <a:lnTo>
                        <a:pt x="357710" y="1354631"/>
                      </a:lnTo>
                      <a:cubicBezTo>
                        <a:pt x="363388" y="1358973"/>
                        <a:pt x="380090" y="1370330"/>
                        <a:pt x="405310" y="1358639"/>
                      </a:cubicBezTo>
                      <a:lnTo>
                        <a:pt x="417335" y="1317052"/>
                      </a:lnTo>
                      <a:cubicBezTo>
                        <a:pt x="391197" y="1326823"/>
                        <a:pt x="381844" y="1320309"/>
                        <a:pt x="369735" y="1314798"/>
                      </a:cubicBezTo>
                      <a:close/>
                      <a:moveTo>
                        <a:pt x="140687" y="1309718"/>
                      </a:moveTo>
                      <a:lnTo>
                        <a:pt x="110683" y="1332578"/>
                      </a:lnTo>
                      <a:lnTo>
                        <a:pt x="140687" y="1355438"/>
                      </a:lnTo>
                      <a:lnTo>
                        <a:pt x="156403" y="1355438"/>
                      </a:lnTo>
                      <a:lnTo>
                        <a:pt x="133275" y="1337817"/>
                      </a:lnTo>
                      <a:lnTo>
                        <a:pt x="218881" y="1337817"/>
                      </a:lnTo>
                      <a:lnTo>
                        <a:pt x="218881" y="1328673"/>
                      </a:lnTo>
                      <a:lnTo>
                        <a:pt x="131524" y="1328673"/>
                      </a:lnTo>
                      <a:lnTo>
                        <a:pt x="156403" y="1309718"/>
                      </a:lnTo>
                      <a:close/>
                      <a:moveTo>
                        <a:pt x="341326" y="1303311"/>
                      </a:moveTo>
                      <a:cubicBezTo>
                        <a:pt x="330365" y="1302817"/>
                        <a:pt x="321446" y="1307351"/>
                        <a:pt x="317323" y="1308656"/>
                      </a:cubicBezTo>
                      <a:lnTo>
                        <a:pt x="305799" y="1349742"/>
                      </a:lnTo>
                      <a:cubicBezTo>
                        <a:pt x="332438" y="1338385"/>
                        <a:pt x="344297" y="1348072"/>
                        <a:pt x="350393" y="1351996"/>
                      </a:cubicBezTo>
                      <a:lnTo>
                        <a:pt x="362668" y="1311412"/>
                      </a:lnTo>
                      <a:cubicBezTo>
                        <a:pt x="355215" y="1305713"/>
                        <a:pt x="347903" y="1303607"/>
                        <a:pt x="341326" y="1303311"/>
                      </a:cubicBezTo>
                      <a:close/>
                      <a:moveTo>
                        <a:pt x="609845" y="1293468"/>
                      </a:moveTo>
                      <a:cubicBezTo>
                        <a:pt x="615874" y="1293468"/>
                        <a:pt x="620761" y="1298355"/>
                        <a:pt x="620761" y="1304384"/>
                      </a:cubicBezTo>
                      <a:cubicBezTo>
                        <a:pt x="620761" y="1310412"/>
                        <a:pt x="615874" y="1315299"/>
                        <a:pt x="609845" y="1315299"/>
                      </a:cubicBezTo>
                      <a:cubicBezTo>
                        <a:pt x="603816" y="1315299"/>
                        <a:pt x="598929" y="1310412"/>
                        <a:pt x="598929" y="1304384"/>
                      </a:cubicBezTo>
                      <a:cubicBezTo>
                        <a:pt x="598929" y="1298355"/>
                        <a:pt x="603816" y="1293468"/>
                        <a:pt x="609845" y="1293468"/>
                      </a:cubicBezTo>
                      <a:close/>
                      <a:moveTo>
                        <a:pt x="609845" y="1272471"/>
                      </a:moveTo>
                      <a:cubicBezTo>
                        <a:pt x="592965" y="1272471"/>
                        <a:pt x="579282" y="1286759"/>
                        <a:pt x="579282" y="1304384"/>
                      </a:cubicBezTo>
                      <a:cubicBezTo>
                        <a:pt x="579282" y="1307127"/>
                        <a:pt x="579613" y="1309790"/>
                        <a:pt x="580345" y="1312304"/>
                      </a:cubicBezTo>
                      <a:lnTo>
                        <a:pt x="545743" y="1335166"/>
                      </a:lnTo>
                      <a:cubicBezTo>
                        <a:pt x="543087" y="1336921"/>
                        <a:pt x="542356" y="1340498"/>
                        <a:pt x="544112" y="1343154"/>
                      </a:cubicBezTo>
                      <a:lnTo>
                        <a:pt x="547808" y="1348749"/>
                      </a:lnTo>
                      <a:cubicBezTo>
                        <a:pt x="549564" y="1351406"/>
                        <a:pt x="553140" y="1352136"/>
                        <a:pt x="555796" y="1350381"/>
                      </a:cubicBezTo>
                      <a:lnTo>
                        <a:pt x="589546" y="1328081"/>
                      </a:lnTo>
                      <a:cubicBezTo>
                        <a:pt x="594873" y="1333223"/>
                        <a:pt x="602015" y="1336297"/>
                        <a:pt x="609845" y="1336297"/>
                      </a:cubicBezTo>
                      <a:cubicBezTo>
                        <a:pt x="626724" y="1336297"/>
                        <a:pt x="640408" y="1322009"/>
                        <a:pt x="640408" y="1304384"/>
                      </a:cubicBezTo>
                      <a:cubicBezTo>
                        <a:pt x="640408" y="1286759"/>
                        <a:pt x="626724" y="1272471"/>
                        <a:pt x="609845" y="1272471"/>
                      </a:cubicBezTo>
                      <a:close/>
                      <a:moveTo>
                        <a:pt x="383263" y="1263939"/>
                      </a:moveTo>
                      <a:lnTo>
                        <a:pt x="371238" y="1303772"/>
                      </a:lnTo>
                      <a:cubicBezTo>
                        <a:pt x="376917" y="1308115"/>
                        <a:pt x="393618" y="1319472"/>
                        <a:pt x="418838" y="1307781"/>
                      </a:cubicBezTo>
                      <a:lnTo>
                        <a:pt x="430863" y="1266194"/>
                      </a:lnTo>
                      <a:cubicBezTo>
                        <a:pt x="404725" y="1275964"/>
                        <a:pt x="395372" y="1269451"/>
                        <a:pt x="383263" y="1263939"/>
                      </a:cubicBezTo>
                      <a:close/>
                      <a:moveTo>
                        <a:pt x="354354" y="1252330"/>
                      </a:moveTo>
                      <a:cubicBezTo>
                        <a:pt x="343392" y="1251837"/>
                        <a:pt x="334474" y="1256371"/>
                        <a:pt x="330351" y="1257676"/>
                      </a:cubicBezTo>
                      <a:lnTo>
                        <a:pt x="318826" y="1298762"/>
                      </a:lnTo>
                      <a:cubicBezTo>
                        <a:pt x="345466" y="1287405"/>
                        <a:pt x="357324" y="1297092"/>
                        <a:pt x="363420" y="1301016"/>
                      </a:cubicBezTo>
                      <a:lnTo>
                        <a:pt x="375696" y="1260432"/>
                      </a:lnTo>
                      <a:cubicBezTo>
                        <a:pt x="368242" y="1254732"/>
                        <a:pt x="360930" y="1252626"/>
                        <a:pt x="354354" y="1252330"/>
                      </a:cubicBezTo>
                      <a:close/>
                      <a:moveTo>
                        <a:pt x="91262" y="129693"/>
                      </a:moveTo>
                      <a:lnTo>
                        <a:pt x="91262" y="1125642"/>
                      </a:lnTo>
                      <a:lnTo>
                        <a:pt x="645400" y="1125642"/>
                      </a:lnTo>
                      <a:lnTo>
                        <a:pt x="645400" y="129693"/>
                      </a:lnTo>
                      <a:close/>
                      <a:moveTo>
                        <a:pt x="46579" y="0"/>
                      </a:moveTo>
                      <a:lnTo>
                        <a:pt x="690084" y="0"/>
                      </a:lnTo>
                      <a:cubicBezTo>
                        <a:pt x="715809" y="0"/>
                        <a:pt x="736663" y="20854"/>
                        <a:pt x="736663" y="46579"/>
                      </a:cubicBezTo>
                      <a:lnTo>
                        <a:pt x="736663" y="1421963"/>
                      </a:lnTo>
                      <a:cubicBezTo>
                        <a:pt x="736663" y="1447688"/>
                        <a:pt x="715809" y="1468542"/>
                        <a:pt x="690084" y="1468542"/>
                      </a:cubicBezTo>
                      <a:lnTo>
                        <a:pt x="46579" y="1468542"/>
                      </a:lnTo>
                      <a:cubicBezTo>
                        <a:pt x="20854" y="1468542"/>
                        <a:pt x="0" y="1447688"/>
                        <a:pt x="0" y="1421963"/>
                      </a:cubicBezTo>
                      <a:lnTo>
                        <a:pt x="0" y="46579"/>
                      </a:lnTo>
                      <a:cubicBezTo>
                        <a:pt x="0" y="20854"/>
                        <a:pt x="20854" y="0"/>
                        <a:pt x="46579" y="0"/>
                      </a:cubicBezTo>
                      <a:close/>
                    </a:path>
                  </a:pathLst>
                </a:custGeom>
                <a:solidFill>
                  <a:srgbClr val="0072C6"/>
                </a:solidFill>
                <a:ln w="1079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-2500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grpSp>
              <p:nvGrpSpPr>
                <p:cNvPr id="74" name="Group 73"/>
                <p:cNvGrpSpPr/>
                <p:nvPr/>
              </p:nvGrpSpPr>
              <p:grpSpPr>
                <a:xfrm>
                  <a:off x="9439149" y="3591949"/>
                  <a:ext cx="238071" cy="352384"/>
                  <a:chOff x="10682344" y="3596224"/>
                  <a:chExt cx="217772" cy="322341"/>
                </a:xfrm>
              </p:grpSpPr>
              <p:grpSp>
                <p:nvGrpSpPr>
                  <p:cNvPr id="75" name="Group 74"/>
                  <p:cNvGrpSpPr/>
                  <p:nvPr/>
                </p:nvGrpSpPr>
                <p:grpSpPr>
                  <a:xfrm>
                    <a:off x="10682344" y="3596224"/>
                    <a:ext cx="102521" cy="210484"/>
                    <a:chOff x="10341626" y="2189201"/>
                    <a:chExt cx="193482" cy="397237"/>
                  </a:xfrm>
                </p:grpSpPr>
                <p:sp>
                  <p:nvSpPr>
                    <p:cNvPr id="81" name="Rectangle 80"/>
                    <p:cNvSpPr/>
                    <p:nvPr/>
                  </p:nvSpPr>
                  <p:spPr bwMode="auto">
                    <a:xfrm>
                      <a:off x="10341626" y="2189201"/>
                      <a:ext cx="193482" cy="188074"/>
                    </a:xfrm>
                    <a:prstGeom prst="rect">
                      <a:avLst/>
                    </a:prstGeom>
                    <a:solidFill>
                      <a:srgbClr val="0072C6"/>
                    </a:solidFill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ot="0" spcFirstLastPara="0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32472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0" normalizeH="0" baseline="-25000" noProof="0" dirty="0" smtClean="0">
                        <a:ln>
                          <a:noFill/>
                        </a:ln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ffectLst/>
                        <a:uLnTx/>
                        <a:uFillTx/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82" name="Rectangle 81"/>
                    <p:cNvSpPr/>
                    <p:nvPr/>
                  </p:nvSpPr>
                  <p:spPr bwMode="auto">
                    <a:xfrm>
                      <a:off x="10341626" y="2398364"/>
                      <a:ext cx="193482" cy="188074"/>
                    </a:xfrm>
                    <a:prstGeom prst="rect">
                      <a:avLst/>
                    </a:prstGeom>
                    <a:solidFill>
                      <a:srgbClr val="DC3C00"/>
                    </a:solidFill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ot="0" spcFirstLastPara="0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32472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0" normalizeH="0" baseline="-25000" noProof="0" dirty="0" smtClean="0">
                        <a:ln>
                          <a:noFill/>
                        </a:ln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ffectLst/>
                        <a:uLnTx/>
                        <a:uFillTx/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</p:grpSp>
              <p:grpSp>
                <p:nvGrpSpPr>
                  <p:cNvPr id="76" name="Group 75"/>
                  <p:cNvGrpSpPr/>
                  <p:nvPr/>
                </p:nvGrpSpPr>
                <p:grpSpPr>
                  <a:xfrm>
                    <a:off x="10797595" y="3596224"/>
                    <a:ext cx="102521" cy="210484"/>
                    <a:chOff x="10341626" y="2189201"/>
                    <a:chExt cx="193482" cy="397237"/>
                  </a:xfrm>
                </p:grpSpPr>
                <p:sp>
                  <p:nvSpPr>
                    <p:cNvPr id="79" name="Rectangle 78"/>
                    <p:cNvSpPr/>
                    <p:nvPr/>
                  </p:nvSpPr>
                  <p:spPr bwMode="auto">
                    <a:xfrm>
                      <a:off x="10341626" y="2189201"/>
                      <a:ext cx="193482" cy="188074"/>
                    </a:xfrm>
                    <a:prstGeom prst="rect">
                      <a:avLst/>
                    </a:prstGeom>
                    <a:solidFill>
                      <a:srgbClr val="0072C6"/>
                    </a:solidFill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ot="0" spcFirstLastPara="0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32472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0" normalizeH="0" baseline="-25000" noProof="0" dirty="0" smtClean="0">
                        <a:ln>
                          <a:noFill/>
                        </a:ln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ffectLst/>
                        <a:uLnTx/>
                        <a:uFillTx/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80" name="Rectangle 79"/>
                    <p:cNvSpPr/>
                    <p:nvPr/>
                  </p:nvSpPr>
                  <p:spPr bwMode="auto">
                    <a:xfrm>
                      <a:off x="10341626" y="2398364"/>
                      <a:ext cx="193482" cy="188074"/>
                    </a:xfrm>
                    <a:prstGeom prst="rect">
                      <a:avLst/>
                    </a:prstGeom>
                    <a:solidFill>
                      <a:srgbClr val="DC3C00"/>
                    </a:solidFill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ot="0" spcFirstLastPara="0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en-US"/>
                      </a:defPPr>
                      <a:lvl1pPr marL="0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55132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110264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665397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220529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775661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330793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885926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441058" algn="l" defTabSz="555132" rtl="0" eaLnBrk="1" latinLnBrk="0" hangingPunct="1">
                        <a:defRPr sz="22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32472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0" normalizeH="0" baseline="-25000" noProof="0" dirty="0" smtClean="0">
                        <a:ln>
                          <a:noFill/>
                        </a:ln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ffectLst/>
                        <a:uLnTx/>
                        <a:uFillTx/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</p:grpSp>
              <p:sp>
                <p:nvSpPr>
                  <p:cNvPr id="77" name="Rectangle 76"/>
                  <p:cNvSpPr/>
                  <p:nvPr/>
                </p:nvSpPr>
                <p:spPr bwMode="auto">
                  <a:xfrm>
                    <a:off x="10682344" y="3818910"/>
                    <a:ext cx="102521" cy="99655"/>
                  </a:xfrm>
                  <a:prstGeom prst="rect">
                    <a:avLst/>
                  </a:prstGeom>
                  <a:solidFill>
                    <a:srgbClr val="0072C6"/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78" name="Rectangle 77"/>
                  <p:cNvSpPr/>
                  <p:nvPr/>
                </p:nvSpPr>
                <p:spPr bwMode="auto">
                  <a:xfrm>
                    <a:off x="10797595" y="3818910"/>
                    <a:ext cx="102521" cy="99655"/>
                  </a:xfrm>
                  <a:prstGeom prst="rect">
                    <a:avLst/>
                  </a:prstGeom>
                  <a:solidFill>
                    <a:srgbClr val="0072C6"/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</p:grpSp>
          </p:grpSp>
          <p:grpSp>
            <p:nvGrpSpPr>
              <p:cNvPr id="52" name="Group 51"/>
              <p:cNvGrpSpPr/>
              <p:nvPr/>
            </p:nvGrpSpPr>
            <p:grpSpPr>
              <a:xfrm>
                <a:off x="5798446" y="3836995"/>
                <a:ext cx="613319" cy="426402"/>
                <a:chOff x="7381716" y="3699474"/>
                <a:chExt cx="1230016" cy="855153"/>
              </a:xfrm>
            </p:grpSpPr>
            <p:sp>
              <p:nvSpPr>
                <p:cNvPr id="65" name="Freeform 64"/>
                <p:cNvSpPr>
                  <a:spLocks noEditPoints="1"/>
                </p:cNvSpPr>
                <p:nvPr/>
              </p:nvSpPr>
              <p:spPr bwMode="black">
                <a:xfrm>
                  <a:off x="7381716" y="3699474"/>
                  <a:ext cx="1230016" cy="855153"/>
                </a:xfrm>
                <a:custGeom>
                  <a:avLst/>
                  <a:gdLst/>
                  <a:ahLst/>
                  <a:cxnLst>
                    <a:cxn ang="0">
                      <a:pos x="774" y="456"/>
                    </a:cxn>
                    <a:cxn ang="0">
                      <a:pos x="774" y="36"/>
                    </a:cxn>
                    <a:cxn ang="0">
                      <a:pos x="737" y="0"/>
                    </a:cxn>
                    <a:cxn ang="0">
                      <a:pos x="107" y="0"/>
                    </a:cxn>
                    <a:cxn ang="0">
                      <a:pos x="71" y="36"/>
                    </a:cxn>
                    <a:cxn ang="0">
                      <a:pos x="71" y="456"/>
                    </a:cxn>
                    <a:cxn ang="0">
                      <a:pos x="0" y="544"/>
                    </a:cxn>
                    <a:cxn ang="0">
                      <a:pos x="44" y="588"/>
                    </a:cxn>
                    <a:cxn ang="0">
                      <a:pos x="800" y="588"/>
                    </a:cxn>
                    <a:cxn ang="0">
                      <a:pos x="844" y="544"/>
                    </a:cxn>
                    <a:cxn ang="0">
                      <a:pos x="774" y="456"/>
                    </a:cxn>
                    <a:cxn ang="0">
                      <a:pos x="481" y="554"/>
                    </a:cxn>
                    <a:cxn ang="0">
                      <a:pos x="350" y="554"/>
                    </a:cxn>
                    <a:cxn ang="0">
                      <a:pos x="337" y="547"/>
                    </a:cxn>
                    <a:cxn ang="0">
                      <a:pos x="352" y="519"/>
                    </a:cxn>
                    <a:cxn ang="0">
                      <a:pos x="363" y="514"/>
                    </a:cxn>
                    <a:cxn ang="0">
                      <a:pos x="468" y="514"/>
                    </a:cxn>
                    <a:cxn ang="0">
                      <a:pos x="478" y="519"/>
                    </a:cxn>
                    <a:cxn ang="0">
                      <a:pos x="494" y="547"/>
                    </a:cxn>
                    <a:cxn ang="0">
                      <a:pos x="481" y="554"/>
                    </a:cxn>
                    <a:cxn ang="0">
                      <a:pos x="748" y="456"/>
                    </a:cxn>
                    <a:cxn ang="0">
                      <a:pos x="99" y="456"/>
                    </a:cxn>
                    <a:cxn ang="0">
                      <a:pos x="99" y="42"/>
                    </a:cxn>
                    <a:cxn ang="0">
                      <a:pos x="117" y="24"/>
                    </a:cxn>
                    <a:cxn ang="0">
                      <a:pos x="730" y="24"/>
                    </a:cxn>
                    <a:cxn ang="0">
                      <a:pos x="748" y="42"/>
                    </a:cxn>
                    <a:cxn ang="0">
                      <a:pos x="748" y="456"/>
                    </a:cxn>
                  </a:cxnLst>
                  <a:rect l="0" t="0" r="r" b="b"/>
                  <a:pathLst>
                    <a:path w="844" h="588">
                      <a:moveTo>
                        <a:pt x="774" y="456"/>
                      </a:moveTo>
                      <a:cubicBezTo>
                        <a:pt x="774" y="36"/>
                        <a:pt x="774" y="36"/>
                        <a:pt x="774" y="36"/>
                      </a:cubicBezTo>
                      <a:cubicBezTo>
                        <a:pt x="774" y="16"/>
                        <a:pt x="757" y="0"/>
                        <a:pt x="737" y="0"/>
                      </a:cubicBezTo>
                      <a:cubicBezTo>
                        <a:pt x="107" y="0"/>
                        <a:pt x="107" y="0"/>
                        <a:pt x="107" y="0"/>
                      </a:cubicBezTo>
                      <a:cubicBezTo>
                        <a:pt x="87" y="0"/>
                        <a:pt x="71" y="16"/>
                        <a:pt x="71" y="36"/>
                      </a:cubicBezTo>
                      <a:cubicBezTo>
                        <a:pt x="71" y="456"/>
                        <a:pt x="71" y="456"/>
                        <a:pt x="71" y="456"/>
                      </a:cubicBezTo>
                      <a:cubicBezTo>
                        <a:pt x="0" y="544"/>
                        <a:pt x="0" y="544"/>
                        <a:pt x="0" y="544"/>
                      </a:cubicBezTo>
                      <a:cubicBezTo>
                        <a:pt x="0" y="568"/>
                        <a:pt x="20" y="588"/>
                        <a:pt x="44" y="588"/>
                      </a:cubicBezTo>
                      <a:cubicBezTo>
                        <a:pt x="800" y="588"/>
                        <a:pt x="800" y="588"/>
                        <a:pt x="800" y="588"/>
                      </a:cubicBezTo>
                      <a:cubicBezTo>
                        <a:pt x="824" y="588"/>
                        <a:pt x="844" y="568"/>
                        <a:pt x="844" y="544"/>
                      </a:cubicBezTo>
                      <a:lnTo>
                        <a:pt x="774" y="456"/>
                      </a:lnTo>
                      <a:close/>
                      <a:moveTo>
                        <a:pt x="481" y="554"/>
                      </a:moveTo>
                      <a:cubicBezTo>
                        <a:pt x="350" y="554"/>
                        <a:pt x="350" y="554"/>
                        <a:pt x="350" y="554"/>
                      </a:cubicBezTo>
                      <a:cubicBezTo>
                        <a:pt x="343" y="554"/>
                        <a:pt x="337" y="551"/>
                        <a:pt x="337" y="547"/>
                      </a:cubicBezTo>
                      <a:cubicBezTo>
                        <a:pt x="352" y="519"/>
                        <a:pt x="352" y="519"/>
                        <a:pt x="352" y="519"/>
                      </a:cubicBezTo>
                      <a:cubicBezTo>
                        <a:pt x="352" y="516"/>
                        <a:pt x="357" y="514"/>
                        <a:pt x="363" y="514"/>
                      </a:cubicBezTo>
                      <a:cubicBezTo>
                        <a:pt x="468" y="514"/>
                        <a:pt x="468" y="514"/>
                        <a:pt x="468" y="514"/>
                      </a:cubicBezTo>
                      <a:cubicBezTo>
                        <a:pt x="473" y="514"/>
                        <a:pt x="478" y="516"/>
                        <a:pt x="478" y="519"/>
                      </a:cubicBezTo>
                      <a:cubicBezTo>
                        <a:pt x="494" y="547"/>
                        <a:pt x="494" y="547"/>
                        <a:pt x="494" y="547"/>
                      </a:cubicBezTo>
                      <a:cubicBezTo>
                        <a:pt x="494" y="551"/>
                        <a:pt x="488" y="554"/>
                        <a:pt x="481" y="554"/>
                      </a:cubicBezTo>
                      <a:close/>
                      <a:moveTo>
                        <a:pt x="748" y="456"/>
                      </a:moveTo>
                      <a:cubicBezTo>
                        <a:pt x="99" y="456"/>
                        <a:pt x="99" y="456"/>
                        <a:pt x="99" y="456"/>
                      </a:cubicBezTo>
                      <a:cubicBezTo>
                        <a:pt x="99" y="42"/>
                        <a:pt x="99" y="42"/>
                        <a:pt x="99" y="42"/>
                      </a:cubicBezTo>
                      <a:cubicBezTo>
                        <a:pt x="99" y="32"/>
                        <a:pt x="107" y="24"/>
                        <a:pt x="117" y="24"/>
                      </a:cubicBezTo>
                      <a:cubicBezTo>
                        <a:pt x="730" y="24"/>
                        <a:pt x="730" y="24"/>
                        <a:pt x="730" y="24"/>
                      </a:cubicBezTo>
                      <a:cubicBezTo>
                        <a:pt x="740" y="24"/>
                        <a:pt x="748" y="32"/>
                        <a:pt x="748" y="42"/>
                      </a:cubicBezTo>
                      <a:lnTo>
                        <a:pt x="748" y="456"/>
                      </a:lnTo>
                      <a:close/>
                    </a:path>
                  </a:pathLst>
                </a:custGeom>
                <a:solidFill>
                  <a:srgbClr val="DC3C00"/>
                </a:solidFill>
                <a:extLst/>
              </p:spPr>
              <p:txBody>
                <a:bodyPr vert="horz" wrap="square" lIns="82305" tIns="41153" rIns="82305" bIns="4115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0" i="0" u="none" strike="noStrike" kern="1200" cap="none" spc="0" normalizeH="0" baseline="-2500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grpSp>
              <p:nvGrpSpPr>
                <p:cNvPr id="66" name="Group 65"/>
                <p:cNvGrpSpPr/>
                <p:nvPr/>
              </p:nvGrpSpPr>
              <p:grpSpPr>
                <a:xfrm>
                  <a:off x="7559584" y="3772214"/>
                  <a:ext cx="508056" cy="321946"/>
                  <a:chOff x="4514106" y="3476226"/>
                  <a:chExt cx="697117" cy="441752"/>
                </a:xfrm>
              </p:grpSpPr>
              <p:sp>
                <p:nvSpPr>
                  <p:cNvPr id="67" name="Rectangle 66"/>
                  <p:cNvSpPr/>
                  <p:nvPr/>
                </p:nvSpPr>
                <p:spPr bwMode="auto">
                  <a:xfrm>
                    <a:off x="4514106" y="3703469"/>
                    <a:ext cx="219786" cy="213643"/>
                  </a:xfrm>
                  <a:prstGeom prst="rect">
                    <a:avLst/>
                  </a:prstGeom>
                  <a:solidFill>
                    <a:srgbClr val="FF8C00"/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68" name="Rectangle 67"/>
                  <p:cNvSpPr/>
                  <p:nvPr/>
                </p:nvSpPr>
                <p:spPr bwMode="auto">
                  <a:xfrm>
                    <a:off x="4752723" y="3704335"/>
                    <a:ext cx="219787" cy="213643"/>
                  </a:xfrm>
                  <a:prstGeom prst="rect">
                    <a:avLst/>
                  </a:prstGeom>
                  <a:solidFill>
                    <a:srgbClr val="008272"/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69" name="Rectangle 68"/>
                  <p:cNvSpPr/>
                  <p:nvPr/>
                </p:nvSpPr>
                <p:spPr bwMode="auto">
                  <a:xfrm>
                    <a:off x="4514106" y="3476226"/>
                    <a:ext cx="219786" cy="213643"/>
                  </a:xfrm>
                  <a:prstGeom prst="rect">
                    <a:avLst/>
                  </a:prstGeom>
                  <a:solidFill>
                    <a:srgbClr val="0072C6"/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70" name="Rectangle 69"/>
                  <p:cNvSpPr/>
                  <p:nvPr/>
                </p:nvSpPr>
                <p:spPr bwMode="auto">
                  <a:xfrm>
                    <a:off x="4752723" y="3476226"/>
                    <a:ext cx="219786" cy="213643"/>
                  </a:xfrm>
                  <a:prstGeom prst="rect">
                    <a:avLst/>
                  </a:prstGeom>
                  <a:solidFill>
                    <a:srgbClr val="68217A"/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71" name="Rectangle 70"/>
                  <p:cNvSpPr/>
                  <p:nvPr/>
                </p:nvSpPr>
                <p:spPr bwMode="auto">
                  <a:xfrm>
                    <a:off x="4991436" y="3704335"/>
                    <a:ext cx="219787" cy="213643"/>
                  </a:xfrm>
                  <a:prstGeom prst="rect">
                    <a:avLst/>
                  </a:prstGeom>
                  <a:solidFill>
                    <a:srgbClr val="DC3C00"/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</p:grpSp>
          </p:grpSp>
          <p:grpSp>
            <p:nvGrpSpPr>
              <p:cNvPr id="53" name="Group 52"/>
              <p:cNvGrpSpPr/>
              <p:nvPr/>
            </p:nvGrpSpPr>
            <p:grpSpPr>
              <a:xfrm>
                <a:off x="5363927" y="3724550"/>
                <a:ext cx="283228" cy="480076"/>
                <a:chOff x="6687194" y="3493929"/>
                <a:chExt cx="519006" cy="879723"/>
              </a:xfrm>
            </p:grpSpPr>
            <p:sp>
              <p:nvSpPr>
                <p:cNvPr id="57" name="Rectangle 79"/>
                <p:cNvSpPr/>
                <p:nvPr/>
              </p:nvSpPr>
              <p:spPr>
                <a:xfrm>
                  <a:off x="6687194" y="3493929"/>
                  <a:ext cx="519006" cy="8797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07298" h="2385394">
                      <a:moveTo>
                        <a:pt x="703650" y="2179220"/>
                      </a:moveTo>
                      <a:cubicBezTo>
                        <a:pt x="660028" y="2179220"/>
                        <a:pt x="624666" y="2214582"/>
                        <a:pt x="624666" y="2258204"/>
                      </a:cubicBezTo>
                      <a:cubicBezTo>
                        <a:pt x="624666" y="2301826"/>
                        <a:pt x="660028" y="2337188"/>
                        <a:pt x="703650" y="2337188"/>
                      </a:cubicBezTo>
                      <a:cubicBezTo>
                        <a:pt x="747272" y="2337188"/>
                        <a:pt x="782634" y="2301826"/>
                        <a:pt x="782634" y="2258204"/>
                      </a:cubicBezTo>
                      <a:cubicBezTo>
                        <a:pt x="782634" y="2214582"/>
                        <a:pt x="747272" y="2179220"/>
                        <a:pt x="703650" y="2179220"/>
                      </a:cubicBezTo>
                      <a:close/>
                      <a:moveTo>
                        <a:pt x="177553" y="179867"/>
                      </a:moveTo>
                      <a:lnTo>
                        <a:pt x="172551" y="180877"/>
                      </a:lnTo>
                      <a:lnTo>
                        <a:pt x="165667" y="180877"/>
                      </a:lnTo>
                      <a:cubicBezTo>
                        <a:pt x="144630" y="180877"/>
                        <a:pt x="127577" y="197930"/>
                        <a:pt x="127577" y="218967"/>
                      </a:cubicBezTo>
                      <a:lnTo>
                        <a:pt x="127577" y="2097793"/>
                      </a:lnTo>
                      <a:cubicBezTo>
                        <a:pt x="127577" y="2118830"/>
                        <a:pt x="144630" y="2135883"/>
                        <a:pt x="165667" y="2135883"/>
                      </a:cubicBezTo>
                      <a:lnTo>
                        <a:pt x="1241631" y="2135883"/>
                      </a:lnTo>
                      <a:cubicBezTo>
                        <a:pt x="1262668" y="2135883"/>
                        <a:pt x="1279721" y="2118830"/>
                        <a:pt x="1279721" y="2097793"/>
                      </a:cubicBezTo>
                      <a:lnTo>
                        <a:pt x="1279721" y="218967"/>
                      </a:lnTo>
                      <a:cubicBezTo>
                        <a:pt x="1279721" y="197930"/>
                        <a:pt x="1262668" y="180877"/>
                        <a:pt x="1241631" y="180877"/>
                      </a:cubicBezTo>
                      <a:lnTo>
                        <a:pt x="1234749" y="180877"/>
                      </a:lnTo>
                      <a:cubicBezTo>
                        <a:pt x="1233161" y="179963"/>
                        <a:pt x="1231465" y="179867"/>
                        <a:pt x="1229746" y="179867"/>
                      </a:cubicBezTo>
                      <a:close/>
                      <a:moveTo>
                        <a:pt x="602415" y="56498"/>
                      </a:moveTo>
                      <a:cubicBezTo>
                        <a:pt x="588290" y="56498"/>
                        <a:pt x="576839" y="67949"/>
                        <a:pt x="576839" y="82074"/>
                      </a:cubicBezTo>
                      <a:cubicBezTo>
                        <a:pt x="576839" y="96199"/>
                        <a:pt x="588290" y="107650"/>
                        <a:pt x="602415" y="107650"/>
                      </a:cubicBezTo>
                      <a:lnTo>
                        <a:pt x="804884" y="107650"/>
                      </a:lnTo>
                      <a:cubicBezTo>
                        <a:pt x="819009" y="107650"/>
                        <a:pt x="830460" y="96199"/>
                        <a:pt x="830460" y="82074"/>
                      </a:cubicBezTo>
                      <a:cubicBezTo>
                        <a:pt x="830460" y="67949"/>
                        <a:pt x="819009" y="56498"/>
                        <a:pt x="804884" y="56498"/>
                      </a:cubicBezTo>
                      <a:close/>
                      <a:moveTo>
                        <a:pt x="76685" y="0"/>
                      </a:moveTo>
                      <a:lnTo>
                        <a:pt x="1330614" y="0"/>
                      </a:lnTo>
                      <a:cubicBezTo>
                        <a:pt x="1372966" y="0"/>
                        <a:pt x="1407298" y="34333"/>
                        <a:pt x="1407298" y="76684"/>
                      </a:cubicBezTo>
                      <a:lnTo>
                        <a:pt x="1407298" y="1757263"/>
                      </a:lnTo>
                      <a:lnTo>
                        <a:pt x="1407298" y="1766789"/>
                      </a:lnTo>
                      <a:lnTo>
                        <a:pt x="1407298" y="2308710"/>
                      </a:lnTo>
                      <a:cubicBezTo>
                        <a:pt x="1407298" y="2351061"/>
                        <a:pt x="1372966" y="2385394"/>
                        <a:pt x="1330614" y="2385394"/>
                      </a:cubicBezTo>
                      <a:lnTo>
                        <a:pt x="76685" y="2385394"/>
                      </a:lnTo>
                      <a:cubicBezTo>
                        <a:pt x="34333" y="2385394"/>
                        <a:pt x="0" y="2351061"/>
                        <a:pt x="0" y="2308710"/>
                      </a:cubicBezTo>
                      <a:lnTo>
                        <a:pt x="0" y="1766789"/>
                      </a:lnTo>
                      <a:lnTo>
                        <a:pt x="0" y="1757263"/>
                      </a:lnTo>
                      <a:lnTo>
                        <a:pt x="0" y="76684"/>
                      </a:lnTo>
                      <a:cubicBezTo>
                        <a:pt x="0" y="34333"/>
                        <a:pt x="34333" y="0"/>
                        <a:pt x="76685" y="0"/>
                      </a:cubicBezTo>
                      <a:close/>
                    </a:path>
                  </a:pathLst>
                </a:custGeom>
                <a:solidFill>
                  <a:srgbClr val="68217A"/>
                </a:solidFill>
                <a:ln w="10795" cap="flat" cmpd="sng" algn="ctr">
                  <a:noFill/>
                  <a:prstDash val="solid"/>
                </a:ln>
                <a:effectLst/>
              </p:spPr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55132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10264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65397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220529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75661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330793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85926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441058" algn="l" defTabSz="555132" rtl="0" eaLnBrk="1" latinLnBrk="0" hangingPunct="1">
                    <a:defRPr sz="22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3231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36" b="0" i="0" u="none" strike="noStrike" kern="1200" cap="none" spc="0" normalizeH="0" baseline="-2500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grpSp>
              <p:nvGrpSpPr>
                <p:cNvPr id="58" name="Group 57"/>
                <p:cNvGrpSpPr/>
                <p:nvPr/>
              </p:nvGrpSpPr>
              <p:grpSpPr>
                <a:xfrm>
                  <a:off x="6764987" y="3587992"/>
                  <a:ext cx="314070" cy="462508"/>
                  <a:chOff x="6764864" y="3556134"/>
                  <a:chExt cx="314070" cy="462508"/>
                </a:xfrm>
              </p:grpSpPr>
              <p:sp>
                <p:nvSpPr>
                  <p:cNvPr id="59" name="Rectangle 58"/>
                  <p:cNvSpPr/>
                  <p:nvPr/>
                </p:nvSpPr>
                <p:spPr bwMode="auto">
                  <a:xfrm>
                    <a:off x="6764864" y="3556134"/>
                    <a:ext cx="147979" cy="143842"/>
                  </a:xfrm>
                  <a:prstGeom prst="rect">
                    <a:avLst/>
                  </a:prstGeom>
                  <a:solidFill>
                    <a:srgbClr val="FF8C00"/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60" name="Rectangle 59"/>
                  <p:cNvSpPr/>
                  <p:nvPr/>
                </p:nvSpPr>
                <p:spPr bwMode="auto">
                  <a:xfrm>
                    <a:off x="6764864" y="3716106"/>
                    <a:ext cx="147979" cy="143842"/>
                  </a:xfrm>
                  <a:prstGeom prst="rect">
                    <a:avLst/>
                  </a:prstGeom>
                  <a:solidFill>
                    <a:srgbClr val="008272"/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61" name="Rectangle 60"/>
                  <p:cNvSpPr/>
                  <p:nvPr/>
                </p:nvSpPr>
                <p:spPr bwMode="auto">
                  <a:xfrm>
                    <a:off x="6930955" y="3556134"/>
                    <a:ext cx="147979" cy="143842"/>
                  </a:xfrm>
                  <a:prstGeom prst="rect">
                    <a:avLst/>
                  </a:prstGeom>
                  <a:solidFill>
                    <a:srgbClr val="FF8C00"/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62" name="Rectangle 61"/>
                  <p:cNvSpPr/>
                  <p:nvPr/>
                </p:nvSpPr>
                <p:spPr bwMode="auto">
                  <a:xfrm>
                    <a:off x="6930955" y="3716106"/>
                    <a:ext cx="147979" cy="143842"/>
                  </a:xfrm>
                  <a:prstGeom prst="rect">
                    <a:avLst/>
                  </a:prstGeom>
                  <a:solidFill>
                    <a:srgbClr val="008272"/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63" name="Rectangle 62"/>
                  <p:cNvSpPr/>
                  <p:nvPr/>
                </p:nvSpPr>
                <p:spPr bwMode="auto">
                  <a:xfrm>
                    <a:off x="6764864" y="3874799"/>
                    <a:ext cx="147979" cy="143843"/>
                  </a:xfrm>
                  <a:prstGeom prst="rect">
                    <a:avLst/>
                  </a:prstGeom>
                  <a:solidFill>
                    <a:srgbClr val="FF8C00"/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64" name="Rectangle 63"/>
                  <p:cNvSpPr/>
                  <p:nvPr/>
                </p:nvSpPr>
                <p:spPr bwMode="auto">
                  <a:xfrm>
                    <a:off x="6930955" y="3874800"/>
                    <a:ext cx="147979" cy="143842"/>
                  </a:xfrm>
                  <a:prstGeom prst="rect">
                    <a:avLst/>
                  </a:prstGeom>
                  <a:solidFill>
                    <a:srgbClr val="008272"/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55132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10264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65397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220529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775661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330793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885926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441058" algn="l" defTabSz="555132" rtl="0" eaLnBrk="1" latinLnBrk="0" hangingPunct="1">
                      <a:defRPr sz="22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32472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-2500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</p:grpSp>
          </p:grpSp>
          <p:sp>
            <p:nvSpPr>
              <p:cNvPr id="54" name="Rounded Rectangle 114700"/>
              <p:cNvSpPr/>
              <p:nvPr/>
            </p:nvSpPr>
            <p:spPr>
              <a:xfrm>
                <a:off x="6240565" y="1787780"/>
                <a:ext cx="207381" cy="198803"/>
              </a:xfrm>
              <a:custGeom>
                <a:avLst/>
                <a:gdLst/>
                <a:ahLst/>
                <a:cxnLst/>
                <a:rect l="l" t="t" r="r" b="b"/>
                <a:pathLst>
                  <a:path w="2838919" h="2721500">
                    <a:moveTo>
                      <a:pt x="755934" y="1066300"/>
                    </a:moveTo>
                    <a:lnTo>
                      <a:pt x="828528" y="1066300"/>
                    </a:lnTo>
                    <a:cubicBezTo>
                      <a:pt x="888487" y="1066300"/>
                      <a:pt x="937094" y="1113745"/>
                      <a:pt x="937094" y="1172271"/>
                    </a:cubicBezTo>
                    <a:lnTo>
                      <a:pt x="937094" y="1247635"/>
                    </a:lnTo>
                    <a:cubicBezTo>
                      <a:pt x="937094" y="1306161"/>
                      <a:pt x="888487" y="1353606"/>
                      <a:pt x="828528" y="1353606"/>
                    </a:cubicBezTo>
                    <a:lnTo>
                      <a:pt x="755934" y="1353606"/>
                    </a:lnTo>
                    <a:lnTo>
                      <a:pt x="746066" y="1351662"/>
                    </a:lnTo>
                    <a:lnTo>
                      <a:pt x="746066" y="1068244"/>
                    </a:lnTo>
                    <a:cubicBezTo>
                      <a:pt x="749221" y="1066450"/>
                      <a:pt x="752560" y="1066300"/>
                      <a:pt x="755934" y="1066300"/>
                    </a:cubicBezTo>
                    <a:close/>
                    <a:moveTo>
                      <a:pt x="879785" y="894374"/>
                    </a:moveTo>
                    <a:lnTo>
                      <a:pt x="586874" y="907109"/>
                    </a:lnTo>
                    <a:lnTo>
                      <a:pt x="586874" y="1830413"/>
                    </a:lnTo>
                    <a:lnTo>
                      <a:pt x="749249" y="1836781"/>
                    </a:lnTo>
                    <a:cubicBezTo>
                      <a:pt x="747127" y="1729593"/>
                      <a:pt x="748187" y="1625589"/>
                      <a:pt x="749249" y="1521584"/>
                    </a:cubicBezTo>
                    <a:lnTo>
                      <a:pt x="876601" y="1524769"/>
                    </a:lnTo>
                    <a:cubicBezTo>
                      <a:pt x="963624" y="1512033"/>
                      <a:pt x="1117509" y="1422887"/>
                      <a:pt x="1128122" y="1225491"/>
                    </a:cubicBezTo>
                    <a:cubicBezTo>
                      <a:pt x="1130245" y="916661"/>
                      <a:pt x="954074" y="893843"/>
                      <a:pt x="879785" y="894374"/>
                    </a:cubicBezTo>
                    <a:close/>
                    <a:moveTo>
                      <a:pt x="1701763" y="726839"/>
                    </a:moveTo>
                    <a:lnTo>
                      <a:pt x="2482813" y="726839"/>
                    </a:lnTo>
                    <a:lnTo>
                      <a:pt x="2482813" y="2365139"/>
                    </a:lnTo>
                    <a:cubicBezTo>
                      <a:pt x="2482813" y="2396702"/>
                      <a:pt x="2457226" y="2422289"/>
                      <a:pt x="2425663" y="2422289"/>
                    </a:cubicBezTo>
                    <a:lnTo>
                      <a:pt x="1701763" y="2422289"/>
                    </a:lnTo>
                    <a:lnTo>
                      <a:pt x="1701763" y="2233377"/>
                    </a:lnTo>
                    <a:lnTo>
                      <a:pt x="2292701" y="2233377"/>
                    </a:lnTo>
                    <a:cubicBezTo>
                      <a:pt x="2297747" y="2233377"/>
                      <a:pt x="2301838" y="2229286"/>
                      <a:pt x="2301838" y="2224240"/>
                    </a:cubicBezTo>
                    <a:lnTo>
                      <a:pt x="2301838" y="2109164"/>
                    </a:lnTo>
                    <a:lnTo>
                      <a:pt x="2292701" y="2100027"/>
                    </a:lnTo>
                    <a:lnTo>
                      <a:pt x="1701763" y="2100027"/>
                    </a:lnTo>
                    <a:lnTo>
                      <a:pt x="1701763" y="1940483"/>
                    </a:lnTo>
                    <a:lnTo>
                      <a:pt x="2292701" y="1940483"/>
                    </a:lnTo>
                    <a:cubicBezTo>
                      <a:pt x="2297747" y="1940483"/>
                      <a:pt x="2301838" y="1936392"/>
                      <a:pt x="2301838" y="1931346"/>
                    </a:cubicBezTo>
                    <a:lnTo>
                      <a:pt x="2301838" y="1816270"/>
                    </a:lnTo>
                    <a:lnTo>
                      <a:pt x="2292701" y="1807133"/>
                    </a:lnTo>
                    <a:lnTo>
                      <a:pt x="1701763" y="1807133"/>
                    </a:lnTo>
                    <a:lnTo>
                      <a:pt x="1701763" y="1649970"/>
                    </a:lnTo>
                    <a:lnTo>
                      <a:pt x="2292701" y="1649970"/>
                    </a:lnTo>
                    <a:cubicBezTo>
                      <a:pt x="2297747" y="1649970"/>
                      <a:pt x="2301838" y="1645879"/>
                      <a:pt x="2301838" y="1640833"/>
                    </a:cubicBezTo>
                    <a:lnTo>
                      <a:pt x="2301838" y="1525757"/>
                    </a:lnTo>
                    <a:lnTo>
                      <a:pt x="2292701" y="1516620"/>
                    </a:lnTo>
                    <a:lnTo>
                      <a:pt x="1701763" y="1516620"/>
                    </a:lnTo>
                    <a:lnTo>
                      <a:pt x="1701763" y="1351405"/>
                    </a:lnTo>
                    <a:lnTo>
                      <a:pt x="2271764" y="1351405"/>
                    </a:lnTo>
                    <a:cubicBezTo>
                      <a:pt x="2288373" y="1351405"/>
                      <a:pt x="2301838" y="1337940"/>
                      <a:pt x="2301838" y="1321331"/>
                    </a:cubicBezTo>
                    <a:lnTo>
                      <a:pt x="2301838" y="942567"/>
                    </a:lnTo>
                    <a:cubicBezTo>
                      <a:pt x="2301838" y="925958"/>
                      <a:pt x="2288373" y="912493"/>
                      <a:pt x="2271764" y="912493"/>
                    </a:cubicBezTo>
                    <a:lnTo>
                      <a:pt x="1701763" y="912493"/>
                    </a:lnTo>
                    <a:close/>
                    <a:moveTo>
                      <a:pt x="2148867" y="340282"/>
                    </a:moveTo>
                    <a:lnTo>
                      <a:pt x="2782339" y="340282"/>
                    </a:lnTo>
                    <a:cubicBezTo>
                      <a:pt x="2813587" y="340282"/>
                      <a:pt x="2838919" y="365614"/>
                      <a:pt x="2838919" y="396862"/>
                    </a:cubicBezTo>
                    <a:lnTo>
                      <a:pt x="2838919" y="1746742"/>
                    </a:lnTo>
                    <a:cubicBezTo>
                      <a:pt x="2838919" y="1777990"/>
                      <a:pt x="2813587" y="1803322"/>
                      <a:pt x="2782339" y="1803322"/>
                    </a:cubicBezTo>
                    <a:lnTo>
                      <a:pt x="2549487" y="1803322"/>
                    </a:lnTo>
                    <a:lnTo>
                      <a:pt x="2549487" y="676566"/>
                    </a:lnTo>
                    <a:lnTo>
                      <a:pt x="2092287" y="411727"/>
                    </a:lnTo>
                    <a:lnTo>
                      <a:pt x="2092287" y="396862"/>
                    </a:lnTo>
                    <a:cubicBezTo>
                      <a:pt x="2092287" y="365614"/>
                      <a:pt x="2117619" y="340282"/>
                      <a:pt x="2148867" y="340282"/>
                    </a:cubicBezTo>
                    <a:close/>
                    <a:moveTo>
                      <a:pt x="1640484" y="0"/>
                    </a:moveTo>
                    <a:lnTo>
                      <a:pt x="1640484" y="2721500"/>
                    </a:lnTo>
                    <a:lnTo>
                      <a:pt x="0" y="2441635"/>
                    </a:lnTo>
                    <a:lnTo>
                      <a:pt x="0" y="282219"/>
                    </a:lnTo>
                    <a:close/>
                  </a:path>
                </a:pathLst>
              </a:custGeom>
              <a:solidFill>
                <a:srgbClr val="FFFFFF"/>
              </a:solidFill>
              <a:ln w="10795" cap="flat" cmpd="sng" algn="ctr">
                <a:noFill/>
                <a:prstDash val="solid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-2500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" name="Rectangle 4"/>
              <p:cNvSpPr/>
              <p:nvPr/>
            </p:nvSpPr>
            <p:spPr>
              <a:xfrm>
                <a:off x="5326357" y="1584708"/>
                <a:ext cx="204208" cy="194212"/>
              </a:xfrm>
              <a:custGeom>
                <a:avLst/>
                <a:gdLst/>
                <a:ahLst/>
                <a:cxnLst/>
                <a:rect l="l" t="t" r="r" b="b"/>
                <a:pathLst>
                  <a:path w="2253672" h="2154513">
                    <a:moveTo>
                      <a:pt x="1738560" y="1548363"/>
                    </a:moveTo>
                    <a:lnTo>
                      <a:pt x="1738560" y="1758675"/>
                    </a:lnTo>
                    <a:lnTo>
                      <a:pt x="2104320" y="1758675"/>
                    </a:lnTo>
                    <a:lnTo>
                      <a:pt x="2104320" y="1548363"/>
                    </a:lnTo>
                    <a:close/>
                    <a:moveTo>
                      <a:pt x="1738560" y="1261283"/>
                    </a:moveTo>
                    <a:lnTo>
                      <a:pt x="1738560" y="1471595"/>
                    </a:lnTo>
                    <a:lnTo>
                      <a:pt x="2104320" y="1471595"/>
                    </a:lnTo>
                    <a:lnTo>
                      <a:pt x="2104320" y="1261283"/>
                    </a:lnTo>
                    <a:close/>
                    <a:moveTo>
                      <a:pt x="1738560" y="974205"/>
                    </a:moveTo>
                    <a:lnTo>
                      <a:pt x="1738560" y="1184517"/>
                    </a:lnTo>
                    <a:lnTo>
                      <a:pt x="2104320" y="1184517"/>
                    </a:lnTo>
                    <a:lnTo>
                      <a:pt x="2104320" y="974205"/>
                    </a:lnTo>
                    <a:close/>
                    <a:moveTo>
                      <a:pt x="1738560" y="687127"/>
                    </a:moveTo>
                    <a:lnTo>
                      <a:pt x="1738560" y="897439"/>
                    </a:lnTo>
                    <a:lnTo>
                      <a:pt x="2104320" y="897439"/>
                    </a:lnTo>
                    <a:lnTo>
                      <a:pt x="2104320" y="687127"/>
                    </a:lnTo>
                    <a:close/>
                    <a:moveTo>
                      <a:pt x="927711" y="672099"/>
                    </a:moveTo>
                    <a:lnTo>
                      <a:pt x="770548" y="681624"/>
                    </a:lnTo>
                    <a:lnTo>
                      <a:pt x="653867" y="953087"/>
                    </a:lnTo>
                    <a:lnTo>
                      <a:pt x="556236" y="691149"/>
                    </a:lnTo>
                    <a:lnTo>
                      <a:pt x="403836" y="698293"/>
                    </a:lnTo>
                    <a:lnTo>
                      <a:pt x="565761" y="1065006"/>
                    </a:lnTo>
                    <a:lnTo>
                      <a:pt x="387167" y="1431718"/>
                    </a:lnTo>
                    <a:lnTo>
                      <a:pt x="541948" y="1438862"/>
                    </a:lnTo>
                    <a:lnTo>
                      <a:pt x="653867" y="1176924"/>
                    </a:lnTo>
                    <a:lnTo>
                      <a:pt x="768167" y="1455531"/>
                    </a:lnTo>
                    <a:lnTo>
                      <a:pt x="932473" y="1457912"/>
                    </a:lnTo>
                    <a:lnTo>
                      <a:pt x="744354" y="1065006"/>
                    </a:lnTo>
                    <a:close/>
                    <a:moveTo>
                      <a:pt x="1738560" y="400049"/>
                    </a:moveTo>
                    <a:lnTo>
                      <a:pt x="1738560" y="610361"/>
                    </a:lnTo>
                    <a:lnTo>
                      <a:pt x="2104320" y="610361"/>
                    </a:lnTo>
                    <a:lnTo>
                      <a:pt x="2104320" y="400049"/>
                    </a:lnTo>
                    <a:close/>
                    <a:moveTo>
                      <a:pt x="1357560" y="249239"/>
                    </a:moveTo>
                    <a:lnTo>
                      <a:pt x="2230092" y="249239"/>
                    </a:lnTo>
                    <a:cubicBezTo>
                      <a:pt x="2243115" y="249239"/>
                      <a:pt x="2253672" y="259796"/>
                      <a:pt x="2253672" y="272819"/>
                    </a:cubicBezTo>
                    <a:lnTo>
                      <a:pt x="2253672" y="1880723"/>
                    </a:lnTo>
                    <a:cubicBezTo>
                      <a:pt x="2253672" y="1893746"/>
                      <a:pt x="2243115" y="1904303"/>
                      <a:pt x="2230092" y="1904303"/>
                    </a:cubicBezTo>
                    <a:lnTo>
                      <a:pt x="1357560" y="1904303"/>
                    </a:lnTo>
                    <a:lnTo>
                      <a:pt x="1357560" y="1758675"/>
                    </a:lnTo>
                    <a:lnTo>
                      <a:pt x="1677600" y="1758675"/>
                    </a:lnTo>
                    <a:lnTo>
                      <a:pt x="1677600" y="1548363"/>
                    </a:lnTo>
                    <a:lnTo>
                      <a:pt x="1357560" y="1548363"/>
                    </a:lnTo>
                    <a:lnTo>
                      <a:pt x="1357560" y="1471595"/>
                    </a:lnTo>
                    <a:lnTo>
                      <a:pt x="1677600" y="1471595"/>
                    </a:lnTo>
                    <a:lnTo>
                      <a:pt x="1677600" y="1261283"/>
                    </a:lnTo>
                    <a:lnTo>
                      <a:pt x="1357560" y="1261283"/>
                    </a:lnTo>
                    <a:lnTo>
                      <a:pt x="1357560" y="1184517"/>
                    </a:lnTo>
                    <a:lnTo>
                      <a:pt x="1677600" y="1184517"/>
                    </a:lnTo>
                    <a:lnTo>
                      <a:pt x="1677600" y="974205"/>
                    </a:lnTo>
                    <a:lnTo>
                      <a:pt x="1357560" y="974205"/>
                    </a:lnTo>
                    <a:lnTo>
                      <a:pt x="1357560" y="897439"/>
                    </a:lnTo>
                    <a:lnTo>
                      <a:pt x="1677600" y="897439"/>
                    </a:lnTo>
                    <a:lnTo>
                      <a:pt x="1677600" y="687127"/>
                    </a:lnTo>
                    <a:lnTo>
                      <a:pt x="1357560" y="687127"/>
                    </a:lnTo>
                    <a:lnTo>
                      <a:pt x="1357560" y="610361"/>
                    </a:lnTo>
                    <a:lnTo>
                      <a:pt x="1677600" y="610361"/>
                    </a:lnTo>
                    <a:lnTo>
                      <a:pt x="1677600" y="400049"/>
                    </a:lnTo>
                    <a:lnTo>
                      <a:pt x="1357560" y="400049"/>
                    </a:lnTo>
                    <a:close/>
                    <a:moveTo>
                      <a:pt x="1298713" y="0"/>
                    </a:moveTo>
                    <a:lnTo>
                      <a:pt x="1298713" y="2154513"/>
                    </a:lnTo>
                    <a:lnTo>
                      <a:pt x="0" y="1932953"/>
                    </a:lnTo>
                    <a:lnTo>
                      <a:pt x="0" y="223423"/>
                    </a:lnTo>
                    <a:close/>
                  </a:path>
                </a:pathLst>
              </a:custGeom>
              <a:solidFill>
                <a:srgbClr val="FFFFFF"/>
              </a:solidFill>
              <a:ln w="10795" cap="flat" cmpd="sng" algn="ctr">
                <a:noFill/>
                <a:prstDash val="solid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-2500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" name="Rectangle 4"/>
              <p:cNvSpPr/>
              <p:nvPr/>
            </p:nvSpPr>
            <p:spPr>
              <a:xfrm>
                <a:off x="4603319" y="2114426"/>
                <a:ext cx="209063" cy="199865"/>
              </a:xfrm>
              <a:custGeom>
                <a:avLst/>
                <a:gdLst/>
                <a:ahLst/>
                <a:cxnLst/>
                <a:rect l="l" t="t" r="r" b="b"/>
                <a:pathLst>
                  <a:path w="2258008" h="2158661">
                    <a:moveTo>
                      <a:pt x="1054866" y="676730"/>
                    </a:moveTo>
                    <a:lnTo>
                      <a:pt x="905641" y="683080"/>
                    </a:lnTo>
                    <a:lnTo>
                      <a:pt x="810391" y="1245055"/>
                    </a:lnTo>
                    <a:lnTo>
                      <a:pt x="702441" y="695780"/>
                    </a:lnTo>
                    <a:lnTo>
                      <a:pt x="562741" y="708480"/>
                    </a:lnTo>
                    <a:lnTo>
                      <a:pt x="451616" y="1238705"/>
                    </a:lnTo>
                    <a:lnTo>
                      <a:pt x="369066" y="721180"/>
                    </a:lnTo>
                    <a:lnTo>
                      <a:pt x="238891" y="730705"/>
                    </a:lnTo>
                    <a:lnTo>
                      <a:pt x="375416" y="1438730"/>
                    </a:lnTo>
                    <a:lnTo>
                      <a:pt x="518291" y="1448255"/>
                    </a:lnTo>
                    <a:lnTo>
                      <a:pt x="626241" y="937080"/>
                    </a:lnTo>
                    <a:lnTo>
                      <a:pt x="727841" y="1460955"/>
                    </a:lnTo>
                    <a:lnTo>
                      <a:pt x="883416" y="1470480"/>
                    </a:lnTo>
                    <a:close/>
                    <a:moveTo>
                      <a:pt x="1360172" y="249719"/>
                    </a:moveTo>
                    <a:lnTo>
                      <a:pt x="2234383" y="249719"/>
                    </a:lnTo>
                    <a:cubicBezTo>
                      <a:pt x="2247431" y="249719"/>
                      <a:pt x="2258008" y="260296"/>
                      <a:pt x="2258008" y="273344"/>
                    </a:cubicBezTo>
                    <a:lnTo>
                      <a:pt x="2258008" y="1884344"/>
                    </a:lnTo>
                    <a:cubicBezTo>
                      <a:pt x="2258008" y="1897392"/>
                      <a:pt x="2247431" y="1907969"/>
                      <a:pt x="2234383" y="1907969"/>
                    </a:cubicBezTo>
                    <a:lnTo>
                      <a:pt x="1360172" y="1907969"/>
                    </a:lnTo>
                    <a:lnTo>
                      <a:pt x="1360172" y="1703105"/>
                    </a:lnTo>
                    <a:lnTo>
                      <a:pt x="2054991" y="1703105"/>
                    </a:lnTo>
                    <a:lnTo>
                      <a:pt x="2054991" y="1602521"/>
                    </a:lnTo>
                    <a:lnTo>
                      <a:pt x="1360172" y="1602521"/>
                    </a:lnTo>
                    <a:lnTo>
                      <a:pt x="1360172" y="1474130"/>
                    </a:lnTo>
                    <a:lnTo>
                      <a:pt x="2054991" y="1474130"/>
                    </a:lnTo>
                    <a:lnTo>
                      <a:pt x="2054991" y="1373546"/>
                    </a:lnTo>
                    <a:lnTo>
                      <a:pt x="1360172" y="1373546"/>
                    </a:lnTo>
                    <a:lnTo>
                      <a:pt x="1360172" y="1245157"/>
                    </a:lnTo>
                    <a:lnTo>
                      <a:pt x="2054991" y="1245157"/>
                    </a:lnTo>
                    <a:lnTo>
                      <a:pt x="2054991" y="1144573"/>
                    </a:lnTo>
                    <a:lnTo>
                      <a:pt x="1360172" y="1144573"/>
                    </a:lnTo>
                    <a:lnTo>
                      <a:pt x="1360172" y="1016184"/>
                    </a:lnTo>
                    <a:lnTo>
                      <a:pt x="2054991" y="1016184"/>
                    </a:lnTo>
                    <a:lnTo>
                      <a:pt x="2054991" y="915600"/>
                    </a:lnTo>
                    <a:lnTo>
                      <a:pt x="1360172" y="915600"/>
                    </a:lnTo>
                    <a:lnTo>
                      <a:pt x="1360172" y="787211"/>
                    </a:lnTo>
                    <a:lnTo>
                      <a:pt x="2054991" y="787211"/>
                    </a:lnTo>
                    <a:lnTo>
                      <a:pt x="2054991" y="686627"/>
                    </a:lnTo>
                    <a:lnTo>
                      <a:pt x="1360172" y="686627"/>
                    </a:lnTo>
                    <a:lnTo>
                      <a:pt x="1360172" y="558238"/>
                    </a:lnTo>
                    <a:lnTo>
                      <a:pt x="2054991" y="558238"/>
                    </a:lnTo>
                    <a:lnTo>
                      <a:pt x="2054991" y="457654"/>
                    </a:lnTo>
                    <a:lnTo>
                      <a:pt x="1360172" y="457654"/>
                    </a:lnTo>
                    <a:close/>
                    <a:moveTo>
                      <a:pt x="1301212" y="0"/>
                    </a:moveTo>
                    <a:lnTo>
                      <a:pt x="1301212" y="2158661"/>
                    </a:lnTo>
                    <a:lnTo>
                      <a:pt x="0" y="1936675"/>
                    </a:lnTo>
                    <a:lnTo>
                      <a:pt x="0" y="223853"/>
                    </a:lnTo>
                    <a:close/>
                  </a:path>
                </a:pathLst>
              </a:custGeom>
              <a:solidFill>
                <a:srgbClr val="FFFFFF"/>
              </a:solidFill>
              <a:ln w="10795" cap="flat" cmpd="sng" algn="ctr">
                <a:noFill/>
                <a:prstDash val="solid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5132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10264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65397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20529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5661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330793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85926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441058" algn="l" defTabSz="555132" rtl="0" eaLnBrk="1" latinLnBrk="0" hangingPunct="1"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-2500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463004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570658" y="1545909"/>
            <a:ext cx="5029200" cy="195043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570658" y="3882544"/>
            <a:ext cx="5029200" cy="195698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2" rtlCol="0" anchor="ctr"/>
          <a:lstStyle/>
          <a:p>
            <a:pPr lvl="1" algn="ctr"/>
            <a:r>
              <a:rPr lang="en-US" sz="1000" b="1" dirty="0" smtClean="0">
                <a:solidFill>
                  <a:schemeClr val="tx1"/>
                </a:solidFill>
              </a:rPr>
              <a:t>Benefits of upgrading</a:t>
            </a:r>
            <a:r>
              <a:rPr lang="en-US" sz="1000" dirty="0" smtClean="0">
                <a:solidFill>
                  <a:schemeClr val="tx1"/>
                </a:solidFill>
              </a:rPr>
              <a:t>:</a:t>
            </a:r>
          </a:p>
          <a:p>
            <a:pPr lvl="1" algn="ctr"/>
            <a:endParaRPr lang="en-US" sz="1000" dirty="0" smtClean="0">
              <a:solidFill>
                <a:schemeClr val="tx1"/>
              </a:solidFill>
            </a:endParaRPr>
          </a:p>
          <a:p>
            <a:pPr lvl="2"/>
            <a:r>
              <a:rPr lang="en-US" sz="1000" dirty="0" smtClean="0">
                <a:solidFill>
                  <a:schemeClr val="tx1"/>
                </a:solidFill>
              </a:rPr>
              <a:t>Significantly improved performance. Benchmarks show SQL Server 2014 performs 13x faster than SQL Server 2005 and 5.5x faster than SQL Server 2007*</a:t>
            </a:r>
          </a:p>
          <a:p>
            <a:pPr lvl="2"/>
            <a:endParaRPr lang="en-US" sz="1000" dirty="0">
              <a:solidFill>
                <a:schemeClr val="tx1"/>
              </a:solidFill>
            </a:endParaRPr>
          </a:p>
          <a:p>
            <a:pPr lvl="2"/>
            <a:r>
              <a:rPr lang="en-US" sz="1000" dirty="0" smtClean="0">
                <a:solidFill>
                  <a:schemeClr val="tx1"/>
                </a:solidFill>
              </a:rPr>
              <a:t>Simplified updating and maintenance as well as more online processes</a:t>
            </a:r>
          </a:p>
          <a:p>
            <a:pPr lvl="2"/>
            <a:endParaRPr lang="en-US" sz="1000" dirty="0" smtClean="0">
              <a:solidFill>
                <a:schemeClr val="tx1"/>
              </a:solidFill>
            </a:endParaRPr>
          </a:p>
          <a:p>
            <a:pPr lvl="2"/>
            <a:endParaRPr lang="en-US" sz="1000" dirty="0">
              <a:solidFill>
                <a:schemeClr val="tx1"/>
              </a:solidFill>
            </a:endParaRPr>
          </a:p>
          <a:p>
            <a:pPr lvl="2"/>
            <a:r>
              <a:rPr lang="en-US" sz="1000" dirty="0" smtClean="0">
                <a:solidFill>
                  <a:schemeClr val="tx1"/>
                </a:solidFill>
              </a:rPr>
              <a:t>Additional performance gains from in-memory technologies for OLTP, data warehousing, and analytics</a:t>
            </a:r>
          </a:p>
          <a:p>
            <a:pPr lvl="2"/>
            <a:endParaRPr lang="en-US" sz="1000" dirty="0" smtClean="0">
              <a:solidFill>
                <a:schemeClr val="tx1"/>
              </a:solidFill>
            </a:endParaRPr>
          </a:p>
          <a:p>
            <a:pPr lvl="2"/>
            <a:endParaRPr lang="en-US" sz="1000" dirty="0" smtClean="0">
              <a:solidFill>
                <a:schemeClr val="tx1"/>
              </a:solidFill>
            </a:endParaRPr>
          </a:p>
          <a:p>
            <a:pPr lvl="2"/>
            <a:endParaRPr lang="en-US" sz="1000" dirty="0">
              <a:solidFill>
                <a:schemeClr val="tx1"/>
              </a:solidFill>
            </a:endParaRPr>
          </a:p>
          <a:p>
            <a:pPr lvl="2"/>
            <a:r>
              <a:rPr lang="en-US" sz="1000" dirty="0" smtClean="0">
                <a:solidFill>
                  <a:schemeClr val="tx1"/>
                </a:solidFill>
              </a:rPr>
              <a:t>Easier than ever high-availability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70658" y="5839525"/>
            <a:ext cx="5029200" cy="1192828"/>
          </a:xfrm>
          <a:prstGeom prst="rect">
            <a:avLst/>
          </a:prstGeom>
          <a:solidFill>
            <a:srgbClr val="33333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Contact us today to learn more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Org Name</a:t>
            </a:r>
          </a:p>
          <a:p>
            <a:r>
              <a:rPr lang="en-US" sz="1200" dirty="0" smtClean="0">
                <a:solidFill>
                  <a:schemeClr val="bg1"/>
                </a:solidFill>
              </a:rPr>
              <a:t>Address</a:t>
            </a:r>
          </a:p>
          <a:p>
            <a:r>
              <a:rPr lang="en-US" sz="1200" dirty="0" smtClean="0">
                <a:solidFill>
                  <a:schemeClr val="bg1"/>
                </a:solidFill>
              </a:rPr>
              <a:t>Phone</a:t>
            </a:r>
          </a:p>
          <a:p>
            <a:r>
              <a:rPr lang="en-US" sz="1200" dirty="0" smtClean="0">
                <a:solidFill>
                  <a:schemeClr val="bg1"/>
                </a:solidFill>
              </a:rPr>
              <a:t>Contact us</a:t>
            </a:r>
          </a:p>
        </p:txBody>
      </p:sp>
      <p:sp>
        <p:nvSpPr>
          <p:cNvPr id="7" name="Rectangle 6"/>
          <p:cNvSpPr/>
          <p:nvPr/>
        </p:nvSpPr>
        <p:spPr>
          <a:xfrm>
            <a:off x="778803" y="1570218"/>
            <a:ext cx="4935889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en-US" sz="1100" dirty="0">
                <a:latin typeface="Segoe UI Semilight" panose="020B0402040204020203" pitchFamily="34" charset="0"/>
                <a:ea typeface="Calibri" panose="020F0502020204030204" pitchFamily="34" charset="0"/>
              </a:rPr>
              <a:t>If you are not running Windows Server 2012 R2 and SQL Server 2014 yet, it’s time to consider upgrading to take advantage of groundbreaking improvements in performance. </a:t>
            </a:r>
            <a:endParaRPr lang="en-US" sz="1100" dirty="0" smtClean="0">
              <a:latin typeface="Segoe UI Semilight" panose="020B0402040204020203" pitchFamily="34" charset="0"/>
              <a:ea typeface="Calibri" panose="020F0502020204030204" pitchFamily="34" charset="0"/>
            </a:endParaRPr>
          </a:p>
          <a:p>
            <a:pPr lvl="1"/>
            <a:endParaRPr lang="en-US" sz="1100" dirty="0" smtClean="0">
              <a:latin typeface="Segoe UI Semilight" panose="020B0402040204020203" pitchFamily="34" charset="0"/>
              <a:ea typeface="Calibri" panose="020F0502020204030204" pitchFamily="34" charset="0"/>
            </a:endParaRPr>
          </a:p>
          <a:p>
            <a:pPr lvl="1"/>
            <a:r>
              <a:rPr lang="en-US" sz="800" dirty="0" smtClean="0">
                <a:solidFill>
                  <a:srgbClr val="AA1219"/>
                </a:solidFill>
                <a:latin typeface="Segoe UI Semilight" panose="020B0402040204020203" pitchFamily="34" charset="0"/>
                <a:ea typeface="Calibri" panose="020F0502020204030204" pitchFamily="34" charset="0"/>
              </a:rPr>
              <a:t>Support </a:t>
            </a:r>
            <a:r>
              <a:rPr lang="en-US" sz="800" dirty="0">
                <a:solidFill>
                  <a:srgbClr val="AA1219"/>
                </a:solidFill>
                <a:latin typeface="Segoe UI Semilight" panose="020B0402040204020203" pitchFamily="34" charset="0"/>
                <a:ea typeface="Calibri" panose="020F0502020204030204" pitchFamily="34" charset="0"/>
              </a:rPr>
              <a:t>has either ended or will end soon for the following products, which means no more security updates, increased maintenance costs, and potential compliance concerns.</a:t>
            </a:r>
            <a:endParaRPr lang="en-US" sz="800" dirty="0">
              <a:solidFill>
                <a:srgbClr val="AA1219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713910" y="1403253"/>
            <a:ext cx="518092" cy="1323439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8000" b="1" cap="none" spc="0" dirty="0" smtClean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</a:rPr>
              <a:t>!</a:t>
            </a:r>
            <a:endParaRPr lang="en-US" sz="8000" b="1" cap="none" spc="0" dirty="0">
              <a:ln w="6600">
                <a:solidFill>
                  <a:schemeClr val="accent2"/>
                </a:solidFill>
                <a:prstDash val="solid"/>
              </a:ln>
              <a:solidFill>
                <a:srgbClr val="FFFFFF"/>
              </a:solidFill>
              <a:effectLst>
                <a:outerShdw dist="38100" dir="2700000" algn="tl" rotWithShape="0">
                  <a:schemeClr val="accent2"/>
                </a:outerShdw>
              </a:effectLst>
            </a:endParaRPr>
          </a:p>
        </p:txBody>
      </p:sp>
      <p:sp>
        <p:nvSpPr>
          <p:cNvPr id="18" name="Freeform 109"/>
          <p:cNvSpPr>
            <a:spLocks noEditPoints="1"/>
          </p:cNvSpPr>
          <p:nvPr/>
        </p:nvSpPr>
        <p:spPr bwMode="black">
          <a:xfrm>
            <a:off x="6184224" y="2784209"/>
            <a:ext cx="729670" cy="592510"/>
          </a:xfrm>
          <a:custGeom>
            <a:avLst/>
            <a:gdLst>
              <a:gd name="T0" fmla="*/ 49 w 80"/>
              <a:gd name="T1" fmla="*/ 51 h 65"/>
              <a:gd name="T2" fmla="*/ 43 w 80"/>
              <a:gd name="T3" fmla="*/ 50 h 65"/>
              <a:gd name="T4" fmla="*/ 42 w 80"/>
              <a:gd name="T5" fmla="*/ 50 h 65"/>
              <a:gd name="T6" fmla="*/ 42 w 80"/>
              <a:gd name="T7" fmla="*/ 44 h 65"/>
              <a:gd name="T8" fmla="*/ 43 w 80"/>
              <a:gd name="T9" fmla="*/ 44 h 65"/>
              <a:gd name="T10" fmla="*/ 51 w 80"/>
              <a:gd name="T11" fmla="*/ 45 h 65"/>
              <a:gd name="T12" fmla="*/ 52 w 80"/>
              <a:gd name="T13" fmla="*/ 42 h 65"/>
              <a:gd name="T14" fmla="*/ 44 w 80"/>
              <a:gd name="T15" fmla="*/ 40 h 65"/>
              <a:gd name="T16" fmla="*/ 43 w 80"/>
              <a:gd name="T17" fmla="*/ 40 h 65"/>
              <a:gd name="T18" fmla="*/ 43 w 80"/>
              <a:gd name="T19" fmla="*/ 25 h 65"/>
              <a:gd name="T20" fmla="*/ 58 w 80"/>
              <a:gd name="T21" fmla="*/ 25 h 65"/>
              <a:gd name="T22" fmla="*/ 58 w 80"/>
              <a:gd name="T23" fmla="*/ 30 h 65"/>
              <a:gd name="T24" fmla="*/ 49 w 80"/>
              <a:gd name="T25" fmla="*/ 30 h 65"/>
              <a:gd name="T26" fmla="*/ 49 w 80"/>
              <a:gd name="T27" fmla="*/ 34 h 65"/>
              <a:gd name="T28" fmla="*/ 57 w 80"/>
              <a:gd name="T29" fmla="*/ 36 h 65"/>
              <a:gd name="T30" fmla="*/ 59 w 80"/>
              <a:gd name="T31" fmla="*/ 42 h 65"/>
              <a:gd name="T32" fmla="*/ 56 w 80"/>
              <a:gd name="T33" fmla="*/ 48 h 65"/>
              <a:gd name="T34" fmla="*/ 49 w 80"/>
              <a:gd name="T35" fmla="*/ 51 h 65"/>
              <a:gd name="T36" fmla="*/ 38 w 80"/>
              <a:gd name="T37" fmla="*/ 45 h 65"/>
              <a:gd name="T38" fmla="*/ 29 w 80"/>
              <a:gd name="T39" fmla="*/ 45 h 65"/>
              <a:gd name="T40" fmla="*/ 33 w 80"/>
              <a:gd name="T41" fmla="*/ 41 h 65"/>
              <a:gd name="T42" fmla="*/ 39 w 80"/>
              <a:gd name="T43" fmla="*/ 32 h 65"/>
              <a:gd name="T44" fmla="*/ 36 w 80"/>
              <a:gd name="T45" fmla="*/ 26 h 65"/>
              <a:gd name="T46" fmla="*/ 30 w 80"/>
              <a:gd name="T47" fmla="*/ 24 h 65"/>
              <a:gd name="T48" fmla="*/ 22 w 80"/>
              <a:gd name="T49" fmla="*/ 26 h 65"/>
              <a:gd name="T50" fmla="*/ 22 w 80"/>
              <a:gd name="T51" fmla="*/ 27 h 65"/>
              <a:gd name="T52" fmla="*/ 22 w 80"/>
              <a:gd name="T53" fmla="*/ 33 h 65"/>
              <a:gd name="T54" fmla="*/ 23 w 80"/>
              <a:gd name="T55" fmla="*/ 32 h 65"/>
              <a:gd name="T56" fmla="*/ 29 w 80"/>
              <a:gd name="T57" fmla="*/ 30 h 65"/>
              <a:gd name="T58" fmla="*/ 32 w 80"/>
              <a:gd name="T59" fmla="*/ 33 h 65"/>
              <a:gd name="T60" fmla="*/ 31 w 80"/>
              <a:gd name="T61" fmla="*/ 35 h 65"/>
              <a:gd name="T62" fmla="*/ 28 w 80"/>
              <a:gd name="T63" fmla="*/ 39 h 65"/>
              <a:gd name="T64" fmla="*/ 21 w 80"/>
              <a:gd name="T65" fmla="*/ 46 h 65"/>
              <a:gd name="T66" fmla="*/ 21 w 80"/>
              <a:gd name="T67" fmla="*/ 50 h 65"/>
              <a:gd name="T68" fmla="*/ 38 w 80"/>
              <a:gd name="T69" fmla="*/ 50 h 65"/>
              <a:gd name="T70" fmla="*/ 38 w 80"/>
              <a:gd name="T71" fmla="*/ 45 h 65"/>
              <a:gd name="T72" fmla="*/ 71 w 80"/>
              <a:gd name="T73" fmla="*/ 19 h 65"/>
              <a:gd name="T74" fmla="*/ 9 w 80"/>
              <a:gd name="T75" fmla="*/ 19 h 65"/>
              <a:gd name="T76" fmla="*/ 9 w 80"/>
              <a:gd name="T77" fmla="*/ 56 h 65"/>
              <a:gd name="T78" fmla="*/ 9 w 80"/>
              <a:gd name="T79" fmla="*/ 57 h 65"/>
              <a:gd name="T80" fmla="*/ 70 w 80"/>
              <a:gd name="T81" fmla="*/ 57 h 65"/>
              <a:gd name="T82" fmla="*/ 71 w 80"/>
              <a:gd name="T83" fmla="*/ 56 h 65"/>
              <a:gd name="T84" fmla="*/ 71 w 80"/>
              <a:gd name="T85" fmla="*/ 19 h 65"/>
              <a:gd name="T86" fmla="*/ 76 w 80"/>
              <a:gd name="T87" fmla="*/ 0 h 65"/>
              <a:gd name="T88" fmla="*/ 80 w 80"/>
              <a:gd name="T89" fmla="*/ 4 h 65"/>
              <a:gd name="T90" fmla="*/ 80 w 80"/>
              <a:gd name="T91" fmla="*/ 62 h 65"/>
              <a:gd name="T92" fmla="*/ 76 w 80"/>
              <a:gd name="T93" fmla="*/ 65 h 65"/>
              <a:gd name="T94" fmla="*/ 4 w 80"/>
              <a:gd name="T95" fmla="*/ 65 h 65"/>
              <a:gd name="T96" fmla="*/ 0 w 80"/>
              <a:gd name="T97" fmla="*/ 62 h 65"/>
              <a:gd name="T98" fmla="*/ 0 w 80"/>
              <a:gd name="T99" fmla="*/ 4 h 65"/>
              <a:gd name="T100" fmla="*/ 4 w 80"/>
              <a:gd name="T101" fmla="*/ 0 h 65"/>
              <a:gd name="T102" fmla="*/ 76 w 80"/>
              <a:gd name="T103" fmla="*/ 0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0" h="65">
                <a:moveTo>
                  <a:pt x="49" y="51"/>
                </a:moveTo>
                <a:cubicBezTo>
                  <a:pt x="46" y="51"/>
                  <a:pt x="44" y="51"/>
                  <a:pt x="43" y="50"/>
                </a:cubicBezTo>
                <a:cubicBezTo>
                  <a:pt x="42" y="50"/>
                  <a:pt x="42" y="50"/>
                  <a:pt x="42" y="50"/>
                </a:cubicBezTo>
                <a:cubicBezTo>
                  <a:pt x="42" y="44"/>
                  <a:pt x="42" y="44"/>
                  <a:pt x="42" y="44"/>
                </a:cubicBezTo>
                <a:cubicBezTo>
                  <a:pt x="43" y="44"/>
                  <a:pt x="43" y="44"/>
                  <a:pt x="43" y="44"/>
                </a:cubicBezTo>
                <a:cubicBezTo>
                  <a:pt x="46" y="46"/>
                  <a:pt x="50" y="46"/>
                  <a:pt x="51" y="45"/>
                </a:cubicBezTo>
                <a:cubicBezTo>
                  <a:pt x="52" y="44"/>
                  <a:pt x="52" y="43"/>
                  <a:pt x="52" y="42"/>
                </a:cubicBezTo>
                <a:cubicBezTo>
                  <a:pt x="52" y="41"/>
                  <a:pt x="51" y="39"/>
                  <a:pt x="44" y="40"/>
                </a:cubicBezTo>
                <a:cubicBezTo>
                  <a:pt x="43" y="40"/>
                  <a:pt x="43" y="40"/>
                  <a:pt x="43" y="40"/>
                </a:cubicBezTo>
                <a:cubicBezTo>
                  <a:pt x="43" y="25"/>
                  <a:pt x="43" y="25"/>
                  <a:pt x="43" y="25"/>
                </a:cubicBezTo>
                <a:cubicBezTo>
                  <a:pt x="58" y="25"/>
                  <a:pt x="58" y="25"/>
                  <a:pt x="58" y="25"/>
                </a:cubicBezTo>
                <a:cubicBezTo>
                  <a:pt x="58" y="30"/>
                  <a:pt x="58" y="30"/>
                  <a:pt x="58" y="30"/>
                </a:cubicBezTo>
                <a:cubicBezTo>
                  <a:pt x="49" y="30"/>
                  <a:pt x="49" y="30"/>
                  <a:pt x="49" y="30"/>
                </a:cubicBezTo>
                <a:cubicBezTo>
                  <a:pt x="49" y="34"/>
                  <a:pt x="49" y="34"/>
                  <a:pt x="49" y="34"/>
                </a:cubicBezTo>
                <a:cubicBezTo>
                  <a:pt x="52" y="34"/>
                  <a:pt x="55" y="34"/>
                  <a:pt x="57" y="36"/>
                </a:cubicBezTo>
                <a:cubicBezTo>
                  <a:pt x="58" y="38"/>
                  <a:pt x="59" y="40"/>
                  <a:pt x="59" y="42"/>
                </a:cubicBezTo>
                <a:cubicBezTo>
                  <a:pt x="59" y="44"/>
                  <a:pt x="58" y="47"/>
                  <a:pt x="56" y="48"/>
                </a:cubicBezTo>
                <a:cubicBezTo>
                  <a:pt x="55" y="50"/>
                  <a:pt x="52" y="51"/>
                  <a:pt x="49" y="51"/>
                </a:cubicBezTo>
                <a:moveTo>
                  <a:pt x="38" y="45"/>
                </a:moveTo>
                <a:cubicBezTo>
                  <a:pt x="29" y="45"/>
                  <a:pt x="29" y="45"/>
                  <a:pt x="29" y="45"/>
                </a:cubicBezTo>
                <a:cubicBezTo>
                  <a:pt x="33" y="41"/>
                  <a:pt x="33" y="41"/>
                  <a:pt x="33" y="41"/>
                </a:cubicBezTo>
                <a:cubicBezTo>
                  <a:pt x="37" y="38"/>
                  <a:pt x="39" y="35"/>
                  <a:pt x="39" y="32"/>
                </a:cubicBezTo>
                <a:cubicBezTo>
                  <a:pt x="39" y="30"/>
                  <a:pt x="38" y="28"/>
                  <a:pt x="36" y="26"/>
                </a:cubicBezTo>
                <a:cubicBezTo>
                  <a:pt x="35" y="25"/>
                  <a:pt x="33" y="24"/>
                  <a:pt x="30" y="24"/>
                </a:cubicBezTo>
                <a:cubicBezTo>
                  <a:pt x="27" y="24"/>
                  <a:pt x="25" y="25"/>
                  <a:pt x="22" y="26"/>
                </a:cubicBezTo>
                <a:cubicBezTo>
                  <a:pt x="22" y="27"/>
                  <a:pt x="22" y="27"/>
                  <a:pt x="22" y="27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2"/>
                  <a:pt x="23" y="32"/>
                  <a:pt x="23" y="32"/>
                </a:cubicBezTo>
                <a:cubicBezTo>
                  <a:pt x="25" y="30"/>
                  <a:pt x="27" y="30"/>
                  <a:pt x="29" y="30"/>
                </a:cubicBezTo>
                <a:cubicBezTo>
                  <a:pt x="31" y="30"/>
                  <a:pt x="32" y="31"/>
                  <a:pt x="32" y="33"/>
                </a:cubicBezTo>
                <a:cubicBezTo>
                  <a:pt x="32" y="33"/>
                  <a:pt x="32" y="34"/>
                  <a:pt x="31" y="35"/>
                </a:cubicBezTo>
                <a:cubicBezTo>
                  <a:pt x="31" y="36"/>
                  <a:pt x="30" y="37"/>
                  <a:pt x="28" y="39"/>
                </a:cubicBezTo>
                <a:cubicBezTo>
                  <a:pt x="21" y="46"/>
                  <a:pt x="21" y="46"/>
                  <a:pt x="21" y="46"/>
                </a:cubicBezTo>
                <a:cubicBezTo>
                  <a:pt x="21" y="50"/>
                  <a:pt x="21" y="50"/>
                  <a:pt x="21" y="50"/>
                </a:cubicBezTo>
                <a:cubicBezTo>
                  <a:pt x="38" y="50"/>
                  <a:pt x="38" y="50"/>
                  <a:pt x="38" y="50"/>
                </a:cubicBezTo>
                <a:lnTo>
                  <a:pt x="38" y="45"/>
                </a:lnTo>
                <a:close/>
                <a:moveTo>
                  <a:pt x="71" y="19"/>
                </a:moveTo>
                <a:cubicBezTo>
                  <a:pt x="9" y="19"/>
                  <a:pt x="9" y="19"/>
                  <a:pt x="9" y="19"/>
                </a:cubicBezTo>
                <a:cubicBezTo>
                  <a:pt x="9" y="56"/>
                  <a:pt x="9" y="56"/>
                  <a:pt x="9" y="56"/>
                </a:cubicBezTo>
                <a:cubicBezTo>
                  <a:pt x="9" y="57"/>
                  <a:pt x="9" y="57"/>
                  <a:pt x="9" y="57"/>
                </a:cubicBezTo>
                <a:cubicBezTo>
                  <a:pt x="70" y="57"/>
                  <a:pt x="70" y="57"/>
                  <a:pt x="70" y="57"/>
                </a:cubicBezTo>
                <a:cubicBezTo>
                  <a:pt x="71" y="57"/>
                  <a:pt x="71" y="57"/>
                  <a:pt x="71" y="56"/>
                </a:cubicBezTo>
                <a:lnTo>
                  <a:pt x="71" y="19"/>
                </a:lnTo>
                <a:close/>
                <a:moveTo>
                  <a:pt x="76" y="0"/>
                </a:moveTo>
                <a:cubicBezTo>
                  <a:pt x="78" y="0"/>
                  <a:pt x="80" y="1"/>
                  <a:pt x="80" y="4"/>
                </a:cubicBezTo>
                <a:cubicBezTo>
                  <a:pt x="80" y="62"/>
                  <a:pt x="80" y="62"/>
                  <a:pt x="80" y="62"/>
                </a:cubicBezTo>
                <a:cubicBezTo>
                  <a:pt x="80" y="64"/>
                  <a:pt x="78" y="65"/>
                  <a:pt x="76" y="65"/>
                </a:cubicBezTo>
                <a:cubicBezTo>
                  <a:pt x="4" y="65"/>
                  <a:pt x="4" y="65"/>
                  <a:pt x="4" y="65"/>
                </a:cubicBezTo>
                <a:cubicBezTo>
                  <a:pt x="2" y="65"/>
                  <a:pt x="0" y="64"/>
                  <a:pt x="0" y="62"/>
                </a:cubicBezTo>
                <a:cubicBezTo>
                  <a:pt x="0" y="4"/>
                  <a:pt x="0" y="4"/>
                  <a:pt x="0" y="4"/>
                </a:cubicBezTo>
                <a:cubicBezTo>
                  <a:pt x="0" y="1"/>
                  <a:pt x="2" y="0"/>
                  <a:pt x="4" y="0"/>
                </a:cubicBezTo>
                <a:cubicBezTo>
                  <a:pt x="76" y="0"/>
                  <a:pt x="76" y="0"/>
                  <a:pt x="76" y="0"/>
                </a:cubicBezTo>
              </a:path>
            </a:pathLst>
          </a:custGeom>
          <a:solidFill>
            <a:srgbClr val="333333"/>
          </a:solidFill>
          <a:ln>
            <a:noFill/>
          </a:ln>
          <a:extLst/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82671" y="2705099"/>
            <a:ext cx="843750" cy="843750"/>
          </a:xfrm>
          <a:prstGeom prst="rect">
            <a:avLst/>
          </a:prstGeom>
        </p:spPr>
      </p:pic>
      <p:grpSp>
        <p:nvGrpSpPr>
          <p:cNvPr id="376" name="Group 375"/>
          <p:cNvGrpSpPr/>
          <p:nvPr/>
        </p:nvGrpSpPr>
        <p:grpSpPr>
          <a:xfrm>
            <a:off x="7357888" y="1309036"/>
            <a:ext cx="1222547" cy="1087655"/>
            <a:chOff x="7357888" y="1309036"/>
            <a:chExt cx="1222547" cy="1087655"/>
          </a:xfrm>
        </p:grpSpPr>
        <p:sp>
          <p:nvSpPr>
            <p:cNvPr id="239" name="Rectangle 238"/>
            <p:cNvSpPr/>
            <p:nvPr/>
          </p:nvSpPr>
          <p:spPr>
            <a:xfrm>
              <a:off x="7357888" y="1309036"/>
              <a:ext cx="1222547" cy="1087655"/>
            </a:xfrm>
            <a:prstGeom prst="rect">
              <a:avLst/>
            </a:prstGeom>
            <a:solidFill>
              <a:schemeClr val="bg1"/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40" name="Group 239"/>
            <p:cNvGrpSpPr/>
            <p:nvPr/>
          </p:nvGrpSpPr>
          <p:grpSpPr>
            <a:xfrm>
              <a:off x="7432739" y="1461855"/>
              <a:ext cx="1064089" cy="738380"/>
              <a:chOff x="7469453" y="1560072"/>
              <a:chExt cx="1064089" cy="738380"/>
            </a:xfrm>
          </p:grpSpPr>
          <p:sp>
            <p:nvSpPr>
              <p:cNvPr id="92" name="Freeform 69"/>
              <p:cNvSpPr>
                <a:spLocks/>
              </p:cNvSpPr>
              <p:nvPr/>
            </p:nvSpPr>
            <p:spPr bwMode="auto">
              <a:xfrm>
                <a:off x="7469453" y="1560072"/>
                <a:ext cx="1064089" cy="610546"/>
              </a:xfrm>
              <a:custGeom>
                <a:avLst/>
                <a:gdLst>
                  <a:gd name="T0" fmla="*/ 432 w 514"/>
                  <a:gd name="T1" fmla="*/ 74 h 286"/>
                  <a:gd name="T2" fmla="*/ 426 w 514"/>
                  <a:gd name="T3" fmla="*/ 71 h 286"/>
                  <a:gd name="T4" fmla="*/ 424 w 514"/>
                  <a:gd name="T5" fmla="*/ 70 h 286"/>
                  <a:gd name="T6" fmla="*/ 418 w 514"/>
                  <a:gd name="T7" fmla="*/ 67 h 286"/>
                  <a:gd name="T8" fmla="*/ 0 w 514"/>
                  <a:gd name="T9" fmla="*/ 136 h 286"/>
                  <a:gd name="T10" fmla="*/ 150 w 514"/>
                  <a:gd name="T11" fmla="*/ 286 h 286"/>
                  <a:gd name="T12" fmla="*/ 287 w 514"/>
                  <a:gd name="T13" fmla="*/ 245 h 286"/>
                  <a:gd name="T14" fmla="*/ 310 w 514"/>
                  <a:gd name="T15" fmla="*/ 251 h 286"/>
                  <a:gd name="T16" fmla="*/ 319 w 514"/>
                  <a:gd name="T17" fmla="*/ 255 h 286"/>
                  <a:gd name="T18" fmla="*/ 364 w 514"/>
                  <a:gd name="T19" fmla="*/ 286 h 286"/>
                  <a:gd name="T20" fmla="*/ 514 w 514"/>
                  <a:gd name="T21" fmla="*/ 136 h 286"/>
                  <a:gd name="T22" fmla="*/ 432 w 514"/>
                  <a:gd name="T23" fmla="*/ 74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14" h="286">
                    <a:moveTo>
                      <a:pt x="432" y="74"/>
                    </a:moveTo>
                    <a:cubicBezTo>
                      <a:pt x="430" y="73"/>
                      <a:pt x="428" y="72"/>
                      <a:pt x="426" y="71"/>
                    </a:cubicBezTo>
                    <a:cubicBezTo>
                      <a:pt x="425" y="71"/>
                      <a:pt x="424" y="70"/>
                      <a:pt x="424" y="70"/>
                    </a:cubicBezTo>
                    <a:cubicBezTo>
                      <a:pt x="422" y="69"/>
                      <a:pt x="420" y="68"/>
                      <a:pt x="418" y="67"/>
                    </a:cubicBezTo>
                    <a:cubicBezTo>
                      <a:pt x="282" y="0"/>
                      <a:pt x="113" y="23"/>
                      <a:pt x="0" y="136"/>
                    </a:cubicBezTo>
                    <a:cubicBezTo>
                      <a:pt x="150" y="286"/>
                      <a:pt x="150" y="286"/>
                      <a:pt x="150" y="286"/>
                    </a:cubicBezTo>
                    <a:cubicBezTo>
                      <a:pt x="187" y="249"/>
                      <a:pt x="239" y="235"/>
                      <a:pt x="287" y="245"/>
                    </a:cubicBezTo>
                    <a:cubicBezTo>
                      <a:pt x="295" y="246"/>
                      <a:pt x="302" y="248"/>
                      <a:pt x="310" y="251"/>
                    </a:cubicBezTo>
                    <a:cubicBezTo>
                      <a:pt x="313" y="252"/>
                      <a:pt x="316" y="253"/>
                      <a:pt x="319" y="255"/>
                    </a:cubicBezTo>
                    <a:cubicBezTo>
                      <a:pt x="335" y="262"/>
                      <a:pt x="351" y="272"/>
                      <a:pt x="364" y="286"/>
                    </a:cubicBezTo>
                    <a:cubicBezTo>
                      <a:pt x="514" y="136"/>
                      <a:pt x="514" y="136"/>
                      <a:pt x="514" y="136"/>
                    </a:cubicBezTo>
                    <a:cubicBezTo>
                      <a:pt x="489" y="111"/>
                      <a:pt x="461" y="91"/>
                      <a:pt x="432" y="74"/>
                    </a:cubicBezTo>
                    <a:close/>
                  </a:path>
                </a:pathLst>
              </a:cu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5" name="Freeform 92"/>
              <p:cNvSpPr>
                <a:spLocks/>
              </p:cNvSpPr>
              <p:nvPr/>
            </p:nvSpPr>
            <p:spPr bwMode="auto">
              <a:xfrm>
                <a:off x="7606898" y="1607389"/>
                <a:ext cx="803978" cy="175533"/>
              </a:xfrm>
              <a:custGeom>
                <a:avLst/>
                <a:gdLst>
                  <a:gd name="T0" fmla="*/ 55 w 389"/>
                  <a:gd name="T1" fmla="*/ 47 h 82"/>
                  <a:gd name="T2" fmla="*/ 54 w 389"/>
                  <a:gd name="T3" fmla="*/ 47 h 82"/>
                  <a:gd name="T4" fmla="*/ 49 w 389"/>
                  <a:gd name="T5" fmla="*/ 49 h 82"/>
                  <a:gd name="T6" fmla="*/ 47 w 389"/>
                  <a:gd name="T7" fmla="*/ 50 h 82"/>
                  <a:gd name="T8" fmla="*/ 42 w 389"/>
                  <a:gd name="T9" fmla="*/ 53 h 82"/>
                  <a:gd name="T10" fmla="*/ 0 w 389"/>
                  <a:gd name="T11" fmla="*/ 78 h 82"/>
                  <a:gd name="T12" fmla="*/ 68 w 389"/>
                  <a:gd name="T13" fmla="*/ 66 h 82"/>
                  <a:gd name="T14" fmla="*/ 76 w 389"/>
                  <a:gd name="T15" fmla="*/ 65 h 82"/>
                  <a:gd name="T16" fmla="*/ 186 w 389"/>
                  <a:gd name="T17" fmla="*/ 58 h 82"/>
                  <a:gd name="T18" fmla="*/ 389 w 389"/>
                  <a:gd name="T19" fmla="*/ 82 h 82"/>
                  <a:gd name="T20" fmla="*/ 60 w 389"/>
                  <a:gd name="T21" fmla="*/ 45 h 82"/>
                  <a:gd name="T22" fmla="*/ 55 w 389"/>
                  <a:gd name="T23" fmla="*/ 47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89" h="82">
                    <a:moveTo>
                      <a:pt x="55" y="47"/>
                    </a:moveTo>
                    <a:cubicBezTo>
                      <a:pt x="54" y="47"/>
                      <a:pt x="54" y="47"/>
                      <a:pt x="54" y="47"/>
                    </a:cubicBezTo>
                    <a:cubicBezTo>
                      <a:pt x="52" y="48"/>
                      <a:pt x="51" y="49"/>
                      <a:pt x="49" y="49"/>
                    </a:cubicBezTo>
                    <a:cubicBezTo>
                      <a:pt x="49" y="50"/>
                      <a:pt x="48" y="50"/>
                      <a:pt x="47" y="50"/>
                    </a:cubicBezTo>
                    <a:cubicBezTo>
                      <a:pt x="46" y="51"/>
                      <a:pt x="44" y="52"/>
                      <a:pt x="42" y="53"/>
                    </a:cubicBezTo>
                    <a:cubicBezTo>
                      <a:pt x="28" y="60"/>
                      <a:pt x="14" y="68"/>
                      <a:pt x="0" y="78"/>
                    </a:cubicBezTo>
                    <a:cubicBezTo>
                      <a:pt x="21" y="73"/>
                      <a:pt x="44" y="69"/>
                      <a:pt x="68" y="66"/>
                    </a:cubicBezTo>
                    <a:cubicBezTo>
                      <a:pt x="76" y="65"/>
                      <a:pt x="76" y="65"/>
                      <a:pt x="76" y="65"/>
                    </a:cubicBezTo>
                    <a:cubicBezTo>
                      <a:pt x="111" y="60"/>
                      <a:pt x="147" y="58"/>
                      <a:pt x="186" y="58"/>
                    </a:cubicBezTo>
                    <a:cubicBezTo>
                      <a:pt x="262" y="58"/>
                      <a:pt x="333" y="67"/>
                      <a:pt x="389" y="82"/>
                    </a:cubicBezTo>
                    <a:cubicBezTo>
                      <a:pt x="295" y="13"/>
                      <a:pt x="166" y="0"/>
                      <a:pt x="60" y="45"/>
                    </a:cubicBezTo>
                    <a:lnTo>
                      <a:pt x="55" y="47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157" name="Group 156"/>
              <p:cNvGrpSpPr/>
              <p:nvPr/>
            </p:nvGrpSpPr>
            <p:grpSpPr>
              <a:xfrm rot="712595">
                <a:off x="7955061" y="1766282"/>
                <a:ext cx="394283" cy="532170"/>
                <a:chOff x="8426341" y="1752024"/>
                <a:chExt cx="383704" cy="517890"/>
              </a:xfrm>
            </p:grpSpPr>
            <p:sp>
              <p:nvSpPr>
                <p:cNvPr id="116" name="Freeform 93"/>
                <p:cNvSpPr>
                  <a:spLocks/>
                </p:cNvSpPr>
                <p:nvPr/>
              </p:nvSpPr>
              <p:spPr bwMode="auto">
                <a:xfrm>
                  <a:off x="8608982" y="1758296"/>
                  <a:ext cx="201063" cy="303357"/>
                </a:xfrm>
                <a:custGeom>
                  <a:avLst/>
                  <a:gdLst>
                    <a:gd name="T0" fmla="*/ 13 w 122"/>
                    <a:gd name="T1" fmla="*/ 177 h 184"/>
                    <a:gd name="T2" fmla="*/ 122 w 122"/>
                    <a:gd name="T3" fmla="*/ 3 h 184"/>
                    <a:gd name="T4" fmla="*/ 116 w 122"/>
                    <a:gd name="T5" fmla="*/ 0 h 184"/>
                    <a:gd name="T6" fmla="*/ 94 w 122"/>
                    <a:gd name="T7" fmla="*/ 31 h 184"/>
                    <a:gd name="T8" fmla="*/ 0 w 122"/>
                    <a:gd name="T9" fmla="*/ 180 h 184"/>
                    <a:gd name="T10" fmla="*/ 9 w 122"/>
                    <a:gd name="T11" fmla="*/ 184 h 184"/>
                    <a:gd name="T12" fmla="*/ 13 w 122"/>
                    <a:gd name="T13" fmla="*/ 177 h 1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2" h="184">
                      <a:moveTo>
                        <a:pt x="13" y="177"/>
                      </a:moveTo>
                      <a:cubicBezTo>
                        <a:pt x="122" y="3"/>
                        <a:pt x="122" y="3"/>
                        <a:pt x="122" y="3"/>
                      </a:cubicBezTo>
                      <a:cubicBezTo>
                        <a:pt x="120" y="2"/>
                        <a:pt x="118" y="1"/>
                        <a:pt x="116" y="0"/>
                      </a:cubicBezTo>
                      <a:cubicBezTo>
                        <a:pt x="94" y="31"/>
                        <a:pt x="94" y="31"/>
                        <a:pt x="94" y="31"/>
                      </a:cubicBezTo>
                      <a:cubicBezTo>
                        <a:pt x="0" y="180"/>
                        <a:pt x="0" y="180"/>
                        <a:pt x="0" y="180"/>
                      </a:cubicBezTo>
                      <a:cubicBezTo>
                        <a:pt x="3" y="181"/>
                        <a:pt x="6" y="182"/>
                        <a:pt x="9" y="184"/>
                      </a:cubicBezTo>
                      <a:lnTo>
                        <a:pt x="13" y="177"/>
                      </a:lnTo>
                      <a:close/>
                    </a:path>
                  </a:pathLst>
                </a:custGeom>
                <a:solidFill>
                  <a:srgbClr val="40404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7" name="Freeform 94"/>
                <p:cNvSpPr>
                  <a:spLocks/>
                </p:cNvSpPr>
                <p:nvPr/>
              </p:nvSpPr>
              <p:spPr bwMode="auto">
                <a:xfrm>
                  <a:off x="8426341" y="1752024"/>
                  <a:ext cx="369921" cy="517890"/>
                </a:xfrm>
                <a:custGeom>
                  <a:avLst/>
                  <a:gdLst>
                    <a:gd name="T0" fmla="*/ 211 w 211"/>
                    <a:gd name="T1" fmla="*/ 3 h 295"/>
                    <a:gd name="T2" fmla="*/ 205 w 211"/>
                    <a:gd name="T3" fmla="*/ 0 h 295"/>
                    <a:gd name="T4" fmla="*/ 74 w 211"/>
                    <a:gd name="T5" fmla="*/ 178 h 295"/>
                    <a:gd name="T6" fmla="*/ 42 w 211"/>
                    <a:gd name="T7" fmla="*/ 221 h 295"/>
                    <a:gd name="T8" fmla="*/ 38 w 211"/>
                    <a:gd name="T9" fmla="*/ 220 h 295"/>
                    <a:gd name="T10" fmla="*/ 0 w 211"/>
                    <a:gd name="T11" fmla="*/ 258 h 295"/>
                    <a:gd name="T12" fmla="*/ 38 w 211"/>
                    <a:gd name="T13" fmla="*/ 295 h 295"/>
                    <a:gd name="T14" fmla="*/ 75 w 211"/>
                    <a:gd name="T15" fmla="*/ 258 h 295"/>
                    <a:gd name="T16" fmla="*/ 66 w 211"/>
                    <a:gd name="T17" fmla="*/ 233 h 295"/>
                    <a:gd name="T18" fmla="*/ 97 w 211"/>
                    <a:gd name="T19" fmla="*/ 184 h 295"/>
                    <a:gd name="T20" fmla="*/ 211 w 211"/>
                    <a:gd name="T21" fmla="*/ 3 h 2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11" h="295">
                      <a:moveTo>
                        <a:pt x="211" y="3"/>
                      </a:moveTo>
                      <a:cubicBezTo>
                        <a:pt x="209" y="2"/>
                        <a:pt x="207" y="1"/>
                        <a:pt x="205" y="0"/>
                      </a:cubicBezTo>
                      <a:cubicBezTo>
                        <a:pt x="74" y="178"/>
                        <a:pt x="74" y="178"/>
                        <a:pt x="74" y="178"/>
                      </a:cubicBezTo>
                      <a:cubicBezTo>
                        <a:pt x="42" y="221"/>
                        <a:pt x="42" y="221"/>
                        <a:pt x="42" y="221"/>
                      </a:cubicBezTo>
                      <a:cubicBezTo>
                        <a:pt x="41" y="220"/>
                        <a:pt x="39" y="220"/>
                        <a:pt x="38" y="220"/>
                      </a:cubicBezTo>
                      <a:cubicBezTo>
                        <a:pt x="17" y="220"/>
                        <a:pt x="0" y="237"/>
                        <a:pt x="0" y="258"/>
                      </a:cubicBezTo>
                      <a:cubicBezTo>
                        <a:pt x="0" y="278"/>
                        <a:pt x="17" y="295"/>
                        <a:pt x="38" y="295"/>
                      </a:cubicBezTo>
                      <a:cubicBezTo>
                        <a:pt x="58" y="295"/>
                        <a:pt x="75" y="278"/>
                        <a:pt x="75" y="258"/>
                      </a:cubicBezTo>
                      <a:cubicBezTo>
                        <a:pt x="75" y="248"/>
                        <a:pt x="72" y="240"/>
                        <a:pt x="66" y="233"/>
                      </a:cubicBezTo>
                      <a:cubicBezTo>
                        <a:pt x="97" y="184"/>
                        <a:pt x="97" y="184"/>
                        <a:pt x="97" y="184"/>
                      </a:cubicBezTo>
                      <a:lnTo>
                        <a:pt x="211" y="3"/>
                      </a:lnTo>
                      <a:close/>
                    </a:path>
                  </a:pathLst>
                </a:custGeom>
                <a:solidFill>
                  <a:srgbClr val="C02026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</p:grpSp>
      <p:sp>
        <p:nvSpPr>
          <p:cNvPr id="121" name="Rectangle 120"/>
          <p:cNvSpPr/>
          <p:nvPr/>
        </p:nvSpPr>
        <p:spPr>
          <a:xfrm>
            <a:off x="7364416" y="455689"/>
            <a:ext cx="723900" cy="541020"/>
          </a:xfrm>
          <a:prstGeom prst="rect">
            <a:avLst/>
          </a:prstGeom>
          <a:solidFill>
            <a:srgbClr val="616A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Rectangle 121"/>
          <p:cNvSpPr/>
          <p:nvPr/>
        </p:nvSpPr>
        <p:spPr>
          <a:xfrm>
            <a:off x="8915407" y="465553"/>
            <a:ext cx="723900" cy="541020"/>
          </a:xfrm>
          <a:prstGeom prst="rect">
            <a:avLst/>
          </a:prstGeom>
          <a:solidFill>
            <a:srgbClr val="E0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3" name="Rectangle 122"/>
          <p:cNvSpPr/>
          <p:nvPr/>
        </p:nvSpPr>
        <p:spPr>
          <a:xfrm>
            <a:off x="6586698" y="455689"/>
            <a:ext cx="723900" cy="541020"/>
          </a:xfrm>
          <a:prstGeom prst="rect">
            <a:avLst/>
          </a:prstGeom>
          <a:solidFill>
            <a:srgbClr val="0017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8" name="Rectangle 127"/>
          <p:cNvSpPr/>
          <p:nvPr/>
        </p:nvSpPr>
        <p:spPr>
          <a:xfrm>
            <a:off x="9694395" y="463248"/>
            <a:ext cx="723900" cy="541020"/>
          </a:xfrm>
          <a:prstGeom prst="rect">
            <a:avLst/>
          </a:prstGeom>
          <a:solidFill>
            <a:srgbClr val="E811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9" name="Rectangle 128"/>
          <p:cNvSpPr/>
          <p:nvPr/>
        </p:nvSpPr>
        <p:spPr>
          <a:xfrm>
            <a:off x="8136419" y="455689"/>
            <a:ext cx="723900" cy="541020"/>
          </a:xfrm>
          <a:prstGeom prst="rect">
            <a:avLst/>
          </a:prstGeom>
          <a:solidFill>
            <a:srgbClr val="E7E7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77" name="Group 376"/>
          <p:cNvGrpSpPr/>
          <p:nvPr/>
        </p:nvGrpSpPr>
        <p:grpSpPr>
          <a:xfrm>
            <a:off x="8759938" y="1309829"/>
            <a:ext cx="1222547" cy="1087655"/>
            <a:chOff x="8759938" y="1309829"/>
            <a:chExt cx="1222547" cy="1087655"/>
          </a:xfrm>
        </p:grpSpPr>
        <p:sp>
          <p:nvSpPr>
            <p:cNvPr id="241" name="Rectangle 240"/>
            <p:cNvSpPr/>
            <p:nvPr/>
          </p:nvSpPr>
          <p:spPr>
            <a:xfrm>
              <a:off x="8759938" y="1309829"/>
              <a:ext cx="1222547" cy="1087655"/>
            </a:xfrm>
            <a:prstGeom prst="rect">
              <a:avLst/>
            </a:prstGeom>
            <a:solidFill>
              <a:schemeClr val="bg1"/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41" name="Group 107"/>
            <p:cNvGrpSpPr>
              <a:grpSpLocks noChangeAspect="1"/>
            </p:cNvGrpSpPr>
            <p:nvPr/>
          </p:nvGrpSpPr>
          <p:grpSpPr bwMode="auto">
            <a:xfrm>
              <a:off x="9014071" y="1492171"/>
              <a:ext cx="710331" cy="710329"/>
              <a:chOff x="5660" y="1570"/>
              <a:chExt cx="197" cy="197"/>
            </a:xfrm>
          </p:grpSpPr>
          <p:sp>
            <p:nvSpPr>
              <p:cNvPr id="144" name="Freeform 109"/>
              <p:cNvSpPr>
                <a:spLocks noEditPoints="1"/>
              </p:cNvSpPr>
              <p:nvPr/>
            </p:nvSpPr>
            <p:spPr bwMode="auto">
              <a:xfrm>
                <a:off x="5660" y="1570"/>
                <a:ext cx="197" cy="197"/>
              </a:xfrm>
              <a:custGeom>
                <a:avLst/>
                <a:gdLst>
                  <a:gd name="T0" fmla="*/ 14 w 87"/>
                  <a:gd name="T1" fmla="*/ 2 h 87"/>
                  <a:gd name="T2" fmla="*/ 28 w 87"/>
                  <a:gd name="T3" fmla="*/ 16 h 87"/>
                  <a:gd name="T4" fmla="*/ 25 w 87"/>
                  <a:gd name="T5" fmla="*/ 25 h 87"/>
                  <a:gd name="T6" fmla="*/ 16 w 87"/>
                  <a:gd name="T7" fmla="*/ 28 h 87"/>
                  <a:gd name="T8" fmla="*/ 3 w 87"/>
                  <a:gd name="T9" fmla="*/ 14 h 87"/>
                  <a:gd name="T10" fmla="*/ 7 w 87"/>
                  <a:gd name="T11" fmla="*/ 35 h 87"/>
                  <a:gd name="T12" fmla="*/ 28 w 87"/>
                  <a:gd name="T13" fmla="*/ 39 h 87"/>
                  <a:gd name="T14" fmla="*/ 73 w 87"/>
                  <a:gd name="T15" fmla="*/ 84 h 87"/>
                  <a:gd name="T16" fmla="*/ 83 w 87"/>
                  <a:gd name="T17" fmla="*/ 84 h 87"/>
                  <a:gd name="T18" fmla="*/ 84 w 87"/>
                  <a:gd name="T19" fmla="*/ 83 h 87"/>
                  <a:gd name="T20" fmla="*/ 84 w 87"/>
                  <a:gd name="T21" fmla="*/ 72 h 87"/>
                  <a:gd name="T22" fmla="*/ 39 w 87"/>
                  <a:gd name="T23" fmla="*/ 28 h 87"/>
                  <a:gd name="T24" fmla="*/ 35 w 87"/>
                  <a:gd name="T25" fmla="*/ 7 h 87"/>
                  <a:gd name="T26" fmla="*/ 14 w 87"/>
                  <a:gd name="T27" fmla="*/ 2 h 87"/>
                  <a:gd name="T28" fmla="*/ 81 w 87"/>
                  <a:gd name="T29" fmla="*/ 81 h 87"/>
                  <a:gd name="T30" fmla="*/ 75 w 87"/>
                  <a:gd name="T31" fmla="*/ 81 h 87"/>
                  <a:gd name="T32" fmla="*/ 75 w 87"/>
                  <a:gd name="T33" fmla="*/ 75 h 87"/>
                  <a:gd name="T34" fmla="*/ 81 w 87"/>
                  <a:gd name="T35" fmla="*/ 75 h 87"/>
                  <a:gd name="T36" fmla="*/ 81 w 87"/>
                  <a:gd name="T37" fmla="*/ 81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7" h="87">
                    <a:moveTo>
                      <a:pt x="14" y="2"/>
                    </a:moveTo>
                    <a:cubicBezTo>
                      <a:pt x="28" y="16"/>
                      <a:pt x="28" y="16"/>
                      <a:pt x="28" y="16"/>
                    </a:cubicBezTo>
                    <a:cubicBezTo>
                      <a:pt x="25" y="25"/>
                      <a:pt x="25" y="25"/>
                      <a:pt x="25" y="25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3" y="14"/>
                      <a:pt x="3" y="14"/>
                      <a:pt x="3" y="14"/>
                    </a:cubicBezTo>
                    <a:cubicBezTo>
                      <a:pt x="0" y="21"/>
                      <a:pt x="1" y="29"/>
                      <a:pt x="7" y="35"/>
                    </a:cubicBezTo>
                    <a:cubicBezTo>
                      <a:pt x="13" y="40"/>
                      <a:pt x="21" y="42"/>
                      <a:pt x="28" y="39"/>
                    </a:cubicBezTo>
                    <a:cubicBezTo>
                      <a:pt x="73" y="84"/>
                      <a:pt x="73" y="84"/>
                      <a:pt x="73" y="84"/>
                    </a:cubicBezTo>
                    <a:cubicBezTo>
                      <a:pt x="76" y="87"/>
                      <a:pt x="80" y="87"/>
                      <a:pt x="83" y="84"/>
                    </a:cubicBezTo>
                    <a:cubicBezTo>
                      <a:pt x="84" y="83"/>
                      <a:pt x="84" y="83"/>
                      <a:pt x="84" y="83"/>
                    </a:cubicBezTo>
                    <a:cubicBezTo>
                      <a:pt x="87" y="80"/>
                      <a:pt x="87" y="75"/>
                      <a:pt x="84" y="72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42" y="21"/>
                      <a:pt x="41" y="13"/>
                      <a:pt x="35" y="7"/>
                    </a:cubicBezTo>
                    <a:cubicBezTo>
                      <a:pt x="29" y="1"/>
                      <a:pt x="21" y="0"/>
                      <a:pt x="14" y="2"/>
                    </a:cubicBezTo>
                    <a:close/>
                    <a:moveTo>
                      <a:pt x="81" y="81"/>
                    </a:moveTo>
                    <a:cubicBezTo>
                      <a:pt x="79" y="83"/>
                      <a:pt x="77" y="83"/>
                      <a:pt x="75" y="81"/>
                    </a:cubicBezTo>
                    <a:cubicBezTo>
                      <a:pt x="73" y="79"/>
                      <a:pt x="73" y="76"/>
                      <a:pt x="75" y="75"/>
                    </a:cubicBezTo>
                    <a:cubicBezTo>
                      <a:pt x="77" y="73"/>
                      <a:pt x="79" y="73"/>
                      <a:pt x="81" y="75"/>
                    </a:cubicBezTo>
                    <a:cubicBezTo>
                      <a:pt x="83" y="76"/>
                      <a:pt x="83" y="79"/>
                      <a:pt x="81" y="81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5" name="Freeform 110"/>
              <p:cNvSpPr>
                <a:spLocks/>
              </p:cNvSpPr>
              <p:nvPr/>
            </p:nvSpPr>
            <p:spPr bwMode="auto">
              <a:xfrm>
                <a:off x="5667" y="1575"/>
                <a:ext cx="186" cy="185"/>
              </a:xfrm>
              <a:custGeom>
                <a:avLst/>
                <a:gdLst>
                  <a:gd name="T0" fmla="*/ 80 w 82"/>
                  <a:gd name="T1" fmla="*/ 7 h 82"/>
                  <a:gd name="T2" fmla="*/ 76 w 82"/>
                  <a:gd name="T3" fmla="*/ 3 h 82"/>
                  <a:gd name="T4" fmla="*/ 66 w 82"/>
                  <a:gd name="T5" fmla="*/ 3 h 82"/>
                  <a:gd name="T6" fmla="*/ 37 w 82"/>
                  <a:gd name="T7" fmla="*/ 33 h 82"/>
                  <a:gd name="T8" fmla="*/ 36 w 82"/>
                  <a:gd name="T9" fmla="*/ 41 h 82"/>
                  <a:gd name="T10" fmla="*/ 17 w 82"/>
                  <a:gd name="T11" fmla="*/ 60 h 82"/>
                  <a:gd name="T12" fmla="*/ 17 w 82"/>
                  <a:gd name="T13" fmla="*/ 60 h 82"/>
                  <a:gd name="T14" fmla="*/ 9 w 82"/>
                  <a:gd name="T15" fmla="*/ 62 h 82"/>
                  <a:gd name="T16" fmla="*/ 0 w 82"/>
                  <a:gd name="T17" fmla="*/ 78 h 82"/>
                  <a:gd name="T18" fmla="*/ 4 w 82"/>
                  <a:gd name="T19" fmla="*/ 82 h 82"/>
                  <a:gd name="T20" fmla="*/ 20 w 82"/>
                  <a:gd name="T21" fmla="*/ 73 h 82"/>
                  <a:gd name="T22" fmla="*/ 22 w 82"/>
                  <a:gd name="T23" fmla="*/ 65 h 82"/>
                  <a:gd name="T24" fmla="*/ 41 w 82"/>
                  <a:gd name="T25" fmla="*/ 46 h 82"/>
                  <a:gd name="T26" fmla="*/ 50 w 82"/>
                  <a:gd name="T27" fmla="*/ 46 h 82"/>
                  <a:gd name="T28" fmla="*/ 80 w 82"/>
                  <a:gd name="T29" fmla="*/ 16 h 82"/>
                  <a:gd name="T30" fmla="*/ 80 w 82"/>
                  <a:gd name="T31" fmla="*/ 7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2" h="82">
                    <a:moveTo>
                      <a:pt x="80" y="7"/>
                    </a:moveTo>
                    <a:cubicBezTo>
                      <a:pt x="76" y="3"/>
                      <a:pt x="76" y="3"/>
                      <a:pt x="76" y="3"/>
                    </a:cubicBezTo>
                    <a:cubicBezTo>
                      <a:pt x="73" y="0"/>
                      <a:pt x="69" y="0"/>
                      <a:pt x="66" y="3"/>
                    </a:cubicBezTo>
                    <a:cubicBezTo>
                      <a:pt x="37" y="33"/>
                      <a:pt x="37" y="33"/>
                      <a:pt x="37" y="33"/>
                    </a:cubicBezTo>
                    <a:cubicBezTo>
                      <a:pt x="34" y="35"/>
                      <a:pt x="34" y="39"/>
                      <a:pt x="36" y="41"/>
                    </a:cubicBezTo>
                    <a:cubicBezTo>
                      <a:pt x="17" y="60"/>
                      <a:pt x="17" y="60"/>
                      <a:pt x="17" y="60"/>
                    </a:cubicBezTo>
                    <a:cubicBezTo>
                      <a:pt x="17" y="60"/>
                      <a:pt x="17" y="60"/>
                      <a:pt x="17" y="60"/>
                    </a:cubicBezTo>
                    <a:cubicBezTo>
                      <a:pt x="9" y="62"/>
                      <a:pt x="9" y="62"/>
                      <a:pt x="9" y="62"/>
                    </a:cubicBezTo>
                    <a:cubicBezTo>
                      <a:pt x="0" y="78"/>
                      <a:pt x="0" y="78"/>
                      <a:pt x="0" y="78"/>
                    </a:cubicBezTo>
                    <a:cubicBezTo>
                      <a:pt x="4" y="82"/>
                      <a:pt x="4" y="82"/>
                      <a:pt x="4" y="82"/>
                    </a:cubicBezTo>
                    <a:cubicBezTo>
                      <a:pt x="20" y="73"/>
                      <a:pt x="20" y="73"/>
                      <a:pt x="20" y="73"/>
                    </a:cubicBezTo>
                    <a:cubicBezTo>
                      <a:pt x="22" y="65"/>
                      <a:pt x="22" y="65"/>
                      <a:pt x="22" y="65"/>
                    </a:cubicBezTo>
                    <a:cubicBezTo>
                      <a:pt x="41" y="46"/>
                      <a:pt x="41" y="46"/>
                      <a:pt x="41" y="46"/>
                    </a:cubicBezTo>
                    <a:cubicBezTo>
                      <a:pt x="44" y="48"/>
                      <a:pt x="48" y="48"/>
                      <a:pt x="50" y="46"/>
                    </a:cubicBezTo>
                    <a:cubicBezTo>
                      <a:pt x="80" y="16"/>
                      <a:pt x="80" y="16"/>
                      <a:pt x="80" y="16"/>
                    </a:cubicBezTo>
                    <a:cubicBezTo>
                      <a:pt x="82" y="14"/>
                      <a:pt x="82" y="10"/>
                      <a:pt x="80" y="7"/>
                    </a:cubicBezTo>
                    <a:close/>
                  </a:path>
                </a:pathLst>
              </a:custGeom>
              <a:solidFill>
                <a:srgbClr val="40404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375" name="Group 374"/>
          <p:cNvGrpSpPr/>
          <p:nvPr/>
        </p:nvGrpSpPr>
        <p:grpSpPr>
          <a:xfrm>
            <a:off x="5959788" y="1309036"/>
            <a:ext cx="1222547" cy="1087655"/>
            <a:chOff x="5959788" y="1309036"/>
            <a:chExt cx="1222547" cy="1087655"/>
          </a:xfrm>
        </p:grpSpPr>
        <p:sp>
          <p:nvSpPr>
            <p:cNvPr id="238" name="Rectangle 237"/>
            <p:cNvSpPr/>
            <p:nvPr/>
          </p:nvSpPr>
          <p:spPr>
            <a:xfrm>
              <a:off x="5959788" y="1309036"/>
              <a:ext cx="1222547" cy="1087655"/>
            </a:xfrm>
            <a:prstGeom prst="rect">
              <a:avLst/>
            </a:prstGeom>
            <a:solidFill>
              <a:schemeClr val="bg1"/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73" name="Group 372"/>
            <p:cNvGrpSpPr/>
            <p:nvPr/>
          </p:nvGrpSpPr>
          <p:grpSpPr>
            <a:xfrm>
              <a:off x="5997019" y="1515315"/>
              <a:ext cx="1000448" cy="719143"/>
              <a:chOff x="5997019" y="1515315"/>
              <a:chExt cx="1000448" cy="719143"/>
            </a:xfrm>
          </p:grpSpPr>
          <p:grpSp>
            <p:nvGrpSpPr>
              <p:cNvPr id="181" name="Group 180"/>
              <p:cNvGrpSpPr/>
              <p:nvPr/>
            </p:nvGrpSpPr>
            <p:grpSpPr>
              <a:xfrm>
                <a:off x="6155341" y="1515315"/>
                <a:ext cx="842126" cy="637974"/>
                <a:chOff x="9888538" y="3827463"/>
                <a:chExt cx="1676400" cy="1270000"/>
              </a:xfrm>
              <a:solidFill>
                <a:schemeClr val="tx1">
                  <a:lumMod val="65000"/>
                  <a:lumOff val="35000"/>
                </a:schemeClr>
              </a:solidFill>
            </p:grpSpPr>
            <p:sp>
              <p:nvSpPr>
                <p:cNvPr id="182" name="Rectangle 35"/>
                <p:cNvSpPr>
                  <a:spLocks noChangeArrowheads="1"/>
                </p:cNvSpPr>
                <p:nvPr/>
              </p:nvSpPr>
              <p:spPr bwMode="auto">
                <a:xfrm>
                  <a:off x="10485438" y="4211638"/>
                  <a:ext cx="69850" cy="298450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89606" tIns="44802" rIns="89606" bIns="4480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005"/>
                  <a:endParaRPr lang="en-US" sz="1764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3" name="Rectangle 36"/>
                <p:cNvSpPr>
                  <a:spLocks noChangeArrowheads="1"/>
                </p:cNvSpPr>
                <p:nvPr/>
              </p:nvSpPr>
              <p:spPr bwMode="auto">
                <a:xfrm>
                  <a:off x="10180638" y="4630738"/>
                  <a:ext cx="352425" cy="5397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89606" tIns="44802" rIns="89606" bIns="4480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005"/>
                  <a:endParaRPr lang="en-US" sz="1764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4" name="Rectangle 37"/>
                <p:cNvSpPr>
                  <a:spLocks noChangeArrowheads="1"/>
                </p:cNvSpPr>
                <p:nvPr/>
              </p:nvSpPr>
              <p:spPr bwMode="auto">
                <a:xfrm>
                  <a:off x="10091738" y="4630738"/>
                  <a:ext cx="57150" cy="5397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89606" tIns="44802" rIns="89606" bIns="4480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005"/>
                  <a:endParaRPr lang="en-US" sz="1764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5" name="Rectangle 38"/>
                <p:cNvSpPr>
                  <a:spLocks noChangeArrowheads="1"/>
                </p:cNvSpPr>
                <p:nvPr/>
              </p:nvSpPr>
              <p:spPr bwMode="auto">
                <a:xfrm>
                  <a:off x="10180638" y="4745038"/>
                  <a:ext cx="381000" cy="5397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89606" tIns="44802" rIns="89606" bIns="4480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005"/>
                  <a:endParaRPr lang="en-US" sz="1764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6" name="Rectangle 39"/>
                <p:cNvSpPr>
                  <a:spLocks noChangeArrowheads="1"/>
                </p:cNvSpPr>
                <p:nvPr/>
              </p:nvSpPr>
              <p:spPr bwMode="auto">
                <a:xfrm>
                  <a:off x="10091738" y="4745038"/>
                  <a:ext cx="57150" cy="5397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89606" tIns="44802" rIns="89606" bIns="4480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005"/>
                  <a:endParaRPr lang="en-US" sz="1764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7" name="Rectangle 40"/>
                <p:cNvSpPr>
                  <a:spLocks noChangeArrowheads="1"/>
                </p:cNvSpPr>
                <p:nvPr/>
              </p:nvSpPr>
              <p:spPr bwMode="auto">
                <a:xfrm>
                  <a:off x="10180638" y="4852988"/>
                  <a:ext cx="282575" cy="5397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89606" tIns="44802" rIns="89606" bIns="4480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005"/>
                  <a:endParaRPr lang="en-US" sz="1764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8" name="Rectangle 41"/>
                <p:cNvSpPr>
                  <a:spLocks noChangeArrowheads="1"/>
                </p:cNvSpPr>
                <p:nvPr/>
              </p:nvSpPr>
              <p:spPr bwMode="auto">
                <a:xfrm>
                  <a:off x="10091738" y="4852988"/>
                  <a:ext cx="57150" cy="5397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89606" tIns="44802" rIns="89606" bIns="4480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005"/>
                  <a:endParaRPr lang="en-US" sz="1764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9" name="Rectangle 42"/>
                <p:cNvSpPr>
                  <a:spLocks noChangeArrowheads="1"/>
                </p:cNvSpPr>
                <p:nvPr/>
              </p:nvSpPr>
              <p:spPr bwMode="auto">
                <a:xfrm>
                  <a:off x="10387013" y="4433888"/>
                  <a:ext cx="69850" cy="76200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89606" tIns="44802" rIns="89606" bIns="4480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005"/>
                  <a:endParaRPr lang="en-US" sz="1764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90" name="Rectangle 43"/>
                <p:cNvSpPr>
                  <a:spLocks noChangeArrowheads="1"/>
                </p:cNvSpPr>
                <p:nvPr/>
              </p:nvSpPr>
              <p:spPr bwMode="auto">
                <a:xfrm>
                  <a:off x="10288588" y="4303713"/>
                  <a:ext cx="69850" cy="20637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89606" tIns="44802" rIns="89606" bIns="4480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005"/>
                  <a:endParaRPr lang="en-US" sz="1764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91" name="Rectangle 44"/>
                <p:cNvSpPr>
                  <a:spLocks noChangeArrowheads="1"/>
                </p:cNvSpPr>
                <p:nvPr/>
              </p:nvSpPr>
              <p:spPr bwMode="auto">
                <a:xfrm>
                  <a:off x="10186988" y="4249738"/>
                  <a:ext cx="69850" cy="260350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89606" tIns="44802" rIns="89606" bIns="4480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005"/>
                  <a:endParaRPr lang="en-US" sz="1764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92" name="Rectangle 45"/>
                <p:cNvSpPr>
                  <a:spLocks noChangeArrowheads="1"/>
                </p:cNvSpPr>
                <p:nvPr/>
              </p:nvSpPr>
              <p:spPr bwMode="auto">
                <a:xfrm>
                  <a:off x="10088563" y="4348163"/>
                  <a:ext cx="69850" cy="16192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89606" tIns="44802" rIns="89606" bIns="4480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005"/>
                  <a:endParaRPr lang="en-US" sz="1764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93" name="Freeform 46"/>
                <p:cNvSpPr>
                  <a:spLocks/>
                </p:cNvSpPr>
                <p:nvPr/>
              </p:nvSpPr>
              <p:spPr bwMode="auto">
                <a:xfrm>
                  <a:off x="10720388" y="4329113"/>
                  <a:ext cx="558800" cy="561975"/>
                </a:xfrm>
                <a:custGeom>
                  <a:avLst/>
                  <a:gdLst>
                    <a:gd name="T0" fmla="*/ 176 w 352"/>
                    <a:gd name="T1" fmla="*/ 0 h 354"/>
                    <a:gd name="T2" fmla="*/ 176 w 352"/>
                    <a:gd name="T3" fmla="*/ 0 h 354"/>
                    <a:gd name="T4" fmla="*/ 158 w 352"/>
                    <a:gd name="T5" fmla="*/ 2 h 354"/>
                    <a:gd name="T6" fmla="*/ 140 w 352"/>
                    <a:gd name="T7" fmla="*/ 4 h 354"/>
                    <a:gd name="T8" fmla="*/ 124 w 352"/>
                    <a:gd name="T9" fmla="*/ 8 h 354"/>
                    <a:gd name="T10" fmla="*/ 108 w 352"/>
                    <a:gd name="T11" fmla="*/ 14 h 354"/>
                    <a:gd name="T12" fmla="*/ 92 w 352"/>
                    <a:gd name="T13" fmla="*/ 22 h 354"/>
                    <a:gd name="T14" fmla="*/ 78 w 352"/>
                    <a:gd name="T15" fmla="*/ 30 h 354"/>
                    <a:gd name="T16" fmla="*/ 64 w 352"/>
                    <a:gd name="T17" fmla="*/ 42 h 354"/>
                    <a:gd name="T18" fmla="*/ 52 w 352"/>
                    <a:gd name="T19" fmla="*/ 52 h 354"/>
                    <a:gd name="T20" fmla="*/ 40 w 352"/>
                    <a:gd name="T21" fmla="*/ 64 h 354"/>
                    <a:gd name="T22" fmla="*/ 30 w 352"/>
                    <a:gd name="T23" fmla="*/ 78 h 354"/>
                    <a:gd name="T24" fmla="*/ 20 w 352"/>
                    <a:gd name="T25" fmla="*/ 94 h 354"/>
                    <a:gd name="T26" fmla="*/ 14 w 352"/>
                    <a:gd name="T27" fmla="*/ 108 h 354"/>
                    <a:gd name="T28" fmla="*/ 8 w 352"/>
                    <a:gd name="T29" fmla="*/ 124 h 354"/>
                    <a:gd name="T30" fmla="*/ 2 w 352"/>
                    <a:gd name="T31" fmla="*/ 142 h 354"/>
                    <a:gd name="T32" fmla="*/ 0 w 352"/>
                    <a:gd name="T33" fmla="*/ 160 h 354"/>
                    <a:gd name="T34" fmla="*/ 0 w 352"/>
                    <a:gd name="T35" fmla="*/ 178 h 354"/>
                    <a:gd name="T36" fmla="*/ 0 w 352"/>
                    <a:gd name="T37" fmla="*/ 178 h 354"/>
                    <a:gd name="T38" fmla="*/ 0 w 352"/>
                    <a:gd name="T39" fmla="*/ 196 h 354"/>
                    <a:gd name="T40" fmla="*/ 2 w 352"/>
                    <a:gd name="T41" fmla="*/ 212 h 354"/>
                    <a:gd name="T42" fmla="*/ 8 w 352"/>
                    <a:gd name="T43" fmla="*/ 230 h 354"/>
                    <a:gd name="T44" fmla="*/ 14 w 352"/>
                    <a:gd name="T45" fmla="*/ 246 h 354"/>
                    <a:gd name="T46" fmla="*/ 20 w 352"/>
                    <a:gd name="T47" fmla="*/ 262 h 354"/>
                    <a:gd name="T48" fmla="*/ 30 w 352"/>
                    <a:gd name="T49" fmla="*/ 276 h 354"/>
                    <a:gd name="T50" fmla="*/ 40 w 352"/>
                    <a:gd name="T51" fmla="*/ 290 h 354"/>
                    <a:gd name="T52" fmla="*/ 52 w 352"/>
                    <a:gd name="T53" fmla="*/ 302 h 354"/>
                    <a:gd name="T54" fmla="*/ 64 w 352"/>
                    <a:gd name="T55" fmla="*/ 314 h 354"/>
                    <a:gd name="T56" fmla="*/ 78 w 352"/>
                    <a:gd name="T57" fmla="*/ 324 h 354"/>
                    <a:gd name="T58" fmla="*/ 92 w 352"/>
                    <a:gd name="T59" fmla="*/ 332 h 354"/>
                    <a:gd name="T60" fmla="*/ 108 w 352"/>
                    <a:gd name="T61" fmla="*/ 340 h 354"/>
                    <a:gd name="T62" fmla="*/ 124 w 352"/>
                    <a:gd name="T63" fmla="*/ 346 h 354"/>
                    <a:gd name="T64" fmla="*/ 140 w 352"/>
                    <a:gd name="T65" fmla="*/ 350 h 354"/>
                    <a:gd name="T66" fmla="*/ 158 w 352"/>
                    <a:gd name="T67" fmla="*/ 352 h 354"/>
                    <a:gd name="T68" fmla="*/ 176 w 352"/>
                    <a:gd name="T69" fmla="*/ 354 h 354"/>
                    <a:gd name="T70" fmla="*/ 176 w 352"/>
                    <a:gd name="T71" fmla="*/ 354 h 354"/>
                    <a:gd name="T72" fmla="*/ 194 w 352"/>
                    <a:gd name="T73" fmla="*/ 352 h 354"/>
                    <a:gd name="T74" fmla="*/ 210 w 352"/>
                    <a:gd name="T75" fmla="*/ 350 h 354"/>
                    <a:gd name="T76" fmla="*/ 228 w 352"/>
                    <a:gd name="T77" fmla="*/ 346 h 354"/>
                    <a:gd name="T78" fmla="*/ 244 w 352"/>
                    <a:gd name="T79" fmla="*/ 340 h 354"/>
                    <a:gd name="T80" fmla="*/ 258 w 352"/>
                    <a:gd name="T81" fmla="*/ 332 h 354"/>
                    <a:gd name="T82" fmla="*/ 274 w 352"/>
                    <a:gd name="T83" fmla="*/ 324 h 354"/>
                    <a:gd name="T84" fmla="*/ 286 w 352"/>
                    <a:gd name="T85" fmla="*/ 314 h 354"/>
                    <a:gd name="T86" fmla="*/ 300 w 352"/>
                    <a:gd name="T87" fmla="*/ 304 h 354"/>
                    <a:gd name="T88" fmla="*/ 310 w 352"/>
                    <a:gd name="T89" fmla="*/ 292 h 354"/>
                    <a:gd name="T90" fmla="*/ 320 w 352"/>
                    <a:gd name="T91" fmla="*/ 278 h 354"/>
                    <a:gd name="T92" fmla="*/ 330 w 352"/>
                    <a:gd name="T93" fmla="*/ 264 h 354"/>
                    <a:gd name="T94" fmla="*/ 336 w 352"/>
                    <a:gd name="T95" fmla="*/ 248 h 354"/>
                    <a:gd name="T96" fmla="*/ 344 w 352"/>
                    <a:gd name="T97" fmla="*/ 232 h 354"/>
                    <a:gd name="T98" fmla="*/ 348 w 352"/>
                    <a:gd name="T99" fmla="*/ 216 h 354"/>
                    <a:gd name="T100" fmla="*/ 350 w 352"/>
                    <a:gd name="T101" fmla="*/ 200 h 354"/>
                    <a:gd name="T102" fmla="*/ 352 w 352"/>
                    <a:gd name="T103" fmla="*/ 182 h 354"/>
                    <a:gd name="T104" fmla="*/ 176 w 352"/>
                    <a:gd name="T105" fmla="*/ 182 h 354"/>
                    <a:gd name="T106" fmla="*/ 176 w 352"/>
                    <a:gd name="T107" fmla="*/ 0 h 3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352" h="354">
                      <a:moveTo>
                        <a:pt x="176" y="0"/>
                      </a:moveTo>
                      <a:lnTo>
                        <a:pt x="176" y="0"/>
                      </a:lnTo>
                      <a:lnTo>
                        <a:pt x="158" y="2"/>
                      </a:lnTo>
                      <a:lnTo>
                        <a:pt x="140" y="4"/>
                      </a:lnTo>
                      <a:lnTo>
                        <a:pt x="124" y="8"/>
                      </a:lnTo>
                      <a:lnTo>
                        <a:pt x="108" y="14"/>
                      </a:lnTo>
                      <a:lnTo>
                        <a:pt x="92" y="22"/>
                      </a:lnTo>
                      <a:lnTo>
                        <a:pt x="78" y="30"/>
                      </a:lnTo>
                      <a:lnTo>
                        <a:pt x="64" y="42"/>
                      </a:lnTo>
                      <a:lnTo>
                        <a:pt x="52" y="52"/>
                      </a:lnTo>
                      <a:lnTo>
                        <a:pt x="40" y="64"/>
                      </a:lnTo>
                      <a:lnTo>
                        <a:pt x="30" y="78"/>
                      </a:lnTo>
                      <a:lnTo>
                        <a:pt x="20" y="94"/>
                      </a:lnTo>
                      <a:lnTo>
                        <a:pt x="14" y="108"/>
                      </a:lnTo>
                      <a:lnTo>
                        <a:pt x="8" y="124"/>
                      </a:lnTo>
                      <a:lnTo>
                        <a:pt x="2" y="142"/>
                      </a:lnTo>
                      <a:lnTo>
                        <a:pt x="0" y="160"/>
                      </a:lnTo>
                      <a:lnTo>
                        <a:pt x="0" y="178"/>
                      </a:lnTo>
                      <a:lnTo>
                        <a:pt x="0" y="178"/>
                      </a:lnTo>
                      <a:lnTo>
                        <a:pt x="0" y="196"/>
                      </a:lnTo>
                      <a:lnTo>
                        <a:pt x="2" y="212"/>
                      </a:lnTo>
                      <a:lnTo>
                        <a:pt x="8" y="230"/>
                      </a:lnTo>
                      <a:lnTo>
                        <a:pt x="14" y="246"/>
                      </a:lnTo>
                      <a:lnTo>
                        <a:pt x="20" y="262"/>
                      </a:lnTo>
                      <a:lnTo>
                        <a:pt x="30" y="276"/>
                      </a:lnTo>
                      <a:lnTo>
                        <a:pt x="40" y="290"/>
                      </a:lnTo>
                      <a:lnTo>
                        <a:pt x="52" y="302"/>
                      </a:lnTo>
                      <a:lnTo>
                        <a:pt x="64" y="314"/>
                      </a:lnTo>
                      <a:lnTo>
                        <a:pt x="78" y="324"/>
                      </a:lnTo>
                      <a:lnTo>
                        <a:pt x="92" y="332"/>
                      </a:lnTo>
                      <a:lnTo>
                        <a:pt x="108" y="340"/>
                      </a:lnTo>
                      <a:lnTo>
                        <a:pt x="124" y="346"/>
                      </a:lnTo>
                      <a:lnTo>
                        <a:pt x="140" y="350"/>
                      </a:lnTo>
                      <a:lnTo>
                        <a:pt x="158" y="352"/>
                      </a:lnTo>
                      <a:lnTo>
                        <a:pt x="176" y="354"/>
                      </a:lnTo>
                      <a:lnTo>
                        <a:pt x="176" y="354"/>
                      </a:lnTo>
                      <a:lnTo>
                        <a:pt x="194" y="352"/>
                      </a:lnTo>
                      <a:lnTo>
                        <a:pt x="210" y="350"/>
                      </a:lnTo>
                      <a:lnTo>
                        <a:pt x="228" y="346"/>
                      </a:lnTo>
                      <a:lnTo>
                        <a:pt x="244" y="340"/>
                      </a:lnTo>
                      <a:lnTo>
                        <a:pt x="258" y="332"/>
                      </a:lnTo>
                      <a:lnTo>
                        <a:pt x="274" y="324"/>
                      </a:lnTo>
                      <a:lnTo>
                        <a:pt x="286" y="314"/>
                      </a:lnTo>
                      <a:lnTo>
                        <a:pt x="300" y="304"/>
                      </a:lnTo>
                      <a:lnTo>
                        <a:pt x="310" y="292"/>
                      </a:lnTo>
                      <a:lnTo>
                        <a:pt x="320" y="278"/>
                      </a:lnTo>
                      <a:lnTo>
                        <a:pt x="330" y="264"/>
                      </a:lnTo>
                      <a:lnTo>
                        <a:pt x="336" y="248"/>
                      </a:lnTo>
                      <a:lnTo>
                        <a:pt x="344" y="232"/>
                      </a:lnTo>
                      <a:lnTo>
                        <a:pt x="348" y="216"/>
                      </a:lnTo>
                      <a:lnTo>
                        <a:pt x="350" y="200"/>
                      </a:lnTo>
                      <a:lnTo>
                        <a:pt x="352" y="182"/>
                      </a:lnTo>
                      <a:lnTo>
                        <a:pt x="176" y="182"/>
                      </a:lnTo>
                      <a:lnTo>
                        <a:pt x="176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06" tIns="44802" rIns="89606" bIns="4480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005"/>
                  <a:endParaRPr lang="en-US" sz="1764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94" name="Freeform 47"/>
                <p:cNvSpPr>
                  <a:spLocks/>
                </p:cNvSpPr>
                <p:nvPr/>
              </p:nvSpPr>
              <p:spPr bwMode="auto">
                <a:xfrm>
                  <a:off x="11053763" y="4278313"/>
                  <a:ext cx="279400" cy="285750"/>
                </a:xfrm>
                <a:custGeom>
                  <a:avLst/>
                  <a:gdLst>
                    <a:gd name="T0" fmla="*/ 0 w 176"/>
                    <a:gd name="T1" fmla="*/ 0 h 180"/>
                    <a:gd name="T2" fmla="*/ 0 w 176"/>
                    <a:gd name="T3" fmla="*/ 180 h 180"/>
                    <a:gd name="T4" fmla="*/ 176 w 176"/>
                    <a:gd name="T5" fmla="*/ 180 h 180"/>
                    <a:gd name="T6" fmla="*/ 176 w 176"/>
                    <a:gd name="T7" fmla="*/ 176 h 180"/>
                    <a:gd name="T8" fmla="*/ 176 w 176"/>
                    <a:gd name="T9" fmla="*/ 176 h 180"/>
                    <a:gd name="T10" fmla="*/ 174 w 176"/>
                    <a:gd name="T11" fmla="*/ 158 h 180"/>
                    <a:gd name="T12" fmla="*/ 172 w 176"/>
                    <a:gd name="T13" fmla="*/ 140 h 180"/>
                    <a:gd name="T14" fmla="*/ 168 w 176"/>
                    <a:gd name="T15" fmla="*/ 124 h 180"/>
                    <a:gd name="T16" fmla="*/ 162 w 176"/>
                    <a:gd name="T17" fmla="*/ 106 h 180"/>
                    <a:gd name="T18" fmla="*/ 154 w 176"/>
                    <a:gd name="T19" fmla="*/ 92 h 180"/>
                    <a:gd name="T20" fmla="*/ 146 w 176"/>
                    <a:gd name="T21" fmla="*/ 76 h 180"/>
                    <a:gd name="T22" fmla="*/ 136 w 176"/>
                    <a:gd name="T23" fmla="*/ 64 h 180"/>
                    <a:gd name="T24" fmla="*/ 124 w 176"/>
                    <a:gd name="T25" fmla="*/ 50 h 180"/>
                    <a:gd name="T26" fmla="*/ 112 w 176"/>
                    <a:gd name="T27" fmla="*/ 40 h 180"/>
                    <a:gd name="T28" fmla="*/ 98 w 176"/>
                    <a:gd name="T29" fmla="*/ 30 h 180"/>
                    <a:gd name="T30" fmla="*/ 84 w 176"/>
                    <a:gd name="T31" fmla="*/ 20 h 180"/>
                    <a:gd name="T32" fmla="*/ 68 w 176"/>
                    <a:gd name="T33" fmla="*/ 14 h 180"/>
                    <a:gd name="T34" fmla="*/ 52 w 176"/>
                    <a:gd name="T35" fmla="*/ 8 h 180"/>
                    <a:gd name="T36" fmla="*/ 34 w 176"/>
                    <a:gd name="T37" fmla="*/ 2 h 180"/>
                    <a:gd name="T38" fmla="*/ 18 w 176"/>
                    <a:gd name="T39" fmla="*/ 0 h 180"/>
                    <a:gd name="T40" fmla="*/ 0 w 176"/>
                    <a:gd name="T41" fmla="*/ 0 h 1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76" h="180">
                      <a:moveTo>
                        <a:pt x="0" y="0"/>
                      </a:moveTo>
                      <a:lnTo>
                        <a:pt x="0" y="180"/>
                      </a:lnTo>
                      <a:lnTo>
                        <a:pt x="176" y="180"/>
                      </a:lnTo>
                      <a:lnTo>
                        <a:pt x="176" y="176"/>
                      </a:lnTo>
                      <a:lnTo>
                        <a:pt x="176" y="176"/>
                      </a:lnTo>
                      <a:lnTo>
                        <a:pt x="174" y="158"/>
                      </a:lnTo>
                      <a:lnTo>
                        <a:pt x="172" y="140"/>
                      </a:lnTo>
                      <a:lnTo>
                        <a:pt x="168" y="124"/>
                      </a:lnTo>
                      <a:lnTo>
                        <a:pt x="162" y="106"/>
                      </a:lnTo>
                      <a:lnTo>
                        <a:pt x="154" y="92"/>
                      </a:lnTo>
                      <a:lnTo>
                        <a:pt x="146" y="76"/>
                      </a:lnTo>
                      <a:lnTo>
                        <a:pt x="136" y="64"/>
                      </a:lnTo>
                      <a:lnTo>
                        <a:pt x="124" y="50"/>
                      </a:lnTo>
                      <a:lnTo>
                        <a:pt x="112" y="40"/>
                      </a:lnTo>
                      <a:lnTo>
                        <a:pt x="98" y="30"/>
                      </a:lnTo>
                      <a:lnTo>
                        <a:pt x="84" y="20"/>
                      </a:lnTo>
                      <a:lnTo>
                        <a:pt x="68" y="14"/>
                      </a:lnTo>
                      <a:lnTo>
                        <a:pt x="52" y="8"/>
                      </a:lnTo>
                      <a:lnTo>
                        <a:pt x="34" y="2"/>
                      </a:lnTo>
                      <a:lnTo>
                        <a:pt x="1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06" tIns="44802" rIns="89606" bIns="4480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005"/>
                  <a:endParaRPr lang="en-US" sz="1764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95" name="Freeform 48"/>
                <p:cNvSpPr>
                  <a:spLocks/>
                </p:cNvSpPr>
                <p:nvPr/>
              </p:nvSpPr>
              <p:spPr bwMode="auto">
                <a:xfrm>
                  <a:off x="11053763" y="4278313"/>
                  <a:ext cx="279400" cy="285750"/>
                </a:xfrm>
                <a:custGeom>
                  <a:avLst/>
                  <a:gdLst>
                    <a:gd name="T0" fmla="*/ 0 w 176"/>
                    <a:gd name="T1" fmla="*/ 0 h 180"/>
                    <a:gd name="T2" fmla="*/ 0 w 176"/>
                    <a:gd name="T3" fmla="*/ 180 h 180"/>
                    <a:gd name="T4" fmla="*/ 176 w 176"/>
                    <a:gd name="T5" fmla="*/ 180 h 180"/>
                    <a:gd name="T6" fmla="*/ 176 w 176"/>
                    <a:gd name="T7" fmla="*/ 176 h 180"/>
                    <a:gd name="T8" fmla="*/ 176 w 176"/>
                    <a:gd name="T9" fmla="*/ 176 h 180"/>
                    <a:gd name="T10" fmla="*/ 174 w 176"/>
                    <a:gd name="T11" fmla="*/ 158 h 180"/>
                    <a:gd name="T12" fmla="*/ 172 w 176"/>
                    <a:gd name="T13" fmla="*/ 140 h 180"/>
                    <a:gd name="T14" fmla="*/ 168 w 176"/>
                    <a:gd name="T15" fmla="*/ 124 h 180"/>
                    <a:gd name="T16" fmla="*/ 162 w 176"/>
                    <a:gd name="T17" fmla="*/ 106 h 180"/>
                    <a:gd name="T18" fmla="*/ 154 w 176"/>
                    <a:gd name="T19" fmla="*/ 92 h 180"/>
                    <a:gd name="T20" fmla="*/ 146 w 176"/>
                    <a:gd name="T21" fmla="*/ 76 h 180"/>
                    <a:gd name="T22" fmla="*/ 136 w 176"/>
                    <a:gd name="T23" fmla="*/ 64 h 180"/>
                    <a:gd name="T24" fmla="*/ 124 w 176"/>
                    <a:gd name="T25" fmla="*/ 50 h 180"/>
                    <a:gd name="T26" fmla="*/ 112 w 176"/>
                    <a:gd name="T27" fmla="*/ 40 h 180"/>
                    <a:gd name="T28" fmla="*/ 98 w 176"/>
                    <a:gd name="T29" fmla="*/ 30 h 180"/>
                    <a:gd name="T30" fmla="*/ 84 w 176"/>
                    <a:gd name="T31" fmla="*/ 20 h 180"/>
                    <a:gd name="T32" fmla="*/ 68 w 176"/>
                    <a:gd name="T33" fmla="*/ 14 h 180"/>
                    <a:gd name="T34" fmla="*/ 52 w 176"/>
                    <a:gd name="T35" fmla="*/ 8 h 180"/>
                    <a:gd name="T36" fmla="*/ 34 w 176"/>
                    <a:gd name="T37" fmla="*/ 2 h 180"/>
                    <a:gd name="T38" fmla="*/ 18 w 176"/>
                    <a:gd name="T39" fmla="*/ 0 h 180"/>
                    <a:gd name="T40" fmla="*/ 0 w 176"/>
                    <a:gd name="T41" fmla="*/ 0 h 1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76" h="180">
                      <a:moveTo>
                        <a:pt x="0" y="0"/>
                      </a:moveTo>
                      <a:lnTo>
                        <a:pt x="0" y="180"/>
                      </a:lnTo>
                      <a:lnTo>
                        <a:pt x="176" y="180"/>
                      </a:lnTo>
                      <a:lnTo>
                        <a:pt x="176" y="176"/>
                      </a:lnTo>
                      <a:lnTo>
                        <a:pt x="176" y="176"/>
                      </a:lnTo>
                      <a:lnTo>
                        <a:pt x="174" y="158"/>
                      </a:lnTo>
                      <a:lnTo>
                        <a:pt x="172" y="140"/>
                      </a:lnTo>
                      <a:lnTo>
                        <a:pt x="168" y="124"/>
                      </a:lnTo>
                      <a:lnTo>
                        <a:pt x="162" y="106"/>
                      </a:lnTo>
                      <a:lnTo>
                        <a:pt x="154" y="92"/>
                      </a:lnTo>
                      <a:lnTo>
                        <a:pt x="146" y="76"/>
                      </a:lnTo>
                      <a:lnTo>
                        <a:pt x="136" y="64"/>
                      </a:lnTo>
                      <a:lnTo>
                        <a:pt x="124" y="50"/>
                      </a:lnTo>
                      <a:lnTo>
                        <a:pt x="112" y="40"/>
                      </a:lnTo>
                      <a:lnTo>
                        <a:pt x="98" y="30"/>
                      </a:lnTo>
                      <a:lnTo>
                        <a:pt x="84" y="20"/>
                      </a:lnTo>
                      <a:lnTo>
                        <a:pt x="68" y="14"/>
                      </a:lnTo>
                      <a:lnTo>
                        <a:pt x="52" y="8"/>
                      </a:lnTo>
                      <a:lnTo>
                        <a:pt x="34" y="2"/>
                      </a:lnTo>
                      <a:lnTo>
                        <a:pt x="18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06" tIns="44802" rIns="89606" bIns="4480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005"/>
                  <a:endParaRPr lang="en-US" sz="1764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96" name="Rectangle 49"/>
                <p:cNvSpPr>
                  <a:spLocks noChangeArrowheads="1"/>
                </p:cNvSpPr>
                <p:nvPr/>
              </p:nvSpPr>
              <p:spPr bwMode="auto">
                <a:xfrm>
                  <a:off x="11326813" y="3900488"/>
                  <a:ext cx="53975" cy="5397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89606" tIns="44802" rIns="89606" bIns="4480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005"/>
                  <a:endParaRPr lang="en-US" sz="1764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97" name="Freeform 50"/>
                <p:cNvSpPr>
                  <a:spLocks noEditPoints="1"/>
                </p:cNvSpPr>
                <p:nvPr/>
              </p:nvSpPr>
              <p:spPr bwMode="auto">
                <a:xfrm>
                  <a:off x="9891713" y="3827463"/>
                  <a:ext cx="1673225" cy="168275"/>
                </a:xfrm>
                <a:custGeom>
                  <a:avLst/>
                  <a:gdLst>
                    <a:gd name="T0" fmla="*/ 0 w 1054"/>
                    <a:gd name="T1" fmla="*/ 0 h 106"/>
                    <a:gd name="T2" fmla="*/ 0 w 1054"/>
                    <a:gd name="T3" fmla="*/ 106 h 106"/>
                    <a:gd name="T4" fmla="*/ 1054 w 1054"/>
                    <a:gd name="T5" fmla="*/ 106 h 106"/>
                    <a:gd name="T6" fmla="*/ 1054 w 1054"/>
                    <a:gd name="T7" fmla="*/ 0 h 106"/>
                    <a:gd name="T8" fmla="*/ 0 w 1054"/>
                    <a:gd name="T9" fmla="*/ 0 h 106"/>
                    <a:gd name="T10" fmla="*/ 860 w 1054"/>
                    <a:gd name="T11" fmla="*/ 88 h 106"/>
                    <a:gd name="T12" fmla="*/ 798 w 1054"/>
                    <a:gd name="T13" fmla="*/ 88 h 106"/>
                    <a:gd name="T14" fmla="*/ 798 w 1054"/>
                    <a:gd name="T15" fmla="*/ 72 h 106"/>
                    <a:gd name="T16" fmla="*/ 860 w 1054"/>
                    <a:gd name="T17" fmla="*/ 72 h 106"/>
                    <a:gd name="T18" fmla="*/ 860 w 1054"/>
                    <a:gd name="T19" fmla="*/ 88 h 106"/>
                    <a:gd name="T20" fmla="*/ 946 w 1054"/>
                    <a:gd name="T21" fmla="*/ 90 h 106"/>
                    <a:gd name="T22" fmla="*/ 890 w 1054"/>
                    <a:gd name="T23" fmla="*/ 90 h 106"/>
                    <a:gd name="T24" fmla="*/ 890 w 1054"/>
                    <a:gd name="T25" fmla="*/ 32 h 106"/>
                    <a:gd name="T26" fmla="*/ 946 w 1054"/>
                    <a:gd name="T27" fmla="*/ 32 h 106"/>
                    <a:gd name="T28" fmla="*/ 946 w 1054"/>
                    <a:gd name="T29" fmla="*/ 90 h 106"/>
                    <a:gd name="T30" fmla="*/ 1032 w 1054"/>
                    <a:gd name="T31" fmla="*/ 78 h 106"/>
                    <a:gd name="T32" fmla="*/ 1020 w 1054"/>
                    <a:gd name="T33" fmla="*/ 90 h 106"/>
                    <a:gd name="T34" fmla="*/ 1004 w 1054"/>
                    <a:gd name="T35" fmla="*/ 74 h 106"/>
                    <a:gd name="T36" fmla="*/ 988 w 1054"/>
                    <a:gd name="T37" fmla="*/ 90 h 106"/>
                    <a:gd name="T38" fmla="*/ 976 w 1054"/>
                    <a:gd name="T39" fmla="*/ 78 h 106"/>
                    <a:gd name="T40" fmla="*/ 992 w 1054"/>
                    <a:gd name="T41" fmla="*/ 62 h 106"/>
                    <a:gd name="T42" fmla="*/ 976 w 1054"/>
                    <a:gd name="T43" fmla="*/ 44 h 106"/>
                    <a:gd name="T44" fmla="*/ 988 w 1054"/>
                    <a:gd name="T45" fmla="*/ 32 h 106"/>
                    <a:gd name="T46" fmla="*/ 1004 w 1054"/>
                    <a:gd name="T47" fmla="*/ 48 h 106"/>
                    <a:gd name="T48" fmla="*/ 1020 w 1054"/>
                    <a:gd name="T49" fmla="*/ 32 h 106"/>
                    <a:gd name="T50" fmla="*/ 1032 w 1054"/>
                    <a:gd name="T51" fmla="*/ 44 h 106"/>
                    <a:gd name="T52" fmla="*/ 1016 w 1054"/>
                    <a:gd name="T53" fmla="*/ 62 h 106"/>
                    <a:gd name="T54" fmla="*/ 1032 w 1054"/>
                    <a:gd name="T55" fmla="*/ 78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1054" h="106">
                      <a:moveTo>
                        <a:pt x="0" y="0"/>
                      </a:moveTo>
                      <a:lnTo>
                        <a:pt x="0" y="106"/>
                      </a:lnTo>
                      <a:lnTo>
                        <a:pt x="1054" y="106"/>
                      </a:lnTo>
                      <a:lnTo>
                        <a:pt x="1054" y="0"/>
                      </a:lnTo>
                      <a:lnTo>
                        <a:pt x="0" y="0"/>
                      </a:lnTo>
                      <a:close/>
                      <a:moveTo>
                        <a:pt x="860" y="88"/>
                      </a:moveTo>
                      <a:lnTo>
                        <a:pt x="798" y="88"/>
                      </a:lnTo>
                      <a:lnTo>
                        <a:pt x="798" y="72"/>
                      </a:lnTo>
                      <a:lnTo>
                        <a:pt x="860" y="72"/>
                      </a:lnTo>
                      <a:lnTo>
                        <a:pt x="860" y="88"/>
                      </a:lnTo>
                      <a:close/>
                      <a:moveTo>
                        <a:pt x="946" y="90"/>
                      </a:moveTo>
                      <a:lnTo>
                        <a:pt x="890" y="90"/>
                      </a:lnTo>
                      <a:lnTo>
                        <a:pt x="890" y="32"/>
                      </a:lnTo>
                      <a:lnTo>
                        <a:pt x="946" y="32"/>
                      </a:lnTo>
                      <a:lnTo>
                        <a:pt x="946" y="90"/>
                      </a:lnTo>
                      <a:close/>
                      <a:moveTo>
                        <a:pt x="1032" y="78"/>
                      </a:moveTo>
                      <a:lnTo>
                        <a:pt x="1020" y="90"/>
                      </a:lnTo>
                      <a:lnTo>
                        <a:pt x="1004" y="74"/>
                      </a:lnTo>
                      <a:lnTo>
                        <a:pt x="988" y="90"/>
                      </a:lnTo>
                      <a:lnTo>
                        <a:pt x="976" y="78"/>
                      </a:lnTo>
                      <a:lnTo>
                        <a:pt x="992" y="62"/>
                      </a:lnTo>
                      <a:lnTo>
                        <a:pt x="976" y="44"/>
                      </a:lnTo>
                      <a:lnTo>
                        <a:pt x="988" y="32"/>
                      </a:lnTo>
                      <a:lnTo>
                        <a:pt x="1004" y="48"/>
                      </a:lnTo>
                      <a:lnTo>
                        <a:pt x="1020" y="32"/>
                      </a:lnTo>
                      <a:lnTo>
                        <a:pt x="1032" y="44"/>
                      </a:lnTo>
                      <a:lnTo>
                        <a:pt x="1016" y="62"/>
                      </a:lnTo>
                      <a:lnTo>
                        <a:pt x="1032" y="7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06" tIns="44802" rIns="89606" bIns="4480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005"/>
                  <a:endParaRPr lang="en-US" sz="1764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98" name="Freeform 51"/>
                <p:cNvSpPr>
                  <a:spLocks noEditPoints="1"/>
                </p:cNvSpPr>
                <p:nvPr/>
              </p:nvSpPr>
              <p:spPr bwMode="auto">
                <a:xfrm>
                  <a:off x="9888538" y="4030663"/>
                  <a:ext cx="1670050" cy="1066800"/>
                </a:xfrm>
                <a:custGeom>
                  <a:avLst/>
                  <a:gdLst>
                    <a:gd name="T0" fmla="*/ 0 w 1052"/>
                    <a:gd name="T1" fmla="*/ 0 h 672"/>
                    <a:gd name="T2" fmla="*/ 0 w 1052"/>
                    <a:gd name="T3" fmla="*/ 672 h 672"/>
                    <a:gd name="T4" fmla="*/ 1052 w 1052"/>
                    <a:gd name="T5" fmla="*/ 672 h 672"/>
                    <a:gd name="T6" fmla="*/ 1052 w 1052"/>
                    <a:gd name="T7" fmla="*/ 0 h 672"/>
                    <a:gd name="T8" fmla="*/ 0 w 1052"/>
                    <a:gd name="T9" fmla="*/ 0 h 672"/>
                    <a:gd name="T10" fmla="*/ 1000 w 1052"/>
                    <a:gd name="T11" fmla="*/ 620 h 672"/>
                    <a:gd name="T12" fmla="*/ 54 w 1052"/>
                    <a:gd name="T13" fmla="*/ 620 h 672"/>
                    <a:gd name="T14" fmla="*/ 54 w 1052"/>
                    <a:gd name="T15" fmla="*/ 52 h 672"/>
                    <a:gd name="T16" fmla="*/ 1000 w 1052"/>
                    <a:gd name="T17" fmla="*/ 52 h 672"/>
                    <a:gd name="T18" fmla="*/ 1000 w 1052"/>
                    <a:gd name="T19" fmla="*/ 620 h 6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052" h="672">
                      <a:moveTo>
                        <a:pt x="0" y="0"/>
                      </a:moveTo>
                      <a:lnTo>
                        <a:pt x="0" y="672"/>
                      </a:lnTo>
                      <a:lnTo>
                        <a:pt x="1052" y="672"/>
                      </a:lnTo>
                      <a:lnTo>
                        <a:pt x="1052" y="0"/>
                      </a:lnTo>
                      <a:lnTo>
                        <a:pt x="0" y="0"/>
                      </a:lnTo>
                      <a:close/>
                      <a:moveTo>
                        <a:pt x="1000" y="620"/>
                      </a:moveTo>
                      <a:lnTo>
                        <a:pt x="54" y="620"/>
                      </a:lnTo>
                      <a:lnTo>
                        <a:pt x="54" y="52"/>
                      </a:lnTo>
                      <a:lnTo>
                        <a:pt x="1000" y="52"/>
                      </a:lnTo>
                      <a:lnTo>
                        <a:pt x="1000" y="62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06" tIns="44802" rIns="89606" bIns="4480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005"/>
                  <a:endParaRPr lang="en-US" sz="1764" dirty="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201" name="Group 200"/>
              <p:cNvGrpSpPr/>
              <p:nvPr/>
            </p:nvGrpSpPr>
            <p:grpSpPr>
              <a:xfrm>
                <a:off x="5997019" y="2049792"/>
                <a:ext cx="356718" cy="184666"/>
                <a:chOff x="8944113" y="4176639"/>
                <a:chExt cx="356718" cy="184666"/>
              </a:xfrm>
            </p:grpSpPr>
            <p:sp>
              <p:nvSpPr>
                <p:cNvPr id="199" name="Rounded Rectangle 198"/>
                <p:cNvSpPr/>
                <p:nvPr/>
              </p:nvSpPr>
              <p:spPr>
                <a:xfrm>
                  <a:off x="9017000" y="4184267"/>
                  <a:ext cx="205712" cy="167918"/>
                </a:xfrm>
                <a:prstGeom prst="roundRect">
                  <a:avLst/>
                </a:prstGeom>
                <a:solidFill>
                  <a:srgbClr val="C0202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500" dirty="0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200" name="TextBox 199"/>
                <p:cNvSpPr txBox="1"/>
                <p:nvPr/>
              </p:nvSpPr>
              <p:spPr>
                <a:xfrm>
                  <a:off x="8944113" y="4176639"/>
                  <a:ext cx="356718" cy="18466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600" dirty="0" err="1" smtClean="0">
                      <a:solidFill>
                        <a:schemeClr val="bg1"/>
                      </a:solidFill>
                      <a:latin typeface="Segoe UI Semibold" panose="020B0702040204020203" pitchFamily="34" charset="0"/>
                      <a:cs typeface="Segoe UI Semibold" panose="020B0702040204020203" pitchFamily="34" charset="0"/>
                    </a:rPr>
                    <a:t>InM</a:t>
                  </a:r>
                  <a:endParaRPr lang="en-US" sz="600" dirty="0">
                    <a:solidFill>
                      <a:schemeClr val="bg1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endParaRPr>
                </a:p>
              </p:txBody>
            </p:sp>
          </p:grpSp>
        </p:grpSp>
      </p:grpSp>
      <p:grpSp>
        <p:nvGrpSpPr>
          <p:cNvPr id="378" name="Group 377"/>
          <p:cNvGrpSpPr/>
          <p:nvPr/>
        </p:nvGrpSpPr>
        <p:grpSpPr>
          <a:xfrm>
            <a:off x="10158038" y="1309828"/>
            <a:ext cx="1247129" cy="1087655"/>
            <a:chOff x="10158038" y="1309828"/>
            <a:chExt cx="1247129" cy="1087655"/>
          </a:xfrm>
        </p:grpSpPr>
        <p:sp>
          <p:nvSpPr>
            <p:cNvPr id="242" name="Rectangle 241"/>
            <p:cNvSpPr/>
            <p:nvPr/>
          </p:nvSpPr>
          <p:spPr>
            <a:xfrm>
              <a:off x="10158038" y="1309828"/>
              <a:ext cx="1222547" cy="1087655"/>
            </a:xfrm>
            <a:prstGeom prst="rect">
              <a:avLst/>
            </a:prstGeom>
            <a:solidFill>
              <a:schemeClr val="bg1"/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32" name="Group 97"/>
            <p:cNvGrpSpPr>
              <a:grpSpLocks noChangeAspect="1"/>
            </p:cNvGrpSpPr>
            <p:nvPr/>
          </p:nvGrpSpPr>
          <p:grpSpPr bwMode="auto">
            <a:xfrm>
              <a:off x="10331218" y="1470597"/>
              <a:ext cx="632284" cy="775258"/>
              <a:chOff x="3803" y="1348"/>
              <a:chExt cx="712" cy="873"/>
            </a:xfrm>
            <a:solidFill>
              <a:srgbClr val="595959"/>
            </a:solidFill>
          </p:grpSpPr>
          <p:sp>
            <p:nvSpPr>
              <p:cNvPr id="134" name="Freeform 98"/>
              <p:cNvSpPr>
                <a:spLocks/>
              </p:cNvSpPr>
              <p:nvPr/>
            </p:nvSpPr>
            <p:spPr bwMode="auto">
              <a:xfrm>
                <a:off x="4325" y="1800"/>
                <a:ext cx="190" cy="421"/>
              </a:xfrm>
              <a:custGeom>
                <a:avLst/>
                <a:gdLst>
                  <a:gd name="T0" fmla="*/ 12 w 72"/>
                  <a:gd name="T1" fmla="*/ 0 h 160"/>
                  <a:gd name="T2" fmla="*/ 0 w 72"/>
                  <a:gd name="T3" fmla="*/ 76 h 160"/>
                  <a:gd name="T4" fmla="*/ 57 w 72"/>
                  <a:gd name="T5" fmla="*/ 151 h 160"/>
                  <a:gd name="T6" fmla="*/ 67 w 72"/>
                  <a:gd name="T7" fmla="*/ 151 h 160"/>
                  <a:gd name="T8" fmla="*/ 12 w 72"/>
                  <a:gd name="T9" fmla="*/ 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2" h="160">
                    <a:moveTo>
                      <a:pt x="12" y="0"/>
                    </a:moveTo>
                    <a:cubicBezTo>
                      <a:pt x="11" y="24"/>
                      <a:pt x="8" y="49"/>
                      <a:pt x="0" y="76"/>
                    </a:cubicBezTo>
                    <a:cubicBezTo>
                      <a:pt x="45" y="82"/>
                      <a:pt x="56" y="147"/>
                      <a:pt x="57" y="151"/>
                    </a:cubicBezTo>
                    <a:cubicBezTo>
                      <a:pt x="58" y="160"/>
                      <a:pt x="67" y="157"/>
                      <a:pt x="67" y="151"/>
                    </a:cubicBezTo>
                    <a:cubicBezTo>
                      <a:pt x="72" y="50"/>
                      <a:pt x="21" y="7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Freeform 99"/>
              <p:cNvSpPr>
                <a:spLocks/>
              </p:cNvSpPr>
              <p:nvPr/>
            </p:nvSpPr>
            <p:spPr bwMode="auto">
              <a:xfrm>
                <a:off x="3803" y="1803"/>
                <a:ext cx="187" cy="418"/>
              </a:xfrm>
              <a:custGeom>
                <a:avLst/>
                <a:gdLst>
                  <a:gd name="T0" fmla="*/ 59 w 71"/>
                  <a:gd name="T1" fmla="*/ 0 h 159"/>
                  <a:gd name="T2" fmla="*/ 5 w 71"/>
                  <a:gd name="T3" fmla="*/ 150 h 159"/>
                  <a:gd name="T4" fmla="*/ 15 w 71"/>
                  <a:gd name="T5" fmla="*/ 150 h 159"/>
                  <a:gd name="T6" fmla="*/ 71 w 71"/>
                  <a:gd name="T7" fmla="*/ 75 h 159"/>
                  <a:gd name="T8" fmla="*/ 59 w 71"/>
                  <a:gd name="T9" fmla="*/ 0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1" h="159">
                    <a:moveTo>
                      <a:pt x="59" y="0"/>
                    </a:moveTo>
                    <a:cubicBezTo>
                      <a:pt x="48" y="9"/>
                      <a:pt x="0" y="52"/>
                      <a:pt x="5" y="150"/>
                    </a:cubicBezTo>
                    <a:cubicBezTo>
                      <a:pt x="5" y="156"/>
                      <a:pt x="14" y="159"/>
                      <a:pt x="15" y="150"/>
                    </a:cubicBezTo>
                    <a:cubicBezTo>
                      <a:pt x="16" y="146"/>
                      <a:pt x="27" y="82"/>
                      <a:pt x="71" y="75"/>
                    </a:cubicBezTo>
                    <a:cubicBezTo>
                      <a:pt x="63" y="49"/>
                      <a:pt x="60" y="23"/>
                      <a:pt x="5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Freeform 100"/>
              <p:cNvSpPr>
                <a:spLocks/>
              </p:cNvSpPr>
              <p:nvPr/>
            </p:nvSpPr>
            <p:spPr bwMode="auto">
              <a:xfrm>
                <a:off x="4133" y="1787"/>
                <a:ext cx="52" cy="424"/>
              </a:xfrm>
              <a:custGeom>
                <a:avLst/>
                <a:gdLst>
                  <a:gd name="T0" fmla="*/ 10 w 20"/>
                  <a:gd name="T1" fmla="*/ 0 h 161"/>
                  <a:gd name="T2" fmla="*/ 10 w 20"/>
                  <a:gd name="T3" fmla="*/ 0 h 161"/>
                  <a:gd name="T4" fmla="*/ 10 w 20"/>
                  <a:gd name="T5" fmla="*/ 0 h 161"/>
                  <a:gd name="T6" fmla="*/ 10 w 20"/>
                  <a:gd name="T7" fmla="*/ 0 h 161"/>
                  <a:gd name="T8" fmla="*/ 10 w 20"/>
                  <a:gd name="T9" fmla="*/ 0 h 161"/>
                  <a:gd name="T10" fmla="*/ 0 w 20"/>
                  <a:gd name="T11" fmla="*/ 11 h 161"/>
                  <a:gd name="T12" fmla="*/ 0 w 20"/>
                  <a:gd name="T13" fmla="*/ 149 h 161"/>
                  <a:gd name="T14" fmla="*/ 10 w 20"/>
                  <a:gd name="T15" fmla="*/ 161 h 161"/>
                  <a:gd name="T16" fmla="*/ 10 w 20"/>
                  <a:gd name="T17" fmla="*/ 161 h 161"/>
                  <a:gd name="T18" fmla="*/ 10 w 20"/>
                  <a:gd name="T19" fmla="*/ 161 h 161"/>
                  <a:gd name="T20" fmla="*/ 10 w 20"/>
                  <a:gd name="T21" fmla="*/ 161 h 161"/>
                  <a:gd name="T22" fmla="*/ 10 w 20"/>
                  <a:gd name="T23" fmla="*/ 161 h 161"/>
                  <a:gd name="T24" fmla="*/ 20 w 20"/>
                  <a:gd name="T25" fmla="*/ 149 h 161"/>
                  <a:gd name="T26" fmla="*/ 20 w 20"/>
                  <a:gd name="T27" fmla="*/ 11 h 161"/>
                  <a:gd name="T28" fmla="*/ 10 w 20"/>
                  <a:gd name="T29" fmla="*/ 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0" h="161">
                    <a:moveTo>
                      <a:pt x="10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0" y="0"/>
                      <a:pt x="0" y="11"/>
                      <a:pt x="0" y="11"/>
                    </a:cubicBezTo>
                    <a:cubicBezTo>
                      <a:pt x="0" y="11"/>
                      <a:pt x="0" y="144"/>
                      <a:pt x="0" y="149"/>
                    </a:cubicBezTo>
                    <a:cubicBezTo>
                      <a:pt x="0" y="154"/>
                      <a:pt x="0" y="161"/>
                      <a:pt x="10" y="161"/>
                    </a:cubicBezTo>
                    <a:cubicBezTo>
                      <a:pt x="10" y="161"/>
                      <a:pt x="10" y="161"/>
                      <a:pt x="10" y="161"/>
                    </a:cubicBezTo>
                    <a:cubicBezTo>
                      <a:pt x="10" y="161"/>
                      <a:pt x="10" y="161"/>
                      <a:pt x="10" y="161"/>
                    </a:cubicBezTo>
                    <a:cubicBezTo>
                      <a:pt x="10" y="161"/>
                      <a:pt x="10" y="161"/>
                      <a:pt x="10" y="161"/>
                    </a:cubicBezTo>
                    <a:cubicBezTo>
                      <a:pt x="10" y="161"/>
                      <a:pt x="10" y="161"/>
                      <a:pt x="10" y="161"/>
                    </a:cubicBezTo>
                    <a:cubicBezTo>
                      <a:pt x="20" y="161"/>
                      <a:pt x="20" y="154"/>
                      <a:pt x="20" y="149"/>
                    </a:cubicBezTo>
                    <a:cubicBezTo>
                      <a:pt x="20" y="144"/>
                      <a:pt x="20" y="11"/>
                      <a:pt x="20" y="11"/>
                    </a:cubicBezTo>
                    <a:cubicBezTo>
                      <a:pt x="20" y="11"/>
                      <a:pt x="20" y="0"/>
                      <a:pt x="1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Freeform 101"/>
              <p:cNvSpPr>
                <a:spLocks/>
              </p:cNvSpPr>
              <p:nvPr/>
            </p:nvSpPr>
            <p:spPr bwMode="auto">
              <a:xfrm>
                <a:off x="4075" y="1348"/>
                <a:ext cx="168" cy="97"/>
              </a:xfrm>
              <a:custGeom>
                <a:avLst/>
                <a:gdLst>
                  <a:gd name="T0" fmla="*/ 64 w 64"/>
                  <a:gd name="T1" fmla="*/ 37 h 37"/>
                  <a:gd name="T2" fmla="*/ 32 w 64"/>
                  <a:gd name="T3" fmla="*/ 0 h 37"/>
                  <a:gd name="T4" fmla="*/ 32 w 64"/>
                  <a:gd name="T5" fmla="*/ 0 h 37"/>
                  <a:gd name="T6" fmla="*/ 0 w 64"/>
                  <a:gd name="T7" fmla="*/ 37 h 37"/>
                  <a:gd name="T8" fmla="*/ 64 w 64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37">
                    <a:moveTo>
                      <a:pt x="64" y="37"/>
                    </a:moveTo>
                    <a:cubicBezTo>
                      <a:pt x="51" y="14"/>
                      <a:pt x="38" y="0"/>
                      <a:pt x="32" y="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26" y="0"/>
                      <a:pt x="13" y="14"/>
                      <a:pt x="0" y="37"/>
                    </a:cubicBezTo>
                    <a:lnTo>
                      <a:pt x="64" y="3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Freeform 102"/>
              <p:cNvSpPr>
                <a:spLocks noEditPoints="1"/>
              </p:cNvSpPr>
              <p:nvPr/>
            </p:nvSpPr>
            <p:spPr bwMode="auto">
              <a:xfrm>
                <a:off x="3940" y="1469"/>
                <a:ext cx="438" cy="568"/>
              </a:xfrm>
              <a:custGeom>
                <a:avLst/>
                <a:gdLst>
                  <a:gd name="T0" fmla="*/ 120 w 166"/>
                  <a:gd name="T1" fmla="*/ 0 h 216"/>
                  <a:gd name="T2" fmla="*/ 46 w 166"/>
                  <a:gd name="T3" fmla="*/ 0 h 216"/>
                  <a:gd name="T4" fmla="*/ 32 w 166"/>
                  <a:gd name="T5" fmla="*/ 216 h 216"/>
                  <a:gd name="T6" fmla="*/ 65 w 166"/>
                  <a:gd name="T7" fmla="*/ 216 h 216"/>
                  <a:gd name="T8" fmla="*/ 65 w 166"/>
                  <a:gd name="T9" fmla="*/ 132 h 216"/>
                  <a:gd name="T10" fmla="*/ 70 w 166"/>
                  <a:gd name="T11" fmla="*/ 118 h 216"/>
                  <a:gd name="T12" fmla="*/ 83 w 166"/>
                  <a:gd name="T13" fmla="*/ 113 h 216"/>
                  <a:gd name="T14" fmla="*/ 96 w 166"/>
                  <a:gd name="T15" fmla="*/ 118 h 216"/>
                  <a:gd name="T16" fmla="*/ 101 w 166"/>
                  <a:gd name="T17" fmla="*/ 132 h 216"/>
                  <a:gd name="T18" fmla="*/ 101 w 166"/>
                  <a:gd name="T19" fmla="*/ 216 h 216"/>
                  <a:gd name="T20" fmla="*/ 134 w 166"/>
                  <a:gd name="T21" fmla="*/ 216 h 216"/>
                  <a:gd name="T22" fmla="*/ 120 w 166"/>
                  <a:gd name="T23" fmla="*/ 0 h 216"/>
                  <a:gd name="T24" fmla="*/ 83 w 166"/>
                  <a:gd name="T25" fmla="*/ 75 h 216"/>
                  <a:gd name="T26" fmla="*/ 57 w 166"/>
                  <a:gd name="T27" fmla="*/ 49 h 216"/>
                  <a:gd name="T28" fmla="*/ 83 w 166"/>
                  <a:gd name="T29" fmla="*/ 23 h 216"/>
                  <a:gd name="T30" fmla="*/ 109 w 166"/>
                  <a:gd name="T31" fmla="*/ 49 h 216"/>
                  <a:gd name="T32" fmla="*/ 83 w 166"/>
                  <a:gd name="T33" fmla="*/ 75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66" h="216">
                    <a:moveTo>
                      <a:pt x="120" y="0"/>
                    </a:moveTo>
                    <a:cubicBezTo>
                      <a:pt x="46" y="0"/>
                      <a:pt x="46" y="0"/>
                      <a:pt x="46" y="0"/>
                    </a:cubicBezTo>
                    <a:cubicBezTo>
                      <a:pt x="21" y="47"/>
                      <a:pt x="0" y="126"/>
                      <a:pt x="32" y="216"/>
                    </a:cubicBezTo>
                    <a:cubicBezTo>
                      <a:pt x="32" y="216"/>
                      <a:pt x="50" y="216"/>
                      <a:pt x="65" y="216"/>
                    </a:cubicBezTo>
                    <a:cubicBezTo>
                      <a:pt x="65" y="132"/>
                      <a:pt x="65" y="132"/>
                      <a:pt x="65" y="132"/>
                    </a:cubicBezTo>
                    <a:cubicBezTo>
                      <a:pt x="65" y="130"/>
                      <a:pt x="65" y="123"/>
                      <a:pt x="70" y="118"/>
                    </a:cubicBezTo>
                    <a:cubicBezTo>
                      <a:pt x="72" y="116"/>
                      <a:pt x="77" y="113"/>
                      <a:pt x="83" y="113"/>
                    </a:cubicBezTo>
                    <a:cubicBezTo>
                      <a:pt x="90" y="113"/>
                      <a:pt x="94" y="116"/>
                      <a:pt x="96" y="118"/>
                    </a:cubicBezTo>
                    <a:cubicBezTo>
                      <a:pt x="101" y="123"/>
                      <a:pt x="101" y="130"/>
                      <a:pt x="101" y="132"/>
                    </a:cubicBezTo>
                    <a:cubicBezTo>
                      <a:pt x="101" y="216"/>
                      <a:pt x="101" y="216"/>
                      <a:pt x="101" y="216"/>
                    </a:cubicBezTo>
                    <a:cubicBezTo>
                      <a:pt x="116" y="216"/>
                      <a:pt x="134" y="216"/>
                      <a:pt x="134" y="216"/>
                    </a:cubicBezTo>
                    <a:cubicBezTo>
                      <a:pt x="166" y="126"/>
                      <a:pt x="145" y="47"/>
                      <a:pt x="120" y="0"/>
                    </a:cubicBezTo>
                    <a:close/>
                    <a:moveTo>
                      <a:pt x="83" y="75"/>
                    </a:moveTo>
                    <a:cubicBezTo>
                      <a:pt x="69" y="75"/>
                      <a:pt x="57" y="63"/>
                      <a:pt x="57" y="49"/>
                    </a:cubicBezTo>
                    <a:cubicBezTo>
                      <a:pt x="57" y="35"/>
                      <a:pt x="69" y="23"/>
                      <a:pt x="83" y="23"/>
                    </a:cubicBezTo>
                    <a:cubicBezTo>
                      <a:pt x="97" y="23"/>
                      <a:pt x="109" y="35"/>
                      <a:pt x="109" y="49"/>
                    </a:cubicBezTo>
                    <a:cubicBezTo>
                      <a:pt x="109" y="63"/>
                      <a:pt x="97" y="75"/>
                      <a:pt x="83" y="7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Freeform 103"/>
              <p:cNvSpPr>
                <a:spLocks/>
              </p:cNvSpPr>
              <p:nvPr/>
            </p:nvSpPr>
            <p:spPr bwMode="auto">
              <a:xfrm>
                <a:off x="4022" y="2056"/>
                <a:ext cx="90" cy="21"/>
              </a:xfrm>
              <a:custGeom>
                <a:avLst/>
                <a:gdLst>
                  <a:gd name="T0" fmla="*/ 34 w 34"/>
                  <a:gd name="T1" fmla="*/ 0 h 8"/>
                  <a:gd name="T2" fmla="*/ 5 w 34"/>
                  <a:gd name="T3" fmla="*/ 0 h 8"/>
                  <a:gd name="T4" fmla="*/ 0 w 34"/>
                  <a:gd name="T5" fmla="*/ 4 h 8"/>
                  <a:gd name="T6" fmla="*/ 5 w 34"/>
                  <a:gd name="T7" fmla="*/ 8 h 8"/>
                  <a:gd name="T8" fmla="*/ 34 w 34"/>
                  <a:gd name="T9" fmla="*/ 8 h 8"/>
                  <a:gd name="T10" fmla="*/ 34 w 34"/>
                  <a:gd name="T11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4" h="8">
                    <a:moveTo>
                      <a:pt x="34" y="0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6"/>
                      <a:pt x="2" y="8"/>
                      <a:pt x="5" y="8"/>
                    </a:cubicBezTo>
                    <a:cubicBezTo>
                      <a:pt x="34" y="8"/>
                      <a:pt x="34" y="8"/>
                      <a:pt x="34" y="8"/>
                    </a:cubicBezTo>
                    <a:lnTo>
                      <a:pt x="3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Freeform 104"/>
              <p:cNvSpPr>
                <a:spLocks/>
              </p:cNvSpPr>
              <p:nvPr/>
            </p:nvSpPr>
            <p:spPr bwMode="auto">
              <a:xfrm>
                <a:off x="4207" y="2056"/>
                <a:ext cx="89" cy="21"/>
              </a:xfrm>
              <a:custGeom>
                <a:avLst/>
                <a:gdLst>
                  <a:gd name="T0" fmla="*/ 30 w 34"/>
                  <a:gd name="T1" fmla="*/ 0 h 8"/>
                  <a:gd name="T2" fmla="*/ 0 w 34"/>
                  <a:gd name="T3" fmla="*/ 0 h 8"/>
                  <a:gd name="T4" fmla="*/ 0 w 34"/>
                  <a:gd name="T5" fmla="*/ 8 h 8"/>
                  <a:gd name="T6" fmla="*/ 30 w 34"/>
                  <a:gd name="T7" fmla="*/ 8 h 8"/>
                  <a:gd name="T8" fmla="*/ 34 w 34"/>
                  <a:gd name="T9" fmla="*/ 4 h 8"/>
                  <a:gd name="T10" fmla="*/ 30 w 34"/>
                  <a:gd name="T11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4" h="8">
                    <a:moveTo>
                      <a:pt x="3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30" y="8"/>
                      <a:pt x="30" y="8"/>
                      <a:pt x="30" y="8"/>
                    </a:cubicBezTo>
                    <a:cubicBezTo>
                      <a:pt x="32" y="8"/>
                      <a:pt x="34" y="6"/>
                      <a:pt x="34" y="4"/>
                    </a:cubicBezTo>
                    <a:cubicBezTo>
                      <a:pt x="34" y="2"/>
                      <a:pt x="32" y="0"/>
                      <a:pt x="3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50" name="Group 249"/>
            <p:cNvGrpSpPr/>
            <p:nvPr/>
          </p:nvGrpSpPr>
          <p:grpSpPr>
            <a:xfrm>
              <a:off x="10769022" y="1558164"/>
              <a:ext cx="636145" cy="519520"/>
              <a:chOff x="8355179" y="3227310"/>
              <a:chExt cx="636145" cy="613473"/>
            </a:xfrm>
          </p:grpSpPr>
          <p:sp>
            <p:nvSpPr>
              <p:cNvPr id="248" name="TextBox 247"/>
              <p:cNvSpPr txBox="1"/>
              <p:nvPr/>
            </p:nvSpPr>
            <p:spPr>
              <a:xfrm>
                <a:off x="8355179" y="3227310"/>
                <a:ext cx="636145" cy="29983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50" dirty="0" smtClean="0">
                    <a:solidFill>
                      <a:srgbClr val="595959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5.5-13x</a:t>
                </a:r>
                <a:endParaRPr lang="en-US" sz="1050" dirty="0">
                  <a:solidFill>
                    <a:srgbClr val="595959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endParaRPr>
              </a:p>
            </p:txBody>
          </p:sp>
          <p:sp>
            <p:nvSpPr>
              <p:cNvPr id="249" name="Up Arrow 248"/>
              <p:cNvSpPr/>
              <p:nvPr/>
            </p:nvSpPr>
            <p:spPr>
              <a:xfrm>
                <a:off x="8599389" y="3536435"/>
                <a:ext cx="137391" cy="304348"/>
              </a:xfrm>
              <a:prstGeom prst="upArrow">
                <a:avLst/>
              </a:prstGeom>
              <a:solidFill>
                <a:srgbClr val="C0202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319" name="Group 318"/>
          <p:cNvGrpSpPr>
            <a:grpSpLocks noChangeAspect="1"/>
          </p:cNvGrpSpPr>
          <p:nvPr/>
        </p:nvGrpSpPr>
        <p:grpSpPr>
          <a:xfrm>
            <a:off x="5947000" y="4664861"/>
            <a:ext cx="963098" cy="990072"/>
            <a:chOff x="6013451" y="3827462"/>
            <a:chExt cx="1530350" cy="1573212"/>
          </a:xfrm>
        </p:grpSpPr>
        <p:grpSp>
          <p:nvGrpSpPr>
            <p:cNvPr id="251" name="Group 113"/>
            <p:cNvGrpSpPr>
              <a:grpSpLocks noChangeAspect="1"/>
            </p:cNvGrpSpPr>
            <p:nvPr/>
          </p:nvGrpSpPr>
          <p:grpSpPr bwMode="auto">
            <a:xfrm>
              <a:off x="6013451" y="3827462"/>
              <a:ext cx="1530350" cy="1573212"/>
              <a:chOff x="3788" y="2411"/>
              <a:chExt cx="964" cy="991"/>
            </a:xfrm>
          </p:grpSpPr>
          <p:sp>
            <p:nvSpPr>
              <p:cNvPr id="253" name="Freeform 114"/>
              <p:cNvSpPr>
                <a:spLocks/>
              </p:cNvSpPr>
              <p:nvPr/>
            </p:nvSpPr>
            <p:spPr bwMode="auto">
              <a:xfrm>
                <a:off x="3788" y="3229"/>
                <a:ext cx="900" cy="117"/>
              </a:xfrm>
              <a:custGeom>
                <a:avLst/>
                <a:gdLst>
                  <a:gd name="T0" fmla="*/ 784 w 900"/>
                  <a:gd name="T1" fmla="*/ 117 h 117"/>
                  <a:gd name="T2" fmla="*/ 0 w 900"/>
                  <a:gd name="T3" fmla="*/ 117 h 117"/>
                  <a:gd name="T4" fmla="*/ 118 w 900"/>
                  <a:gd name="T5" fmla="*/ 0 h 117"/>
                  <a:gd name="T6" fmla="*/ 900 w 900"/>
                  <a:gd name="T7" fmla="*/ 0 h 117"/>
                  <a:gd name="T8" fmla="*/ 784 w 900"/>
                  <a:gd name="T9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00" h="117">
                    <a:moveTo>
                      <a:pt x="784" y="117"/>
                    </a:moveTo>
                    <a:lnTo>
                      <a:pt x="0" y="117"/>
                    </a:lnTo>
                    <a:lnTo>
                      <a:pt x="118" y="0"/>
                    </a:lnTo>
                    <a:lnTo>
                      <a:pt x="900" y="0"/>
                    </a:lnTo>
                    <a:lnTo>
                      <a:pt x="784" y="117"/>
                    </a:lnTo>
                    <a:close/>
                  </a:path>
                </a:pathLst>
              </a:cu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254" name="Freeform 115"/>
              <p:cNvSpPr>
                <a:spLocks/>
              </p:cNvSpPr>
              <p:nvPr/>
            </p:nvSpPr>
            <p:spPr bwMode="auto">
              <a:xfrm>
                <a:off x="3788" y="3229"/>
                <a:ext cx="900" cy="117"/>
              </a:xfrm>
              <a:custGeom>
                <a:avLst/>
                <a:gdLst>
                  <a:gd name="T0" fmla="*/ 784 w 900"/>
                  <a:gd name="T1" fmla="*/ 117 h 117"/>
                  <a:gd name="T2" fmla="*/ 0 w 900"/>
                  <a:gd name="T3" fmla="*/ 117 h 117"/>
                  <a:gd name="T4" fmla="*/ 118 w 900"/>
                  <a:gd name="T5" fmla="*/ 0 h 117"/>
                  <a:gd name="T6" fmla="*/ 900 w 900"/>
                  <a:gd name="T7" fmla="*/ 0 h 117"/>
                  <a:gd name="T8" fmla="*/ 784 w 900"/>
                  <a:gd name="T9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00" h="117">
                    <a:moveTo>
                      <a:pt x="784" y="117"/>
                    </a:moveTo>
                    <a:lnTo>
                      <a:pt x="0" y="117"/>
                    </a:lnTo>
                    <a:lnTo>
                      <a:pt x="118" y="0"/>
                    </a:lnTo>
                    <a:lnTo>
                      <a:pt x="900" y="0"/>
                    </a:lnTo>
                    <a:lnTo>
                      <a:pt x="784" y="117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255" name="Freeform 116"/>
              <p:cNvSpPr>
                <a:spLocks/>
              </p:cNvSpPr>
              <p:nvPr/>
            </p:nvSpPr>
            <p:spPr bwMode="auto">
              <a:xfrm>
                <a:off x="3790" y="2411"/>
                <a:ext cx="116" cy="935"/>
              </a:xfrm>
              <a:custGeom>
                <a:avLst/>
                <a:gdLst>
                  <a:gd name="T0" fmla="*/ 116 w 116"/>
                  <a:gd name="T1" fmla="*/ 818 h 935"/>
                  <a:gd name="T2" fmla="*/ 0 w 116"/>
                  <a:gd name="T3" fmla="*/ 935 h 935"/>
                  <a:gd name="T4" fmla="*/ 0 w 116"/>
                  <a:gd name="T5" fmla="*/ 118 h 935"/>
                  <a:gd name="T6" fmla="*/ 116 w 116"/>
                  <a:gd name="T7" fmla="*/ 0 h 935"/>
                  <a:gd name="T8" fmla="*/ 116 w 116"/>
                  <a:gd name="T9" fmla="*/ 818 h 9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6" h="935">
                    <a:moveTo>
                      <a:pt x="116" y="818"/>
                    </a:moveTo>
                    <a:lnTo>
                      <a:pt x="0" y="935"/>
                    </a:lnTo>
                    <a:lnTo>
                      <a:pt x="0" y="118"/>
                    </a:lnTo>
                    <a:lnTo>
                      <a:pt x="116" y="0"/>
                    </a:lnTo>
                    <a:lnTo>
                      <a:pt x="116" y="818"/>
                    </a:ln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256" name="Freeform 117"/>
              <p:cNvSpPr>
                <a:spLocks/>
              </p:cNvSpPr>
              <p:nvPr/>
            </p:nvSpPr>
            <p:spPr bwMode="auto">
              <a:xfrm>
                <a:off x="3790" y="2411"/>
                <a:ext cx="116" cy="935"/>
              </a:xfrm>
              <a:custGeom>
                <a:avLst/>
                <a:gdLst>
                  <a:gd name="T0" fmla="*/ 116 w 116"/>
                  <a:gd name="T1" fmla="*/ 818 h 935"/>
                  <a:gd name="T2" fmla="*/ 0 w 116"/>
                  <a:gd name="T3" fmla="*/ 935 h 935"/>
                  <a:gd name="T4" fmla="*/ 0 w 116"/>
                  <a:gd name="T5" fmla="*/ 118 h 935"/>
                  <a:gd name="T6" fmla="*/ 116 w 116"/>
                  <a:gd name="T7" fmla="*/ 0 h 935"/>
                  <a:gd name="T8" fmla="*/ 116 w 116"/>
                  <a:gd name="T9" fmla="*/ 818 h 9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6" h="935">
                    <a:moveTo>
                      <a:pt x="116" y="818"/>
                    </a:moveTo>
                    <a:lnTo>
                      <a:pt x="0" y="935"/>
                    </a:lnTo>
                    <a:lnTo>
                      <a:pt x="0" y="118"/>
                    </a:lnTo>
                    <a:lnTo>
                      <a:pt x="116" y="0"/>
                    </a:lnTo>
                    <a:lnTo>
                      <a:pt x="116" y="818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257" name="Freeform 118"/>
              <p:cNvSpPr>
                <a:spLocks/>
              </p:cNvSpPr>
              <p:nvPr/>
            </p:nvSpPr>
            <p:spPr bwMode="auto">
              <a:xfrm>
                <a:off x="3790" y="2411"/>
                <a:ext cx="116" cy="311"/>
              </a:xfrm>
              <a:custGeom>
                <a:avLst/>
                <a:gdLst>
                  <a:gd name="T0" fmla="*/ 116 w 116"/>
                  <a:gd name="T1" fmla="*/ 193 h 311"/>
                  <a:gd name="T2" fmla="*/ 0 w 116"/>
                  <a:gd name="T3" fmla="*/ 311 h 311"/>
                  <a:gd name="T4" fmla="*/ 0 w 116"/>
                  <a:gd name="T5" fmla="*/ 118 h 311"/>
                  <a:gd name="T6" fmla="*/ 116 w 116"/>
                  <a:gd name="T7" fmla="*/ 0 h 311"/>
                  <a:gd name="T8" fmla="*/ 116 w 116"/>
                  <a:gd name="T9" fmla="*/ 193 h 3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6" h="311">
                    <a:moveTo>
                      <a:pt x="116" y="193"/>
                    </a:moveTo>
                    <a:lnTo>
                      <a:pt x="0" y="311"/>
                    </a:lnTo>
                    <a:lnTo>
                      <a:pt x="0" y="118"/>
                    </a:lnTo>
                    <a:lnTo>
                      <a:pt x="116" y="0"/>
                    </a:lnTo>
                    <a:lnTo>
                      <a:pt x="116" y="193"/>
                    </a:lnTo>
                    <a:close/>
                  </a:path>
                </a:pathLst>
              </a:custGeom>
              <a:solidFill>
                <a:srgbClr val="AA121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258" name="Freeform 119"/>
              <p:cNvSpPr>
                <a:spLocks/>
              </p:cNvSpPr>
              <p:nvPr/>
            </p:nvSpPr>
            <p:spPr bwMode="auto">
              <a:xfrm>
                <a:off x="3790" y="2411"/>
                <a:ext cx="116" cy="311"/>
              </a:xfrm>
              <a:custGeom>
                <a:avLst/>
                <a:gdLst>
                  <a:gd name="T0" fmla="*/ 116 w 116"/>
                  <a:gd name="T1" fmla="*/ 193 h 311"/>
                  <a:gd name="T2" fmla="*/ 0 w 116"/>
                  <a:gd name="T3" fmla="*/ 311 h 311"/>
                  <a:gd name="T4" fmla="*/ 0 w 116"/>
                  <a:gd name="T5" fmla="*/ 118 h 311"/>
                  <a:gd name="T6" fmla="*/ 116 w 116"/>
                  <a:gd name="T7" fmla="*/ 0 h 311"/>
                  <a:gd name="T8" fmla="*/ 116 w 116"/>
                  <a:gd name="T9" fmla="*/ 193 h 3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6" h="311">
                    <a:moveTo>
                      <a:pt x="116" y="193"/>
                    </a:moveTo>
                    <a:lnTo>
                      <a:pt x="0" y="311"/>
                    </a:lnTo>
                    <a:lnTo>
                      <a:pt x="0" y="118"/>
                    </a:lnTo>
                    <a:lnTo>
                      <a:pt x="116" y="0"/>
                    </a:lnTo>
                    <a:lnTo>
                      <a:pt x="116" y="193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259" name="Rectangle 120"/>
              <p:cNvSpPr>
                <a:spLocks noChangeArrowheads="1"/>
              </p:cNvSpPr>
              <p:nvPr/>
            </p:nvSpPr>
            <p:spPr bwMode="auto">
              <a:xfrm>
                <a:off x="3906" y="2411"/>
                <a:ext cx="782" cy="818"/>
              </a:xfrm>
              <a:prstGeom prst="rect">
                <a:avLst/>
              </a:pr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260" name="Rectangle 121"/>
              <p:cNvSpPr>
                <a:spLocks noChangeArrowheads="1"/>
              </p:cNvSpPr>
              <p:nvPr/>
            </p:nvSpPr>
            <p:spPr bwMode="auto">
              <a:xfrm>
                <a:off x="3906" y="2411"/>
                <a:ext cx="782" cy="81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261" name="Rectangle 122"/>
              <p:cNvSpPr>
                <a:spLocks noChangeArrowheads="1"/>
              </p:cNvSpPr>
              <p:nvPr/>
            </p:nvSpPr>
            <p:spPr bwMode="auto">
              <a:xfrm>
                <a:off x="3906" y="2411"/>
                <a:ext cx="782" cy="193"/>
              </a:xfrm>
              <a:prstGeom prst="rect">
                <a:avLst/>
              </a:prstGeom>
              <a:solidFill>
                <a:srgbClr val="C020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262" name="Rectangle 123"/>
              <p:cNvSpPr>
                <a:spLocks noChangeArrowheads="1"/>
              </p:cNvSpPr>
              <p:nvPr/>
            </p:nvSpPr>
            <p:spPr bwMode="auto">
              <a:xfrm>
                <a:off x="3906" y="2411"/>
                <a:ext cx="782" cy="19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263" name="Freeform 124"/>
              <p:cNvSpPr>
                <a:spLocks/>
              </p:cNvSpPr>
              <p:nvPr/>
            </p:nvSpPr>
            <p:spPr bwMode="auto">
              <a:xfrm>
                <a:off x="3889" y="3229"/>
                <a:ext cx="786" cy="99"/>
              </a:xfrm>
              <a:custGeom>
                <a:avLst/>
                <a:gdLst>
                  <a:gd name="T0" fmla="*/ 786 w 786"/>
                  <a:gd name="T1" fmla="*/ 0 h 99"/>
                  <a:gd name="T2" fmla="*/ 17 w 786"/>
                  <a:gd name="T3" fmla="*/ 0 h 99"/>
                  <a:gd name="T4" fmla="*/ 0 w 786"/>
                  <a:gd name="T5" fmla="*/ 17 h 99"/>
                  <a:gd name="T6" fmla="*/ 10 w 786"/>
                  <a:gd name="T7" fmla="*/ 99 h 99"/>
                  <a:gd name="T8" fmla="*/ 786 w 786"/>
                  <a:gd name="T9" fmla="*/ 10 h 99"/>
                  <a:gd name="T10" fmla="*/ 786 w 786"/>
                  <a:gd name="T11" fmla="*/ 0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86" h="99">
                    <a:moveTo>
                      <a:pt x="786" y="0"/>
                    </a:moveTo>
                    <a:lnTo>
                      <a:pt x="17" y="0"/>
                    </a:lnTo>
                    <a:lnTo>
                      <a:pt x="0" y="17"/>
                    </a:lnTo>
                    <a:lnTo>
                      <a:pt x="10" y="99"/>
                    </a:lnTo>
                    <a:lnTo>
                      <a:pt x="786" y="10"/>
                    </a:lnTo>
                    <a:lnTo>
                      <a:pt x="786" y="0"/>
                    </a:lnTo>
                    <a:close/>
                  </a:path>
                </a:pathLst>
              </a:custGeom>
              <a:solidFill>
                <a:srgbClr val="8787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264" name="Freeform 125"/>
              <p:cNvSpPr>
                <a:spLocks/>
              </p:cNvSpPr>
              <p:nvPr/>
            </p:nvSpPr>
            <p:spPr bwMode="auto">
              <a:xfrm>
                <a:off x="3889" y="3229"/>
                <a:ext cx="786" cy="99"/>
              </a:xfrm>
              <a:custGeom>
                <a:avLst/>
                <a:gdLst>
                  <a:gd name="T0" fmla="*/ 786 w 786"/>
                  <a:gd name="T1" fmla="*/ 0 h 99"/>
                  <a:gd name="T2" fmla="*/ 17 w 786"/>
                  <a:gd name="T3" fmla="*/ 0 h 99"/>
                  <a:gd name="T4" fmla="*/ 0 w 786"/>
                  <a:gd name="T5" fmla="*/ 17 h 99"/>
                  <a:gd name="T6" fmla="*/ 10 w 786"/>
                  <a:gd name="T7" fmla="*/ 99 h 99"/>
                  <a:gd name="T8" fmla="*/ 786 w 786"/>
                  <a:gd name="T9" fmla="*/ 10 h 99"/>
                  <a:gd name="T10" fmla="*/ 786 w 786"/>
                  <a:gd name="T11" fmla="*/ 0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86" h="99">
                    <a:moveTo>
                      <a:pt x="786" y="0"/>
                    </a:moveTo>
                    <a:lnTo>
                      <a:pt x="17" y="0"/>
                    </a:lnTo>
                    <a:lnTo>
                      <a:pt x="0" y="17"/>
                    </a:lnTo>
                    <a:lnTo>
                      <a:pt x="10" y="99"/>
                    </a:lnTo>
                    <a:lnTo>
                      <a:pt x="786" y="10"/>
                    </a:lnTo>
                    <a:lnTo>
                      <a:pt x="786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265" name="Freeform 126"/>
              <p:cNvSpPr>
                <a:spLocks/>
              </p:cNvSpPr>
              <p:nvPr/>
            </p:nvSpPr>
            <p:spPr bwMode="auto">
              <a:xfrm>
                <a:off x="3825" y="2604"/>
                <a:ext cx="81" cy="642"/>
              </a:xfrm>
              <a:custGeom>
                <a:avLst/>
                <a:gdLst>
                  <a:gd name="T0" fmla="*/ 81 w 81"/>
                  <a:gd name="T1" fmla="*/ 0 h 642"/>
                  <a:gd name="T2" fmla="*/ 0 w 81"/>
                  <a:gd name="T3" fmla="*/ 83 h 642"/>
                  <a:gd name="T4" fmla="*/ 2 w 81"/>
                  <a:gd name="T5" fmla="*/ 104 h 642"/>
                  <a:gd name="T6" fmla="*/ 64 w 81"/>
                  <a:gd name="T7" fmla="*/ 642 h 642"/>
                  <a:gd name="T8" fmla="*/ 81 w 81"/>
                  <a:gd name="T9" fmla="*/ 625 h 642"/>
                  <a:gd name="T10" fmla="*/ 81 w 81"/>
                  <a:gd name="T11" fmla="*/ 0 h 6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1" h="642">
                    <a:moveTo>
                      <a:pt x="81" y="0"/>
                    </a:moveTo>
                    <a:lnTo>
                      <a:pt x="0" y="83"/>
                    </a:lnTo>
                    <a:lnTo>
                      <a:pt x="2" y="104"/>
                    </a:lnTo>
                    <a:lnTo>
                      <a:pt x="64" y="642"/>
                    </a:lnTo>
                    <a:lnTo>
                      <a:pt x="81" y="625"/>
                    </a:lnTo>
                    <a:lnTo>
                      <a:pt x="81" y="0"/>
                    </a:lnTo>
                    <a:close/>
                  </a:path>
                </a:pathLst>
              </a:custGeom>
              <a:solidFill>
                <a:srgbClr val="BDBD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266" name="Freeform 127"/>
              <p:cNvSpPr>
                <a:spLocks/>
              </p:cNvSpPr>
              <p:nvPr/>
            </p:nvSpPr>
            <p:spPr bwMode="auto">
              <a:xfrm>
                <a:off x="3825" y="2604"/>
                <a:ext cx="81" cy="642"/>
              </a:xfrm>
              <a:custGeom>
                <a:avLst/>
                <a:gdLst>
                  <a:gd name="T0" fmla="*/ 81 w 81"/>
                  <a:gd name="T1" fmla="*/ 0 h 642"/>
                  <a:gd name="T2" fmla="*/ 0 w 81"/>
                  <a:gd name="T3" fmla="*/ 83 h 642"/>
                  <a:gd name="T4" fmla="*/ 2 w 81"/>
                  <a:gd name="T5" fmla="*/ 104 h 642"/>
                  <a:gd name="T6" fmla="*/ 64 w 81"/>
                  <a:gd name="T7" fmla="*/ 642 h 642"/>
                  <a:gd name="T8" fmla="*/ 81 w 81"/>
                  <a:gd name="T9" fmla="*/ 625 h 642"/>
                  <a:gd name="T10" fmla="*/ 81 w 81"/>
                  <a:gd name="T11" fmla="*/ 0 h 6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1" h="642">
                    <a:moveTo>
                      <a:pt x="81" y="0"/>
                    </a:moveTo>
                    <a:lnTo>
                      <a:pt x="0" y="83"/>
                    </a:lnTo>
                    <a:lnTo>
                      <a:pt x="2" y="104"/>
                    </a:lnTo>
                    <a:lnTo>
                      <a:pt x="64" y="642"/>
                    </a:lnTo>
                    <a:lnTo>
                      <a:pt x="81" y="625"/>
                    </a:lnTo>
                    <a:lnTo>
                      <a:pt x="8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267" name="Freeform 128"/>
              <p:cNvSpPr>
                <a:spLocks/>
              </p:cNvSpPr>
              <p:nvPr/>
            </p:nvSpPr>
            <p:spPr bwMode="auto">
              <a:xfrm>
                <a:off x="3805" y="2503"/>
                <a:ext cx="101" cy="184"/>
              </a:xfrm>
              <a:custGeom>
                <a:avLst/>
                <a:gdLst>
                  <a:gd name="T0" fmla="*/ 101 w 101"/>
                  <a:gd name="T1" fmla="*/ 0 h 184"/>
                  <a:gd name="T2" fmla="*/ 0 w 101"/>
                  <a:gd name="T3" fmla="*/ 13 h 184"/>
                  <a:gd name="T4" fmla="*/ 20 w 101"/>
                  <a:gd name="T5" fmla="*/ 184 h 184"/>
                  <a:gd name="T6" fmla="*/ 101 w 101"/>
                  <a:gd name="T7" fmla="*/ 101 h 184"/>
                  <a:gd name="T8" fmla="*/ 101 w 101"/>
                  <a:gd name="T9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1" h="184">
                    <a:moveTo>
                      <a:pt x="101" y="0"/>
                    </a:moveTo>
                    <a:lnTo>
                      <a:pt x="0" y="13"/>
                    </a:lnTo>
                    <a:lnTo>
                      <a:pt x="20" y="184"/>
                    </a:lnTo>
                    <a:lnTo>
                      <a:pt x="101" y="101"/>
                    </a:lnTo>
                    <a:lnTo>
                      <a:pt x="101" y="0"/>
                    </a:lnTo>
                    <a:close/>
                  </a:path>
                </a:pathLst>
              </a:custGeom>
              <a:solidFill>
                <a:srgbClr val="8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268" name="Freeform 129"/>
              <p:cNvSpPr>
                <a:spLocks/>
              </p:cNvSpPr>
              <p:nvPr/>
            </p:nvSpPr>
            <p:spPr bwMode="auto">
              <a:xfrm>
                <a:off x="3805" y="2503"/>
                <a:ext cx="101" cy="184"/>
              </a:xfrm>
              <a:custGeom>
                <a:avLst/>
                <a:gdLst>
                  <a:gd name="T0" fmla="*/ 101 w 101"/>
                  <a:gd name="T1" fmla="*/ 0 h 184"/>
                  <a:gd name="T2" fmla="*/ 0 w 101"/>
                  <a:gd name="T3" fmla="*/ 13 h 184"/>
                  <a:gd name="T4" fmla="*/ 20 w 101"/>
                  <a:gd name="T5" fmla="*/ 184 h 184"/>
                  <a:gd name="T6" fmla="*/ 101 w 101"/>
                  <a:gd name="T7" fmla="*/ 101 h 184"/>
                  <a:gd name="T8" fmla="*/ 101 w 101"/>
                  <a:gd name="T9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1" h="184">
                    <a:moveTo>
                      <a:pt x="101" y="0"/>
                    </a:moveTo>
                    <a:lnTo>
                      <a:pt x="0" y="13"/>
                    </a:lnTo>
                    <a:lnTo>
                      <a:pt x="20" y="184"/>
                    </a:lnTo>
                    <a:lnTo>
                      <a:pt x="101" y="101"/>
                    </a:lnTo>
                    <a:lnTo>
                      <a:pt x="10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269" name="Freeform 130"/>
              <p:cNvSpPr>
                <a:spLocks/>
              </p:cNvSpPr>
              <p:nvPr/>
            </p:nvSpPr>
            <p:spPr bwMode="auto">
              <a:xfrm>
                <a:off x="3906" y="2503"/>
                <a:ext cx="769" cy="726"/>
              </a:xfrm>
              <a:custGeom>
                <a:avLst/>
                <a:gdLst>
                  <a:gd name="T0" fmla="*/ 0 w 769"/>
                  <a:gd name="T1" fmla="*/ 0 h 726"/>
                  <a:gd name="T2" fmla="*/ 0 w 769"/>
                  <a:gd name="T3" fmla="*/ 0 h 726"/>
                  <a:gd name="T4" fmla="*/ 0 w 769"/>
                  <a:gd name="T5" fmla="*/ 726 h 726"/>
                  <a:gd name="T6" fmla="*/ 769 w 769"/>
                  <a:gd name="T7" fmla="*/ 726 h 726"/>
                  <a:gd name="T8" fmla="*/ 699 w 769"/>
                  <a:gd name="T9" fmla="*/ 115 h 726"/>
                  <a:gd name="T10" fmla="*/ 699 w 769"/>
                  <a:gd name="T11" fmla="*/ 115 h 726"/>
                  <a:gd name="T12" fmla="*/ 697 w 769"/>
                  <a:gd name="T13" fmla="*/ 101 h 726"/>
                  <a:gd name="T14" fmla="*/ 0 w 769"/>
                  <a:gd name="T15" fmla="*/ 101 h 726"/>
                  <a:gd name="T16" fmla="*/ 0 w 769"/>
                  <a:gd name="T17" fmla="*/ 0 h 7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69" h="726">
                    <a:moveTo>
                      <a:pt x="0" y="0"/>
                    </a:moveTo>
                    <a:lnTo>
                      <a:pt x="0" y="0"/>
                    </a:lnTo>
                    <a:lnTo>
                      <a:pt x="0" y="726"/>
                    </a:lnTo>
                    <a:lnTo>
                      <a:pt x="769" y="726"/>
                    </a:lnTo>
                    <a:lnTo>
                      <a:pt x="699" y="115"/>
                    </a:lnTo>
                    <a:lnTo>
                      <a:pt x="699" y="115"/>
                    </a:lnTo>
                    <a:lnTo>
                      <a:pt x="697" y="101"/>
                    </a:lnTo>
                    <a:lnTo>
                      <a:pt x="0" y="10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FCF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270" name="Freeform 131"/>
              <p:cNvSpPr>
                <a:spLocks/>
              </p:cNvSpPr>
              <p:nvPr/>
            </p:nvSpPr>
            <p:spPr bwMode="auto">
              <a:xfrm>
                <a:off x="3906" y="2503"/>
                <a:ext cx="769" cy="726"/>
              </a:xfrm>
              <a:custGeom>
                <a:avLst/>
                <a:gdLst>
                  <a:gd name="T0" fmla="*/ 0 w 769"/>
                  <a:gd name="T1" fmla="*/ 0 h 726"/>
                  <a:gd name="T2" fmla="*/ 0 w 769"/>
                  <a:gd name="T3" fmla="*/ 0 h 726"/>
                  <a:gd name="T4" fmla="*/ 0 w 769"/>
                  <a:gd name="T5" fmla="*/ 726 h 726"/>
                  <a:gd name="T6" fmla="*/ 769 w 769"/>
                  <a:gd name="T7" fmla="*/ 726 h 726"/>
                  <a:gd name="T8" fmla="*/ 699 w 769"/>
                  <a:gd name="T9" fmla="*/ 115 h 726"/>
                  <a:gd name="T10" fmla="*/ 699 w 769"/>
                  <a:gd name="T11" fmla="*/ 115 h 726"/>
                  <a:gd name="T12" fmla="*/ 697 w 769"/>
                  <a:gd name="T13" fmla="*/ 101 h 726"/>
                  <a:gd name="T14" fmla="*/ 0 w 769"/>
                  <a:gd name="T15" fmla="*/ 101 h 726"/>
                  <a:gd name="T16" fmla="*/ 0 w 769"/>
                  <a:gd name="T17" fmla="*/ 0 h 7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69" h="726">
                    <a:moveTo>
                      <a:pt x="0" y="0"/>
                    </a:moveTo>
                    <a:lnTo>
                      <a:pt x="0" y="0"/>
                    </a:lnTo>
                    <a:lnTo>
                      <a:pt x="0" y="726"/>
                    </a:lnTo>
                    <a:lnTo>
                      <a:pt x="769" y="726"/>
                    </a:lnTo>
                    <a:lnTo>
                      <a:pt x="699" y="115"/>
                    </a:lnTo>
                    <a:lnTo>
                      <a:pt x="699" y="115"/>
                    </a:lnTo>
                    <a:lnTo>
                      <a:pt x="697" y="101"/>
                    </a:lnTo>
                    <a:lnTo>
                      <a:pt x="0" y="10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271" name="Freeform 132"/>
              <p:cNvSpPr>
                <a:spLocks/>
              </p:cNvSpPr>
              <p:nvPr/>
            </p:nvSpPr>
            <p:spPr bwMode="auto">
              <a:xfrm>
                <a:off x="3906" y="2426"/>
                <a:ext cx="697" cy="178"/>
              </a:xfrm>
              <a:custGeom>
                <a:avLst/>
                <a:gdLst>
                  <a:gd name="T0" fmla="*/ 677 w 697"/>
                  <a:gd name="T1" fmla="*/ 0 h 178"/>
                  <a:gd name="T2" fmla="*/ 0 w 697"/>
                  <a:gd name="T3" fmla="*/ 77 h 178"/>
                  <a:gd name="T4" fmla="*/ 0 w 697"/>
                  <a:gd name="T5" fmla="*/ 178 h 178"/>
                  <a:gd name="T6" fmla="*/ 697 w 697"/>
                  <a:gd name="T7" fmla="*/ 178 h 178"/>
                  <a:gd name="T8" fmla="*/ 677 w 697"/>
                  <a:gd name="T9" fmla="*/ 0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7" h="178">
                    <a:moveTo>
                      <a:pt x="677" y="0"/>
                    </a:moveTo>
                    <a:lnTo>
                      <a:pt x="0" y="77"/>
                    </a:lnTo>
                    <a:lnTo>
                      <a:pt x="0" y="178"/>
                    </a:lnTo>
                    <a:lnTo>
                      <a:pt x="697" y="178"/>
                    </a:lnTo>
                    <a:lnTo>
                      <a:pt x="677" y="0"/>
                    </a:lnTo>
                    <a:close/>
                  </a:path>
                </a:pathLst>
              </a:custGeom>
              <a:solidFill>
                <a:srgbClr val="99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272" name="Freeform 133"/>
              <p:cNvSpPr>
                <a:spLocks/>
              </p:cNvSpPr>
              <p:nvPr/>
            </p:nvSpPr>
            <p:spPr bwMode="auto">
              <a:xfrm>
                <a:off x="3906" y="2426"/>
                <a:ext cx="697" cy="178"/>
              </a:xfrm>
              <a:custGeom>
                <a:avLst/>
                <a:gdLst>
                  <a:gd name="T0" fmla="*/ 677 w 697"/>
                  <a:gd name="T1" fmla="*/ 0 h 178"/>
                  <a:gd name="T2" fmla="*/ 0 w 697"/>
                  <a:gd name="T3" fmla="*/ 77 h 178"/>
                  <a:gd name="T4" fmla="*/ 0 w 697"/>
                  <a:gd name="T5" fmla="*/ 178 h 178"/>
                  <a:gd name="T6" fmla="*/ 697 w 697"/>
                  <a:gd name="T7" fmla="*/ 178 h 178"/>
                  <a:gd name="T8" fmla="*/ 677 w 697"/>
                  <a:gd name="T9" fmla="*/ 0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7" h="178">
                    <a:moveTo>
                      <a:pt x="677" y="0"/>
                    </a:moveTo>
                    <a:lnTo>
                      <a:pt x="0" y="77"/>
                    </a:lnTo>
                    <a:lnTo>
                      <a:pt x="0" y="178"/>
                    </a:lnTo>
                    <a:lnTo>
                      <a:pt x="697" y="178"/>
                    </a:lnTo>
                    <a:lnTo>
                      <a:pt x="67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273" name="Freeform 134"/>
              <p:cNvSpPr>
                <a:spLocks/>
              </p:cNvSpPr>
              <p:nvPr/>
            </p:nvSpPr>
            <p:spPr bwMode="auto">
              <a:xfrm>
                <a:off x="3904" y="2692"/>
                <a:ext cx="848" cy="710"/>
              </a:xfrm>
              <a:custGeom>
                <a:avLst/>
                <a:gdLst>
                  <a:gd name="T0" fmla="*/ 848 w 848"/>
                  <a:gd name="T1" fmla="*/ 621 h 710"/>
                  <a:gd name="T2" fmla="*/ 70 w 848"/>
                  <a:gd name="T3" fmla="*/ 710 h 710"/>
                  <a:gd name="T4" fmla="*/ 0 w 848"/>
                  <a:gd name="T5" fmla="*/ 90 h 710"/>
                  <a:gd name="T6" fmla="*/ 777 w 848"/>
                  <a:gd name="T7" fmla="*/ 0 h 710"/>
                  <a:gd name="T8" fmla="*/ 848 w 848"/>
                  <a:gd name="T9" fmla="*/ 621 h 7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48" h="710">
                    <a:moveTo>
                      <a:pt x="848" y="621"/>
                    </a:moveTo>
                    <a:lnTo>
                      <a:pt x="70" y="710"/>
                    </a:lnTo>
                    <a:lnTo>
                      <a:pt x="0" y="90"/>
                    </a:lnTo>
                    <a:lnTo>
                      <a:pt x="777" y="0"/>
                    </a:lnTo>
                    <a:lnTo>
                      <a:pt x="848" y="621"/>
                    </a:lnTo>
                    <a:close/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274" name="Freeform 135"/>
              <p:cNvSpPr>
                <a:spLocks/>
              </p:cNvSpPr>
              <p:nvPr/>
            </p:nvSpPr>
            <p:spPr bwMode="auto">
              <a:xfrm>
                <a:off x="3882" y="2501"/>
                <a:ext cx="799" cy="281"/>
              </a:xfrm>
              <a:custGeom>
                <a:avLst/>
                <a:gdLst>
                  <a:gd name="T0" fmla="*/ 799 w 799"/>
                  <a:gd name="T1" fmla="*/ 191 h 281"/>
                  <a:gd name="T2" fmla="*/ 22 w 799"/>
                  <a:gd name="T3" fmla="*/ 281 h 281"/>
                  <a:gd name="T4" fmla="*/ 0 w 799"/>
                  <a:gd name="T5" fmla="*/ 89 h 281"/>
                  <a:gd name="T6" fmla="*/ 778 w 799"/>
                  <a:gd name="T7" fmla="*/ 0 h 281"/>
                  <a:gd name="T8" fmla="*/ 799 w 799"/>
                  <a:gd name="T9" fmla="*/ 191 h 2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99" h="281">
                    <a:moveTo>
                      <a:pt x="799" y="191"/>
                    </a:moveTo>
                    <a:lnTo>
                      <a:pt x="22" y="281"/>
                    </a:lnTo>
                    <a:lnTo>
                      <a:pt x="0" y="89"/>
                    </a:lnTo>
                    <a:lnTo>
                      <a:pt x="778" y="0"/>
                    </a:lnTo>
                    <a:lnTo>
                      <a:pt x="799" y="191"/>
                    </a:lnTo>
                    <a:close/>
                  </a:path>
                </a:pathLst>
              </a:custGeom>
              <a:solidFill>
                <a:srgbClr val="C020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</p:grpSp>
        <p:sp>
          <p:nvSpPr>
            <p:cNvPr id="285" name="TextBox 284"/>
            <p:cNvSpPr txBox="1"/>
            <p:nvPr/>
          </p:nvSpPr>
          <p:spPr>
            <a:xfrm rot="21197020">
              <a:off x="6235676" y="4389021"/>
              <a:ext cx="1250270" cy="8896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595959"/>
                  </a:solidFill>
                  <a:latin typeface="Segoe UI" panose="020B0502040204020203" pitchFamily="34" charset="0"/>
                  <a:ea typeface="Segoe UI Black" panose="020B0A02040204020203" pitchFamily="34" charset="0"/>
                  <a:cs typeface="Segoe UI" panose="020B0502040204020203" pitchFamily="34" charset="0"/>
                </a:rPr>
                <a:t>JUL </a:t>
              </a:r>
            </a:p>
            <a:p>
              <a:pPr algn="ctr"/>
              <a:r>
                <a:rPr lang="en-US" sz="1600" b="1" dirty="0" smtClean="0">
                  <a:solidFill>
                    <a:srgbClr val="595959"/>
                  </a:solidFill>
                  <a:latin typeface="Segoe UI" panose="020B0502040204020203" pitchFamily="34" charset="0"/>
                  <a:ea typeface="Segoe UI Black" panose="020B0A02040204020203" pitchFamily="34" charset="0"/>
                  <a:cs typeface="Segoe UI" panose="020B0502040204020203" pitchFamily="34" charset="0"/>
                </a:rPr>
                <a:t>14</a:t>
              </a:r>
              <a:endParaRPr lang="en-US" sz="1600" b="1" dirty="0">
                <a:solidFill>
                  <a:srgbClr val="595959"/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320" name="Group 319"/>
          <p:cNvGrpSpPr>
            <a:grpSpLocks noChangeAspect="1"/>
          </p:cNvGrpSpPr>
          <p:nvPr/>
        </p:nvGrpSpPr>
        <p:grpSpPr>
          <a:xfrm>
            <a:off x="7410306" y="4683343"/>
            <a:ext cx="963097" cy="990072"/>
            <a:chOff x="6013451" y="3827462"/>
            <a:chExt cx="1530350" cy="1573212"/>
          </a:xfrm>
        </p:grpSpPr>
        <p:grpSp>
          <p:nvGrpSpPr>
            <p:cNvPr id="321" name="Group 113"/>
            <p:cNvGrpSpPr>
              <a:grpSpLocks noChangeAspect="1"/>
            </p:cNvGrpSpPr>
            <p:nvPr/>
          </p:nvGrpSpPr>
          <p:grpSpPr bwMode="auto">
            <a:xfrm>
              <a:off x="6013451" y="3827462"/>
              <a:ext cx="1530350" cy="1573212"/>
              <a:chOff x="3788" y="2411"/>
              <a:chExt cx="964" cy="991"/>
            </a:xfrm>
          </p:grpSpPr>
          <p:sp>
            <p:nvSpPr>
              <p:cNvPr id="323" name="Freeform 114"/>
              <p:cNvSpPr>
                <a:spLocks/>
              </p:cNvSpPr>
              <p:nvPr/>
            </p:nvSpPr>
            <p:spPr bwMode="auto">
              <a:xfrm>
                <a:off x="3788" y="3229"/>
                <a:ext cx="900" cy="117"/>
              </a:xfrm>
              <a:custGeom>
                <a:avLst/>
                <a:gdLst>
                  <a:gd name="T0" fmla="*/ 784 w 900"/>
                  <a:gd name="T1" fmla="*/ 117 h 117"/>
                  <a:gd name="T2" fmla="*/ 0 w 900"/>
                  <a:gd name="T3" fmla="*/ 117 h 117"/>
                  <a:gd name="T4" fmla="*/ 118 w 900"/>
                  <a:gd name="T5" fmla="*/ 0 h 117"/>
                  <a:gd name="T6" fmla="*/ 900 w 900"/>
                  <a:gd name="T7" fmla="*/ 0 h 117"/>
                  <a:gd name="T8" fmla="*/ 784 w 900"/>
                  <a:gd name="T9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00" h="117">
                    <a:moveTo>
                      <a:pt x="784" y="117"/>
                    </a:moveTo>
                    <a:lnTo>
                      <a:pt x="0" y="117"/>
                    </a:lnTo>
                    <a:lnTo>
                      <a:pt x="118" y="0"/>
                    </a:lnTo>
                    <a:lnTo>
                      <a:pt x="900" y="0"/>
                    </a:lnTo>
                    <a:lnTo>
                      <a:pt x="784" y="117"/>
                    </a:lnTo>
                    <a:close/>
                  </a:path>
                </a:pathLst>
              </a:cu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324" name="Freeform 115"/>
              <p:cNvSpPr>
                <a:spLocks/>
              </p:cNvSpPr>
              <p:nvPr/>
            </p:nvSpPr>
            <p:spPr bwMode="auto">
              <a:xfrm>
                <a:off x="3788" y="3229"/>
                <a:ext cx="900" cy="117"/>
              </a:xfrm>
              <a:custGeom>
                <a:avLst/>
                <a:gdLst>
                  <a:gd name="T0" fmla="*/ 784 w 900"/>
                  <a:gd name="T1" fmla="*/ 117 h 117"/>
                  <a:gd name="T2" fmla="*/ 0 w 900"/>
                  <a:gd name="T3" fmla="*/ 117 h 117"/>
                  <a:gd name="T4" fmla="*/ 118 w 900"/>
                  <a:gd name="T5" fmla="*/ 0 h 117"/>
                  <a:gd name="T6" fmla="*/ 900 w 900"/>
                  <a:gd name="T7" fmla="*/ 0 h 117"/>
                  <a:gd name="T8" fmla="*/ 784 w 900"/>
                  <a:gd name="T9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00" h="117">
                    <a:moveTo>
                      <a:pt x="784" y="117"/>
                    </a:moveTo>
                    <a:lnTo>
                      <a:pt x="0" y="117"/>
                    </a:lnTo>
                    <a:lnTo>
                      <a:pt x="118" y="0"/>
                    </a:lnTo>
                    <a:lnTo>
                      <a:pt x="900" y="0"/>
                    </a:lnTo>
                    <a:lnTo>
                      <a:pt x="784" y="117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325" name="Freeform 116"/>
              <p:cNvSpPr>
                <a:spLocks/>
              </p:cNvSpPr>
              <p:nvPr/>
            </p:nvSpPr>
            <p:spPr bwMode="auto">
              <a:xfrm>
                <a:off x="3790" y="2411"/>
                <a:ext cx="116" cy="935"/>
              </a:xfrm>
              <a:custGeom>
                <a:avLst/>
                <a:gdLst>
                  <a:gd name="T0" fmla="*/ 116 w 116"/>
                  <a:gd name="T1" fmla="*/ 818 h 935"/>
                  <a:gd name="T2" fmla="*/ 0 w 116"/>
                  <a:gd name="T3" fmla="*/ 935 h 935"/>
                  <a:gd name="T4" fmla="*/ 0 w 116"/>
                  <a:gd name="T5" fmla="*/ 118 h 935"/>
                  <a:gd name="T6" fmla="*/ 116 w 116"/>
                  <a:gd name="T7" fmla="*/ 0 h 935"/>
                  <a:gd name="T8" fmla="*/ 116 w 116"/>
                  <a:gd name="T9" fmla="*/ 818 h 9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6" h="935">
                    <a:moveTo>
                      <a:pt x="116" y="818"/>
                    </a:moveTo>
                    <a:lnTo>
                      <a:pt x="0" y="935"/>
                    </a:lnTo>
                    <a:lnTo>
                      <a:pt x="0" y="118"/>
                    </a:lnTo>
                    <a:lnTo>
                      <a:pt x="116" y="0"/>
                    </a:lnTo>
                    <a:lnTo>
                      <a:pt x="116" y="818"/>
                    </a:ln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326" name="Freeform 117"/>
              <p:cNvSpPr>
                <a:spLocks/>
              </p:cNvSpPr>
              <p:nvPr/>
            </p:nvSpPr>
            <p:spPr bwMode="auto">
              <a:xfrm>
                <a:off x="3790" y="2411"/>
                <a:ext cx="116" cy="935"/>
              </a:xfrm>
              <a:custGeom>
                <a:avLst/>
                <a:gdLst>
                  <a:gd name="T0" fmla="*/ 116 w 116"/>
                  <a:gd name="T1" fmla="*/ 818 h 935"/>
                  <a:gd name="T2" fmla="*/ 0 w 116"/>
                  <a:gd name="T3" fmla="*/ 935 h 935"/>
                  <a:gd name="T4" fmla="*/ 0 w 116"/>
                  <a:gd name="T5" fmla="*/ 118 h 935"/>
                  <a:gd name="T6" fmla="*/ 116 w 116"/>
                  <a:gd name="T7" fmla="*/ 0 h 935"/>
                  <a:gd name="T8" fmla="*/ 116 w 116"/>
                  <a:gd name="T9" fmla="*/ 818 h 9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6" h="935">
                    <a:moveTo>
                      <a:pt x="116" y="818"/>
                    </a:moveTo>
                    <a:lnTo>
                      <a:pt x="0" y="935"/>
                    </a:lnTo>
                    <a:lnTo>
                      <a:pt x="0" y="118"/>
                    </a:lnTo>
                    <a:lnTo>
                      <a:pt x="116" y="0"/>
                    </a:lnTo>
                    <a:lnTo>
                      <a:pt x="116" y="818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327" name="Freeform 118"/>
              <p:cNvSpPr>
                <a:spLocks/>
              </p:cNvSpPr>
              <p:nvPr/>
            </p:nvSpPr>
            <p:spPr bwMode="auto">
              <a:xfrm>
                <a:off x="3790" y="2411"/>
                <a:ext cx="116" cy="311"/>
              </a:xfrm>
              <a:custGeom>
                <a:avLst/>
                <a:gdLst>
                  <a:gd name="T0" fmla="*/ 116 w 116"/>
                  <a:gd name="T1" fmla="*/ 193 h 311"/>
                  <a:gd name="T2" fmla="*/ 0 w 116"/>
                  <a:gd name="T3" fmla="*/ 311 h 311"/>
                  <a:gd name="T4" fmla="*/ 0 w 116"/>
                  <a:gd name="T5" fmla="*/ 118 h 311"/>
                  <a:gd name="T6" fmla="*/ 116 w 116"/>
                  <a:gd name="T7" fmla="*/ 0 h 311"/>
                  <a:gd name="T8" fmla="*/ 116 w 116"/>
                  <a:gd name="T9" fmla="*/ 193 h 3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6" h="311">
                    <a:moveTo>
                      <a:pt x="116" y="193"/>
                    </a:moveTo>
                    <a:lnTo>
                      <a:pt x="0" y="311"/>
                    </a:lnTo>
                    <a:lnTo>
                      <a:pt x="0" y="118"/>
                    </a:lnTo>
                    <a:lnTo>
                      <a:pt x="116" y="0"/>
                    </a:lnTo>
                    <a:lnTo>
                      <a:pt x="116" y="193"/>
                    </a:lnTo>
                    <a:close/>
                  </a:path>
                </a:pathLst>
              </a:custGeom>
              <a:solidFill>
                <a:srgbClr val="AA121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328" name="Freeform 119"/>
              <p:cNvSpPr>
                <a:spLocks/>
              </p:cNvSpPr>
              <p:nvPr/>
            </p:nvSpPr>
            <p:spPr bwMode="auto">
              <a:xfrm>
                <a:off x="3790" y="2411"/>
                <a:ext cx="116" cy="311"/>
              </a:xfrm>
              <a:custGeom>
                <a:avLst/>
                <a:gdLst>
                  <a:gd name="T0" fmla="*/ 116 w 116"/>
                  <a:gd name="T1" fmla="*/ 193 h 311"/>
                  <a:gd name="T2" fmla="*/ 0 w 116"/>
                  <a:gd name="T3" fmla="*/ 311 h 311"/>
                  <a:gd name="T4" fmla="*/ 0 w 116"/>
                  <a:gd name="T5" fmla="*/ 118 h 311"/>
                  <a:gd name="T6" fmla="*/ 116 w 116"/>
                  <a:gd name="T7" fmla="*/ 0 h 311"/>
                  <a:gd name="T8" fmla="*/ 116 w 116"/>
                  <a:gd name="T9" fmla="*/ 193 h 3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6" h="311">
                    <a:moveTo>
                      <a:pt x="116" y="193"/>
                    </a:moveTo>
                    <a:lnTo>
                      <a:pt x="0" y="311"/>
                    </a:lnTo>
                    <a:lnTo>
                      <a:pt x="0" y="118"/>
                    </a:lnTo>
                    <a:lnTo>
                      <a:pt x="116" y="0"/>
                    </a:lnTo>
                    <a:lnTo>
                      <a:pt x="116" y="193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329" name="Rectangle 120"/>
              <p:cNvSpPr>
                <a:spLocks noChangeArrowheads="1"/>
              </p:cNvSpPr>
              <p:nvPr/>
            </p:nvSpPr>
            <p:spPr bwMode="auto">
              <a:xfrm>
                <a:off x="3906" y="2411"/>
                <a:ext cx="782" cy="818"/>
              </a:xfrm>
              <a:prstGeom prst="rect">
                <a:avLst/>
              </a:pr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330" name="Rectangle 121"/>
              <p:cNvSpPr>
                <a:spLocks noChangeArrowheads="1"/>
              </p:cNvSpPr>
              <p:nvPr/>
            </p:nvSpPr>
            <p:spPr bwMode="auto">
              <a:xfrm>
                <a:off x="3906" y="2411"/>
                <a:ext cx="782" cy="81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331" name="Rectangle 122"/>
              <p:cNvSpPr>
                <a:spLocks noChangeArrowheads="1"/>
              </p:cNvSpPr>
              <p:nvPr/>
            </p:nvSpPr>
            <p:spPr bwMode="auto">
              <a:xfrm>
                <a:off x="3906" y="2411"/>
                <a:ext cx="782" cy="193"/>
              </a:xfrm>
              <a:prstGeom prst="rect">
                <a:avLst/>
              </a:prstGeom>
              <a:solidFill>
                <a:srgbClr val="C020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332" name="Rectangle 123"/>
              <p:cNvSpPr>
                <a:spLocks noChangeArrowheads="1"/>
              </p:cNvSpPr>
              <p:nvPr/>
            </p:nvSpPr>
            <p:spPr bwMode="auto">
              <a:xfrm>
                <a:off x="3906" y="2411"/>
                <a:ext cx="782" cy="19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333" name="Freeform 124"/>
              <p:cNvSpPr>
                <a:spLocks/>
              </p:cNvSpPr>
              <p:nvPr/>
            </p:nvSpPr>
            <p:spPr bwMode="auto">
              <a:xfrm>
                <a:off x="3889" y="3229"/>
                <a:ext cx="786" cy="99"/>
              </a:xfrm>
              <a:custGeom>
                <a:avLst/>
                <a:gdLst>
                  <a:gd name="T0" fmla="*/ 786 w 786"/>
                  <a:gd name="T1" fmla="*/ 0 h 99"/>
                  <a:gd name="T2" fmla="*/ 17 w 786"/>
                  <a:gd name="T3" fmla="*/ 0 h 99"/>
                  <a:gd name="T4" fmla="*/ 0 w 786"/>
                  <a:gd name="T5" fmla="*/ 17 h 99"/>
                  <a:gd name="T6" fmla="*/ 10 w 786"/>
                  <a:gd name="T7" fmla="*/ 99 h 99"/>
                  <a:gd name="T8" fmla="*/ 786 w 786"/>
                  <a:gd name="T9" fmla="*/ 10 h 99"/>
                  <a:gd name="T10" fmla="*/ 786 w 786"/>
                  <a:gd name="T11" fmla="*/ 0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86" h="99">
                    <a:moveTo>
                      <a:pt x="786" y="0"/>
                    </a:moveTo>
                    <a:lnTo>
                      <a:pt x="17" y="0"/>
                    </a:lnTo>
                    <a:lnTo>
                      <a:pt x="0" y="17"/>
                    </a:lnTo>
                    <a:lnTo>
                      <a:pt x="10" y="99"/>
                    </a:lnTo>
                    <a:lnTo>
                      <a:pt x="786" y="10"/>
                    </a:lnTo>
                    <a:lnTo>
                      <a:pt x="786" y="0"/>
                    </a:lnTo>
                    <a:close/>
                  </a:path>
                </a:pathLst>
              </a:custGeom>
              <a:solidFill>
                <a:srgbClr val="8787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334" name="Freeform 125"/>
              <p:cNvSpPr>
                <a:spLocks/>
              </p:cNvSpPr>
              <p:nvPr/>
            </p:nvSpPr>
            <p:spPr bwMode="auto">
              <a:xfrm>
                <a:off x="3889" y="3229"/>
                <a:ext cx="786" cy="99"/>
              </a:xfrm>
              <a:custGeom>
                <a:avLst/>
                <a:gdLst>
                  <a:gd name="T0" fmla="*/ 786 w 786"/>
                  <a:gd name="T1" fmla="*/ 0 h 99"/>
                  <a:gd name="T2" fmla="*/ 17 w 786"/>
                  <a:gd name="T3" fmla="*/ 0 h 99"/>
                  <a:gd name="T4" fmla="*/ 0 w 786"/>
                  <a:gd name="T5" fmla="*/ 17 h 99"/>
                  <a:gd name="T6" fmla="*/ 10 w 786"/>
                  <a:gd name="T7" fmla="*/ 99 h 99"/>
                  <a:gd name="T8" fmla="*/ 786 w 786"/>
                  <a:gd name="T9" fmla="*/ 10 h 99"/>
                  <a:gd name="T10" fmla="*/ 786 w 786"/>
                  <a:gd name="T11" fmla="*/ 0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86" h="99">
                    <a:moveTo>
                      <a:pt x="786" y="0"/>
                    </a:moveTo>
                    <a:lnTo>
                      <a:pt x="17" y="0"/>
                    </a:lnTo>
                    <a:lnTo>
                      <a:pt x="0" y="17"/>
                    </a:lnTo>
                    <a:lnTo>
                      <a:pt x="10" y="99"/>
                    </a:lnTo>
                    <a:lnTo>
                      <a:pt x="786" y="10"/>
                    </a:lnTo>
                    <a:lnTo>
                      <a:pt x="786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335" name="Freeform 126"/>
              <p:cNvSpPr>
                <a:spLocks/>
              </p:cNvSpPr>
              <p:nvPr/>
            </p:nvSpPr>
            <p:spPr bwMode="auto">
              <a:xfrm>
                <a:off x="3825" y="2604"/>
                <a:ext cx="81" cy="642"/>
              </a:xfrm>
              <a:custGeom>
                <a:avLst/>
                <a:gdLst>
                  <a:gd name="T0" fmla="*/ 81 w 81"/>
                  <a:gd name="T1" fmla="*/ 0 h 642"/>
                  <a:gd name="T2" fmla="*/ 0 w 81"/>
                  <a:gd name="T3" fmla="*/ 83 h 642"/>
                  <a:gd name="T4" fmla="*/ 2 w 81"/>
                  <a:gd name="T5" fmla="*/ 104 h 642"/>
                  <a:gd name="T6" fmla="*/ 64 w 81"/>
                  <a:gd name="T7" fmla="*/ 642 h 642"/>
                  <a:gd name="T8" fmla="*/ 81 w 81"/>
                  <a:gd name="T9" fmla="*/ 625 h 642"/>
                  <a:gd name="T10" fmla="*/ 81 w 81"/>
                  <a:gd name="T11" fmla="*/ 0 h 6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1" h="642">
                    <a:moveTo>
                      <a:pt x="81" y="0"/>
                    </a:moveTo>
                    <a:lnTo>
                      <a:pt x="0" y="83"/>
                    </a:lnTo>
                    <a:lnTo>
                      <a:pt x="2" y="104"/>
                    </a:lnTo>
                    <a:lnTo>
                      <a:pt x="64" y="642"/>
                    </a:lnTo>
                    <a:lnTo>
                      <a:pt x="81" y="625"/>
                    </a:lnTo>
                    <a:lnTo>
                      <a:pt x="81" y="0"/>
                    </a:lnTo>
                    <a:close/>
                  </a:path>
                </a:pathLst>
              </a:custGeom>
              <a:solidFill>
                <a:srgbClr val="BDBD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336" name="Freeform 127"/>
              <p:cNvSpPr>
                <a:spLocks/>
              </p:cNvSpPr>
              <p:nvPr/>
            </p:nvSpPr>
            <p:spPr bwMode="auto">
              <a:xfrm>
                <a:off x="3825" y="2604"/>
                <a:ext cx="81" cy="642"/>
              </a:xfrm>
              <a:custGeom>
                <a:avLst/>
                <a:gdLst>
                  <a:gd name="T0" fmla="*/ 81 w 81"/>
                  <a:gd name="T1" fmla="*/ 0 h 642"/>
                  <a:gd name="T2" fmla="*/ 0 w 81"/>
                  <a:gd name="T3" fmla="*/ 83 h 642"/>
                  <a:gd name="T4" fmla="*/ 2 w 81"/>
                  <a:gd name="T5" fmla="*/ 104 h 642"/>
                  <a:gd name="T6" fmla="*/ 64 w 81"/>
                  <a:gd name="T7" fmla="*/ 642 h 642"/>
                  <a:gd name="T8" fmla="*/ 81 w 81"/>
                  <a:gd name="T9" fmla="*/ 625 h 642"/>
                  <a:gd name="T10" fmla="*/ 81 w 81"/>
                  <a:gd name="T11" fmla="*/ 0 h 6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1" h="642">
                    <a:moveTo>
                      <a:pt x="81" y="0"/>
                    </a:moveTo>
                    <a:lnTo>
                      <a:pt x="0" y="83"/>
                    </a:lnTo>
                    <a:lnTo>
                      <a:pt x="2" y="104"/>
                    </a:lnTo>
                    <a:lnTo>
                      <a:pt x="64" y="642"/>
                    </a:lnTo>
                    <a:lnTo>
                      <a:pt x="81" y="625"/>
                    </a:lnTo>
                    <a:lnTo>
                      <a:pt x="8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337" name="Freeform 128"/>
              <p:cNvSpPr>
                <a:spLocks/>
              </p:cNvSpPr>
              <p:nvPr/>
            </p:nvSpPr>
            <p:spPr bwMode="auto">
              <a:xfrm>
                <a:off x="3805" y="2503"/>
                <a:ext cx="101" cy="184"/>
              </a:xfrm>
              <a:custGeom>
                <a:avLst/>
                <a:gdLst>
                  <a:gd name="T0" fmla="*/ 101 w 101"/>
                  <a:gd name="T1" fmla="*/ 0 h 184"/>
                  <a:gd name="T2" fmla="*/ 0 w 101"/>
                  <a:gd name="T3" fmla="*/ 13 h 184"/>
                  <a:gd name="T4" fmla="*/ 20 w 101"/>
                  <a:gd name="T5" fmla="*/ 184 h 184"/>
                  <a:gd name="T6" fmla="*/ 101 w 101"/>
                  <a:gd name="T7" fmla="*/ 101 h 184"/>
                  <a:gd name="T8" fmla="*/ 101 w 101"/>
                  <a:gd name="T9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1" h="184">
                    <a:moveTo>
                      <a:pt x="101" y="0"/>
                    </a:moveTo>
                    <a:lnTo>
                      <a:pt x="0" y="13"/>
                    </a:lnTo>
                    <a:lnTo>
                      <a:pt x="20" y="184"/>
                    </a:lnTo>
                    <a:lnTo>
                      <a:pt x="101" y="101"/>
                    </a:lnTo>
                    <a:lnTo>
                      <a:pt x="101" y="0"/>
                    </a:lnTo>
                    <a:close/>
                  </a:path>
                </a:pathLst>
              </a:custGeom>
              <a:solidFill>
                <a:srgbClr val="8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338" name="Freeform 129"/>
              <p:cNvSpPr>
                <a:spLocks/>
              </p:cNvSpPr>
              <p:nvPr/>
            </p:nvSpPr>
            <p:spPr bwMode="auto">
              <a:xfrm>
                <a:off x="3805" y="2503"/>
                <a:ext cx="101" cy="184"/>
              </a:xfrm>
              <a:custGeom>
                <a:avLst/>
                <a:gdLst>
                  <a:gd name="T0" fmla="*/ 101 w 101"/>
                  <a:gd name="T1" fmla="*/ 0 h 184"/>
                  <a:gd name="T2" fmla="*/ 0 w 101"/>
                  <a:gd name="T3" fmla="*/ 13 h 184"/>
                  <a:gd name="T4" fmla="*/ 20 w 101"/>
                  <a:gd name="T5" fmla="*/ 184 h 184"/>
                  <a:gd name="T6" fmla="*/ 101 w 101"/>
                  <a:gd name="T7" fmla="*/ 101 h 184"/>
                  <a:gd name="T8" fmla="*/ 101 w 101"/>
                  <a:gd name="T9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1" h="184">
                    <a:moveTo>
                      <a:pt x="101" y="0"/>
                    </a:moveTo>
                    <a:lnTo>
                      <a:pt x="0" y="13"/>
                    </a:lnTo>
                    <a:lnTo>
                      <a:pt x="20" y="184"/>
                    </a:lnTo>
                    <a:lnTo>
                      <a:pt x="101" y="101"/>
                    </a:lnTo>
                    <a:lnTo>
                      <a:pt x="10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339" name="Freeform 130"/>
              <p:cNvSpPr>
                <a:spLocks/>
              </p:cNvSpPr>
              <p:nvPr/>
            </p:nvSpPr>
            <p:spPr bwMode="auto">
              <a:xfrm>
                <a:off x="3906" y="2503"/>
                <a:ext cx="769" cy="726"/>
              </a:xfrm>
              <a:custGeom>
                <a:avLst/>
                <a:gdLst>
                  <a:gd name="T0" fmla="*/ 0 w 769"/>
                  <a:gd name="T1" fmla="*/ 0 h 726"/>
                  <a:gd name="T2" fmla="*/ 0 w 769"/>
                  <a:gd name="T3" fmla="*/ 0 h 726"/>
                  <a:gd name="T4" fmla="*/ 0 w 769"/>
                  <a:gd name="T5" fmla="*/ 726 h 726"/>
                  <a:gd name="T6" fmla="*/ 769 w 769"/>
                  <a:gd name="T7" fmla="*/ 726 h 726"/>
                  <a:gd name="T8" fmla="*/ 699 w 769"/>
                  <a:gd name="T9" fmla="*/ 115 h 726"/>
                  <a:gd name="T10" fmla="*/ 699 w 769"/>
                  <a:gd name="T11" fmla="*/ 115 h 726"/>
                  <a:gd name="T12" fmla="*/ 697 w 769"/>
                  <a:gd name="T13" fmla="*/ 101 h 726"/>
                  <a:gd name="T14" fmla="*/ 0 w 769"/>
                  <a:gd name="T15" fmla="*/ 101 h 726"/>
                  <a:gd name="T16" fmla="*/ 0 w 769"/>
                  <a:gd name="T17" fmla="*/ 0 h 7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69" h="726">
                    <a:moveTo>
                      <a:pt x="0" y="0"/>
                    </a:moveTo>
                    <a:lnTo>
                      <a:pt x="0" y="0"/>
                    </a:lnTo>
                    <a:lnTo>
                      <a:pt x="0" y="726"/>
                    </a:lnTo>
                    <a:lnTo>
                      <a:pt x="769" y="726"/>
                    </a:lnTo>
                    <a:lnTo>
                      <a:pt x="699" y="115"/>
                    </a:lnTo>
                    <a:lnTo>
                      <a:pt x="699" y="115"/>
                    </a:lnTo>
                    <a:lnTo>
                      <a:pt x="697" y="101"/>
                    </a:lnTo>
                    <a:lnTo>
                      <a:pt x="0" y="10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FCF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340" name="Freeform 131"/>
              <p:cNvSpPr>
                <a:spLocks/>
              </p:cNvSpPr>
              <p:nvPr/>
            </p:nvSpPr>
            <p:spPr bwMode="auto">
              <a:xfrm>
                <a:off x="3906" y="2503"/>
                <a:ext cx="769" cy="726"/>
              </a:xfrm>
              <a:custGeom>
                <a:avLst/>
                <a:gdLst>
                  <a:gd name="T0" fmla="*/ 0 w 769"/>
                  <a:gd name="T1" fmla="*/ 0 h 726"/>
                  <a:gd name="T2" fmla="*/ 0 w 769"/>
                  <a:gd name="T3" fmla="*/ 0 h 726"/>
                  <a:gd name="T4" fmla="*/ 0 w 769"/>
                  <a:gd name="T5" fmla="*/ 726 h 726"/>
                  <a:gd name="T6" fmla="*/ 769 w 769"/>
                  <a:gd name="T7" fmla="*/ 726 h 726"/>
                  <a:gd name="T8" fmla="*/ 699 w 769"/>
                  <a:gd name="T9" fmla="*/ 115 h 726"/>
                  <a:gd name="T10" fmla="*/ 699 w 769"/>
                  <a:gd name="T11" fmla="*/ 115 h 726"/>
                  <a:gd name="T12" fmla="*/ 697 w 769"/>
                  <a:gd name="T13" fmla="*/ 101 h 726"/>
                  <a:gd name="T14" fmla="*/ 0 w 769"/>
                  <a:gd name="T15" fmla="*/ 101 h 726"/>
                  <a:gd name="T16" fmla="*/ 0 w 769"/>
                  <a:gd name="T17" fmla="*/ 0 h 7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69" h="726">
                    <a:moveTo>
                      <a:pt x="0" y="0"/>
                    </a:moveTo>
                    <a:lnTo>
                      <a:pt x="0" y="0"/>
                    </a:lnTo>
                    <a:lnTo>
                      <a:pt x="0" y="726"/>
                    </a:lnTo>
                    <a:lnTo>
                      <a:pt x="769" y="726"/>
                    </a:lnTo>
                    <a:lnTo>
                      <a:pt x="699" y="115"/>
                    </a:lnTo>
                    <a:lnTo>
                      <a:pt x="699" y="115"/>
                    </a:lnTo>
                    <a:lnTo>
                      <a:pt x="697" y="101"/>
                    </a:lnTo>
                    <a:lnTo>
                      <a:pt x="0" y="10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341" name="Freeform 132"/>
              <p:cNvSpPr>
                <a:spLocks/>
              </p:cNvSpPr>
              <p:nvPr/>
            </p:nvSpPr>
            <p:spPr bwMode="auto">
              <a:xfrm>
                <a:off x="3906" y="2426"/>
                <a:ext cx="697" cy="178"/>
              </a:xfrm>
              <a:custGeom>
                <a:avLst/>
                <a:gdLst>
                  <a:gd name="T0" fmla="*/ 677 w 697"/>
                  <a:gd name="T1" fmla="*/ 0 h 178"/>
                  <a:gd name="T2" fmla="*/ 0 w 697"/>
                  <a:gd name="T3" fmla="*/ 77 h 178"/>
                  <a:gd name="T4" fmla="*/ 0 w 697"/>
                  <a:gd name="T5" fmla="*/ 178 h 178"/>
                  <a:gd name="T6" fmla="*/ 697 w 697"/>
                  <a:gd name="T7" fmla="*/ 178 h 178"/>
                  <a:gd name="T8" fmla="*/ 677 w 697"/>
                  <a:gd name="T9" fmla="*/ 0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7" h="178">
                    <a:moveTo>
                      <a:pt x="677" y="0"/>
                    </a:moveTo>
                    <a:lnTo>
                      <a:pt x="0" y="77"/>
                    </a:lnTo>
                    <a:lnTo>
                      <a:pt x="0" y="178"/>
                    </a:lnTo>
                    <a:lnTo>
                      <a:pt x="697" y="178"/>
                    </a:lnTo>
                    <a:lnTo>
                      <a:pt x="677" y="0"/>
                    </a:lnTo>
                    <a:close/>
                  </a:path>
                </a:pathLst>
              </a:custGeom>
              <a:solidFill>
                <a:srgbClr val="99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342" name="Freeform 133"/>
              <p:cNvSpPr>
                <a:spLocks/>
              </p:cNvSpPr>
              <p:nvPr/>
            </p:nvSpPr>
            <p:spPr bwMode="auto">
              <a:xfrm>
                <a:off x="3906" y="2426"/>
                <a:ext cx="697" cy="178"/>
              </a:xfrm>
              <a:custGeom>
                <a:avLst/>
                <a:gdLst>
                  <a:gd name="T0" fmla="*/ 677 w 697"/>
                  <a:gd name="T1" fmla="*/ 0 h 178"/>
                  <a:gd name="T2" fmla="*/ 0 w 697"/>
                  <a:gd name="T3" fmla="*/ 77 h 178"/>
                  <a:gd name="T4" fmla="*/ 0 w 697"/>
                  <a:gd name="T5" fmla="*/ 178 h 178"/>
                  <a:gd name="T6" fmla="*/ 697 w 697"/>
                  <a:gd name="T7" fmla="*/ 178 h 178"/>
                  <a:gd name="T8" fmla="*/ 677 w 697"/>
                  <a:gd name="T9" fmla="*/ 0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7" h="178">
                    <a:moveTo>
                      <a:pt x="677" y="0"/>
                    </a:moveTo>
                    <a:lnTo>
                      <a:pt x="0" y="77"/>
                    </a:lnTo>
                    <a:lnTo>
                      <a:pt x="0" y="178"/>
                    </a:lnTo>
                    <a:lnTo>
                      <a:pt x="697" y="178"/>
                    </a:lnTo>
                    <a:lnTo>
                      <a:pt x="67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343" name="Freeform 134"/>
              <p:cNvSpPr>
                <a:spLocks/>
              </p:cNvSpPr>
              <p:nvPr/>
            </p:nvSpPr>
            <p:spPr bwMode="auto">
              <a:xfrm>
                <a:off x="3904" y="2692"/>
                <a:ext cx="848" cy="710"/>
              </a:xfrm>
              <a:custGeom>
                <a:avLst/>
                <a:gdLst>
                  <a:gd name="T0" fmla="*/ 848 w 848"/>
                  <a:gd name="T1" fmla="*/ 621 h 710"/>
                  <a:gd name="T2" fmla="*/ 70 w 848"/>
                  <a:gd name="T3" fmla="*/ 710 h 710"/>
                  <a:gd name="T4" fmla="*/ 0 w 848"/>
                  <a:gd name="T5" fmla="*/ 90 h 710"/>
                  <a:gd name="T6" fmla="*/ 777 w 848"/>
                  <a:gd name="T7" fmla="*/ 0 h 710"/>
                  <a:gd name="T8" fmla="*/ 848 w 848"/>
                  <a:gd name="T9" fmla="*/ 621 h 7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48" h="710">
                    <a:moveTo>
                      <a:pt x="848" y="621"/>
                    </a:moveTo>
                    <a:lnTo>
                      <a:pt x="70" y="710"/>
                    </a:lnTo>
                    <a:lnTo>
                      <a:pt x="0" y="90"/>
                    </a:lnTo>
                    <a:lnTo>
                      <a:pt x="777" y="0"/>
                    </a:lnTo>
                    <a:lnTo>
                      <a:pt x="848" y="621"/>
                    </a:lnTo>
                    <a:close/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344" name="Freeform 135"/>
              <p:cNvSpPr>
                <a:spLocks/>
              </p:cNvSpPr>
              <p:nvPr/>
            </p:nvSpPr>
            <p:spPr bwMode="auto">
              <a:xfrm>
                <a:off x="3882" y="2501"/>
                <a:ext cx="799" cy="281"/>
              </a:xfrm>
              <a:custGeom>
                <a:avLst/>
                <a:gdLst>
                  <a:gd name="T0" fmla="*/ 799 w 799"/>
                  <a:gd name="T1" fmla="*/ 191 h 281"/>
                  <a:gd name="T2" fmla="*/ 22 w 799"/>
                  <a:gd name="T3" fmla="*/ 281 h 281"/>
                  <a:gd name="T4" fmla="*/ 0 w 799"/>
                  <a:gd name="T5" fmla="*/ 89 h 281"/>
                  <a:gd name="T6" fmla="*/ 778 w 799"/>
                  <a:gd name="T7" fmla="*/ 0 h 281"/>
                  <a:gd name="T8" fmla="*/ 799 w 799"/>
                  <a:gd name="T9" fmla="*/ 191 h 2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99" h="281">
                    <a:moveTo>
                      <a:pt x="799" y="191"/>
                    </a:moveTo>
                    <a:lnTo>
                      <a:pt x="22" y="281"/>
                    </a:lnTo>
                    <a:lnTo>
                      <a:pt x="0" y="89"/>
                    </a:lnTo>
                    <a:lnTo>
                      <a:pt x="778" y="0"/>
                    </a:lnTo>
                    <a:lnTo>
                      <a:pt x="799" y="191"/>
                    </a:lnTo>
                    <a:close/>
                  </a:path>
                </a:pathLst>
              </a:custGeom>
              <a:solidFill>
                <a:srgbClr val="C020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</p:grpSp>
        <p:sp>
          <p:nvSpPr>
            <p:cNvPr id="322" name="TextBox 321"/>
            <p:cNvSpPr txBox="1"/>
            <p:nvPr/>
          </p:nvSpPr>
          <p:spPr>
            <a:xfrm rot="21197020">
              <a:off x="6235676" y="4389021"/>
              <a:ext cx="1250270" cy="8896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595959"/>
                  </a:solidFill>
                  <a:latin typeface="Segoe UI" panose="020B0502040204020203" pitchFamily="34" charset="0"/>
                  <a:ea typeface="Segoe UI Black" panose="020B0A02040204020203" pitchFamily="34" charset="0"/>
                  <a:cs typeface="Segoe UI" panose="020B0502040204020203" pitchFamily="34" charset="0"/>
                </a:rPr>
                <a:t>APR </a:t>
              </a:r>
            </a:p>
            <a:p>
              <a:pPr algn="ctr"/>
              <a:r>
                <a:rPr lang="en-US" sz="1600" b="1" dirty="0" smtClean="0">
                  <a:solidFill>
                    <a:srgbClr val="595959"/>
                  </a:solidFill>
                  <a:latin typeface="Segoe UI" panose="020B0502040204020203" pitchFamily="34" charset="0"/>
                  <a:ea typeface="Segoe UI Black" panose="020B0A02040204020203" pitchFamily="34" charset="0"/>
                  <a:cs typeface="Segoe UI" panose="020B0502040204020203" pitchFamily="34" charset="0"/>
                </a:rPr>
                <a:t>12</a:t>
              </a:r>
              <a:endParaRPr lang="en-US" sz="1600" b="1" dirty="0">
                <a:solidFill>
                  <a:srgbClr val="595959"/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345" name="Group 344"/>
          <p:cNvGrpSpPr>
            <a:grpSpLocks noChangeAspect="1"/>
          </p:cNvGrpSpPr>
          <p:nvPr/>
        </p:nvGrpSpPr>
        <p:grpSpPr>
          <a:xfrm>
            <a:off x="8831113" y="4679847"/>
            <a:ext cx="963097" cy="990072"/>
            <a:chOff x="6013451" y="3827462"/>
            <a:chExt cx="1530350" cy="1573212"/>
          </a:xfrm>
        </p:grpSpPr>
        <p:grpSp>
          <p:nvGrpSpPr>
            <p:cNvPr id="346" name="Group 113"/>
            <p:cNvGrpSpPr>
              <a:grpSpLocks noChangeAspect="1"/>
            </p:cNvGrpSpPr>
            <p:nvPr/>
          </p:nvGrpSpPr>
          <p:grpSpPr bwMode="auto">
            <a:xfrm>
              <a:off x="6013451" y="3827462"/>
              <a:ext cx="1530350" cy="1573212"/>
              <a:chOff x="3788" y="2411"/>
              <a:chExt cx="964" cy="991"/>
            </a:xfrm>
          </p:grpSpPr>
          <p:sp>
            <p:nvSpPr>
              <p:cNvPr id="348" name="Freeform 114"/>
              <p:cNvSpPr>
                <a:spLocks/>
              </p:cNvSpPr>
              <p:nvPr/>
            </p:nvSpPr>
            <p:spPr bwMode="auto">
              <a:xfrm>
                <a:off x="3788" y="3229"/>
                <a:ext cx="900" cy="117"/>
              </a:xfrm>
              <a:custGeom>
                <a:avLst/>
                <a:gdLst>
                  <a:gd name="T0" fmla="*/ 784 w 900"/>
                  <a:gd name="T1" fmla="*/ 117 h 117"/>
                  <a:gd name="T2" fmla="*/ 0 w 900"/>
                  <a:gd name="T3" fmla="*/ 117 h 117"/>
                  <a:gd name="T4" fmla="*/ 118 w 900"/>
                  <a:gd name="T5" fmla="*/ 0 h 117"/>
                  <a:gd name="T6" fmla="*/ 900 w 900"/>
                  <a:gd name="T7" fmla="*/ 0 h 117"/>
                  <a:gd name="T8" fmla="*/ 784 w 900"/>
                  <a:gd name="T9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00" h="117">
                    <a:moveTo>
                      <a:pt x="784" y="117"/>
                    </a:moveTo>
                    <a:lnTo>
                      <a:pt x="0" y="117"/>
                    </a:lnTo>
                    <a:lnTo>
                      <a:pt x="118" y="0"/>
                    </a:lnTo>
                    <a:lnTo>
                      <a:pt x="900" y="0"/>
                    </a:lnTo>
                    <a:lnTo>
                      <a:pt x="784" y="117"/>
                    </a:lnTo>
                    <a:close/>
                  </a:path>
                </a:pathLst>
              </a:cu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349" name="Freeform 115"/>
              <p:cNvSpPr>
                <a:spLocks/>
              </p:cNvSpPr>
              <p:nvPr/>
            </p:nvSpPr>
            <p:spPr bwMode="auto">
              <a:xfrm>
                <a:off x="3788" y="3229"/>
                <a:ext cx="900" cy="117"/>
              </a:xfrm>
              <a:custGeom>
                <a:avLst/>
                <a:gdLst>
                  <a:gd name="T0" fmla="*/ 784 w 900"/>
                  <a:gd name="T1" fmla="*/ 117 h 117"/>
                  <a:gd name="T2" fmla="*/ 0 w 900"/>
                  <a:gd name="T3" fmla="*/ 117 h 117"/>
                  <a:gd name="T4" fmla="*/ 118 w 900"/>
                  <a:gd name="T5" fmla="*/ 0 h 117"/>
                  <a:gd name="T6" fmla="*/ 900 w 900"/>
                  <a:gd name="T7" fmla="*/ 0 h 117"/>
                  <a:gd name="T8" fmla="*/ 784 w 900"/>
                  <a:gd name="T9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00" h="117">
                    <a:moveTo>
                      <a:pt x="784" y="117"/>
                    </a:moveTo>
                    <a:lnTo>
                      <a:pt x="0" y="117"/>
                    </a:lnTo>
                    <a:lnTo>
                      <a:pt x="118" y="0"/>
                    </a:lnTo>
                    <a:lnTo>
                      <a:pt x="900" y="0"/>
                    </a:lnTo>
                    <a:lnTo>
                      <a:pt x="784" y="117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350" name="Freeform 116"/>
              <p:cNvSpPr>
                <a:spLocks/>
              </p:cNvSpPr>
              <p:nvPr/>
            </p:nvSpPr>
            <p:spPr bwMode="auto">
              <a:xfrm>
                <a:off x="3790" y="2411"/>
                <a:ext cx="116" cy="935"/>
              </a:xfrm>
              <a:custGeom>
                <a:avLst/>
                <a:gdLst>
                  <a:gd name="T0" fmla="*/ 116 w 116"/>
                  <a:gd name="T1" fmla="*/ 818 h 935"/>
                  <a:gd name="T2" fmla="*/ 0 w 116"/>
                  <a:gd name="T3" fmla="*/ 935 h 935"/>
                  <a:gd name="T4" fmla="*/ 0 w 116"/>
                  <a:gd name="T5" fmla="*/ 118 h 935"/>
                  <a:gd name="T6" fmla="*/ 116 w 116"/>
                  <a:gd name="T7" fmla="*/ 0 h 935"/>
                  <a:gd name="T8" fmla="*/ 116 w 116"/>
                  <a:gd name="T9" fmla="*/ 818 h 9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6" h="935">
                    <a:moveTo>
                      <a:pt x="116" y="818"/>
                    </a:moveTo>
                    <a:lnTo>
                      <a:pt x="0" y="935"/>
                    </a:lnTo>
                    <a:lnTo>
                      <a:pt x="0" y="118"/>
                    </a:lnTo>
                    <a:lnTo>
                      <a:pt x="116" y="0"/>
                    </a:lnTo>
                    <a:lnTo>
                      <a:pt x="116" y="818"/>
                    </a:ln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351" name="Freeform 117"/>
              <p:cNvSpPr>
                <a:spLocks/>
              </p:cNvSpPr>
              <p:nvPr/>
            </p:nvSpPr>
            <p:spPr bwMode="auto">
              <a:xfrm>
                <a:off x="3790" y="2411"/>
                <a:ext cx="116" cy="935"/>
              </a:xfrm>
              <a:custGeom>
                <a:avLst/>
                <a:gdLst>
                  <a:gd name="T0" fmla="*/ 116 w 116"/>
                  <a:gd name="T1" fmla="*/ 818 h 935"/>
                  <a:gd name="T2" fmla="*/ 0 w 116"/>
                  <a:gd name="T3" fmla="*/ 935 h 935"/>
                  <a:gd name="T4" fmla="*/ 0 w 116"/>
                  <a:gd name="T5" fmla="*/ 118 h 935"/>
                  <a:gd name="T6" fmla="*/ 116 w 116"/>
                  <a:gd name="T7" fmla="*/ 0 h 935"/>
                  <a:gd name="T8" fmla="*/ 116 w 116"/>
                  <a:gd name="T9" fmla="*/ 818 h 9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6" h="935">
                    <a:moveTo>
                      <a:pt x="116" y="818"/>
                    </a:moveTo>
                    <a:lnTo>
                      <a:pt x="0" y="935"/>
                    </a:lnTo>
                    <a:lnTo>
                      <a:pt x="0" y="118"/>
                    </a:lnTo>
                    <a:lnTo>
                      <a:pt x="116" y="0"/>
                    </a:lnTo>
                    <a:lnTo>
                      <a:pt x="116" y="818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352" name="Freeform 118"/>
              <p:cNvSpPr>
                <a:spLocks/>
              </p:cNvSpPr>
              <p:nvPr/>
            </p:nvSpPr>
            <p:spPr bwMode="auto">
              <a:xfrm>
                <a:off x="3790" y="2411"/>
                <a:ext cx="116" cy="311"/>
              </a:xfrm>
              <a:custGeom>
                <a:avLst/>
                <a:gdLst>
                  <a:gd name="T0" fmla="*/ 116 w 116"/>
                  <a:gd name="T1" fmla="*/ 193 h 311"/>
                  <a:gd name="T2" fmla="*/ 0 w 116"/>
                  <a:gd name="T3" fmla="*/ 311 h 311"/>
                  <a:gd name="T4" fmla="*/ 0 w 116"/>
                  <a:gd name="T5" fmla="*/ 118 h 311"/>
                  <a:gd name="T6" fmla="*/ 116 w 116"/>
                  <a:gd name="T7" fmla="*/ 0 h 311"/>
                  <a:gd name="T8" fmla="*/ 116 w 116"/>
                  <a:gd name="T9" fmla="*/ 193 h 3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6" h="311">
                    <a:moveTo>
                      <a:pt x="116" y="193"/>
                    </a:moveTo>
                    <a:lnTo>
                      <a:pt x="0" y="311"/>
                    </a:lnTo>
                    <a:lnTo>
                      <a:pt x="0" y="118"/>
                    </a:lnTo>
                    <a:lnTo>
                      <a:pt x="116" y="0"/>
                    </a:lnTo>
                    <a:lnTo>
                      <a:pt x="116" y="193"/>
                    </a:lnTo>
                    <a:close/>
                  </a:path>
                </a:pathLst>
              </a:custGeom>
              <a:solidFill>
                <a:srgbClr val="AA121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353" name="Freeform 119"/>
              <p:cNvSpPr>
                <a:spLocks/>
              </p:cNvSpPr>
              <p:nvPr/>
            </p:nvSpPr>
            <p:spPr bwMode="auto">
              <a:xfrm>
                <a:off x="3790" y="2411"/>
                <a:ext cx="116" cy="311"/>
              </a:xfrm>
              <a:custGeom>
                <a:avLst/>
                <a:gdLst>
                  <a:gd name="T0" fmla="*/ 116 w 116"/>
                  <a:gd name="T1" fmla="*/ 193 h 311"/>
                  <a:gd name="T2" fmla="*/ 0 w 116"/>
                  <a:gd name="T3" fmla="*/ 311 h 311"/>
                  <a:gd name="T4" fmla="*/ 0 w 116"/>
                  <a:gd name="T5" fmla="*/ 118 h 311"/>
                  <a:gd name="T6" fmla="*/ 116 w 116"/>
                  <a:gd name="T7" fmla="*/ 0 h 311"/>
                  <a:gd name="T8" fmla="*/ 116 w 116"/>
                  <a:gd name="T9" fmla="*/ 193 h 3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6" h="311">
                    <a:moveTo>
                      <a:pt x="116" y="193"/>
                    </a:moveTo>
                    <a:lnTo>
                      <a:pt x="0" y="311"/>
                    </a:lnTo>
                    <a:lnTo>
                      <a:pt x="0" y="118"/>
                    </a:lnTo>
                    <a:lnTo>
                      <a:pt x="116" y="0"/>
                    </a:lnTo>
                    <a:lnTo>
                      <a:pt x="116" y="193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354" name="Rectangle 120"/>
              <p:cNvSpPr>
                <a:spLocks noChangeArrowheads="1"/>
              </p:cNvSpPr>
              <p:nvPr/>
            </p:nvSpPr>
            <p:spPr bwMode="auto">
              <a:xfrm>
                <a:off x="3906" y="2411"/>
                <a:ext cx="782" cy="818"/>
              </a:xfrm>
              <a:prstGeom prst="rect">
                <a:avLst/>
              </a:pr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355" name="Rectangle 121"/>
              <p:cNvSpPr>
                <a:spLocks noChangeArrowheads="1"/>
              </p:cNvSpPr>
              <p:nvPr/>
            </p:nvSpPr>
            <p:spPr bwMode="auto">
              <a:xfrm>
                <a:off x="3906" y="2411"/>
                <a:ext cx="782" cy="81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356" name="Rectangle 122"/>
              <p:cNvSpPr>
                <a:spLocks noChangeArrowheads="1"/>
              </p:cNvSpPr>
              <p:nvPr/>
            </p:nvSpPr>
            <p:spPr bwMode="auto">
              <a:xfrm>
                <a:off x="3906" y="2411"/>
                <a:ext cx="782" cy="193"/>
              </a:xfrm>
              <a:prstGeom prst="rect">
                <a:avLst/>
              </a:prstGeom>
              <a:solidFill>
                <a:srgbClr val="C020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357" name="Rectangle 123"/>
              <p:cNvSpPr>
                <a:spLocks noChangeArrowheads="1"/>
              </p:cNvSpPr>
              <p:nvPr/>
            </p:nvSpPr>
            <p:spPr bwMode="auto">
              <a:xfrm>
                <a:off x="3906" y="2411"/>
                <a:ext cx="782" cy="19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358" name="Freeform 124"/>
              <p:cNvSpPr>
                <a:spLocks/>
              </p:cNvSpPr>
              <p:nvPr/>
            </p:nvSpPr>
            <p:spPr bwMode="auto">
              <a:xfrm>
                <a:off x="3889" y="3229"/>
                <a:ext cx="786" cy="99"/>
              </a:xfrm>
              <a:custGeom>
                <a:avLst/>
                <a:gdLst>
                  <a:gd name="T0" fmla="*/ 786 w 786"/>
                  <a:gd name="T1" fmla="*/ 0 h 99"/>
                  <a:gd name="T2" fmla="*/ 17 w 786"/>
                  <a:gd name="T3" fmla="*/ 0 h 99"/>
                  <a:gd name="T4" fmla="*/ 0 w 786"/>
                  <a:gd name="T5" fmla="*/ 17 h 99"/>
                  <a:gd name="T6" fmla="*/ 10 w 786"/>
                  <a:gd name="T7" fmla="*/ 99 h 99"/>
                  <a:gd name="T8" fmla="*/ 786 w 786"/>
                  <a:gd name="T9" fmla="*/ 10 h 99"/>
                  <a:gd name="T10" fmla="*/ 786 w 786"/>
                  <a:gd name="T11" fmla="*/ 0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86" h="99">
                    <a:moveTo>
                      <a:pt x="786" y="0"/>
                    </a:moveTo>
                    <a:lnTo>
                      <a:pt x="17" y="0"/>
                    </a:lnTo>
                    <a:lnTo>
                      <a:pt x="0" y="17"/>
                    </a:lnTo>
                    <a:lnTo>
                      <a:pt x="10" y="99"/>
                    </a:lnTo>
                    <a:lnTo>
                      <a:pt x="786" y="10"/>
                    </a:lnTo>
                    <a:lnTo>
                      <a:pt x="786" y="0"/>
                    </a:lnTo>
                    <a:close/>
                  </a:path>
                </a:pathLst>
              </a:custGeom>
              <a:solidFill>
                <a:srgbClr val="8787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359" name="Freeform 125"/>
              <p:cNvSpPr>
                <a:spLocks/>
              </p:cNvSpPr>
              <p:nvPr/>
            </p:nvSpPr>
            <p:spPr bwMode="auto">
              <a:xfrm>
                <a:off x="3889" y="3229"/>
                <a:ext cx="786" cy="99"/>
              </a:xfrm>
              <a:custGeom>
                <a:avLst/>
                <a:gdLst>
                  <a:gd name="T0" fmla="*/ 786 w 786"/>
                  <a:gd name="T1" fmla="*/ 0 h 99"/>
                  <a:gd name="T2" fmla="*/ 17 w 786"/>
                  <a:gd name="T3" fmla="*/ 0 h 99"/>
                  <a:gd name="T4" fmla="*/ 0 w 786"/>
                  <a:gd name="T5" fmla="*/ 17 h 99"/>
                  <a:gd name="T6" fmla="*/ 10 w 786"/>
                  <a:gd name="T7" fmla="*/ 99 h 99"/>
                  <a:gd name="T8" fmla="*/ 786 w 786"/>
                  <a:gd name="T9" fmla="*/ 10 h 99"/>
                  <a:gd name="T10" fmla="*/ 786 w 786"/>
                  <a:gd name="T11" fmla="*/ 0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86" h="99">
                    <a:moveTo>
                      <a:pt x="786" y="0"/>
                    </a:moveTo>
                    <a:lnTo>
                      <a:pt x="17" y="0"/>
                    </a:lnTo>
                    <a:lnTo>
                      <a:pt x="0" y="17"/>
                    </a:lnTo>
                    <a:lnTo>
                      <a:pt x="10" y="99"/>
                    </a:lnTo>
                    <a:lnTo>
                      <a:pt x="786" y="10"/>
                    </a:lnTo>
                    <a:lnTo>
                      <a:pt x="786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360" name="Freeform 126"/>
              <p:cNvSpPr>
                <a:spLocks/>
              </p:cNvSpPr>
              <p:nvPr/>
            </p:nvSpPr>
            <p:spPr bwMode="auto">
              <a:xfrm>
                <a:off x="3825" y="2604"/>
                <a:ext cx="81" cy="642"/>
              </a:xfrm>
              <a:custGeom>
                <a:avLst/>
                <a:gdLst>
                  <a:gd name="T0" fmla="*/ 81 w 81"/>
                  <a:gd name="T1" fmla="*/ 0 h 642"/>
                  <a:gd name="T2" fmla="*/ 0 w 81"/>
                  <a:gd name="T3" fmla="*/ 83 h 642"/>
                  <a:gd name="T4" fmla="*/ 2 w 81"/>
                  <a:gd name="T5" fmla="*/ 104 h 642"/>
                  <a:gd name="T6" fmla="*/ 64 w 81"/>
                  <a:gd name="T7" fmla="*/ 642 h 642"/>
                  <a:gd name="T8" fmla="*/ 81 w 81"/>
                  <a:gd name="T9" fmla="*/ 625 h 642"/>
                  <a:gd name="T10" fmla="*/ 81 w 81"/>
                  <a:gd name="T11" fmla="*/ 0 h 6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1" h="642">
                    <a:moveTo>
                      <a:pt x="81" y="0"/>
                    </a:moveTo>
                    <a:lnTo>
                      <a:pt x="0" y="83"/>
                    </a:lnTo>
                    <a:lnTo>
                      <a:pt x="2" y="104"/>
                    </a:lnTo>
                    <a:lnTo>
                      <a:pt x="64" y="642"/>
                    </a:lnTo>
                    <a:lnTo>
                      <a:pt x="81" y="625"/>
                    </a:lnTo>
                    <a:lnTo>
                      <a:pt x="81" y="0"/>
                    </a:lnTo>
                    <a:close/>
                  </a:path>
                </a:pathLst>
              </a:custGeom>
              <a:solidFill>
                <a:srgbClr val="BDBD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361" name="Freeform 127"/>
              <p:cNvSpPr>
                <a:spLocks/>
              </p:cNvSpPr>
              <p:nvPr/>
            </p:nvSpPr>
            <p:spPr bwMode="auto">
              <a:xfrm>
                <a:off x="3825" y="2604"/>
                <a:ext cx="81" cy="642"/>
              </a:xfrm>
              <a:custGeom>
                <a:avLst/>
                <a:gdLst>
                  <a:gd name="T0" fmla="*/ 81 w 81"/>
                  <a:gd name="T1" fmla="*/ 0 h 642"/>
                  <a:gd name="T2" fmla="*/ 0 w 81"/>
                  <a:gd name="T3" fmla="*/ 83 h 642"/>
                  <a:gd name="T4" fmla="*/ 2 w 81"/>
                  <a:gd name="T5" fmla="*/ 104 h 642"/>
                  <a:gd name="T6" fmla="*/ 64 w 81"/>
                  <a:gd name="T7" fmla="*/ 642 h 642"/>
                  <a:gd name="T8" fmla="*/ 81 w 81"/>
                  <a:gd name="T9" fmla="*/ 625 h 642"/>
                  <a:gd name="T10" fmla="*/ 81 w 81"/>
                  <a:gd name="T11" fmla="*/ 0 h 6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1" h="642">
                    <a:moveTo>
                      <a:pt x="81" y="0"/>
                    </a:moveTo>
                    <a:lnTo>
                      <a:pt x="0" y="83"/>
                    </a:lnTo>
                    <a:lnTo>
                      <a:pt x="2" y="104"/>
                    </a:lnTo>
                    <a:lnTo>
                      <a:pt x="64" y="642"/>
                    </a:lnTo>
                    <a:lnTo>
                      <a:pt x="81" y="625"/>
                    </a:lnTo>
                    <a:lnTo>
                      <a:pt x="8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362" name="Freeform 128"/>
              <p:cNvSpPr>
                <a:spLocks/>
              </p:cNvSpPr>
              <p:nvPr/>
            </p:nvSpPr>
            <p:spPr bwMode="auto">
              <a:xfrm>
                <a:off x="3805" y="2503"/>
                <a:ext cx="101" cy="184"/>
              </a:xfrm>
              <a:custGeom>
                <a:avLst/>
                <a:gdLst>
                  <a:gd name="T0" fmla="*/ 101 w 101"/>
                  <a:gd name="T1" fmla="*/ 0 h 184"/>
                  <a:gd name="T2" fmla="*/ 0 w 101"/>
                  <a:gd name="T3" fmla="*/ 13 h 184"/>
                  <a:gd name="T4" fmla="*/ 20 w 101"/>
                  <a:gd name="T5" fmla="*/ 184 h 184"/>
                  <a:gd name="T6" fmla="*/ 101 w 101"/>
                  <a:gd name="T7" fmla="*/ 101 h 184"/>
                  <a:gd name="T8" fmla="*/ 101 w 101"/>
                  <a:gd name="T9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1" h="184">
                    <a:moveTo>
                      <a:pt x="101" y="0"/>
                    </a:moveTo>
                    <a:lnTo>
                      <a:pt x="0" y="13"/>
                    </a:lnTo>
                    <a:lnTo>
                      <a:pt x="20" y="184"/>
                    </a:lnTo>
                    <a:lnTo>
                      <a:pt x="101" y="101"/>
                    </a:lnTo>
                    <a:lnTo>
                      <a:pt x="101" y="0"/>
                    </a:lnTo>
                    <a:close/>
                  </a:path>
                </a:pathLst>
              </a:custGeom>
              <a:solidFill>
                <a:srgbClr val="8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363" name="Freeform 129"/>
              <p:cNvSpPr>
                <a:spLocks/>
              </p:cNvSpPr>
              <p:nvPr/>
            </p:nvSpPr>
            <p:spPr bwMode="auto">
              <a:xfrm>
                <a:off x="3805" y="2503"/>
                <a:ext cx="101" cy="184"/>
              </a:xfrm>
              <a:custGeom>
                <a:avLst/>
                <a:gdLst>
                  <a:gd name="T0" fmla="*/ 101 w 101"/>
                  <a:gd name="T1" fmla="*/ 0 h 184"/>
                  <a:gd name="T2" fmla="*/ 0 w 101"/>
                  <a:gd name="T3" fmla="*/ 13 h 184"/>
                  <a:gd name="T4" fmla="*/ 20 w 101"/>
                  <a:gd name="T5" fmla="*/ 184 h 184"/>
                  <a:gd name="T6" fmla="*/ 101 w 101"/>
                  <a:gd name="T7" fmla="*/ 101 h 184"/>
                  <a:gd name="T8" fmla="*/ 101 w 101"/>
                  <a:gd name="T9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1" h="184">
                    <a:moveTo>
                      <a:pt x="101" y="0"/>
                    </a:moveTo>
                    <a:lnTo>
                      <a:pt x="0" y="13"/>
                    </a:lnTo>
                    <a:lnTo>
                      <a:pt x="20" y="184"/>
                    </a:lnTo>
                    <a:lnTo>
                      <a:pt x="101" y="101"/>
                    </a:lnTo>
                    <a:lnTo>
                      <a:pt x="10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364" name="Freeform 130"/>
              <p:cNvSpPr>
                <a:spLocks/>
              </p:cNvSpPr>
              <p:nvPr/>
            </p:nvSpPr>
            <p:spPr bwMode="auto">
              <a:xfrm>
                <a:off x="3906" y="2503"/>
                <a:ext cx="769" cy="726"/>
              </a:xfrm>
              <a:custGeom>
                <a:avLst/>
                <a:gdLst>
                  <a:gd name="T0" fmla="*/ 0 w 769"/>
                  <a:gd name="T1" fmla="*/ 0 h 726"/>
                  <a:gd name="T2" fmla="*/ 0 w 769"/>
                  <a:gd name="T3" fmla="*/ 0 h 726"/>
                  <a:gd name="T4" fmla="*/ 0 w 769"/>
                  <a:gd name="T5" fmla="*/ 726 h 726"/>
                  <a:gd name="T6" fmla="*/ 769 w 769"/>
                  <a:gd name="T7" fmla="*/ 726 h 726"/>
                  <a:gd name="T8" fmla="*/ 699 w 769"/>
                  <a:gd name="T9" fmla="*/ 115 h 726"/>
                  <a:gd name="T10" fmla="*/ 699 w 769"/>
                  <a:gd name="T11" fmla="*/ 115 h 726"/>
                  <a:gd name="T12" fmla="*/ 697 w 769"/>
                  <a:gd name="T13" fmla="*/ 101 h 726"/>
                  <a:gd name="T14" fmla="*/ 0 w 769"/>
                  <a:gd name="T15" fmla="*/ 101 h 726"/>
                  <a:gd name="T16" fmla="*/ 0 w 769"/>
                  <a:gd name="T17" fmla="*/ 0 h 7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69" h="726">
                    <a:moveTo>
                      <a:pt x="0" y="0"/>
                    </a:moveTo>
                    <a:lnTo>
                      <a:pt x="0" y="0"/>
                    </a:lnTo>
                    <a:lnTo>
                      <a:pt x="0" y="726"/>
                    </a:lnTo>
                    <a:lnTo>
                      <a:pt x="769" y="726"/>
                    </a:lnTo>
                    <a:lnTo>
                      <a:pt x="699" y="115"/>
                    </a:lnTo>
                    <a:lnTo>
                      <a:pt x="699" y="115"/>
                    </a:lnTo>
                    <a:lnTo>
                      <a:pt x="697" y="101"/>
                    </a:lnTo>
                    <a:lnTo>
                      <a:pt x="0" y="10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FCF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365" name="Freeform 131"/>
              <p:cNvSpPr>
                <a:spLocks/>
              </p:cNvSpPr>
              <p:nvPr/>
            </p:nvSpPr>
            <p:spPr bwMode="auto">
              <a:xfrm>
                <a:off x="3906" y="2503"/>
                <a:ext cx="769" cy="726"/>
              </a:xfrm>
              <a:custGeom>
                <a:avLst/>
                <a:gdLst>
                  <a:gd name="T0" fmla="*/ 0 w 769"/>
                  <a:gd name="T1" fmla="*/ 0 h 726"/>
                  <a:gd name="T2" fmla="*/ 0 w 769"/>
                  <a:gd name="T3" fmla="*/ 0 h 726"/>
                  <a:gd name="T4" fmla="*/ 0 w 769"/>
                  <a:gd name="T5" fmla="*/ 726 h 726"/>
                  <a:gd name="T6" fmla="*/ 769 w 769"/>
                  <a:gd name="T7" fmla="*/ 726 h 726"/>
                  <a:gd name="T8" fmla="*/ 699 w 769"/>
                  <a:gd name="T9" fmla="*/ 115 h 726"/>
                  <a:gd name="T10" fmla="*/ 699 w 769"/>
                  <a:gd name="T11" fmla="*/ 115 h 726"/>
                  <a:gd name="T12" fmla="*/ 697 w 769"/>
                  <a:gd name="T13" fmla="*/ 101 h 726"/>
                  <a:gd name="T14" fmla="*/ 0 w 769"/>
                  <a:gd name="T15" fmla="*/ 101 h 726"/>
                  <a:gd name="T16" fmla="*/ 0 w 769"/>
                  <a:gd name="T17" fmla="*/ 0 h 7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69" h="726">
                    <a:moveTo>
                      <a:pt x="0" y="0"/>
                    </a:moveTo>
                    <a:lnTo>
                      <a:pt x="0" y="0"/>
                    </a:lnTo>
                    <a:lnTo>
                      <a:pt x="0" y="726"/>
                    </a:lnTo>
                    <a:lnTo>
                      <a:pt x="769" y="726"/>
                    </a:lnTo>
                    <a:lnTo>
                      <a:pt x="699" y="115"/>
                    </a:lnTo>
                    <a:lnTo>
                      <a:pt x="699" y="115"/>
                    </a:lnTo>
                    <a:lnTo>
                      <a:pt x="697" y="101"/>
                    </a:lnTo>
                    <a:lnTo>
                      <a:pt x="0" y="10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366" name="Freeform 132"/>
              <p:cNvSpPr>
                <a:spLocks/>
              </p:cNvSpPr>
              <p:nvPr/>
            </p:nvSpPr>
            <p:spPr bwMode="auto">
              <a:xfrm>
                <a:off x="3906" y="2426"/>
                <a:ext cx="697" cy="178"/>
              </a:xfrm>
              <a:custGeom>
                <a:avLst/>
                <a:gdLst>
                  <a:gd name="T0" fmla="*/ 677 w 697"/>
                  <a:gd name="T1" fmla="*/ 0 h 178"/>
                  <a:gd name="T2" fmla="*/ 0 w 697"/>
                  <a:gd name="T3" fmla="*/ 77 h 178"/>
                  <a:gd name="T4" fmla="*/ 0 w 697"/>
                  <a:gd name="T5" fmla="*/ 178 h 178"/>
                  <a:gd name="T6" fmla="*/ 697 w 697"/>
                  <a:gd name="T7" fmla="*/ 178 h 178"/>
                  <a:gd name="T8" fmla="*/ 677 w 697"/>
                  <a:gd name="T9" fmla="*/ 0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7" h="178">
                    <a:moveTo>
                      <a:pt x="677" y="0"/>
                    </a:moveTo>
                    <a:lnTo>
                      <a:pt x="0" y="77"/>
                    </a:lnTo>
                    <a:lnTo>
                      <a:pt x="0" y="178"/>
                    </a:lnTo>
                    <a:lnTo>
                      <a:pt x="697" y="178"/>
                    </a:lnTo>
                    <a:lnTo>
                      <a:pt x="677" y="0"/>
                    </a:lnTo>
                    <a:close/>
                  </a:path>
                </a:pathLst>
              </a:custGeom>
              <a:solidFill>
                <a:srgbClr val="99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367" name="Freeform 133"/>
              <p:cNvSpPr>
                <a:spLocks/>
              </p:cNvSpPr>
              <p:nvPr/>
            </p:nvSpPr>
            <p:spPr bwMode="auto">
              <a:xfrm>
                <a:off x="3906" y="2426"/>
                <a:ext cx="697" cy="178"/>
              </a:xfrm>
              <a:custGeom>
                <a:avLst/>
                <a:gdLst>
                  <a:gd name="T0" fmla="*/ 677 w 697"/>
                  <a:gd name="T1" fmla="*/ 0 h 178"/>
                  <a:gd name="T2" fmla="*/ 0 w 697"/>
                  <a:gd name="T3" fmla="*/ 77 h 178"/>
                  <a:gd name="T4" fmla="*/ 0 w 697"/>
                  <a:gd name="T5" fmla="*/ 178 h 178"/>
                  <a:gd name="T6" fmla="*/ 697 w 697"/>
                  <a:gd name="T7" fmla="*/ 178 h 178"/>
                  <a:gd name="T8" fmla="*/ 677 w 697"/>
                  <a:gd name="T9" fmla="*/ 0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7" h="178">
                    <a:moveTo>
                      <a:pt x="677" y="0"/>
                    </a:moveTo>
                    <a:lnTo>
                      <a:pt x="0" y="77"/>
                    </a:lnTo>
                    <a:lnTo>
                      <a:pt x="0" y="178"/>
                    </a:lnTo>
                    <a:lnTo>
                      <a:pt x="697" y="178"/>
                    </a:lnTo>
                    <a:lnTo>
                      <a:pt x="67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368" name="Freeform 134"/>
              <p:cNvSpPr>
                <a:spLocks/>
              </p:cNvSpPr>
              <p:nvPr/>
            </p:nvSpPr>
            <p:spPr bwMode="auto">
              <a:xfrm>
                <a:off x="3904" y="2692"/>
                <a:ext cx="848" cy="710"/>
              </a:xfrm>
              <a:custGeom>
                <a:avLst/>
                <a:gdLst>
                  <a:gd name="T0" fmla="*/ 848 w 848"/>
                  <a:gd name="T1" fmla="*/ 621 h 710"/>
                  <a:gd name="T2" fmla="*/ 70 w 848"/>
                  <a:gd name="T3" fmla="*/ 710 h 710"/>
                  <a:gd name="T4" fmla="*/ 0 w 848"/>
                  <a:gd name="T5" fmla="*/ 90 h 710"/>
                  <a:gd name="T6" fmla="*/ 777 w 848"/>
                  <a:gd name="T7" fmla="*/ 0 h 710"/>
                  <a:gd name="T8" fmla="*/ 848 w 848"/>
                  <a:gd name="T9" fmla="*/ 621 h 7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48" h="710">
                    <a:moveTo>
                      <a:pt x="848" y="621"/>
                    </a:moveTo>
                    <a:lnTo>
                      <a:pt x="70" y="710"/>
                    </a:lnTo>
                    <a:lnTo>
                      <a:pt x="0" y="90"/>
                    </a:lnTo>
                    <a:lnTo>
                      <a:pt x="777" y="0"/>
                    </a:lnTo>
                    <a:lnTo>
                      <a:pt x="848" y="621"/>
                    </a:lnTo>
                    <a:close/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369" name="Freeform 135"/>
              <p:cNvSpPr>
                <a:spLocks/>
              </p:cNvSpPr>
              <p:nvPr/>
            </p:nvSpPr>
            <p:spPr bwMode="auto">
              <a:xfrm>
                <a:off x="3882" y="2501"/>
                <a:ext cx="799" cy="281"/>
              </a:xfrm>
              <a:custGeom>
                <a:avLst/>
                <a:gdLst>
                  <a:gd name="T0" fmla="*/ 799 w 799"/>
                  <a:gd name="T1" fmla="*/ 191 h 281"/>
                  <a:gd name="T2" fmla="*/ 22 w 799"/>
                  <a:gd name="T3" fmla="*/ 281 h 281"/>
                  <a:gd name="T4" fmla="*/ 0 w 799"/>
                  <a:gd name="T5" fmla="*/ 89 h 281"/>
                  <a:gd name="T6" fmla="*/ 778 w 799"/>
                  <a:gd name="T7" fmla="*/ 0 h 281"/>
                  <a:gd name="T8" fmla="*/ 799 w 799"/>
                  <a:gd name="T9" fmla="*/ 191 h 2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99" h="281">
                    <a:moveTo>
                      <a:pt x="799" y="191"/>
                    </a:moveTo>
                    <a:lnTo>
                      <a:pt x="22" y="281"/>
                    </a:lnTo>
                    <a:lnTo>
                      <a:pt x="0" y="89"/>
                    </a:lnTo>
                    <a:lnTo>
                      <a:pt x="778" y="0"/>
                    </a:lnTo>
                    <a:lnTo>
                      <a:pt x="799" y="191"/>
                    </a:lnTo>
                    <a:close/>
                  </a:path>
                </a:pathLst>
              </a:custGeom>
              <a:solidFill>
                <a:srgbClr val="C020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</p:grpSp>
        <p:sp>
          <p:nvSpPr>
            <p:cNvPr id="347" name="TextBox 346"/>
            <p:cNvSpPr txBox="1"/>
            <p:nvPr/>
          </p:nvSpPr>
          <p:spPr>
            <a:xfrm rot="21197020">
              <a:off x="6235676" y="4389021"/>
              <a:ext cx="1250270" cy="8896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595959"/>
                  </a:solidFill>
                  <a:latin typeface="Segoe UI" panose="020B0502040204020203" pitchFamily="34" charset="0"/>
                  <a:ea typeface="Segoe UI Black" panose="020B0A02040204020203" pitchFamily="34" charset="0"/>
                  <a:cs typeface="Segoe UI" panose="020B0502040204020203" pitchFamily="34" charset="0"/>
                </a:rPr>
                <a:t>JUL </a:t>
              </a:r>
            </a:p>
            <a:p>
              <a:pPr algn="ctr"/>
              <a:r>
                <a:rPr lang="en-US" sz="1600" b="1" dirty="0" smtClean="0">
                  <a:solidFill>
                    <a:srgbClr val="595959"/>
                  </a:solidFill>
                  <a:latin typeface="Segoe UI" panose="020B0502040204020203" pitchFamily="34" charset="0"/>
                  <a:ea typeface="Segoe UI Black" panose="020B0A02040204020203" pitchFamily="34" charset="0"/>
                  <a:cs typeface="Segoe UI" panose="020B0502040204020203" pitchFamily="34" charset="0"/>
                </a:rPr>
                <a:t>9</a:t>
              </a:r>
              <a:endParaRPr lang="en-US" sz="1600" b="1" dirty="0">
                <a:solidFill>
                  <a:srgbClr val="595959"/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372" name="Freeform 36"/>
          <p:cNvSpPr>
            <a:spLocks noEditPoints="1"/>
          </p:cNvSpPr>
          <p:nvPr/>
        </p:nvSpPr>
        <p:spPr bwMode="black">
          <a:xfrm>
            <a:off x="9289633" y="2962730"/>
            <a:ext cx="811152" cy="821043"/>
          </a:xfrm>
          <a:custGeom>
            <a:avLst/>
            <a:gdLst>
              <a:gd name="T0" fmla="*/ 82 w 149"/>
              <a:gd name="T1" fmla="*/ 41 h 150"/>
              <a:gd name="T2" fmla="*/ 80 w 149"/>
              <a:gd name="T3" fmla="*/ 87 h 150"/>
              <a:gd name="T4" fmla="*/ 68 w 149"/>
              <a:gd name="T5" fmla="*/ 87 h 150"/>
              <a:gd name="T6" fmla="*/ 67 w 149"/>
              <a:gd name="T7" fmla="*/ 41 h 150"/>
              <a:gd name="T8" fmla="*/ 82 w 149"/>
              <a:gd name="T9" fmla="*/ 41 h 150"/>
              <a:gd name="T10" fmla="*/ 83 w 149"/>
              <a:gd name="T11" fmla="*/ 102 h 150"/>
              <a:gd name="T12" fmla="*/ 81 w 149"/>
              <a:gd name="T13" fmla="*/ 107 h 150"/>
              <a:gd name="T14" fmla="*/ 75 w 149"/>
              <a:gd name="T15" fmla="*/ 109 h 150"/>
              <a:gd name="T16" fmla="*/ 68 w 149"/>
              <a:gd name="T17" fmla="*/ 107 h 150"/>
              <a:gd name="T18" fmla="*/ 66 w 149"/>
              <a:gd name="T19" fmla="*/ 102 h 150"/>
              <a:gd name="T20" fmla="*/ 68 w 149"/>
              <a:gd name="T21" fmla="*/ 96 h 150"/>
              <a:gd name="T22" fmla="*/ 75 w 149"/>
              <a:gd name="T23" fmla="*/ 94 h 150"/>
              <a:gd name="T24" fmla="*/ 81 w 149"/>
              <a:gd name="T25" fmla="*/ 96 h 150"/>
              <a:gd name="T26" fmla="*/ 83 w 149"/>
              <a:gd name="T27" fmla="*/ 102 h 150"/>
              <a:gd name="T28" fmla="*/ 74 w 149"/>
              <a:gd name="T29" fmla="*/ 10 h 150"/>
              <a:gd name="T30" fmla="*/ 9 w 149"/>
              <a:gd name="T31" fmla="*/ 75 h 150"/>
              <a:gd name="T32" fmla="*/ 74 w 149"/>
              <a:gd name="T33" fmla="*/ 140 h 150"/>
              <a:gd name="T34" fmla="*/ 140 w 149"/>
              <a:gd name="T35" fmla="*/ 75 h 150"/>
              <a:gd name="T36" fmla="*/ 74 w 149"/>
              <a:gd name="T37" fmla="*/ 10 h 150"/>
              <a:gd name="T38" fmla="*/ 74 w 149"/>
              <a:gd name="T39" fmla="*/ 0 h 150"/>
              <a:gd name="T40" fmla="*/ 149 w 149"/>
              <a:gd name="T41" fmla="*/ 75 h 150"/>
              <a:gd name="T42" fmla="*/ 74 w 149"/>
              <a:gd name="T43" fmla="*/ 150 h 150"/>
              <a:gd name="T44" fmla="*/ 0 w 149"/>
              <a:gd name="T45" fmla="*/ 75 h 150"/>
              <a:gd name="T46" fmla="*/ 74 w 149"/>
              <a:gd name="T47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49" h="150">
                <a:moveTo>
                  <a:pt x="82" y="41"/>
                </a:moveTo>
                <a:cubicBezTo>
                  <a:pt x="80" y="87"/>
                  <a:pt x="80" y="87"/>
                  <a:pt x="80" y="87"/>
                </a:cubicBezTo>
                <a:cubicBezTo>
                  <a:pt x="68" y="87"/>
                  <a:pt x="68" y="87"/>
                  <a:pt x="68" y="87"/>
                </a:cubicBezTo>
                <a:cubicBezTo>
                  <a:pt x="67" y="41"/>
                  <a:pt x="67" y="41"/>
                  <a:pt x="67" y="41"/>
                </a:cubicBezTo>
                <a:lnTo>
                  <a:pt x="82" y="41"/>
                </a:lnTo>
                <a:close/>
                <a:moveTo>
                  <a:pt x="83" y="102"/>
                </a:moveTo>
                <a:cubicBezTo>
                  <a:pt x="83" y="104"/>
                  <a:pt x="82" y="106"/>
                  <a:pt x="81" y="107"/>
                </a:cubicBezTo>
                <a:cubicBezTo>
                  <a:pt x="79" y="109"/>
                  <a:pt x="77" y="109"/>
                  <a:pt x="75" y="109"/>
                </a:cubicBezTo>
                <a:cubicBezTo>
                  <a:pt x="72" y="109"/>
                  <a:pt x="70" y="109"/>
                  <a:pt x="68" y="107"/>
                </a:cubicBezTo>
                <a:cubicBezTo>
                  <a:pt x="67" y="105"/>
                  <a:pt x="66" y="104"/>
                  <a:pt x="66" y="102"/>
                </a:cubicBezTo>
                <a:cubicBezTo>
                  <a:pt x="66" y="99"/>
                  <a:pt x="67" y="97"/>
                  <a:pt x="68" y="96"/>
                </a:cubicBezTo>
                <a:cubicBezTo>
                  <a:pt x="70" y="94"/>
                  <a:pt x="72" y="94"/>
                  <a:pt x="75" y="94"/>
                </a:cubicBezTo>
                <a:cubicBezTo>
                  <a:pt x="77" y="94"/>
                  <a:pt x="79" y="94"/>
                  <a:pt x="81" y="96"/>
                </a:cubicBezTo>
                <a:cubicBezTo>
                  <a:pt x="82" y="97"/>
                  <a:pt x="83" y="99"/>
                  <a:pt x="83" y="102"/>
                </a:cubicBezTo>
                <a:moveTo>
                  <a:pt x="74" y="10"/>
                </a:moveTo>
                <a:cubicBezTo>
                  <a:pt x="38" y="10"/>
                  <a:pt x="9" y="39"/>
                  <a:pt x="9" y="75"/>
                </a:cubicBezTo>
                <a:cubicBezTo>
                  <a:pt x="9" y="111"/>
                  <a:pt x="38" y="140"/>
                  <a:pt x="74" y="140"/>
                </a:cubicBezTo>
                <a:cubicBezTo>
                  <a:pt x="111" y="140"/>
                  <a:pt x="140" y="111"/>
                  <a:pt x="140" y="75"/>
                </a:cubicBezTo>
                <a:cubicBezTo>
                  <a:pt x="140" y="39"/>
                  <a:pt x="111" y="10"/>
                  <a:pt x="74" y="10"/>
                </a:cubicBezTo>
                <a:moveTo>
                  <a:pt x="74" y="0"/>
                </a:moveTo>
                <a:cubicBezTo>
                  <a:pt x="116" y="0"/>
                  <a:pt x="149" y="34"/>
                  <a:pt x="149" y="75"/>
                </a:cubicBezTo>
                <a:cubicBezTo>
                  <a:pt x="149" y="116"/>
                  <a:pt x="116" y="150"/>
                  <a:pt x="74" y="150"/>
                </a:cubicBezTo>
                <a:cubicBezTo>
                  <a:pt x="33" y="150"/>
                  <a:pt x="0" y="116"/>
                  <a:pt x="0" y="75"/>
                </a:cubicBezTo>
                <a:cubicBezTo>
                  <a:pt x="0" y="34"/>
                  <a:pt x="33" y="0"/>
                  <a:pt x="74" y="0"/>
                </a:cubicBezTo>
              </a:path>
            </a:pathLst>
          </a:custGeom>
          <a:solidFill>
            <a:srgbClr val="C0202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sp>
        <p:nvSpPr>
          <p:cNvPr id="379" name="Rectangle 378"/>
          <p:cNvSpPr/>
          <p:nvPr/>
        </p:nvSpPr>
        <p:spPr>
          <a:xfrm>
            <a:off x="565540" y="3485008"/>
            <a:ext cx="5034318" cy="418247"/>
          </a:xfrm>
          <a:prstGeom prst="rect">
            <a:avLst/>
          </a:prstGeom>
          <a:solidFill>
            <a:srgbClr val="C0202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en-US" sz="1200" dirty="0" smtClean="0"/>
              <a:t>I’d like to set up time with you</a:t>
            </a:r>
          </a:p>
          <a:p>
            <a:pPr lvl="1"/>
            <a:r>
              <a:rPr lang="en-US" sz="1200" dirty="0" smtClean="0"/>
              <a:t>Email me @jeffltest@hotmail.com</a:t>
            </a:r>
            <a:endParaRPr lang="en-US" sz="1200" dirty="0"/>
          </a:p>
        </p:txBody>
      </p:sp>
      <p:grpSp>
        <p:nvGrpSpPr>
          <p:cNvPr id="380" name="Group 379"/>
          <p:cNvGrpSpPr>
            <a:grpSpLocks noChangeAspect="1"/>
          </p:cNvGrpSpPr>
          <p:nvPr/>
        </p:nvGrpSpPr>
        <p:grpSpPr>
          <a:xfrm>
            <a:off x="792318" y="2628534"/>
            <a:ext cx="773774" cy="795445"/>
            <a:chOff x="6013451" y="3827462"/>
            <a:chExt cx="1530350" cy="1573212"/>
          </a:xfrm>
        </p:grpSpPr>
        <p:grpSp>
          <p:nvGrpSpPr>
            <p:cNvPr id="381" name="Group 113"/>
            <p:cNvGrpSpPr>
              <a:grpSpLocks noChangeAspect="1"/>
            </p:cNvGrpSpPr>
            <p:nvPr/>
          </p:nvGrpSpPr>
          <p:grpSpPr bwMode="auto">
            <a:xfrm>
              <a:off x="6013451" y="3827462"/>
              <a:ext cx="1530350" cy="1573212"/>
              <a:chOff x="3788" y="2411"/>
              <a:chExt cx="964" cy="991"/>
            </a:xfrm>
          </p:grpSpPr>
          <p:sp>
            <p:nvSpPr>
              <p:cNvPr id="383" name="Freeform 114"/>
              <p:cNvSpPr>
                <a:spLocks/>
              </p:cNvSpPr>
              <p:nvPr/>
            </p:nvSpPr>
            <p:spPr bwMode="auto">
              <a:xfrm>
                <a:off x="3788" y="3229"/>
                <a:ext cx="900" cy="117"/>
              </a:xfrm>
              <a:custGeom>
                <a:avLst/>
                <a:gdLst>
                  <a:gd name="T0" fmla="*/ 784 w 900"/>
                  <a:gd name="T1" fmla="*/ 117 h 117"/>
                  <a:gd name="T2" fmla="*/ 0 w 900"/>
                  <a:gd name="T3" fmla="*/ 117 h 117"/>
                  <a:gd name="T4" fmla="*/ 118 w 900"/>
                  <a:gd name="T5" fmla="*/ 0 h 117"/>
                  <a:gd name="T6" fmla="*/ 900 w 900"/>
                  <a:gd name="T7" fmla="*/ 0 h 117"/>
                  <a:gd name="T8" fmla="*/ 784 w 900"/>
                  <a:gd name="T9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00" h="117">
                    <a:moveTo>
                      <a:pt x="784" y="117"/>
                    </a:moveTo>
                    <a:lnTo>
                      <a:pt x="0" y="117"/>
                    </a:lnTo>
                    <a:lnTo>
                      <a:pt x="118" y="0"/>
                    </a:lnTo>
                    <a:lnTo>
                      <a:pt x="900" y="0"/>
                    </a:lnTo>
                    <a:lnTo>
                      <a:pt x="784" y="117"/>
                    </a:lnTo>
                    <a:close/>
                  </a:path>
                </a:pathLst>
              </a:cu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384" name="Freeform 115"/>
              <p:cNvSpPr>
                <a:spLocks/>
              </p:cNvSpPr>
              <p:nvPr/>
            </p:nvSpPr>
            <p:spPr bwMode="auto">
              <a:xfrm>
                <a:off x="3788" y="3229"/>
                <a:ext cx="900" cy="117"/>
              </a:xfrm>
              <a:custGeom>
                <a:avLst/>
                <a:gdLst>
                  <a:gd name="T0" fmla="*/ 784 w 900"/>
                  <a:gd name="T1" fmla="*/ 117 h 117"/>
                  <a:gd name="T2" fmla="*/ 0 w 900"/>
                  <a:gd name="T3" fmla="*/ 117 h 117"/>
                  <a:gd name="T4" fmla="*/ 118 w 900"/>
                  <a:gd name="T5" fmla="*/ 0 h 117"/>
                  <a:gd name="T6" fmla="*/ 900 w 900"/>
                  <a:gd name="T7" fmla="*/ 0 h 117"/>
                  <a:gd name="T8" fmla="*/ 784 w 900"/>
                  <a:gd name="T9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00" h="117">
                    <a:moveTo>
                      <a:pt x="784" y="117"/>
                    </a:moveTo>
                    <a:lnTo>
                      <a:pt x="0" y="117"/>
                    </a:lnTo>
                    <a:lnTo>
                      <a:pt x="118" y="0"/>
                    </a:lnTo>
                    <a:lnTo>
                      <a:pt x="900" y="0"/>
                    </a:lnTo>
                    <a:lnTo>
                      <a:pt x="784" y="117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385" name="Freeform 116"/>
              <p:cNvSpPr>
                <a:spLocks/>
              </p:cNvSpPr>
              <p:nvPr/>
            </p:nvSpPr>
            <p:spPr bwMode="auto">
              <a:xfrm>
                <a:off x="3790" y="2411"/>
                <a:ext cx="116" cy="935"/>
              </a:xfrm>
              <a:custGeom>
                <a:avLst/>
                <a:gdLst>
                  <a:gd name="T0" fmla="*/ 116 w 116"/>
                  <a:gd name="T1" fmla="*/ 818 h 935"/>
                  <a:gd name="T2" fmla="*/ 0 w 116"/>
                  <a:gd name="T3" fmla="*/ 935 h 935"/>
                  <a:gd name="T4" fmla="*/ 0 w 116"/>
                  <a:gd name="T5" fmla="*/ 118 h 935"/>
                  <a:gd name="T6" fmla="*/ 116 w 116"/>
                  <a:gd name="T7" fmla="*/ 0 h 935"/>
                  <a:gd name="T8" fmla="*/ 116 w 116"/>
                  <a:gd name="T9" fmla="*/ 818 h 9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6" h="935">
                    <a:moveTo>
                      <a:pt x="116" y="818"/>
                    </a:moveTo>
                    <a:lnTo>
                      <a:pt x="0" y="935"/>
                    </a:lnTo>
                    <a:lnTo>
                      <a:pt x="0" y="118"/>
                    </a:lnTo>
                    <a:lnTo>
                      <a:pt x="116" y="0"/>
                    </a:lnTo>
                    <a:lnTo>
                      <a:pt x="116" y="818"/>
                    </a:ln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386" name="Freeform 117"/>
              <p:cNvSpPr>
                <a:spLocks/>
              </p:cNvSpPr>
              <p:nvPr/>
            </p:nvSpPr>
            <p:spPr bwMode="auto">
              <a:xfrm>
                <a:off x="3790" y="2411"/>
                <a:ext cx="116" cy="935"/>
              </a:xfrm>
              <a:custGeom>
                <a:avLst/>
                <a:gdLst>
                  <a:gd name="T0" fmla="*/ 116 w 116"/>
                  <a:gd name="T1" fmla="*/ 818 h 935"/>
                  <a:gd name="T2" fmla="*/ 0 w 116"/>
                  <a:gd name="T3" fmla="*/ 935 h 935"/>
                  <a:gd name="T4" fmla="*/ 0 w 116"/>
                  <a:gd name="T5" fmla="*/ 118 h 935"/>
                  <a:gd name="T6" fmla="*/ 116 w 116"/>
                  <a:gd name="T7" fmla="*/ 0 h 935"/>
                  <a:gd name="T8" fmla="*/ 116 w 116"/>
                  <a:gd name="T9" fmla="*/ 818 h 9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6" h="935">
                    <a:moveTo>
                      <a:pt x="116" y="818"/>
                    </a:moveTo>
                    <a:lnTo>
                      <a:pt x="0" y="935"/>
                    </a:lnTo>
                    <a:lnTo>
                      <a:pt x="0" y="118"/>
                    </a:lnTo>
                    <a:lnTo>
                      <a:pt x="116" y="0"/>
                    </a:lnTo>
                    <a:lnTo>
                      <a:pt x="116" y="818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387" name="Freeform 118"/>
              <p:cNvSpPr>
                <a:spLocks/>
              </p:cNvSpPr>
              <p:nvPr/>
            </p:nvSpPr>
            <p:spPr bwMode="auto">
              <a:xfrm>
                <a:off x="3790" y="2411"/>
                <a:ext cx="116" cy="311"/>
              </a:xfrm>
              <a:custGeom>
                <a:avLst/>
                <a:gdLst>
                  <a:gd name="T0" fmla="*/ 116 w 116"/>
                  <a:gd name="T1" fmla="*/ 193 h 311"/>
                  <a:gd name="T2" fmla="*/ 0 w 116"/>
                  <a:gd name="T3" fmla="*/ 311 h 311"/>
                  <a:gd name="T4" fmla="*/ 0 w 116"/>
                  <a:gd name="T5" fmla="*/ 118 h 311"/>
                  <a:gd name="T6" fmla="*/ 116 w 116"/>
                  <a:gd name="T7" fmla="*/ 0 h 311"/>
                  <a:gd name="T8" fmla="*/ 116 w 116"/>
                  <a:gd name="T9" fmla="*/ 193 h 3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6" h="311">
                    <a:moveTo>
                      <a:pt x="116" y="193"/>
                    </a:moveTo>
                    <a:lnTo>
                      <a:pt x="0" y="311"/>
                    </a:lnTo>
                    <a:lnTo>
                      <a:pt x="0" y="118"/>
                    </a:lnTo>
                    <a:lnTo>
                      <a:pt x="116" y="0"/>
                    </a:lnTo>
                    <a:lnTo>
                      <a:pt x="116" y="193"/>
                    </a:lnTo>
                    <a:close/>
                  </a:path>
                </a:pathLst>
              </a:custGeom>
              <a:solidFill>
                <a:srgbClr val="AA121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388" name="Freeform 119"/>
              <p:cNvSpPr>
                <a:spLocks/>
              </p:cNvSpPr>
              <p:nvPr/>
            </p:nvSpPr>
            <p:spPr bwMode="auto">
              <a:xfrm>
                <a:off x="3790" y="2411"/>
                <a:ext cx="116" cy="311"/>
              </a:xfrm>
              <a:custGeom>
                <a:avLst/>
                <a:gdLst>
                  <a:gd name="T0" fmla="*/ 116 w 116"/>
                  <a:gd name="T1" fmla="*/ 193 h 311"/>
                  <a:gd name="T2" fmla="*/ 0 w 116"/>
                  <a:gd name="T3" fmla="*/ 311 h 311"/>
                  <a:gd name="T4" fmla="*/ 0 w 116"/>
                  <a:gd name="T5" fmla="*/ 118 h 311"/>
                  <a:gd name="T6" fmla="*/ 116 w 116"/>
                  <a:gd name="T7" fmla="*/ 0 h 311"/>
                  <a:gd name="T8" fmla="*/ 116 w 116"/>
                  <a:gd name="T9" fmla="*/ 193 h 3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6" h="311">
                    <a:moveTo>
                      <a:pt x="116" y="193"/>
                    </a:moveTo>
                    <a:lnTo>
                      <a:pt x="0" y="311"/>
                    </a:lnTo>
                    <a:lnTo>
                      <a:pt x="0" y="118"/>
                    </a:lnTo>
                    <a:lnTo>
                      <a:pt x="116" y="0"/>
                    </a:lnTo>
                    <a:lnTo>
                      <a:pt x="116" y="193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389" name="Rectangle 120"/>
              <p:cNvSpPr>
                <a:spLocks noChangeArrowheads="1"/>
              </p:cNvSpPr>
              <p:nvPr/>
            </p:nvSpPr>
            <p:spPr bwMode="auto">
              <a:xfrm>
                <a:off x="3906" y="2411"/>
                <a:ext cx="782" cy="818"/>
              </a:xfrm>
              <a:prstGeom prst="rect">
                <a:avLst/>
              </a:pr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390" name="Rectangle 121"/>
              <p:cNvSpPr>
                <a:spLocks noChangeArrowheads="1"/>
              </p:cNvSpPr>
              <p:nvPr/>
            </p:nvSpPr>
            <p:spPr bwMode="auto">
              <a:xfrm>
                <a:off x="3906" y="2411"/>
                <a:ext cx="782" cy="81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391" name="Rectangle 122"/>
              <p:cNvSpPr>
                <a:spLocks noChangeArrowheads="1"/>
              </p:cNvSpPr>
              <p:nvPr/>
            </p:nvSpPr>
            <p:spPr bwMode="auto">
              <a:xfrm>
                <a:off x="3906" y="2411"/>
                <a:ext cx="782" cy="193"/>
              </a:xfrm>
              <a:prstGeom prst="rect">
                <a:avLst/>
              </a:prstGeom>
              <a:solidFill>
                <a:srgbClr val="C020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392" name="Rectangle 123"/>
              <p:cNvSpPr>
                <a:spLocks noChangeArrowheads="1"/>
              </p:cNvSpPr>
              <p:nvPr/>
            </p:nvSpPr>
            <p:spPr bwMode="auto">
              <a:xfrm>
                <a:off x="3906" y="2411"/>
                <a:ext cx="782" cy="19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393" name="Freeform 124"/>
              <p:cNvSpPr>
                <a:spLocks/>
              </p:cNvSpPr>
              <p:nvPr/>
            </p:nvSpPr>
            <p:spPr bwMode="auto">
              <a:xfrm>
                <a:off x="3889" y="3229"/>
                <a:ext cx="786" cy="99"/>
              </a:xfrm>
              <a:custGeom>
                <a:avLst/>
                <a:gdLst>
                  <a:gd name="T0" fmla="*/ 786 w 786"/>
                  <a:gd name="T1" fmla="*/ 0 h 99"/>
                  <a:gd name="T2" fmla="*/ 17 w 786"/>
                  <a:gd name="T3" fmla="*/ 0 h 99"/>
                  <a:gd name="T4" fmla="*/ 0 w 786"/>
                  <a:gd name="T5" fmla="*/ 17 h 99"/>
                  <a:gd name="T6" fmla="*/ 10 w 786"/>
                  <a:gd name="T7" fmla="*/ 99 h 99"/>
                  <a:gd name="T8" fmla="*/ 786 w 786"/>
                  <a:gd name="T9" fmla="*/ 10 h 99"/>
                  <a:gd name="T10" fmla="*/ 786 w 786"/>
                  <a:gd name="T11" fmla="*/ 0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86" h="99">
                    <a:moveTo>
                      <a:pt x="786" y="0"/>
                    </a:moveTo>
                    <a:lnTo>
                      <a:pt x="17" y="0"/>
                    </a:lnTo>
                    <a:lnTo>
                      <a:pt x="0" y="17"/>
                    </a:lnTo>
                    <a:lnTo>
                      <a:pt x="10" y="99"/>
                    </a:lnTo>
                    <a:lnTo>
                      <a:pt x="786" y="10"/>
                    </a:lnTo>
                    <a:lnTo>
                      <a:pt x="786" y="0"/>
                    </a:lnTo>
                    <a:close/>
                  </a:path>
                </a:pathLst>
              </a:custGeom>
              <a:solidFill>
                <a:srgbClr val="8787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394" name="Freeform 125"/>
              <p:cNvSpPr>
                <a:spLocks/>
              </p:cNvSpPr>
              <p:nvPr/>
            </p:nvSpPr>
            <p:spPr bwMode="auto">
              <a:xfrm>
                <a:off x="3889" y="3229"/>
                <a:ext cx="786" cy="99"/>
              </a:xfrm>
              <a:custGeom>
                <a:avLst/>
                <a:gdLst>
                  <a:gd name="T0" fmla="*/ 786 w 786"/>
                  <a:gd name="T1" fmla="*/ 0 h 99"/>
                  <a:gd name="T2" fmla="*/ 17 w 786"/>
                  <a:gd name="T3" fmla="*/ 0 h 99"/>
                  <a:gd name="T4" fmla="*/ 0 w 786"/>
                  <a:gd name="T5" fmla="*/ 17 h 99"/>
                  <a:gd name="T6" fmla="*/ 10 w 786"/>
                  <a:gd name="T7" fmla="*/ 99 h 99"/>
                  <a:gd name="T8" fmla="*/ 786 w 786"/>
                  <a:gd name="T9" fmla="*/ 10 h 99"/>
                  <a:gd name="T10" fmla="*/ 786 w 786"/>
                  <a:gd name="T11" fmla="*/ 0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86" h="99">
                    <a:moveTo>
                      <a:pt x="786" y="0"/>
                    </a:moveTo>
                    <a:lnTo>
                      <a:pt x="17" y="0"/>
                    </a:lnTo>
                    <a:lnTo>
                      <a:pt x="0" y="17"/>
                    </a:lnTo>
                    <a:lnTo>
                      <a:pt x="10" y="99"/>
                    </a:lnTo>
                    <a:lnTo>
                      <a:pt x="786" y="10"/>
                    </a:lnTo>
                    <a:lnTo>
                      <a:pt x="786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395" name="Freeform 126"/>
              <p:cNvSpPr>
                <a:spLocks/>
              </p:cNvSpPr>
              <p:nvPr/>
            </p:nvSpPr>
            <p:spPr bwMode="auto">
              <a:xfrm>
                <a:off x="3825" y="2604"/>
                <a:ext cx="81" cy="642"/>
              </a:xfrm>
              <a:custGeom>
                <a:avLst/>
                <a:gdLst>
                  <a:gd name="T0" fmla="*/ 81 w 81"/>
                  <a:gd name="T1" fmla="*/ 0 h 642"/>
                  <a:gd name="T2" fmla="*/ 0 w 81"/>
                  <a:gd name="T3" fmla="*/ 83 h 642"/>
                  <a:gd name="T4" fmla="*/ 2 w 81"/>
                  <a:gd name="T5" fmla="*/ 104 h 642"/>
                  <a:gd name="T6" fmla="*/ 64 w 81"/>
                  <a:gd name="T7" fmla="*/ 642 h 642"/>
                  <a:gd name="T8" fmla="*/ 81 w 81"/>
                  <a:gd name="T9" fmla="*/ 625 h 642"/>
                  <a:gd name="T10" fmla="*/ 81 w 81"/>
                  <a:gd name="T11" fmla="*/ 0 h 6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1" h="642">
                    <a:moveTo>
                      <a:pt x="81" y="0"/>
                    </a:moveTo>
                    <a:lnTo>
                      <a:pt x="0" y="83"/>
                    </a:lnTo>
                    <a:lnTo>
                      <a:pt x="2" y="104"/>
                    </a:lnTo>
                    <a:lnTo>
                      <a:pt x="64" y="642"/>
                    </a:lnTo>
                    <a:lnTo>
                      <a:pt x="81" y="625"/>
                    </a:lnTo>
                    <a:lnTo>
                      <a:pt x="81" y="0"/>
                    </a:lnTo>
                    <a:close/>
                  </a:path>
                </a:pathLst>
              </a:custGeom>
              <a:solidFill>
                <a:srgbClr val="BDBD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396" name="Freeform 127"/>
              <p:cNvSpPr>
                <a:spLocks/>
              </p:cNvSpPr>
              <p:nvPr/>
            </p:nvSpPr>
            <p:spPr bwMode="auto">
              <a:xfrm>
                <a:off x="3825" y="2604"/>
                <a:ext cx="81" cy="642"/>
              </a:xfrm>
              <a:custGeom>
                <a:avLst/>
                <a:gdLst>
                  <a:gd name="T0" fmla="*/ 81 w 81"/>
                  <a:gd name="T1" fmla="*/ 0 h 642"/>
                  <a:gd name="T2" fmla="*/ 0 w 81"/>
                  <a:gd name="T3" fmla="*/ 83 h 642"/>
                  <a:gd name="T4" fmla="*/ 2 w 81"/>
                  <a:gd name="T5" fmla="*/ 104 h 642"/>
                  <a:gd name="T6" fmla="*/ 64 w 81"/>
                  <a:gd name="T7" fmla="*/ 642 h 642"/>
                  <a:gd name="T8" fmla="*/ 81 w 81"/>
                  <a:gd name="T9" fmla="*/ 625 h 642"/>
                  <a:gd name="T10" fmla="*/ 81 w 81"/>
                  <a:gd name="T11" fmla="*/ 0 h 6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1" h="642">
                    <a:moveTo>
                      <a:pt x="81" y="0"/>
                    </a:moveTo>
                    <a:lnTo>
                      <a:pt x="0" y="83"/>
                    </a:lnTo>
                    <a:lnTo>
                      <a:pt x="2" y="104"/>
                    </a:lnTo>
                    <a:lnTo>
                      <a:pt x="64" y="642"/>
                    </a:lnTo>
                    <a:lnTo>
                      <a:pt x="81" y="625"/>
                    </a:lnTo>
                    <a:lnTo>
                      <a:pt x="8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397" name="Freeform 128"/>
              <p:cNvSpPr>
                <a:spLocks/>
              </p:cNvSpPr>
              <p:nvPr/>
            </p:nvSpPr>
            <p:spPr bwMode="auto">
              <a:xfrm>
                <a:off x="3805" y="2503"/>
                <a:ext cx="101" cy="184"/>
              </a:xfrm>
              <a:custGeom>
                <a:avLst/>
                <a:gdLst>
                  <a:gd name="T0" fmla="*/ 101 w 101"/>
                  <a:gd name="T1" fmla="*/ 0 h 184"/>
                  <a:gd name="T2" fmla="*/ 0 w 101"/>
                  <a:gd name="T3" fmla="*/ 13 h 184"/>
                  <a:gd name="T4" fmla="*/ 20 w 101"/>
                  <a:gd name="T5" fmla="*/ 184 h 184"/>
                  <a:gd name="T6" fmla="*/ 101 w 101"/>
                  <a:gd name="T7" fmla="*/ 101 h 184"/>
                  <a:gd name="T8" fmla="*/ 101 w 101"/>
                  <a:gd name="T9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1" h="184">
                    <a:moveTo>
                      <a:pt x="101" y="0"/>
                    </a:moveTo>
                    <a:lnTo>
                      <a:pt x="0" y="13"/>
                    </a:lnTo>
                    <a:lnTo>
                      <a:pt x="20" y="184"/>
                    </a:lnTo>
                    <a:lnTo>
                      <a:pt x="101" y="101"/>
                    </a:lnTo>
                    <a:lnTo>
                      <a:pt x="101" y="0"/>
                    </a:lnTo>
                    <a:close/>
                  </a:path>
                </a:pathLst>
              </a:custGeom>
              <a:solidFill>
                <a:srgbClr val="8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398" name="Freeform 129"/>
              <p:cNvSpPr>
                <a:spLocks/>
              </p:cNvSpPr>
              <p:nvPr/>
            </p:nvSpPr>
            <p:spPr bwMode="auto">
              <a:xfrm>
                <a:off x="3805" y="2503"/>
                <a:ext cx="101" cy="184"/>
              </a:xfrm>
              <a:custGeom>
                <a:avLst/>
                <a:gdLst>
                  <a:gd name="T0" fmla="*/ 101 w 101"/>
                  <a:gd name="T1" fmla="*/ 0 h 184"/>
                  <a:gd name="T2" fmla="*/ 0 w 101"/>
                  <a:gd name="T3" fmla="*/ 13 h 184"/>
                  <a:gd name="T4" fmla="*/ 20 w 101"/>
                  <a:gd name="T5" fmla="*/ 184 h 184"/>
                  <a:gd name="T6" fmla="*/ 101 w 101"/>
                  <a:gd name="T7" fmla="*/ 101 h 184"/>
                  <a:gd name="T8" fmla="*/ 101 w 101"/>
                  <a:gd name="T9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1" h="184">
                    <a:moveTo>
                      <a:pt x="101" y="0"/>
                    </a:moveTo>
                    <a:lnTo>
                      <a:pt x="0" y="13"/>
                    </a:lnTo>
                    <a:lnTo>
                      <a:pt x="20" y="184"/>
                    </a:lnTo>
                    <a:lnTo>
                      <a:pt x="101" y="101"/>
                    </a:lnTo>
                    <a:lnTo>
                      <a:pt x="10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399" name="Freeform 130"/>
              <p:cNvSpPr>
                <a:spLocks/>
              </p:cNvSpPr>
              <p:nvPr/>
            </p:nvSpPr>
            <p:spPr bwMode="auto">
              <a:xfrm>
                <a:off x="3906" y="2503"/>
                <a:ext cx="769" cy="726"/>
              </a:xfrm>
              <a:custGeom>
                <a:avLst/>
                <a:gdLst>
                  <a:gd name="T0" fmla="*/ 0 w 769"/>
                  <a:gd name="T1" fmla="*/ 0 h 726"/>
                  <a:gd name="T2" fmla="*/ 0 w 769"/>
                  <a:gd name="T3" fmla="*/ 0 h 726"/>
                  <a:gd name="T4" fmla="*/ 0 w 769"/>
                  <a:gd name="T5" fmla="*/ 726 h 726"/>
                  <a:gd name="T6" fmla="*/ 769 w 769"/>
                  <a:gd name="T7" fmla="*/ 726 h 726"/>
                  <a:gd name="T8" fmla="*/ 699 w 769"/>
                  <a:gd name="T9" fmla="*/ 115 h 726"/>
                  <a:gd name="T10" fmla="*/ 699 w 769"/>
                  <a:gd name="T11" fmla="*/ 115 h 726"/>
                  <a:gd name="T12" fmla="*/ 697 w 769"/>
                  <a:gd name="T13" fmla="*/ 101 h 726"/>
                  <a:gd name="T14" fmla="*/ 0 w 769"/>
                  <a:gd name="T15" fmla="*/ 101 h 726"/>
                  <a:gd name="T16" fmla="*/ 0 w 769"/>
                  <a:gd name="T17" fmla="*/ 0 h 7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69" h="726">
                    <a:moveTo>
                      <a:pt x="0" y="0"/>
                    </a:moveTo>
                    <a:lnTo>
                      <a:pt x="0" y="0"/>
                    </a:lnTo>
                    <a:lnTo>
                      <a:pt x="0" y="726"/>
                    </a:lnTo>
                    <a:lnTo>
                      <a:pt x="769" y="726"/>
                    </a:lnTo>
                    <a:lnTo>
                      <a:pt x="699" y="115"/>
                    </a:lnTo>
                    <a:lnTo>
                      <a:pt x="699" y="115"/>
                    </a:lnTo>
                    <a:lnTo>
                      <a:pt x="697" y="101"/>
                    </a:lnTo>
                    <a:lnTo>
                      <a:pt x="0" y="10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FCF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400" name="Freeform 131"/>
              <p:cNvSpPr>
                <a:spLocks/>
              </p:cNvSpPr>
              <p:nvPr/>
            </p:nvSpPr>
            <p:spPr bwMode="auto">
              <a:xfrm>
                <a:off x="3906" y="2503"/>
                <a:ext cx="769" cy="726"/>
              </a:xfrm>
              <a:custGeom>
                <a:avLst/>
                <a:gdLst>
                  <a:gd name="T0" fmla="*/ 0 w 769"/>
                  <a:gd name="T1" fmla="*/ 0 h 726"/>
                  <a:gd name="T2" fmla="*/ 0 w 769"/>
                  <a:gd name="T3" fmla="*/ 0 h 726"/>
                  <a:gd name="T4" fmla="*/ 0 w 769"/>
                  <a:gd name="T5" fmla="*/ 726 h 726"/>
                  <a:gd name="T6" fmla="*/ 769 w 769"/>
                  <a:gd name="T7" fmla="*/ 726 h 726"/>
                  <a:gd name="T8" fmla="*/ 699 w 769"/>
                  <a:gd name="T9" fmla="*/ 115 h 726"/>
                  <a:gd name="T10" fmla="*/ 699 w 769"/>
                  <a:gd name="T11" fmla="*/ 115 h 726"/>
                  <a:gd name="T12" fmla="*/ 697 w 769"/>
                  <a:gd name="T13" fmla="*/ 101 h 726"/>
                  <a:gd name="T14" fmla="*/ 0 w 769"/>
                  <a:gd name="T15" fmla="*/ 101 h 726"/>
                  <a:gd name="T16" fmla="*/ 0 w 769"/>
                  <a:gd name="T17" fmla="*/ 0 h 7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69" h="726">
                    <a:moveTo>
                      <a:pt x="0" y="0"/>
                    </a:moveTo>
                    <a:lnTo>
                      <a:pt x="0" y="0"/>
                    </a:lnTo>
                    <a:lnTo>
                      <a:pt x="0" y="726"/>
                    </a:lnTo>
                    <a:lnTo>
                      <a:pt x="769" y="726"/>
                    </a:lnTo>
                    <a:lnTo>
                      <a:pt x="699" y="115"/>
                    </a:lnTo>
                    <a:lnTo>
                      <a:pt x="699" y="115"/>
                    </a:lnTo>
                    <a:lnTo>
                      <a:pt x="697" y="101"/>
                    </a:lnTo>
                    <a:lnTo>
                      <a:pt x="0" y="10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401" name="Freeform 132"/>
              <p:cNvSpPr>
                <a:spLocks/>
              </p:cNvSpPr>
              <p:nvPr/>
            </p:nvSpPr>
            <p:spPr bwMode="auto">
              <a:xfrm>
                <a:off x="3906" y="2426"/>
                <a:ext cx="697" cy="178"/>
              </a:xfrm>
              <a:custGeom>
                <a:avLst/>
                <a:gdLst>
                  <a:gd name="T0" fmla="*/ 677 w 697"/>
                  <a:gd name="T1" fmla="*/ 0 h 178"/>
                  <a:gd name="T2" fmla="*/ 0 w 697"/>
                  <a:gd name="T3" fmla="*/ 77 h 178"/>
                  <a:gd name="T4" fmla="*/ 0 w 697"/>
                  <a:gd name="T5" fmla="*/ 178 h 178"/>
                  <a:gd name="T6" fmla="*/ 697 w 697"/>
                  <a:gd name="T7" fmla="*/ 178 h 178"/>
                  <a:gd name="T8" fmla="*/ 677 w 697"/>
                  <a:gd name="T9" fmla="*/ 0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7" h="178">
                    <a:moveTo>
                      <a:pt x="677" y="0"/>
                    </a:moveTo>
                    <a:lnTo>
                      <a:pt x="0" y="77"/>
                    </a:lnTo>
                    <a:lnTo>
                      <a:pt x="0" y="178"/>
                    </a:lnTo>
                    <a:lnTo>
                      <a:pt x="697" y="178"/>
                    </a:lnTo>
                    <a:lnTo>
                      <a:pt x="677" y="0"/>
                    </a:lnTo>
                    <a:close/>
                  </a:path>
                </a:pathLst>
              </a:custGeom>
              <a:solidFill>
                <a:srgbClr val="99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402" name="Freeform 133"/>
              <p:cNvSpPr>
                <a:spLocks/>
              </p:cNvSpPr>
              <p:nvPr/>
            </p:nvSpPr>
            <p:spPr bwMode="auto">
              <a:xfrm>
                <a:off x="3906" y="2426"/>
                <a:ext cx="697" cy="178"/>
              </a:xfrm>
              <a:custGeom>
                <a:avLst/>
                <a:gdLst>
                  <a:gd name="T0" fmla="*/ 677 w 697"/>
                  <a:gd name="T1" fmla="*/ 0 h 178"/>
                  <a:gd name="T2" fmla="*/ 0 w 697"/>
                  <a:gd name="T3" fmla="*/ 77 h 178"/>
                  <a:gd name="T4" fmla="*/ 0 w 697"/>
                  <a:gd name="T5" fmla="*/ 178 h 178"/>
                  <a:gd name="T6" fmla="*/ 697 w 697"/>
                  <a:gd name="T7" fmla="*/ 178 h 178"/>
                  <a:gd name="T8" fmla="*/ 677 w 697"/>
                  <a:gd name="T9" fmla="*/ 0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7" h="178">
                    <a:moveTo>
                      <a:pt x="677" y="0"/>
                    </a:moveTo>
                    <a:lnTo>
                      <a:pt x="0" y="77"/>
                    </a:lnTo>
                    <a:lnTo>
                      <a:pt x="0" y="178"/>
                    </a:lnTo>
                    <a:lnTo>
                      <a:pt x="697" y="178"/>
                    </a:lnTo>
                    <a:lnTo>
                      <a:pt x="67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403" name="Freeform 134"/>
              <p:cNvSpPr>
                <a:spLocks/>
              </p:cNvSpPr>
              <p:nvPr/>
            </p:nvSpPr>
            <p:spPr bwMode="auto">
              <a:xfrm>
                <a:off x="3904" y="2692"/>
                <a:ext cx="848" cy="710"/>
              </a:xfrm>
              <a:custGeom>
                <a:avLst/>
                <a:gdLst>
                  <a:gd name="T0" fmla="*/ 848 w 848"/>
                  <a:gd name="T1" fmla="*/ 621 h 710"/>
                  <a:gd name="T2" fmla="*/ 70 w 848"/>
                  <a:gd name="T3" fmla="*/ 710 h 710"/>
                  <a:gd name="T4" fmla="*/ 0 w 848"/>
                  <a:gd name="T5" fmla="*/ 90 h 710"/>
                  <a:gd name="T6" fmla="*/ 777 w 848"/>
                  <a:gd name="T7" fmla="*/ 0 h 710"/>
                  <a:gd name="T8" fmla="*/ 848 w 848"/>
                  <a:gd name="T9" fmla="*/ 621 h 7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48" h="710">
                    <a:moveTo>
                      <a:pt x="848" y="621"/>
                    </a:moveTo>
                    <a:lnTo>
                      <a:pt x="70" y="710"/>
                    </a:lnTo>
                    <a:lnTo>
                      <a:pt x="0" y="90"/>
                    </a:lnTo>
                    <a:lnTo>
                      <a:pt x="777" y="0"/>
                    </a:lnTo>
                    <a:lnTo>
                      <a:pt x="848" y="621"/>
                    </a:lnTo>
                    <a:close/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404" name="Freeform 135"/>
              <p:cNvSpPr>
                <a:spLocks/>
              </p:cNvSpPr>
              <p:nvPr/>
            </p:nvSpPr>
            <p:spPr bwMode="auto">
              <a:xfrm>
                <a:off x="3882" y="2501"/>
                <a:ext cx="799" cy="281"/>
              </a:xfrm>
              <a:custGeom>
                <a:avLst/>
                <a:gdLst>
                  <a:gd name="T0" fmla="*/ 799 w 799"/>
                  <a:gd name="T1" fmla="*/ 191 h 281"/>
                  <a:gd name="T2" fmla="*/ 22 w 799"/>
                  <a:gd name="T3" fmla="*/ 281 h 281"/>
                  <a:gd name="T4" fmla="*/ 0 w 799"/>
                  <a:gd name="T5" fmla="*/ 89 h 281"/>
                  <a:gd name="T6" fmla="*/ 778 w 799"/>
                  <a:gd name="T7" fmla="*/ 0 h 281"/>
                  <a:gd name="T8" fmla="*/ 799 w 799"/>
                  <a:gd name="T9" fmla="*/ 191 h 2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99" h="281">
                    <a:moveTo>
                      <a:pt x="799" y="191"/>
                    </a:moveTo>
                    <a:lnTo>
                      <a:pt x="22" y="281"/>
                    </a:lnTo>
                    <a:lnTo>
                      <a:pt x="0" y="89"/>
                    </a:lnTo>
                    <a:lnTo>
                      <a:pt x="778" y="0"/>
                    </a:lnTo>
                    <a:lnTo>
                      <a:pt x="799" y="191"/>
                    </a:lnTo>
                    <a:close/>
                  </a:path>
                </a:pathLst>
              </a:custGeom>
              <a:solidFill>
                <a:srgbClr val="C020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</p:grpSp>
        <p:sp>
          <p:nvSpPr>
            <p:cNvPr id="382" name="TextBox 381"/>
            <p:cNvSpPr txBox="1"/>
            <p:nvPr/>
          </p:nvSpPr>
          <p:spPr>
            <a:xfrm rot="21197020">
              <a:off x="6235676" y="4467049"/>
              <a:ext cx="1250270" cy="7335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 smtClean="0">
                  <a:solidFill>
                    <a:srgbClr val="595959"/>
                  </a:solidFill>
                  <a:latin typeface="Segoe UI" panose="020B0502040204020203" pitchFamily="34" charset="0"/>
                  <a:ea typeface="Segoe UI Black" panose="020B0A02040204020203" pitchFamily="34" charset="0"/>
                  <a:cs typeface="Segoe UI" panose="020B0502040204020203" pitchFamily="34" charset="0"/>
                </a:rPr>
                <a:t>JUL </a:t>
              </a:r>
            </a:p>
            <a:p>
              <a:pPr algn="ctr"/>
              <a:r>
                <a:rPr lang="en-US" sz="1200" b="1" dirty="0" smtClean="0">
                  <a:solidFill>
                    <a:srgbClr val="595959"/>
                  </a:solidFill>
                  <a:latin typeface="Segoe UI" panose="020B0502040204020203" pitchFamily="34" charset="0"/>
                  <a:ea typeface="Segoe UI Black" panose="020B0A02040204020203" pitchFamily="34" charset="0"/>
                  <a:cs typeface="Segoe UI" panose="020B0502040204020203" pitchFamily="34" charset="0"/>
                </a:rPr>
                <a:t>14</a:t>
              </a:r>
              <a:endParaRPr lang="en-US" sz="1200" b="1" dirty="0">
                <a:solidFill>
                  <a:srgbClr val="595959"/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405" name="Group 404"/>
          <p:cNvGrpSpPr>
            <a:grpSpLocks noChangeAspect="1"/>
          </p:cNvGrpSpPr>
          <p:nvPr/>
        </p:nvGrpSpPr>
        <p:grpSpPr>
          <a:xfrm>
            <a:off x="2456489" y="2647016"/>
            <a:ext cx="773773" cy="795445"/>
            <a:chOff x="6013451" y="3827462"/>
            <a:chExt cx="1530350" cy="1573212"/>
          </a:xfrm>
        </p:grpSpPr>
        <p:grpSp>
          <p:nvGrpSpPr>
            <p:cNvPr id="406" name="Group 113"/>
            <p:cNvGrpSpPr>
              <a:grpSpLocks noChangeAspect="1"/>
            </p:cNvGrpSpPr>
            <p:nvPr/>
          </p:nvGrpSpPr>
          <p:grpSpPr bwMode="auto">
            <a:xfrm>
              <a:off x="6013451" y="3827462"/>
              <a:ext cx="1530350" cy="1573212"/>
              <a:chOff x="3788" y="2411"/>
              <a:chExt cx="964" cy="991"/>
            </a:xfrm>
          </p:grpSpPr>
          <p:sp>
            <p:nvSpPr>
              <p:cNvPr id="408" name="Freeform 114"/>
              <p:cNvSpPr>
                <a:spLocks/>
              </p:cNvSpPr>
              <p:nvPr/>
            </p:nvSpPr>
            <p:spPr bwMode="auto">
              <a:xfrm>
                <a:off x="3788" y="3229"/>
                <a:ext cx="900" cy="117"/>
              </a:xfrm>
              <a:custGeom>
                <a:avLst/>
                <a:gdLst>
                  <a:gd name="T0" fmla="*/ 784 w 900"/>
                  <a:gd name="T1" fmla="*/ 117 h 117"/>
                  <a:gd name="T2" fmla="*/ 0 w 900"/>
                  <a:gd name="T3" fmla="*/ 117 h 117"/>
                  <a:gd name="T4" fmla="*/ 118 w 900"/>
                  <a:gd name="T5" fmla="*/ 0 h 117"/>
                  <a:gd name="T6" fmla="*/ 900 w 900"/>
                  <a:gd name="T7" fmla="*/ 0 h 117"/>
                  <a:gd name="T8" fmla="*/ 784 w 900"/>
                  <a:gd name="T9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00" h="117">
                    <a:moveTo>
                      <a:pt x="784" y="117"/>
                    </a:moveTo>
                    <a:lnTo>
                      <a:pt x="0" y="117"/>
                    </a:lnTo>
                    <a:lnTo>
                      <a:pt x="118" y="0"/>
                    </a:lnTo>
                    <a:lnTo>
                      <a:pt x="900" y="0"/>
                    </a:lnTo>
                    <a:lnTo>
                      <a:pt x="784" y="117"/>
                    </a:lnTo>
                    <a:close/>
                  </a:path>
                </a:pathLst>
              </a:cu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409" name="Freeform 115"/>
              <p:cNvSpPr>
                <a:spLocks/>
              </p:cNvSpPr>
              <p:nvPr/>
            </p:nvSpPr>
            <p:spPr bwMode="auto">
              <a:xfrm>
                <a:off x="3788" y="3229"/>
                <a:ext cx="900" cy="117"/>
              </a:xfrm>
              <a:custGeom>
                <a:avLst/>
                <a:gdLst>
                  <a:gd name="T0" fmla="*/ 784 w 900"/>
                  <a:gd name="T1" fmla="*/ 117 h 117"/>
                  <a:gd name="T2" fmla="*/ 0 w 900"/>
                  <a:gd name="T3" fmla="*/ 117 h 117"/>
                  <a:gd name="T4" fmla="*/ 118 w 900"/>
                  <a:gd name="T5" fmla="*/ 0 h 117"/>
                  <a:gd name="T6" fmla="*/ 900 w 900"/>
                  <a:gd name="T7" fmla="*/ 0 h 117"/>
                  <a:gd name="T8" fmla="*/ 784 w 900"/>
                  <a:gd name="T9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00" h="117">
                    <a:moveTo>
                      <a:pt x="784" y="117"/>
                    </a:moveTo>
                    <a:lnTo>
                      <a:pt x="0" y="117"/>
                    </a:lnTo>
                    <a:lnTo>
                      <a:pt x="118" y="0"/>
                    </a:lnTo>
                    <a:lnTo>
                      <a:pt x="900" y="0"/>
                    </a:lnTo>
                    <a:lnTo>
                      <a:pt x="784" y="117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410" name="Freeform 116"/>
              <p:cNvSpPr>
                <a:spLocks/>
              </p:cNvSpPr>
              <p:nvPr/>
            </p:nvSpPr>
            <p:spPr bwMode="auto">
              <a:xfrm>
                <a:off x="3790" y="2411"/>
                <a:ext cx="116" cy="935"/>
              </a:xfrm>
              <a:custGeom>
                <a:avLst/>
                <a:gdLst>
                  <a:gd name="T0" fmla="*/ 116 w 116"/>
                  <a:gd name="T1" fmla="*/ 818 h 935"/>
                  <a:gd name="T2" fmla="*/ 0 w 116"/>
                  <a:gd name="T3" fmla="*/ 935 h 935"/>
                  <a:gd name="T4" fmla="*/ 0 w 116"/>
                  <a:gd name="T5" fmla="*/ 118 h 935"/>
                  <a:gd name="T6" fmla="*/ 116 w 116"/>
                  <a:gd name="T7" fmla="*/ 0 h 935"/>
                  <a:gd name="T8" fmla="*/ 116 w 116"/>
                  <a:gd name="T9" fmla="*/ 818 h 9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6" h="935">
                    <a:moveTo>
                      <a:pt x="116" y="818"/>
                    </a:moveTo>
                    <a:lnTo>
                      <a:pt x="0" y="935"/>
                    </a:lnTo>
                    <a:lnTo>
                      <a:pt x="0" y="118"/>
                    </a:lnTo>
                    <a:lnTo>
                      <a:pt x="116" y="0"/>
                    </a:lnTo>
                    <a:lnTo>
                      <a:pt x="116" y="818"/>
                    </a:ln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411" name="Freeform 117"/>
              <p:cNvSpPr>
                <a:spLocks/>
              </p:cNvSpPr>
              <p:nvPr/>
            </p:nvSpPr>
            <p:spPr bwMode="auto">
              <a:xfrm>
                <a:off x="3790" y="2411"/>
                <a:ext cx="116" cy="935"/>
              </a:xfrm>
              <a:custGeom>
                <a:avLst/>
                <a:gdLst>
                  <a:gd name="T0" fmla="*/ 116 w 116"/>
                  <a:gd name="T1" fmla="*/ 818 h 935"/>
                  <a:gd name="T2" fmla="*/ 0 w 116"/>
                  <a:gd name="T3" fmla="*/ 935 h 935"/>
                  <a:gd name="T4" fmla="*/ 0 w 116"/>
                  <a:gd name="T5" fmla="*/ 118 h 935"/>
                  <a:gd name="T6" fmla="*/ 116 w 116"/>
                  <a:gd name="T7" fmla="*/ 0 h 935"/>
                  <a:gd name="T8" fmla="*/ 116 w 116"/>
                  <a:gd name="T9" fmla="*/ 818 h 9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6" h="935">
                    <a:moveTo>
                      <a:pt x="116" y="818"/>
                    </a:moveTo>
                    <a:lnTo>
                      <a:pt x="0" y="935"/>
                    </a:lnTo>
                    <a:lnTo>
                      <a:pt x="0" y="118"/>
                    </a:lnTo>
                    <a:lnTo>
                      <a:pt x="116" y="0"/>
                    </a:lnTo>
                    <a:lnTo>
                      <a:pt x="116" y="818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412" name="Freeform 118"/>
              <p:cNvSpPr>
                <a:spLocks/>
              </p:cNvSpPr>
              <p:nvPr/>
            </p:nvSpPr>
            <p:spPr bwMode="auto">
              <a:xfrm>
                <a:off x="3790" y="2411"/>
                <a:ext cx="116" cy="311"/>
              </a:xfrm>
              <a:custGeom>
                <a:avLst/>
                <a:gdLst>
                  <a:gd name="T0" fmla="*/ 116 w 116"/>
                  <a:gd name="T1" fmla="*/ 193 h 311"/>
                  <a:gd name="T2" fmla="*/ 0 w 116"/>
                  <a:gd name="T3" fmla="*/ 311 h 311"/>
                  <a:gd name="T4" fmla="*/ 0 w 116"/>
                  <a:gd name="T5" fmla="*/ 118 h 311"/>
                  <a:gd name="T6" fmla="*/ 116 w 116"/>
                  <a:gd name="T7" fmla="*/ 0 h 311"/>
                  <a:gd name="T8" fmla="*/ 116 w 116"/>
                  <a:gd name="T9" fmla="*/ 193 h 3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6" h="311">
                    <a:moveTo>
                      <a:pt x="116" y="193"/>
                    </a:moveTo>
                    <a:lnTo>
                      <a:pt x="0" y="311"/>
                    </a:lnTo>
                    <a:lnTo>
                      <a:pt x="0" y="118"/>
                    </a:lnTo>
                    <a:lnTo>
                      <a:pt x="116" y="0"/>
                    </a:lnTo>
                    <a:lnTo>
                      <a:pt x="116" y="193"/>
                    </a:lnTo>
                    <a:close/>
                  </a:path>
                </a:pathLst>
              </a:custGeom>
              <a:solidFill>
                <a:srgbClr val="AA121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413" name="Freeform 119"/>
              <p:cNvSpPr>
                <a:spLocks/>
              </p:cNvSpPr>
              <p:nvPr/>
            </p:nvSpPr>
            <p:spPr bwMode="auto">
              <a:xfrm>
                <a:off x="3790" y="2411"/>
                <a:ext cx="116" cy="311"/>
              </a:xfrm>
              <a:custGeom>
                <a:avLst/>
                <a:gdLst>
                  <a:gd name="T0" fmla="*/ 116 w 116"/>
                  <a:gd name="T1" fmla="*/ 193 h 311"/>
                  <a:gd name="T2" fmla="*/ 0 w 116"/>
                  <a:gd name="T3" fmla="*/ 311 h 311"/>
                  <a:gd name="T4" fmla="*/ 0 w 116"/>
                  <a:gd name="T5" fmla="*/ 118 h 311"/>
                  <a:gd name="T6" fmla="*/ 116 w 116"/>
                  <a:gd name="T7" fmla="*/ 0 h 311"/>
                  <a:gd name="T8" fmla="*/ 116 w 116"/>
                  <a:gd name="T9" fmla="*/ 193 h 3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6" h="311">
                    <a:moveTo>
                      <a:pt x="116" y="193"/>
                    </a:moveTo>
                    <a:lnTo>
                      <a:pt x="0" y="311"/>
                    </a:lnTo>
                    <a:lnTo>
                      <a:pt x="0" y="118"/>
                    </a:lnTo>
                    <a:lnTo>
                      <a:pt x="116" y="0"/>
                    </a:lnTo>
                    <a:lnTo>
                      <a:pt x="116" y="193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414" name="Rectangle 120"/>
              <p:cNvSpPr>
                <a:spLocks noChangeArrowheads="1"/>
              </p:cNvSpPr>
              <p:nvPr/>
            </p:nvSpPr>
            <p:spPr bwMode="auto">
              <a:xfrm>
                <a:off x="3906" y="2411"/>
                <a:ext cx="782" cy="818"/>
              </a:xfrm>
              <a:prstGeom prst="rect">
                <a:avLst/>
              </a:pr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415" name="Rectangle 121"/>
              <p:cNvSpPr>
                <a:spLocks noChangeArrowheads="1"/>
              </p:cNvSpPr>
              <p:nvPr/>
            </p:nvSpPr>
            <p:spPr bwMode="auto">
              <a:xfrm>
                <a:off x="3906" y="2411"/>
                <a:ext cx="782" cy="81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416" name="Rectangle 122"/>
              <p:cNvSpPr>
                <a:spLocks noChangeArrowheads="1"/>
              </p:cNvSpPr>
              <p:nvPr/>
            </p:nvSpPr>
            <p:spPr bwMode="auto">
              <a:xfrm>
                <a:off x="3906" y="2411"/>
                <a:ext cx="782" cy="193"/>
              </a:xfrm>
              <a:prstGeom prst="rect">
                <a:avLst/>
              </a:prstGeom>
              <a:solidFill>
                <a:srgbClr val="C020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417" name="Rectangle 123"/>
              <p:cNvSpPr>
                <a:spLocks noChangeArrowheads="1"/>
              </p:cNvSpPr>
              <p:nvPr/>
            </p:nvSpPr>
            <p:spPr bwMode="auto">
              <a:xfrm>
                <a:off x="3906" y="2411"/>
                <a:ext cx="782" cy="19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418" name="Freeform 124"/>
              <p:cNvSpPr>
                <a:spLocks/>
              </p:cNvSpPr>
              <p:nvPr/>
            </p:nvSpPr>
            <p:spPr bwMode="auto">
              <a:xfrm>
                <a:off x="3889" y="3229"/>
                <a:ext cx="786" cy="99"/>
              </a:xfrm>
              <a:custGeom>
                <a:avLst/>
                <a:gdLst>
                  <a:gd name="T0" fmla="*/ 786 w 786"/>
                  <a:gd name="T1" fmla="*/ 0 h 99"/>
                  <a:gd name="T2" fmla="*/ 17 w 786"/>
                  <a:gd name="T3" fmla="*/ 0 h 99"/>
                  <a:gd name="T4" fmla="*/ 0 w 786"/>
                  <a:gd name="T5" fmla="*/ 17 h 99"/>
                  <a:gd name="T6" fmla="*/ 10 w 786"/>
                  <a:gd name="T7" fmla="*/ 99 h 99"/>
                  <a:gd name="T8" fmla="*/ 786 w 786"/>
                  <a:gd name="T9" fmla="*/ 10 h 99"/>
                  <a:gd name="T10" fmla="*/ 786 w 786"/>
                  <a:gd name="T11" fmla="*/ 0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86" h="99">
                    <a:moveTo>
                      <a:pt x="786" y="0"/>
                    </a:moveTo>
                    <a:lnTo>
                      <a:pt x="17" y="0"/>
                    </a:lnTo>
                    <a:lnTo>
                      <a:pt x="0" y="17"/>
                    </a:lnTo>
                    <a:lnTo>
                      <a:pt x="10" y="99"/>
                    </a:lnTo>
                    <a:lnTo>
                      <a:pt x="786" y="10"/>
                    </a:lnTo>
                    <a:lnTo>
                      <a:pt x="786" y="0"/>
                    </a:lnTo>
                    <a:close/>
                  </a:path>
                </a:pathLst>
              </a:custGeom>
              <a:solidFill>
                <a:srgbClr val="8787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419" name="Freeform 125"/>
              <p:cNvSpPr>
                <a:spLocks/>
              </p:cNvSpPr>
              <p:nvPr/>
            </p:nvSpPr>
            <p:spPr bwMode="auto">
              <a:xfrm>
                <a:off x="3889" y="3229"/>
                <a:ext cx="786" cy="99"/>
              </a:xfrm>
              <a:custGeom>
                <a:avLst/>
                <a:gdLst>
                  <a:gd name="T0" fmla="*/ 786 w 786"/>
                  <a:gd name="T1" fmla="*/ 0 h 99"/>
                  <a:gd name="T2" fmla="*/ 17 w 786"/>
                  <a:gd name="T3" fmla="*/ 0 h 99"/>
                  <a:gd name="T4" fmla="*/ 0 w 786"/>
                  <a:gd name="T5" fmla="*/ 17 h 99"/>
                  <a:gd name="T6" fmla="*/ 10 w 786"/>
                  <a:gd name="T7" fmla="*/ 99 h 99"/>
                  <a:gd name="T8" fmla="*/ 786 w 786"/>
                  <a:gd name="T9" fmla="*/ 10 h 99"/>
                  <a:gd name="T10" fmla="*/ 786 w 786"/>
                  <a:gd name="T11" fmla="*/ 0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86" h="99">
                    <a:moveTo>
                      <a:pt x="786" y="0"/>
                    </a:moveTo>
                    <a:lnTo>
                      <a:pt x="17" y="0"/>
                    </a:lnTo>
                    <a:lnTo>
                      <a:pt x="0" y="17"/>
                    </a:lnTo>
                    <a:lnTo>
                      <a:pt x="10" y="99"/>
                    </a:lnTo>
                    <a:lnTo>
                      <a:pt x="786" y="10"/>
                    </a:lnTo>
                    <a:lnTo>
                      <a:pt x="786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420" name="Freeform 126"/>
              <p:cNvSpPr>
                <a:spLocks/>
              </p:cNvSpPr>
              <p:nvPr/>
            </p:nvSpPr>
            <p:spPr bwMode="auto">
              <a:xfrm>
                <a:off x="3825" y="2604"/>
                <a:ext cx="81" cy="642"/>
              </a:xfrm>
              <a:custGeom>
                <a:avLst/>
                <a:gdLst>
                  <a:gd name="T0" fmla="*/ 81 w 81"/>
                  <a:gd name="T1" fmla="*/ 0 h 642"/>
                  <a:gd name="T2" fmla="*/ 0 w 81"/>
                  <a:gd name="T3" fmla="*/ 83 h 642"/>
                  <a:gd name="T4" fmla="*/ 2 w 81"/>
                  <a:gd name="T5" fmla="*/ 104 h 642"/>
                  <a:gd name="T6" fmla="*/ 64 w 81"/>
                  <a:gd name="T7" fmla="*/ 642 h 642"/>
                  <a:gd name="T8" fmla="*/ 81 w 81"/>
                  <a:gd name="T9" fmla="*/ 625 h 642"/>
                  <a:gd name="T10" fmla="*/ 81 w 81"/>
                  <a:gd name="T11" fmla="*/ 0 h 6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1" h="642">
                    <a:moveTo>
                      <a:pt x="81" y="0"/>
                    </a:moveTo>
                    <a:lnTo>
                      <a:pt x="0" y="83"/>
                    </a:lnTo>
                    <a:lnTo>
                      <a:pt x="2" y="104"/>
                    </a:lnTo>
                    <a:lnTo>
                      <a:pt x="64" y="642"/>
                    </a:lnTo>
                    <a:lnTo>
                      <a:pt x="81" y="625"/>
                    </a:lnTo>
                    <a:lnTo>
                      <a:pt x="81" y="0"/>
                    </a:lnTo>
                    <a:close/>
                  </a:path>
                </a:pathLst>
              </a:custGeom>
              <a:solidFill>
                <a:srgbClr val="BDBD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421" name="Freeform 127"/>
              <p:cNvSpPr>
                <a:spLocks/>
              </p:cNvSpPr>
              <p:nvPr/>
            </p:nvSpPr>
            <p:spPr bwMode="auto">
              <a:xfrm>
                <a:off x="3825" y="2604"/>
                <a:ext cx="81" cy="642"/>
              </a:xfrm>
              <a:custGeom>
                <a:avLst/>
                <a:gdLst>
                  <a:gd name="T0" fmla="*/ 81 w 81"/>
                  <a:gd name="T1" fmla="*/ 0 h 642"/>
                  <a:gd name="T2" fmla="*/ 0 w 81"/>
                  <a:gd name="T3" fmla="*/ 83 h 642"/>
                  <a:gd name="T4" fmla="*/ 2 w 81"/>
                  <a:gd name="T5" fmla="*/ 104 h 642"/>
                  <a:gd name="T6" fmla="*/ 64 w 81"/>
                  <a:gd name="T7" fmla="*/ 642 h 642"/>
                  <a:gd name="T8" fmla="*/ 81 w 81"/>
                  <a:gd name="T9" fmla="*/ 625 h 642"/>
                  <a:gd name="T10" fmla="*/ 81 w 81"/>
                  <a:gd name="T11" fmla="*/ 0 h 6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1" h="642">
                    <a:moveTo>
                      <a:pt x="81" y="0"/>
                    </a:moveTo>
                    <a:lnTo>
                      <a:pt x="0" y="83"/>
                    </a:lnTo>
                    <a:lnTo>
                      <a:pt x="2" y="104"/>
                    </a:lnTo>
                    <a:lnTo>
                      <a:pt x="64" y="642"/>
                    </a:lnTo>
                    <a:lnTo>
                      <a:pt x="81" y="625"/>
                    </a:lnTo>
                    <a:lnTo>
                      <a:pt x="8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422" name="Freeform 128"/>
              <p:cNvSpPr>
                <a:spLocks/>
              </p:cNvSpPr>
              <p:nvPr/>
            </p:nvSpPr>
            <p:spPr bwMode="auto">
              <a:xfrm>
                <a:off x="3805" y="2503"/>
                <a:ext cx="101" cy="184"/>
              </a:xfrm>
              <a:custGeom>
                <a:avLst/>
                <a:gdLst>
                  <a:gd name="T0" fmla="*/ 101 w 101"/>
                  <a:gd name="T1" fmla="*/ 0 h 184"/>
                  <a:gd name="T2" fmla="*/ 0 w 101"/>
                  <a:gd name="T3" fmla="*/ 13 h 184"/>
                  <a:gd name="T4" fmla="*/ 20 w 101"/>
                  <a:gd name="T5" fmla="*/ 184 h 184"/>
                  <a:gd name="T6" fmla="*/ 101 w 101"/>
                  <a:gd name="T7" fmla="*/ 101 h 184"/>
                  <a:gd name="T8" fmla="*/ 101 w 101"/>
                  <a:gd name="T9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1" h="184">
                    <a:moveTo>
                      <a:pt x="101" y="0"/>
                    </a:moveTo>
                    <a:lnTo>
                      <a:pt x="0" y="13"/>
                    </a:lnTo>
                    <a:lnTo>
                      <a:pt x="20" y="184"/>
                    </a:lnTo>
                    <a:lnTo>
                      <a:pt x="101" y="101"/>
                    </a:lnTo>
                    <a:lnTo>
                      <a:pt x="101" y="0"/>
                    </a:lnTo>
                    <a:close/>
                  </a:path>
                </a:pathLst>
              </a:custGeom>
              <a:solidFill>
                <a:srgbClr val="8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423" name="Freeform 129"/>
              <p:cNvSpPr>
                <a:spLocks/>
              </p:cNvSpPr>
              <p:nvPr/>
            </p:nvSpPr>
            <p:spPr bwMode="auto">
              <a:xfrm>
                <a:off x="3805" y="2503"/>
                <a:ext cx="101" cy="184"/>
              </a:xfrm>
              <a:custGeom>
                <a:avLst/>
                <a:gdLst>
                  <a:gd name="T0" fmla="*/ 101 w 101"/>
                  <a:gd name="T1" fmla="*/ 0 h 184"/>
                  <a:gd name="T2" fmla="*/ 0 w 101"/>
                  <a:gd name="T3" fmla="*/ 13 h 184"/>
                  <a:gd name="T4" fmla="*/ 20 w 101"/>
                  <a:gd name="T5" fmla="*/ 184 h 184"/>
                  <a:gd name="T6" fmla="*/ 101 w 101"/>
                  <a:gd name="T7" fmla="*/ 101 h 184"/>
                  <a:gd name="T8" fmla="*/ 101 w 101"/>
                  <a:gd name="T9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1" h="184">
                    <a:moveTo>
                      <a:pt x="101" y="0"/>
                    </a:moveTo>
                    <a:lnTo>
                      <a:pt x="0" y="13"/>
                    </a:lnTo>
                    <a:lnTo>
                      <a:pt x="20" y="184"/>
                    </a:lnTo>
                    <a:lnTo>
                      <a:pt x="101" y="101"/>
                    </a:lnTo>
                    <a:lnTo>
                      <a:pt x="10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424" name="Freeform 130"/>
              <p:cNvSpPr>
                <a:spLocks/>
              </p:cNvSpPr>
              <p:nvPr/>
            </p:nvSpPr>
            <p:spPr bwMode="auto">
              <a:xfrm>
                <a:off x="3906" y="2503"/>
                <a:ext cx="769" cy="726"/>
              </a:xfrm>
              <a:custGeom>
                <a:avLst/>
                <a:gdLst>
                  <a:gd name="T0" fmla="*/ 0 w 769"/>
                  <a:gd name="T1" fmla="*/ 0 h 726"/>
                  <a:gd name="T2" fmla="*/ 0 w 769"/>
                  <a:gd name="T3" fmla="*/ 0 h 726"/>
                  <a:gd name="T4" fmla="*/ 0 w 769"/>
                  <a:gd name="T5" fmla="*/ 726 h 726"/>
                  <a:gd name="T6" fmla="*/ 769 w 769"/>
                  <a:gd name="T7" fmla="*/ 726 h 726"/>
                  <a:gd name="T8" fmla="*/ 699 w 769"/>
                  <a:gd name="T9" fmla="*/ 115 h 726"/>
                  <a:gd name="T10" fmla="*/ 699 w 769"/>
                  <a:gd name="T11" fmla="*/ 115 h 726"/>
                  <a:gd name="T12" fmla="*/ 697 w 769"/>
                  <a:gd name="T13" fmla="*/ 101 h 726"/>
                  <a:gd name="T14" fmla="*/ 0 w 769"/>
                  <a:gd name="T15" fmla="*/ 101 h 726"/>
                  <a:gd name="T16" fmla="*/ 0 w 769"/>
                  <a:gd name="T17" fmla="*/ 0 h 7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69" h="726">
                    <a:moveTo>
                      <a:pt x="0" y="0"/>
                    </a:moveTo>
                    <a:lnTo>
                      <a:pt x="0" y="0"/>
                    </a:lnTo>
                    <a:lnTo>
                      <a:pt x="0" y="726"/>
                    </a:lnTo>
                    <a:lnTo>
                      <a:pt x="769" y="726"/>
                    </a:lnTo>
                    <a:lnTo>
                      <a:pt x="699" y="115"/>
                    </a:lnTo>
                    <a:lnTo>
                      <a:pt x="699" y="115"/>
                    </a:lnTo>
                    <a:lnTo>
                      <a:pt x="697" y="101"/>
                    </a:lnTo>
                    <a:lnTo>
                      <a:pt x="0" y="10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FCF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425" name="Freeform 131"/>
              <p:cNvSpPr>
                <a:spLocks/>
              </p:cNvSpPr>
              <p:nvPr/>
            </p:nvSpPr>
            <p:spPr bwMode="auto">
              <a:xfrm>
                <a:off x="3906" y="2503"/>
                <a:ext cx="769" cy="726"/>
              </a:xfrm>
              <a:custGeom>
                <a:avLst/>
                <a:gdLst>
                  <a:gd name="T0" fmla="*/ 0 w 769"/>
                  <a:gd name="T1" fmla="*/ 0 h 726"/>
                  <a:gd name="T2" fmla="*/ 0 w 769"/>
                  <a:gd name="T3" fmla="*/ 0 h 726"/>
                  <a:gd name="T4" fmla="*/ 0 w 769"/>
                  <a:gd name="T5" fmla="*/ 726 h 726"/>
                  <a:gd name="T6" fmla="*/ 769 w 769"/>
                  <a:gd name="T7" fmla="*/ 726 h 726"/>
                  <a:gd name="T8" fmla="*/ 699 w 769"/>
                  <a:gd name="T9" fmla="*/ 115 h 726"/>
                  <a:gd name="T10" fmla="*/ 699 w 769"/>
                  <a:gd name="T11" fmla="*/ 115 h 726"/>
                  <a:gd name="T12" fmla="*/ 697 w 769"/>
                  <a:gd name="T13" fmla="*/ 101 h 726"/>
                  <a:gd name="T14" fmla="*/ 0 w 769"/>
                  <a:gd name="T15" fmla="*/ 101 h 726"/>
                  <a:gd name="T16" fmla="*/ 0 w 769"/>
                  <a:gd name="T17" fmla="*/ 0 h 7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69" h="726">
                    <a:moveTo>
                      <a:pt x="0" y="0"/>
                    </a:moveTo>
                    <a:lnTo>
                      <a:pt x="0" y="0"/>
                    </a:lnTo>
                    <a:lnTo>
                      <a:pt x="0" y="726"/>
                    </a:lnTo>
                    <a:lnTo>
                      <a:pt x="769" y="726"/>
                    </a:lnTo>
                    <a:lnTo>
                      <a:pt x="699" y="115"/>
                    </a:lnTo>
                    <a:lnTo>
                      <a:pt x="699" y="115"/>
                    </a:lnTo>
                    <a:lnTo>
                      <a:pt x="697" y="101"/>
                    </a:lnTo>
                    <a:lnTo>
                      <a:pt x="0" y="10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426" name="Freeform 132"/>
              <p:cNvSpPr>
                <a:spLocks/>
              </p:cNvSpPr>
              <p:nvPr/>
            </p:nvSpPr>
            <p:spPr bwMode="auto">
              <a:xfrm>
                <a:off x="3906" y="2426"/>
                <a:ext cx="697" cy="178"/>
              </a:xfrm>
              <a:custGeom>
                <a:avLst/>
                <a:gdLst>
                  <a:gd name="T0" fmla="*/ 677 w 697"/>
                  <a:gd name="T1" fmla="*/ 0 h 178"/>
                  <a:gd name="T2" fmla="*/ 0 w 697"/>
                  <a:gd name="T3" fmla="*/ 77 h 178"/>
                  <a:gd name="T4" fmla="*/ 0 w 697"/>
                  <a:gd name="T5" fmla="*/ 178 h 178"/>
                  <a:gd name="T6" fmla="*/ 697 w 697"/>
                  <a:gd name="T7" fmla="*/ 178 h 178"/>
                  <a:gd name="T8" fmla="*/ 677 w 697"/>
                  <a:gd name="T9" fmla="*/ 0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7" h="178">
                    <a:moveTo>
                      <a:pt x="677" y="0"/>
                    </a:moveTo>
                    <a:lnTo>
                      <a:pt x="0" y="77"/>
                    </a:lnTo>
                    <a:lnTo>
                      <a:pt x="0" y="178"/>
                    </a:lnTo>
                    <a:lnTo>
                      <a:pt x="697" y="178"/>
                    </a:lnTo>
                    <a:lnTo>
                      <a:pt x="677" y="0"/>
                    </a:lnTo>
                    <a:close/>
                  </a:path>
                </a:pathLst>
              </a:custGeom>
              <a:solidFill>
                <a:srgbClr val="99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427" name="Freeform 133"/>
              <p:cNvSpPr>
                <a:spLocks/>
              </p:cNvSpPr>
              <p:nvPr/>
            </p:nvSpPr>
            <p:spPr bwMode="auto">
              <a:xfrm>
                <a:off x="3906" y="2426"/>
                <a:ext cx="697" cy="178"/>
              </a:xfrm>
              <a:custGeom>
                <a:avLst/>
                <a:gdLst>
                  <a:gd name="T0" fmla="*/ 677 w 697"/>
                  <a:gd name="T1" fmla="*/ 0 h 178"/>
                  <a:gd name="T2" fmla="*/ 0 w 697"/>
                  <a:gd name="T3" fmla="*/ 77 h 178"/>
                  <a:gd name="T4" fmla="*/ 0 w 697"/>
                  <a:gd name="T5" fmla="*/ 178 h 178"/>
                  <a:gd name="T6" fmla="*/ 697 w 697"/>
                  <a:gd name="T7" fmla="*/ 178 h 178"/>
                  <a:gd name="T8" fmla="*/ 677 w 697"/>
                  <a:gd name="T9" fmla="*/ 0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7" h="178">
                    <a:moveTo>
                      <a:pt x="677" y="0"/>
                    </a:moveTo>
                    <a:lnTo>
                      <a:pt x="0" y="77"/>
                    </a:lnTo>
                    <a:lnTo>
                      <a:pt x="0" y="178"/>
                    </a:lnTo>
                    <a:lnTo>
                      <a:pt x="697" y="178"/>
                    </a:lnTo>
                    <a:lnTo>
                      <a:pt x="67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428" name="Freeform 134"/>
              <p:cNvSpPr>
                <a:spLocks/>
              </p:cNvSpPr>
              <p:nvPr/>
            </p:nvSpPr>
            <p:spPr bwMode="auto">
              <a:xfrm>
                <a:off x="3904" y="2692"/>
                <a:ext cx="848" cy="710"/>
              </a:xfrm>
              <a:custGeom>
                <a:avLst/>
                <a:gdLst>
                  <a:gd name="T0" fmla="*/ 848 w 848"/>
                  <a:gd name="T1" fmla="*/ 621 h 710"/>
                  <a:gd name="T2" fmla="*/ 70 w 848"/>
                  <a:gd name="T3" fmla="*/ 710 h 710"/>
                  <a:gd name="T4" fmla="*/ 0 w 848"/>
                  <a:gd name="T5" fmla="*/ 90 h 710"/>
                  <a:gd name="T6" fmla="*/ 777 w 848"/>
                  <a:gd name="T7" fmla="*/ 0 h 710"/>
                  <a:gd name="T8" fmla="*/ 848 w 848"/>
                  <a:gd name="T9" fmla="*/ 621 h 7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48" h="710">
                    <a:moveTo>
                      <a:pt x="848" y="621"/>
                    </a:moveTo>
                    <a:lnTo>
                      <a:pt x="70" y="710"/>
                    </a:lnTo>
                    <a:lnTo>
                      <a:pt x="0" y="90"/>
                    </a:lnTo>
                    <a:lnTo>
                      <a:pt x="777" y="0"/>
                    </a:lnTo>
                    <a:lnTo>
                      <a:pt x="848" y="621"/>
                    </a:lnTo>
                    <a:close/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429" name="Freeform 135"/>
              <p:cNvSpPr>
                <a:spLocks/>
              </p:cNvSpPr>
              <p:nvPr/>
            </p:nvSpPr>
            <p:spPr bwMode="auto">
              <a:xfrm>
                <a:off x="3882" y="2501"/>
                <a:ext cx="799" cy="281"/>
              </a:xfrm>
              <a:custGeom>
                <a:avLst/>
                <a:gdLst>
                  <a:gd name="T0" fmla="*/ 799 w 799"/>
                  <a:gd name="T1" fmla="*/ 191 h 281"/>
                  <a:gd name="T2" fmla="*/ 22 w 799"/>
                  <a:gd name="T3" fmla="*/ 281 h 281"/>
                  <a:gd name="T4" fmla="*/ 0 w 799"/>
                  <a:gd name="T5" fmla="*/ 89 h 281"/>
                  <a:gd name="T6" fmla="*/ 778 w 799"/>
                  <a:gd name="T7" fmla="*/ 0 h 281"/>
                  <a:gd name="T8" fmla="*/ 799 w 799"/>
                  <a:gd name="T9" fmla="*/ 191 h 2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99" h="281">
                    <a:moveTo>
                      <a:pt x="799" y="191"/>
                    </a:moveTo>
                    <a:lnTo>
                      <a:pt x="22" y="281"/>
                    </a:lnTo>
                    <a:lnTo>
                      <a:pt x="0" y="89"/>
                    </a:lnTo>
                    <a:lnTo>
                      <a:pt x="778" y="0"/>
                    </a:lnTo>
                    <a:lnTo>
                      <a:pt x="799" y="191"/>
                    </a:lnTo>
                    <a:close/>
                  </a:path>
                </a:pathLst>
              </a:custGeom>
              <a:solidFill>
                <a:srgbClr val="C020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</p:grpSp>
        <p:sp>
          <p:nvSpPr>
            <p:cNvPr id="407" name="TextBox 406"/>
            <p:cNvSpPr txBox="1"/>
            <p:nvPr/>
          </p:nvSpPr>
          <p:spPr>
            <a:xfrm rot="21197020">
              <a:off x="6235676" y="4467049"/>
              <a:ext cx="1250270" cy="7335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 smtClean="0">
                  <a:solidFill>
                    <a:srgbClr val="595959"/>
                  </a:solidFill>
                  <a:latin typeface="Segoe UI" panose="020B0502040204020203" pitchFamily="34" charset="0"/>
                  <a:ea typeface="Segoe UI Black" panose="020B0A02040204020203" pitchFamily="34" charset="0"/>
                  <a:cs typeface="Segoe UI" panose="020B0502040204020203" pitchFamily="34" charset="0"/>
                </a:rPr>
                <a:t>APR </a:t>
              </a:r>
            </a:p>
            <a:p>
              <a:pPr algn="ctr"/>
              <a:r>
                <a:rPr lang="en-US" sz="1200" b="1" dirty="0" smtClean="0">
                  <a:solidFill>
                    <a:srgbClr val="595959"/>
                  </a:solidFill>
                  <a:latin typeface="Segoe UI" panose="020B0502040204020203" pitchFamily="34" charset="0"/>
                  <a:ea typeface="Segoe UI Black" panose="020B0A02040204020203" pitchFamily="34" charset="0"/>
                  <a:cs typeface="Segoe UI" panose="020B0502040204020203" pitchFamily="34" charset="0"/>
                </a:rPr>
                <a:t>12</a:t>
              </a:r>
              <a:endParaRPr lang="en-US" sz="1200" b="1" dirty="0">
                <a:solidFill>
                  <a:srgbClr val="595959"/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430" name="Group 429"/>
          <p:cNvGrpSpPr>
            <a:grpSpLocks noChangeAspect="1"/>
          </p:cNvGrpSpPr>
          <p:nvPr/>
        </p:nvGrpSpPr>
        <p:grpSpPr>
          <a:xfrm>
            <a:off x="3932099" y="2643520"/>
            <a:ext cx="773773" cy="795445"/>
            <a:chOff x="6013451" y="3827462"/>
            <a:chExt cx="1530350" cy="1573212"/>
          </a:xfrm>
        </p:grpSpPr>
        <p:grpSp>
          <p:nvGrpSpPr>
            <p:cNvPr id="431" name="Group 113"/>
            <p:cNvGrpSpPr>
              <a:grpSpLocks noChangeAspect="1"/>
            </p:cNvGrpSpPr>
            <p:nvPr/>
          </p:nvGrpSpPr>
          <p:grpSpPr bwMode="auto">
            <a:xfrm>
              <a:off x="6013451" y="3827462"/>
              <a:ext cx="1530350" cy="1573212"/>
              <a:chOff x="3788" y="2411"/>
              <a:chExt cx="964" cy="991"/>
            </a:xfrm>
          </p:grpSpPr>
          <p:sp>
            <p:nvSpPr>
              <p:cNvPr id="433" name="Freeform 114"/>
              <p:cNvSpPr>
                <a:spLocks/>
              </p:cNvSpPr>
              <p:nvPr/>
            </p:nvSpPr>
            <p:spPr bwMode="auto">
              <a:xfrm>
                <a:off x="3788" y="3229"/>
                <a:ext cx="900" cy="117"/>
              </a:xfrm>
              <a:custGeom>
                <a:avLst/>
                <a:gdLst>
                  <a:gd name="T0" fmla="*/ 784 w 900"/>
                  <a:gd name="T1" fmla="*/ 117 h 117"/>
                  <a:gd name="T2" fmla="*/ 0 w 900"/>
                  <a:gd name="T3" fmla="*/ 117 h 117"/>
                  <a:gd name="T4" fmla="*/ 118 w 900"/>
                  <a:gd name="T5" fmla="*/ 0 h 117"/>
                  <a:gd name="T6" fmla="*/ 900 w 900"/>
                  <a:gd name="T7" fmla="*/ 0 h 117"/>
                  <a:gd name="T8" fmla="*/ 784 w 900"/>
                  <a:gd name="T9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00" h="117">
                    <a:moveTo>
                      <a:pt x="784" y="117"/>
                    </a:moveTo>
                    <a:lnTo>
                      <a:pt x="0" y="117"/>
                    </a:lnTo>
                    <a:lnTo>
                      <a:pt x="118" y="0"/>
                    </a:lnTo>
                    <a:lnTo>
                      <a:pt x="900" y="0"/>
                    </a:lnTo>
                    <a:lnTo>
                      <a:pt x="784" y="117"/>
                    </a:lnTo>
                    <a:close/>
                  </a:path>
                </a:pathLst>
              </a:cu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434" name="Freeform 115"/>
              <p:cNvSpPr>
                <a:spLocks/>
              </p:cNvSpPr>
              <p:nvPr/>
            </p:nvSpPr>
            <p:spPr bwMode="auto">
              <a:xfrm>
                <a:off x="3788" y="3229"/>
                <a:ext cx="900" cy="117"/>
              </a:xfrm>
              <a:custGeom>
                <a:avLst/>
                <a:gdLst>
                  <a:gd name="T0" fmla="*/ 784 w 900"/>
                  <a:gd name="T1" fmla="*/ 117 h 117"/>
                  <a:gd name="T2" fmla="*/ 0 w 900"/>
                  <a:gd name="T3" fmla="*/ 117 h 117"/>
                  <a:gd name="T4" fmla="*/ 118 w 900"/>
                  <a:gd name="T5" fmla="*/ 0 h 117"/>
                  <a:gd name="T6" fmla="*/ 900 w 900"/>
                  <a:gd name="T7" fmla="*/ 0 h 117"/>
                  <a:gd name="T8" fmla="*/ 784 w 900"/>
                  <a:gd name="T9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00" h="117">
                    <a:moveTo>
                      <a:pt x="784" y="117"/>
                    </a:moveTo>
                    <a:lnTo>
                      <a:pt x="0" y="117"/>
                    </a:lnTo>
                    <a:lnTo>
                      <a:pt x="118" y="0"/>
                    </a:lnTo>
                    <a:lnTo>
                      <a:pt x="900" y="0"/>
                    </a:lnTo>
                    <a:lnTo>
                      <a:pt x="784" y="117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435" name="Freeform 116"/>
              <p:cNvSpPr>
                <a:spLocks/>
              </p:cNvSpPr>
              <p:nvPr/>
            </p:nvSpPr>
            <p:spPr bwMode="auto">
              <a:xfrm>
                <a:off x="3790" y="2411"/>
                <a:ext cx="116" cy="935"/>
              </a:xfrm>
              <a:custGeom>
                <a:avLst/>
                <a:gdLst>
                  <a:gd name="T0" fmla="*/ 116 w 116"/>
                  <a:gd name="T1" fmla="*/ 818 h 935"/>
                  <a:gd name="T2" fmla="*/ 0 w 116"/>
                  <a:gd name="T3" fmla="*/ 935 h 935"/>
                  <a:gd name="T4" fmla="*/ 0 w 116"/>
                  <a:gd name="T5" fmla="*/ 118 h 935"/>
                  <a:gd name="T6" fmla="*/ 116 w 116"/>
                  <a:gd name="T7" fmla="*/ 0 h 935"/>
                  <a:gd name="T8" fmla="*/ 116 w 116"/>
                  <a:gd name="T9" fmla="*/ 818 h 9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6" h="935">
                    <a:moveTo>
                      <a:pt x="116" y="818"/>
                    </a:moveTo>
                    <a:lnTo>
                      <a:pt x="0" y="935"/>
                    </a:lnTo>
                    <a:lnTo>
                      <a:pt x="0" y="118"/>
                    </a:lnTo>
                    <a:lnTo>
                      <a:pt x="116" y="0"/>
                    </a:lnTo>
                    <a:lnTo>
                      <a:pt x="116" y="818"/>
                    </a:ln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436" name="Freeform 117"/>
              <p:cNvSpPr>
                <a:spLocks/>
              </p:cNvSpPr>
              <p:nvPr/>
            </p:nvSpPr>
            <p:spPr bwMode="auto">
              <a:xfrm>
                <a:off x="3790" y="2411"/>
                <a:ext cx="116" cy="935"/>
              </a:xfrm>
              <a:custGeom>
                <a:avLst/>
                <a:gdLst>
                  <a:gd name="T0" fmla="*/ 116 w 116"/>
                  <a:gd name="T1" fmla="*/ 818 h 935"/>
                  <a:gd name="T2" fmla="*/ 0 w 116"/>
                  <a:gd name="T3" fmla="*/ 935 h 935"/>
                  <a:gd name="T4" fmla="*/ 0 w 116"/>
                  <a:gd name="T5" fmla="*/ 118 h 935"/>
                  <a:gd name="T6" fmla="*/ 116 w 116"/>
                  <a:gd name="T7" fmla="*/ 0 h 935"/>
                  <a:gd name="T8" fmla="*/ 116 w 116"/>
                  <a:gd name="T9" fmla="*/ 818 h 9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6" h="935">
                    <a:moveTo>
                      <a:pt x="116" y="818"/>
                    </a:moveTo>
                    <a:lnTo>
                      <a:pt x="0" y="935"/>
                    </a:lnTo>
                    <a:lnTo>
                      <a:pt x="0" y="118"/>
                    </a:lnTo>
                    <a:lnTo>
                      <a:pt x="116" y="0"/>
                    </a:lnTo>
                    <a:lnTo>
                      <a:pt x="116" y="818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437" name="Freeform 118"/>
              <p:cNvSpPr>
                <a:spLocks/>
              </p:cNvSpPr>
              <p:nvPr/>
            </p:nvSpPr>
            <p:spPr bwMode="auto">
              <a:xfrm>
                <a:off x="3790" y="2411"/>
                <a:ext cx="116" cy="311"/>
              </a:xfrm>
              <a:custGeom>
                <a:avLst/>
                <a:gdLst>
                  <a:gd name="T0" fmla="*/ 116 w 116"/>
                  <a:gd name="T1" fmla="*/ 193 h 311"/>
                  <a:gd name="T2" fmla="*/ 0 w 116"/>
                  <a:gd name="T3" fmla="*/ 311 h 311"/>
                  <a:gd name="T4" fmla="*/ 0 w 116"/>
                  <a:gd name="T5" fmla="*/ 118 h 311"/>
                  <a:gd name="T6" fmla="*/ 116 w 116"/>
                  <a:gd name="T7" fmla="*/ 0 h 311"/>
                  <a:gd name="T8" fmla="*/ 116 w 116"/>
                  <a:gd name="T9" fmla="*/ 193 h 3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6" h="311">
                    <a:moveTo>
                      <a:pt x="116" y="193"/>
                    </a:moveTo>
                    <a:lnTo>
                      <a:pt x="0" y="311"/>
                    </a:lnTo>
                    <a:lnTo>
                      <a:pt x="0" y="118"/>
                    </a:lnTo>
                    <a:lnTo>
                      <a:pt x="116" y="0"/>
                    </a:lnTo>
                    <a:lnTo>
                      <a:pt x="116" y="193"/>
                    </a:lnTo>
                    <a:close/>
                  </a:path>
                </a:pathLst>
              </a:custGeom>
              <a:solidFill>
                <a:srgbClr val="AA121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438" name="Freeform 119"/>
              <p:cNvSpPr>
                <a:spLocks/>
              </p:cNvSpPr>
              <p:nvPr/>
            </p:nvSpPr>
            <p:spPr bwMode="auto">
              <a:xfrm>
                <a:off x="3790" y="2411"/>
                <a:ext cx="116" cy="311"/>
              </a:xfrm>
              <a:custGeom>
                <a:avLst/>
                <a:gdLst>
                  <a:gd name="T0" fmla="*/ 116 w 116"/>
                  <a:gd name="T1" fmla="*/ 193 h 311"/>
                  <a:gd name="T2" fmla="*/ 0 w 116"/>
                  <a:gd name="T3" fmla="*/ 311 h 311"/>
                  <a:gd name="T4" fmla="*/ 0 w 116"/>
                  <a:gd name="T5" fmla="*/ 118 h 311"/>
                  <a:gd name="T6" fmla="*/ 116 w 116"/>
                  <a:gd name="T7" fmla="*/ 0 h 311"/>
                  <a:gd name="T8" fmla="*/ 116 w 116"/>
                  <a:gd name="T9" fmla="*/ 193 h 3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6" h="311">
                    <a:moveTo>
                      <a:pt x="116" y="193"/>
                    </a:moveTo>
                    <a:lnTo>
                      <a:pt x="0" y="311"/>
                    </a:lnTo>
                    <a:lnTo>
                      <a:pt x="0" y="118"/>
                    </a:lnTo>
                    <a:lnTo>
                      <a:pt x="116" y="0"/>
                    </a:lnTo>
                    <a:lnTo>
                      <a:pt x="116" y="193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439" name="Rectangle 120"/>
              <p:cNvSpPr>
                <a:spLocks noChangeArrowheads="1"/>
              </p:cNvSpPr>
              <p:nvPr/>
            </p:nvSpPr>
            <p:spPr bwMode="auto">
              <a:xfrm>
                <a:off x="3906" y="2411"/>
                <a:ext cx="782" cy="818"/>
              </a:xfrm>
              <a:prstGeom prst="rect">
                <a:avLst/>
              </a:pr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440" name="Rectangle 121"/>
              <p:cNvSpPr>
                <a:spLocks noChangeArrowheads="1"/>
              </p:cNvSpPr>
              <p:nvPr/>
            </p:nvSpPr>
            <p:spPr bwMode="auto">
              <a:xfrm>
                <a:off x="3906" y="2411"/>
                <a:ext cx="782" cy="81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441" name="Rectangle 122"/>
              <p:cNvSpPr>
                <a:spLocks noChangeArrowheads="1"/>
              </p:cNvSpPr>
              <p:nvPr/>
            </p:nvSpPr>
            <p:spPr bwMode="auto">
              <a:xfrm>
                <a:off x="3906" y="2411"/>
                <a:ext cx="782" cy="193"/>
              </a:xfrm>
              <a:prstGeom prst="rect">
                <a:avLst/>
              </a:prstGeom>
              <a:solidFill>
                <a:srgbClr val="C020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442" name="Rectangle 123"/>
              <p:cNvSpPr>
                <a:spLocks noChangeArrowheads="1"/>
              </p:cNvSpPr>
              <p:nvPr/>
            </p:nvSpPr>
            <p:spPr bwMode="auto">
              <a:xfrm>
                <a:off x="3906" y="2411"/>
                <a:ext cx="782" cy="19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443" name="Freeform 124"/>
              <p:cNvSpPr>
                <a:spLocks/>
              </p:cNvSpPr>
              <p:nvPr/>
            </p:nvSpPr>
            <p:spPr bwMode="auto">
              <a:xfrm>
                <a:off x="3889" y="3229"/>
                <a:ext cx="786" cy="99"/>
              </a:xfrm>
              <a:custGeom>
                <a:avLst/>
                <a:gdLst>
                  <a:gd name="T0" fmla="*/ 786 w 786"/>
                  <a:gd name="T1" fmla="*/ 0 h 99"/>
                  <a:gd name="T2" fmla="*/ 17 w 786"/>
                  <a:gd name="T3" fmla="*/ 0 h 99"/>
                  <a:gd name="T4" fmla="*/ 0 w 786"/>
                  <a:gd name="T5" fmla="*/ 17 h 99"/>
                  <a:gd name="T6" fmla="*/ 10 w 786"/>
                  <a:gd name="T7" fmla="*/ 99 h 99"/>
                  <a:gd name="T8" fmla="*/ 786 w 786"/>
                  <a:gd name="T9" fmla="*/ 10 h 99"/>
                  <a:gd name="T10" fmla="*/ 786 w 786"/>
                  <a:gd name="T11" fmla="*/ 0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86" h="99">
                    <a:moveTo>
                      <a:pt x="786" y="0"/>
                    </a:moveTo>
                    <a:lnTo>
                      <a:pt x="17" y="0"/>
                    </a:lnTo>
                    <a:lnTo>
                      <a:pt x="0" y="17"/>
                    </a:lnTo>
                    <a:lnTo>
                      <a:pt x="10" y="99"/>
                    </a:lnTo>
                    <a:lnTo>
                      <a:pt x="786" y="10"/>
                    </a:lnTo>
                    <a:lnTo>
                      <a:pt x="786" y="0"/>
                    </a:lnTo>
                    <a:close/>
                  </a:path>
                </a:pathLst>
              </a:custGeom>
              <a:solidFill>
                <a:srgbClr val="8787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444" name="Freeform 125"/>
              <p:cNvSpPr>
                <a:spLocks/>
              </p:cNvSpPr>
              <p:nvPr/>
            </p:nvSpPr>
            <p:spPr bwMode="auto">
              <a:xfrm>
                <a:off x="3889" y="3229"/>
                <a:ext cx="786" cy="99"/>
              </a:xfrm>
              <a:custGeom>
                <a:avLst/>
                <a:gdLst>
                  <a:gd name="T0" fmla="*/ 786 w 786"/>
                  <a:gd name="T1" fmla="*/ 0 h 99"/>
                  <a:gd name="T2" fmla="*/ 17 w 786"/>
                  <a:gd name="T3" fmla="*/ 0 h 99"/>
                  <a:gd name="T4" fmla="*/ 0 w 786"/>
                  <a:gd name="T5" fmla="*/ 17 h 99"/>
                  <a:gd name="T6" fmla="*/ 10 w 786"/>
                  <a:gd name="T7" fmla="*/ 99 h 99"/>
                  <a:gd name="T8" fmla="*/ 786 w 786"/>
                  <a:gd name="T9" fmla="*/ 10 h 99"/>
                  <a:gd name="T10" fmla="*/ 786 w 786"/>
                  <a:gd name="T11" fmla="*/ 0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86" h="99">
                    <a:moveTo>
                      <a:pt x="786" y="0"/>
                    </a:moveTo>
                    <a:lnTo>
                      <a:pt x="17" y="0"/>
                    </a:lnTo>
                    <a:lnTo>
                      <a:pt x="0" y="17"/>
                    </a:lnTo>
                    <a:lnTo>
                      <a:pt x="10" y="99"/>
                    </a:lnTo>
                    <a:lnTo>
                      <a:pt x="786" y="10"/>
                    </a:lnTo>
                    <a:lnTo>
                      <a:pt x="786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445" name="Freeform 126"/>
              <p:cNvSpPr>
                <a:spLocks/>
              </p:cNvSpPr>
              <p:nvPr/>
            </p:nvSpPr>
            <p:spPr bwMode="auto">
              <a:xfrm>
                <a:off x="3825" y="2604"/>
                <a:ext cx="81" cy="642"/>
              </a:xfrm>
              <a:custGeom>
                <a:avLst/>
                <a:gdLst>
                  <a:gd name="T0" fmla="*/ 81 w 81"/>
                  <a:gd name="T1" fmla="*/ 0 h 642"/>
                  <a:gd name="T2" fmla="*/ 0 w 81"/>
                  <a:gd name="T3" fmla="*/ 83 h 642"/>
                  <a:gd name="T4" fmla="*/ 2 w 81"/>
                  <a:gd name="T5" fmla="*/ 104 h 642"/>
                  <a:gd name="T6" fmla="*/ 64 w 81"/>
                  <a:gd name="T7" fmla="*/ 642 h 642"/>
                  <a:gd name="T8" fmla="*/ 81 w 81"/>
                  <a:gd name="T9" fmla="*/ 625 h 642"/>
                  <a:gd name="T10" fmla="*/ 81 w 81"/>
                  <a:gd name="T11" fmla="*/ 0 h 6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1" h="642">
                    <a:moveTo>
                      <a:pt x="81" y="0"/>
                    </a:moveTo>
                    <a:lnTo>
                      <a:pt x="0" y="83"/>
                    </a:lnTo>
                    <a:lnTo>
                      <a:pt x="2" y="104"/>
                    </a:lnTo>
                    <a:lnTo>
                      <a:pt x="64" y="642"/>
                    </a:lnTo>
                    <a:lnTo>
                      <a:pt x="81" y="625"/>
                    </a:lnTo>
                    <a:lnTo>
                      <a:pt x="81" y="0"/>
                    </a:lnTo>
                    <a:close/>
                  </a:path>
                </a:pathLst>
              </a:custGeom>
              <a:solidFill>
                <a:srgbClr val="BDBD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446" name="Freeform 127"/>
              <p:cNvSpPr>
                <a:spLocks/>
              </p:cNvSpPr>
              <p:nvPr/>
            </p:nvSpPr>
            <p:spPr bwMode="auto">
              <a:xfrm>
                <a:off x="3825" y="2604"/>
                <a:ext cx="81" cy="642"/>
              </a:xfrm>
              <a:custGeom>
                <a:avLst/>
                <a:gdLst>
                  <a:gd name="T0" fmla="*/ 81 w 81"/>
                  <a:gd name="T1" fmla="*/ 0 h 642"/>
                  <a:gd name="T2" fmla="*/ 0 w 81"/>
                  <a:gd name="T3" fmla="*/ 83 h 642"/>
                  <a:gd name="T4" fmla="*/ 2 w 81"/>
                  <a:gd name="T5" fmla="*/ 104 h 642"/>
                  <a:gd name="T6" fmla="*/ 64 w 81"/>
                  <a:gd name="T7" fmla="*/ 642 h 642"/>
                  <a:gd name="T8" fmla="*/ 81 w 81"/>
                  <a:gd name="T9" fmla="*/ 625 h 642"/>
                  <a:gd name="T10" fmla="*/ 81 w 81"/>
                  <a:gd name="T11" fmla="*/ 0 h 6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1" h="642">
                    <a:moveTo>
                      <a:pt x="81" y="0"/>
                    </a:moveTo>
                    <a:lnTo>
                      <a:pt x="0" y="83"/>
                    </a:lnTo>
                    <a:lnTo>
                      <a:pt x="2" y="104"/>
                    </a:lnTo>
                    <a:lnTo>
                      <a:pt x="64" y="642"/>
                    </a:lnTo>
                    <a:lnTo>
                      <a:pt x="81" y="625"/>
                    </a:lnTo>
                    <a:lnTo>
                      <a:pt x="8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447" name="Freeform 128"/>
              <p:cNvSpPr>
                <a:spLocks/>
              </p:cNvSpPr>
              <p:nvPr/>
            </p:nvSpPr>
            <p:spPr bwMode="auto">
              <a:xfrm>
                <a:off x="3805" y="2503"/>
                <a:ext cx="101" cy="184"/>
              </a:xfrm>
              <a:custGeom>
                <a:avLst/>
                <a:gdLst>
                  <a:gd name="T0" fmla="*/ 101 w 101"/>
                  <a:gd name="T1" fmla="*/ 0 h 184"/>
                  <a:gd name="T2" fmla="*/ 0 w 101"/>
                  <a:gd name="T3" fmla="*/ 13 h 184"/>
                  <a:gd name="T4" fmla="*/ 20 w 101"/>
                  <a:gd name="T5" fmla="*/ 184 h 184"/>
                  <a:gd name="T6" fmla="*/ 101 w 101"/>
                  <a:gd name="T7" fmla="*/ 101 h 184"/>
                  <a:gd name="T8" fmla="*/ 101 w 101"/>
                  <a:gd name="T9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1" h="184">
                    <a:moveTo>
                      <a:pt x="101" y="0"/>
                    </a:moveTo>
                    <a:lnTo>
                      <a:pt x="0" y="13"/>
                    </a:lnTo>
                    <a:lnTo>
                      <a:pt x="20" y="184"/>
                    </a:lnTo>
                    <a:lnTo>
                      <a:pt x="101" y="101"/>
                    </a:lnTo>
                    <a:lnTo>
                      <a:pt x="101" y="0"/>
                    </a:lnTo>
                    <a:close/>
                  </a:path>
                </a:pathLst>
              </a:custGeom>
              <a:solidFill>
                <a:srgbClr val="8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448" name="Freeform 129"/>
              <p:cNvSpPr>
                <a:spLocks/>
              </p:cNvSpPr>
              <p:nvPr/>
            </p:nvSpPr>
            <p:spPr bwMode="auto">
              <a:xfrm>
                <a:off x="3805" y="2503"/>
                <a:ext cx="101" cy="184"/>
              </a:xfrm>
              <a:custGeom>
                <a:avLst/>
                <a:gdLst>
                  <a:gd name="T0" fmla="*/ 101 w 101"/>
                  <a:gd name="T1" fmla="*/ 0 h 184"/>
                  <a:gd name="T2" fmla="*/ 0 w 101"/>
                  <a:gd name="T3" fmla="*/ 13 h 184"/>
                  <a:gd name="T4" fmla="*/ 20 w 101"/>
                  <a:gd name="T5" fmla="*/ 184 h 184"/>
                  <a:gd name="T6" fmla="*/ 101 w 101"/>
                  <a:gd name="T7" fmla="*/ 101 h 184"/>
                  <a:gd name="T8" fmla="*/ 101 w 101"/>
                  <a:gd name="T9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1" h="184">
                    <a:moveTo>
                      <a:pt x="101" y="0"/>
                    </a:moveTo>
                    <a:lnTo>
                      <a:pt x="0" y="13"/>
                    </a:lnTo>
                    <a:lnTo>
                      <a:pt x="20" y="184"/>
                    </a:lnTo>
                    <a:lnTo>
                      <a:pt x="101" y="101"/>
                    </a:lnTo>
                    <a:lnTo>
                      <a:pt x="10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449" name="Freeform 130"/>
              <p:cNvSpPr>
                <a:spLocks/>
              </p:cNvSpPr>
              <p:nvPr/>
            </p:nvSpPr>
            <p:spPr bwMode="auto">
              <a:xfrm>
                <a:off x="3906" y="2503"/>
                <a:ext cx="769" cy="726"/>
              </a:xfrm>
              <a:custGeom>
                <a:avLst/>
                <a:gdLst>
                  <a:gd name="T0" fmla="*/ 0 w 769"/>
                  <a:gd name="T1" fmla="*/ 0 h 726"/>
                  <a:gd name="T2" fmla="*/ 0 w 769"/>
                  <a:gd name="T3" fmla="*/ 0 h 726"/>
                  <a:gd name="T4" fmla="*/ 0 w 769"/>
                  <a:gd name="T5" fmla="*/ 726 h 726"/>
                  <a:gd name="T6" fmla="*/ 769 w 769"/>
                  <a:gd name="T7" fmla="*/ 726 h 726"/>
                  <a:gd name="T8" fmla="*/ 699 w 769"/>
                  <a:gd name="T9" fmla="*/ 115 h 726"/>
                  <a:gd name="T10" fmla="*/ 699 w 769"/>
                  <a:gd name="T11" fmla="*/ 115 h 726"/>
                  <a:gd name="T12" fmla="*/ 697 w 769"/>
                  <a:gd name="T13" fmla="*/ 101 h 726"/>
                  <a:gd name="T14" fmla="*/ 0 w 769"/>
                  <a:gd name="T15" fmla="*/ 101 h 726"/>
                  <a:gd name="T16" fmla="*/ 0 w 769"/>
                  <a:gd name="T17" fmla="*/ 0 h 7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69" h="726">
                    <a:moveTo>
                      <a:pt x="0" y="0"/>
                    </a:moveTo>
                    <a:lnTo>
                      <a:pt x="0" y="0"/>
                    </a:lnTo>
                    <a:lnTo>
                      <a:pt x="0" y="726"/>
                    </a:lnTo>
                    <a:lnTo>
                      <a:pt x="769" y="726"/>
                    </a:lnTo>
                    <a:lnTo>
                      <a:pt x="699" y="115"/>
                    </a:lnTo>
                    <a:lnTo>
                      <a:pt x="699" y="115"/>
                    </a:lnTo>
                    <a:lnTo>
                      <a:pt x="697" y="101"/>
                    </a:lnTo>
                    <a:lnTo>
                      <a:pt x="0" y="10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FCF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450" name="Freeform 131"/>
              <p:cNvSpPr>
                <a:spLocks/>
              </p:cNvSpPr>
              <p:nvPr/>
            </p:nvSpPr>
            <p:spPr bwMode="auto">
              <a:xfrm>
                <a:off x="3906" y="2503"/>
                <a:ext cx="769" cy="726"/>
              </a:xfrm>
              <a:custGeom>
                <a:avLst/>
                <a:gdLst>
                  <a:gd name="T0" fmla="*/ 0 w 769"/>
                  <a:gd name="T1" fmla="*/ 0 h 726"/>
                  <a:gd name="T2" fmla="*/ 0 w 769"/>
                  <a:gd name="T3" fmla="*/ 0 h 726"/>
                  <a:gd name="T4" fmla="*/ 0 w 769"/>
                  <a:gd name="T5" fmla="*/ 726 h 726"/>
                  <a:gd name="T6" fmla="*/ 769 w 769"/>
                  <a:gd name="T7" fmla="*/ 726 h 726"/>
                  <a:gd name="T8" fmla="*/ 699 w 769"/>
                  <a:gd name="T9" fmla="*/ 115 h 726"/>
                  <a:gd name="T10" fmla="*/ 699 w 769"/>
                  <a:gd name="T11" fmla="*/ 115 h 726"/>
                  <a:gd name="T12" fmla="*/ 697 w 769"/>
                  <a:gd name="T13" fmla="*/ 101 h 726"/>
                  <a:gd name="T14" fmla="*/ 0 w 769"/>
                  <a:gd name="T15" fmla="*/ 101 h 726"/>
                  <a:gd name="T16" fmla="*/ 0 w 769"/>
                  <a:gd name="T17" fmla="*/ 0 h 7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69" h="726">
                    <a:moveTo>
                      <a:pt x="0" y="0"/>
                    </a:moveTo>
                    <a:lnTo>
                      <a:pt x="0" y="0"/>
                    </a:lnTo>
                    <a:lnTo>
                      <a:pt x="0" y="726"/>
                    </a:lnTo>
                    <a:lnTo>
                      <a:pt x="769" y="726"/>
                    </a:lnTo>
                    <a:lnTo>
                      <a:pt x="699" y="115"/>
                    </a:lnTo>
                    <a:lnTo>
                      <a:pt x="699" y="115"/>
                    </a:lnTo>
                    <a:lnTo>
                      <a:pt x="697" y="101"/>
                    </a:lnTo>
                    <a:lnTo>
                      <a:pt x="0" y="10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451" name="Freeform 132"/>
              <p:cNvSpPr>
                <a:spLocks/>
              </p:cNvSpPr>
              <p:nvPr/>
            </p:nvSpPr>
            <p:spPr bwMode="auto">
              <a:xfrm>
                <a:off x="3906" y="2426"/>
                <a:ext cx="697" cy="178"/>
              </a:xfrm>
              <a:custGeom>
                <a:avLst/>
                <a:gdLst>
                  <a:gd name="T0" fmla="*/ 677 w 697"/>
                  <a:gd name="T1" fmla="*/ 0 h 178"/>
                  <a:gd name="T2" fmla="*/ 0 w 697"/>
                  <a:gd name="T3" fmla="*/ 77 h 178"/>
                  <a:gd name="T4" fmla="*/ 0 w 697"/>
                  <a:gd name="T5" fmla="*/ 178 h 178"/>
                  <a:gd name="T6" fmla="*/ 697 w 697"/>
                  <a:gd name="T7" fmla="*/ 178 h 178"/>
                  <a:gd name="T8" fmla="*/ 677 w 697"/>
                  <a:gd name="T9" fmla="*/ 0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7" h="178">
                    <a:moveTo>
                      <a:pt x="677" y="0"/>
                    </a:moveTo>
                    <a:lnTo>
                      <a:pt x="0" y="77"/>
                    </a:lnTo>
                    <a:lnTo>
                      <a:pt x="0" y="178"/>
                    </a:lnTo>
                    <a:lnTo>
                      <a:pt x="697" y="178"/>
                    </a:lnTo>
                    <a:lnTo>
                      <a:pt x="677" y="0"/>
                    </a:lnTo>
                    <a:close/>
                  </a:path>
                </a:pathLst>
              </a:custGeom>
              <a:solidFill>
                <a:srgbClr val="99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452" name="Freeform 133"/>
              <p:cNvSpPr>
                <a:spLocks/>
              </p:cNvSpPr>
              <p:nvPr/>
            </p:nvSpPr>
            <p:spPr bwMode="auto">
              <a:xfrm>
                <a:off x="3906" y="2426"/>
                <a:ext cx="697" cy="178"/>
              </a:xfrm>
              <a:custGeom>
                <a:avLst/>
                <a:gdLst>
                  <a:gd name="T0" fmla="*/ 677 w 697"/>
                  <a:gd name="T1" fmla="*/ 0 h 178"/>
                  <a:gd name="T2" fmla="*/ 0 w 697"/>
                  <a:gd name="T3" fmla="*/ 77 h 178"/>
                  <a:gd name="T4" fmla="*/ 0 w 697"/>
                  <a:gd name="T5" fmla="*/ 178 h 178"/>
                  <a:gd name="T6" fmla="*/ 697 w 697"/>
                  <a:gd name="T7" fmla="*/ 178 h 178"/>
                  <a:gd name="T8" fmla="*/ 677 w 697"/>
                  <a:gd name="T9" fmla="*/ 0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7" h="178">
                    <a:moveTo>
                      <a:pt x="677" y="0"/>
                    </a:moveTo>
                    <a:lnTo>
                      <a:pt x="0" y="77"/>
                    </a:lnTo>
                    <a:lnTo>
                      <a:pt x="0" y="178"/>
                    </a:lnTo>
                    <a:lnTo>
                      <a:pt x="697" y="178"/>
                    </a:lnTo>
                    <a:lnTo>
                      <a:pt x="67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453" name="Freeform 134"/>
              <p:cNvSpPr>
                <a:spLocks/>
              </p:cNvSpPr>
              <p:nvPr/>
            </p:nvSpPr>
            <p:spPr bwMode="auto">
              <a:xfrm>
                <a:off x="3904" y="2692"/>
                <a:ext cx="848" cy="710"/>
              </a:xfrm>
              <a:custGeom>
                <a:avLst/>
                <a:gdLst>
                  <a:gd name="T0" fmla="*/ 848 w 848"/>
                  <a:gd name="T1" fmla="*/ 621 h 710"/>
                  <a:gd name="T2" fmla="*/ 70 w 848"/>
                  <a:gd name="T3" fmla="*/ 710 h 710"/>
                  <a:gd name="T4" fmla="*/ 0 w 848"/>
                  <a:gd name="T5" fmla="*/ 90 h 710"/>
                  <a:gd name="T6" fmla="*/ 777 w 848"/>
                  <a:gd name="T7" fmla="*/ 0 h 710"/>
                  <a:gd name="T8" fmla="*/ 848 w 848"/>
                  <a:gd name="T9" fmla="*/ 621 h 7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48" h="710">
                    <a:moveTo>
                      <a:pt x="848" y="621"/>
                    </a:moveTo>
                    <a:lnTo>
                      <a:pt x="70" y="710"/>
                    </a:lnTo>
                    <a:lnTo>
                      <a:pt x="0" y="90"/>
                    </a:lnTo>
                    <a:lnTo>
                      <a:pt x="777" y="0"/>
                    </a:lnTo>
                    <a:lnTo>
                      <a:pt x="848" y="621"/>
                    </a:lnTo>
                    <a:close/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454" name="Freeform 135"/>
              <p:cNvSpPr>
                <a:spLocks/>
              </p:cNvSpPr>
              <p:nvPr/>
            </p:nvSpPr>
            <p:spPr bwMode="auto">
              <a:xfrm>
                <a:off x="3882" y="2501"/>
                <a:ext cx="799" cy="281"/>
              </a:xfrm>
              <a:custGeom>
                <a:avLst/>
                <a:gdLst>
                  <a:gd name="T0" fmla="*/ 799 w 799"/>
                  <a:gd name="T1" fmla="*/ 191 h 281"/>
                  <a:gd name="T2" fmla="*/ 22 w 799"/>
                  <a:gd name="T3" fmla="*/ 281 h 281"/>
                  <a:gd name="T4" fmla="*/ 0 w 799"/>
                  <a:gd name="T5" fmla="*/ 89 h 281"/>
                  <a:gd name="T6" fmla="*/ 778 w 799"/>
                  <a:gd name="T7" fmla="*/ 0 h 281"/>
                  <a:gd name="T8" fmla="*/ 799 w 799"/>
                  <a:gd name="T9" fmla="*/ 191 h 2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99" h="281">
                    <a:moveTo>
                      <a:pt x="799" y="191"/>
                    </a:moveTo>
                    <a:lnTo>
                      <a:pt x="22" y="281"/>
                    </a:lnTo>
                    <a:lnTo>
                      <a:pt x="0" y="89"/>
                    </a:lnTo>
                    <a:lnTo>
                      <a:pt x="778" y="0"/>
                    </a:lnTo>
                    <a:lnTo>
                      <a:pt x="799" y="191"/>
                    </a:lnTo>
                    <a:close/>
                  </a:path>
                </a:pathLst>
              </a:custGeom>
              <a:solidFill>
                <a:srgbClr val="C020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</p:grpSp>
        <p:sp>
          <p:nvSpPr>
            <p:cNvPr id="432" name="TextBox 431"/>
            <p:cNvSpPr txBox="1"/>
            <p:nvPr/>
          </p:nvSpPr>
          <p:spPr>
            <a:xfrm rot="21197020">
              <a:off x="6235676" y="4467049"/>
              <a:ext cx="1250270" cy="7335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 smtClean="0">
                  <a:solidFill>
                    <a:srgbClr val="595959"/>
                  </a:solidFill>
                  <a:latin typeface="Segoe UI" panose="020B0502040204020203" pitchFamily="34" charset="0"/>
                  <a:ea typeface="Segoe UI Black" panose="020B0A02040204020203" pitchFamily="34" charset="0"/>
                  <a:cs typeface="Segoe UI" panose="020B0502040204020203" pitchFamily="34" charset="0"/>
                </a:rPr>
                <a:t>JUL </a:t>
              </a:r>
            </a:p>
            <a:p>
              <a:pPr algn="ctr"/>
              <a:r>
                <a:rPr lang="en-US" sz="1200" b="1" dirty="0" smtClean="0">
                  <a:solidFill>
                    <a:srgbClr val="595959"/>
                  </a:solidFill>
                  <a:latin typeface="Segoe UI" panose="020B0502040204020203" pitchFamily="34" charset="0"/>
                  <a:ea typeface="Segoe UI Black" panose="020B0A02040204020203" pitchFamily="34" charset="0"/>
                  <a:cs typeface="Segoe UI" panose="020B0502040204020203" pitchFamily="34" charset="0"/>
                </a:rPr>
                <a:t>9</a:t>
              </a:r>
              <a:endParaRPr lang="en-US" sz="1200" b="1" dirty="0">
                <a:solidFill>
                  <a:srgbClr val="595959"/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455" name="Rectangle 454"/>
          <p:cNvSpPr/>
          <p:nvPr/>
        </p:nvSpPr>
        <p:spPr>
          <a:xfrm>
            <a:off x="1508707" y="2629628"/>
            <a:ext cx="94526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b="1" dirty="0">
                <a:solidFill>
                  <a:srgbClr val="505050"/>
                </a:solidFill>
                <a:latin typeface="Segoe UI" panose="020B0502040204020203" pitchFamily="34" charset="0"/>
                <a:ea typeface="Calibri" panose="020F0502020204030204" pitchFamily="34" charset="0"/>
              </a:rPr>
              <a:t>Windows Server 2003 extended support ended on July 14, 2015.</a:t>
            </a:r>
            <a:endParaRPr lang="en-US" sz="1600" dirty="0"/>
          </a:p>
        </p:txBody>
      </p:sp>
      <p:sp>
        <p:nvSpPr>
          <p:cNvPr id="456" name="Rectangle 455"/>
          <p:cNvSpPr/>
          <p:nvPr/>
        </p:nvSpPr>
        <p:spPr>
          <a:xfrm>
            <a:off x="3162140" y="2609131"/>
            <a:ext cx="827117" cy="6309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b="1" dirty="0">
                <a:solidFill>
                  <a:srgbClr val="505050"/>
                </a:solidFill>
                <a:latin typeface="Segoe UI" panose="020B0502040204020203" pitchFamily="34" charset="0"/>
                <a:ea typeface="Calibri" panose="020F0502020204030204" pitchFamily="34" charset="0"/>
              </a:rPr>
              <a:t>SQL Server 2005 extended support ends on April 12, 2016.</a:t>
            </a:r>
            <a:endParaRPr lang="en-US" sz="1600" dirty="0"/>
          </a:p>
        </p:txBody>
      </p:sp>
      <p:sp>
        <p:nvSpPr>
          <p:cNvPr id="457" name="Rectangle 456"/>
          <p:cNvSpPr/>
          <p:nvPr/>
        </p:nvSpPr>
        <p:spPr>
          <a:xfrm>
            <a:off x="4710416" y="2609131"/>
            <a:ext cx="945260" cy="8463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b="1" dirty="0">
                <a:solidFill>
                  <a:srgbClr val="505050"/>
                </a:solidFill>
                <a:latin typeface="Segoe UI" panose="020B0502040204020203" pitchFamily="34" charset="0"/>
                <a:ea typeface="Calibri" panose="020F0502020204030204" pitchFamily="34" charset="0"/>
              </a:rPr>
              <a:t>SQL Server 2008 mainstream support ended on July 8, 2014, and is in extended support until July 9, 2019.</a:t>
            </a:r>
            <a:endParaRPr lang="en-US" sz="1600" dirty="0"/>
          </a:p>
        </p:txBody>
      </p:sp>
      <p:grpSp>
        <p:nvGrpSpPr>
          <p:cNvPr id="458" name="Group 457"/>
          <p:cNvGrpSpPr/>
          <p:nvPr/>
        </p:nvGrpSpPr>
        <p:grpSpPr>
          <a:xfrm>
            <a:off x="666348" y="4280409"/>
            <a:ext cx="859639" cy="764789"/>
            <a:chOff x="10158038" y="1309828"/>
            <a:chExt cx="1222547" cy="1087655"/>
          </a:xfrm>
        </p:grpSpPr>
        <p:sp>
          <p:nvSpPr>
            <p:cNvPr id="459" name="Rectangle 458"/>
            <p:cNvSpPr/>
            <p:nvPr/>
          </p:nvSpPr>
          <p:spPr>
            <a:xfrm>
              <a:off x="10158038" y="1309828"/>
              <a:ext cx="1222547" cy="1087655"/>
            </a:xfrm>
            <a:prstGeom prst="rect">
              <a:avLst/>
            </a:prstGeom>
            <a:solidFill>
              <a:srgbClr val="E0E9E9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60" name="Group 97"/>
            <p:cNvGrpSpPr>
              <a:grpSpLocks noChangeAspect="1"/>
            </p:cNvGrpSpPr>
            <p:nvPr/>
          </p:nvGrpSpPr>
          <p:grpSpPr bwMode="auto">
            <a:xfrm>
              <a:off x="10331218" y="1470597"/>
              <a:ext cx="632284" cy="775258"/>
              <a:chOff x="3803" y="1348"/>
              <a:chExt cx="712" cy="873"/>
            </a:xfrm>
            <a:solidFill>
              <a:srgbClr val="595959"/>
            </a:solidFill>
          </p:grpSpPr>
          <p:sp>
            <p:nvSpPr>
              <p:cNvPr id="464" name="Freeform 98"/>
              <p:cNvSpPr>
                <a:spLocks/>
              </p:cNvSpPr>
              <p:nvPr/>
            </p:nvSpPr>
            <p:spPr bwMode="auto">
              <a:xfrm>
                <a:off x="4325" y="1800"/>
                <a:ext cx="190" cy="421"/>
              </a:xfrm>
              <a:custGeom>
                <a:avLst/>
                <a:gdLst>
                  <a:gd name="T0" fmla="*/ 12 w 72"/>
                  <a:gd name="T1" fmla="*/ 0 h 160"/>
                  <a:gd name="T2" fmla="*/ 0 w 72"/>
                  <a:gd name="T3" fmla="*/ 76 h 160"/>
                  <a:gd name="T4" fmla="*/ 57 w 72"/>
                  <a:gd name="T5" fmla="*/ 151 h 160"/>
                  <a:gd name="T6" fmla="*/ 67 w 72"/>
                  <a:gd name="T7" fmla="*/ 151 h 160"/>
                  <a:gd name="T8" fmla="*/ 12 w 72"/>
                  <a:gd name="T9" fmla="*/ 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2" h="160">
                    <a:moveTo>
                      <a:pt x="12" y="0"/>
                    </a:moveTo>
                    <a:cubicBezTo>
                      <a:pt x="11" y="24"/>
                      <a:pt x="8" y="49"/>
                      <a:pt x="0" y="76"/>
                    </a:cubicBezTo>
                    <a:cubicBezTo>
                      <a:pt x="45" y="82"/>
                      <a:pt x="56" y="147"/>
                      <a:pt x="57" y="151"/>
                    </a:cubicBezTo>
                    <a:cubicBezTo>
                      <a:pt x="58" y="160"/>
                      <a:pt x="67" y="157"/>
                      <a:pt x="67" y="151"/>
                    </a:cubicBezTo>
                    <a:cubicBezTo>
                      <a:pt x="72" y="50"/>
                      <a:pt x="21" y="7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5" name="Freeform 99"/>
              <p:cNvSpPr>
                <a:spLocks/>
              </p:cNvSpPr>
              <p:nvPr/>
            </p:nvSpPr>
            <p:spPr bwMode="auto">
              <a:xfrm>
                <a:off x="3803" y="1803"/>
                <a:ext cx="187" cy="418"/>
              </a:xfrm>
              <a:custGeom>
                <a:avLst/>
                <a:gdLst>
                  <a:gd name="T0" fmla="*/ 59 w 71"/>
                  <a:gd name="T1" fmla="*/ 0 h 159"/>
                  <a:gd name="T2" fmla="*/ 5 w 71"/>
                  <a:gd name="T3" fmla="*/ 150 h 159"/>
                  <a:gd name="T4" fmla="*/ 15 w 71"/>
                  <a:gd name="T5" fmla="*/ 150 h 159"/>
                  <a:gd name="T6" fmla="*/ 71 w 71"/>
                  <a:gd name="T7" fmla="*/ 75 h 159"/>
                  <a:gd name="T8" fmla="*/ 59 w 71"/>
                  <a:gd name="T9" fmla="*/ 0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1" h="159">
                    <a:moveTo>
                      <a:pt x="59" y="0"/>
                    </a:moveTo>
                    <a:cubicBezTo>
                      <a:pt x="48" y="9"/>
                      <a:pt x="0" y="52"/>
                      <a:pt x="5" y="150"/>
                    </a:cubicBezTo>
                    <a:cubicBezTo>
                      <a:pt x="5" y="156"/>
                      <a:pt x="14" y="159"/>
                      <a:pt x="15" y="150"/>
                    </a:cubicBezTo>
                    <a:cubicBezTo>
                      <a:pt x="16" y="146"/>
                      <a:pt x="27" y="82"/>
                      <a:pt x="71" y="75"/>
                    </a:cubicBezTo>
                    <a:cubicBezTo>
                      <a:pt x="63" y="49"/>
                      <a:pt x="60" y="23"/>
                      <a:pt x="5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6" name="Freeform 100"/>
              <p:cNvSpPr>
                <a:spLocks/>
              </p:cNvSpPr>
              <p:nvPr/>
            </p:nvSpPr>
            <p:spPr bwMode="auto">
              <a:xfrm>
                <a:off x="4133" y="1787"/>
                <a:ext cx="52" cy="424"/>
              </a:xfrm>
              <a:custGeom>
                <a:avLst/>
                <a:gdLst>
                  <a:gd name="T0" fmla="*/ 10 w 20"/>
                  <a:gd name="T1" fmla="*/ 0 h 161"/>
                  <a:gd name="T2" fmla="*/ 10 w 20"/>
                  <a:gd name="T3" fmla="*/ 0 h 161"/>
                  <a:gd name="T4" fmla="*/ 10 w 20"/>
                  <a:gd name="T5" fmla="*/ 0 h 161"/>
                  <a:gd name="T6" fmla="*/ 10 w 20"/>
                  <a:gd name="T7" fmla="*/ 0 h 161"/>
                  <a:gd name="T8" fmla="*/ 10 w 20"/>
                  <a:gd name="T9" fmla="*/ 0 h 161"/>
                  <a:gd name="T10" fmla="*/ 0 w 20"/>
                  <a:gd name="T11" fmla="*/ 11 h 161"/>
                  <a:gd name="T12" fmla="*/ 0 w 20"/>
                  <a:gd name="T13" fmla="*/ 149 h 161"/>
                  <a:gd name="T14" fmla="*/ 10 w 20"/>
                  <a:gd name="T15" fmla="*/ 161 h 161"/>
                  <a:gd name="T16" fmla="*/ 10 w 20"/>
                  <a:gd name="T17" fmla="*/ 161 h 161"/>
                  <a:gd name="T18" fmla="*/ 10 w 20"/>
                  <a:gd name="T19" fmla="*/ 161 h 161"/>
                  <a:gd name="T20" fmla="*/ 10 w 20"/>
                  <a:gd name="T21" fmla="*/ 161 h 161"/>
                  <a:gd name="T22" fmla="*/ 10 w 20"/>
                  <a:gd name="T23" fmla="*/ 161 h 161"/>
                  <a:gd name="T24" fmla="*/ 20 w 20"/>
                  <a:gd name="T25" fmla="*/ 149 h 161"/>
                  <a:gd name="T26" fmla="*/ 20 w 20"/>
                  <a:gd name="T27" fmla="*/ 11 h 161"/>
                  <a:gd name="T28" fmla="*/ 10 w 20"/>
                  <a:gd name="T29" fmla="*/ 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0" h="161">
                    <a:moveTo>
                      <a:pt x="10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0" y="0"/>
                      <a:pt x="0" y="11"/>
                      <a:pt x="0" y="11"/>
                    </a:cubicBezTo>
                    <a:cubicBezTo>
                      <a:pt x="0" y="11"/>
                      <a:pt x="0" y="144"/>
                      <a:pt x="0" y="149"/>
                    </a:cubicBezTo>
                    <a:cubicBezTo>
                      <a:pt x="0" y="154"/>
                      <a:pt x="0" y="161"/>
                      <a:pt x="10" y="161"/>
                    </a:cubicBezTo>
                    <a:cubicBezTo>
                      <a:pt x="10" y="161"/>
                      <a:pt x="10" y="161"/>
                      <a:pt x="10" y="161"/>
                    </a:cubicBezTo>
                    <a:cubicBezTo>
                      <a:pt x="10" y="161"/>
                      <a:pt x="10" y="161"/>
                      <a:pt x="10" y="161"/>
                    </a:cubicBezTo>
                    <a:cubicBezTo>
                      <a:pt x="10" y="161"/>
                      <a:pt x="10" y="161"/>
                      <a:pt x="10" y="161"/>
                    </a:cubicBezTo>
                    <a:cubicBezTo>
                      <a:pt x="10" y="161"/>
                      <a:pt x="10" y="161"/>
                      <a:pt x="10" y="161"/>
                    </a:cubicBezTo>
                    <a:cubicBezTo>
                      <a:pt x="20" y="161"/>
                      <a:pt x="20" y="154"/>
                      <a:pt x="20" y="149"/>
                    </a:cubicBezTo>
                    <a:cubicBezTo>
                      <a:pt x="20" y="144"/>
                      <a:pt x="20" y="11"/>
                      <a:pt x="20" y="11"/>
                    </a:cubicBezTo>
                    <a:cubicBezTo>
                      <a:pt x="20" y="11"/>
                      <a:pt x="20" y="0"/>
                      <a:pt x="1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7" name="Freeform 101"/>
              <p:cNvSpPr>
                <a:spLocks/>
              </p:cNvSpPr>
              <p:nvPr/>
            </p:nvSpPr>
            <p:spPr bwMode="auto">
              <a:xfrm>
                <a:off x="4075" y="1348"/>
                <a:ext cx="168" cy="97"/>
              </a:xfrm>
              <a:custGeom>
                <a:avLst/>
                <a:gdLst>
                  <a:gd name="T0" fmla="*/ 64 w 64"/>
                  <a:gd name="T1" fmla="*/ 37 h 37"/>
                  <a:gd name="T2" fmla="*/ 32 w 64"/>
                  <a:gd name="T3" fmla="*/ 0 h 37"/>
                  <a:gd name="T4" fmla="*/ 32 w 64"/>
                  <a:gd name="T5" fmla="*/ 0 h 37"/>
                  <a:gd name="T6" fmla="*/ 0 w 64"/>
                  <a:gd name="T7" fmla="*/ 37 h 37"/>
                  <a:gd name="T8" fmla="*/ 64 w 64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37">
                    <a:moveTo>
                      <a:pt x="64" y="37"/>
                    </a:moveTo>
                    <a:cubicBezTo>
                      <a:pt x="51" y="14"/>
                      <a:pt x="38" y="0"/>
                      <a:pt x="32" y="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26" y="0"/>
                      <a:pt x="13" y="14"/>
                      <a:pt x="0" y="37"/>
                    </a:cubicBezTo>
                    <a:lnTo>
                      <a:pt x="64" y="3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8" name="Freeform 102"/>
              <p:cNvSpPr>
                <a:spLocks noEditPoints="1"/>
              </p:cNvSpPr>
              <p:nvPr/>
            </p:nvSpPr>
            <p:spPr bwMode="auto">
              <a:xfrm>
                <a:off x="3940" y="1469"/>
                <a:ext cx="438" cy="568"/>
              </a:xfrm>
              <a:custGeom>
                <a:avLst/>
                <a:gdLst>
                  <a:gd name="T0" fmla="*/ 120 w 166"/>
                  <a:gd name="T1" fmla="*/ 0 h 216"/>
                  <a:gd name="T2" fmla="*/ 46 w 166"/>
                  <a:gd name="T3" fmla="*/ 0 h 216"/>
                  <a:gd name="T4" fmla="*/ 32 w 166"/>
                  <a:gd name="T5" fmla="*/ 216 h 216"/>
                  <a:gd name="T6" fmla="*/ 65 w 166"/>
                  <a:gd name="T7" fmla="*/ 216 h 216"/>
                  <a:gd name="T8" fmla="*/ 65 w 166"/>
                  <a:gd name="T9" fmla="*/ 132 h 216"/>
                  <a:gd name="T10" fmla="*/ 70 w 166"/>
                  <a:gd name="T11" fmla="*/ 118 h 216"/>
                  <a:gd name="T12" fmla="*/ 83 w 166"/>
                  <a:gd name="T13" fmla="*/ 113 h 216"/>
                  <a:gd name="T14" fmla="*/ 96 w 166"/>
                  <a:gd name="T15" fmla="*/ 118 h 216"/>
                  <a:gd name="T16" fmla="*/ 101 w 166"/>
                  <a:gd name="T17" fmla="*/ 132 h 216"/>
                  <a:gd name="T18" fmla="*/ 101 w 166"/>
                  <a:gd name="T19" fmla="*/ 216 h 216"/>
                  <a:gd name="T20" fmla="*/ 134 w 166"/>
                  <a:gd name="T21" fmla="*/ 216 h 216"/>
                  <a:gd name="T22" fmla="*/ 120 w 166"/>
                  <a:gd name="T23" fmla="*/ 0 h 216"/>
                  <a:gd name="T24" fmla="*/ 83 w 166"/>
                  <a:gd name="T25" fmla="*/ 75 h 216"/>
                  <a:gd name="T26" fmla="*/ 57 w 166"/>
                  <a:gd name="T27" fmla="*/ 49 h 216"/>
                  <a:gd name="T28" fmla="*/ 83 w 166"/>
                  <a:gd name="T29" fmla="*/ 23 h 216"/>
                  <a:gd name="T30" fmla="*/ 109 w 166"/>
                  <a:gd name="T31" fmla="*/ 49 h 216"/>
                  <a:gd name="T32" fmla="*/ 83 w 166"/>
                  <a:gd name="T33" fmla="*/ 75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66" h="216">
                    <a:moveTo>
                      <a:pt x="120" y="0"/>
                    </a:moveTo>
                    <a:cubicBezTo>
                      <a:pt x="46" y="0"/>
                      <a:pt x="46" y="0"/>
                      <a:pt x="46" y="0"/>
                    </a:cubicBezTo>
                    <a:cubicBezTo>
                      <a:pt x="21" y="47"/>
                      <a:pt x="0" y="126"/>
                      <a:pt x="32" y="216"/>
                    </a:cubicBezTo>
                    <a:cubicBezTo>
                      <a:pt x="32" y="216"/>
                      <a:pt x="50" y="216"/>
                      <a:pt x="65" y="216"/>
                    </a:cubicBezTo>
                    <a:cubicBezTo>
                      <a:pt x="65" y="132"/>
                      <a:pt x="65" y="132"/>
                      <a:pt x="65" y="132"/>
                    </a:cubicBezTo>
                    <a:cubicBezTo>
                      <a:pt x="65" y="130"/>
                      <a:pt x="65" y="123"/>
                      <a:pt x="70" y="118"/>
                    </a:cubicBezTo>
                    <a:cubicBezTo>
                      <a:pt x="72" y="116"/>
                      <a:pt x="77" y="113"/>
                      <a:pt x="83" y="113"/>
                    </a:cubicBezTo>
                    <a:cubicBezTo>
                      <a:pt x="90" y="113"/>
                      <a:pt x="94" y="116"/>
                      <a:pt x="96" y="118"/>
                    </a:cubicBezTo>
                    <a:cubicBezTo>
                      <a:pt x="101" y="123"/>
                      <a:pt x="101" y="130"/>
                      <a:pt x="101" y="132"/>
                    </a:cubicBezTo>
                    <a:cubicBezTo>
                      <a:pt x="101" y="216"/>
                      <a:pt x="101" y="216"/>
                      <a:pt x="101" y="216"/>
                    </a:cubicBezTo>
                    <a:cubicBezTo>
                      <a:pt x="116" y="216"/>
                      <a:pt x="134" y="216"/>
                      <a:pt x="134" y="216"/>
                    </a:cubicBezTo>
                    <a:cubicBezTo>
                      <a:pt x="166" y="126"/>
                      <a:pt x="145" y="47"/>
                      <a:pt x="120" y="0"/>
                    </a:cubicBezTo>
                    <a:close/>
                    <a:moveTo>
                      <a:pt x="83" y="75"/>
                    </a:moveTo>
                    <a:cubicBezTo>
                      <a:pt x="69" y="75"/>
                      <a:pt x="57" y="63"/>
                      <a:pt x="57" y="49"/>
                    </a:cubicBezTo>
                    <a:cubicBezTo>
                      <a:pt x="57" y="35"/>
                      <a:pt x="69" y="23"/>
                      <a:pt x="83" y="23"/>
                    </a:cubicBezTo>
                    <a:cubicBezTo>
                      <a:pt x="97" y="23"/>
                      <a:pt x="109" y="35"/>
                      <a:pt x="109" y="49"/>
                    </a:cubicBezTo>
                    <a:cubicBezTo>
                      <a:pt x="109" y="63"/>
                      <a:pt x="97" y="75"/>
                      <a:pt x="83" y="7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9" name="Freeform 103"/>
              <p:cNvSpPr>
                <a:spLocks/>
              </p:cNvSpPr>
              <p:nvPr/>
            </p:nvSpPr>
            <p:spPr bwMode="auto">
              <a:xfrm>
                <a:off x="4022" y="2056"/>
                <a:ext cx="90" cy="21"/>
              </a:xfrm>
              <a:custGeom>
                <a:avLst/>
                <a:gdLst>
                  <a:gd name="T0" fmla="*/ 34 w 34"/>
                  <a:gd name="T1" fmla="*/ 0 h 8"/>
                  <a:gd name="T2" fmla="*/ 5 w 34"/>
                  <a:gd name="T3" fmla="*/ 0 h 8"/>
                  <a:gd name="T4" fmla="*/ 0 w 34"/>
                  <a:gd name="T5" fmla="*/ 4 h 8"/>
                  <a:gd name="T6" fmla="*/ 5 w 34"/>
                  <a:gd name="T7" fmla="*/ 8 h 8"/>
                  <a:gd name="T8" fmla="*/ 34 w 34"/>
                  <a:gd name="T9" fmla="*/ 8 h 8"/>
                  <a:gd name="T10" fmla="*/ 34 w 34"/>
                  <a:gd name="T11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4" h="8">
                    <a:moveTo>
                      <a:pt x="34" y="0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6"/>
                      <a:pt x="2" y="8"/>
                      <a:pt x="5" y="8"/>
                    </a:cubicBezTo>
                    <a:cubicBezTo>
                      <a:pt x="34" y="8"/>
                      <a:pt x="34" y="8"/>
                      <a:pt x="34" y="8"/>
                    </a:cubicBezTo>
                    <a:lnTo>
                      <a:pt x="3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0" name="Freeform 104"/>
              <p:cNvSpPr>
                <a:spLocks/>
              </p:cNvSpPr>
              <p:nvPr/>
            </p:nvSpPr>
            <p:spPr bwMode="auto">
              <a:xfrm>
                <a:off x="4207" y="2056"/>
                <a:ext cx="89" cy="21"/>
              </a:xfrm>
              <a:custGeom>
                <a:avLst/>
                <a:gdLst>
                  <a:gd name="T0" fmla="*/ 30 w 34"/>
                  <a:gd name="T1" fmla="*/ 0 h 8"/>
                  <a:gd name="T2" fmla="*/ 0 w 34"/>
                  <a:gd name="T3" fmla="*/ 0 h 8"/>
                  <a:gd name="T4" fmla="*/ 0 w 34"/>
                  <a:gd name="T5" fmla="*/ 8 h 8"/>
                  <a:gd name="T6" fmla="*/ 30 w 34"/>
                  <a:gd name="T7" fmla="*/ 8 h 8"/>
                  <a:gd name="T8" fmla="*/ 34 w 34"/>
                  <a:gd name="T9" fmla="*/ 4 h 8"/>
                  <a:gd name="T10" fmla="*/ 30 w 34"/>
                  <a:gd name="T11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4" h="8">
                    <a:moveTo>
                      <a:pt x="3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30" y="8"/>
                      <a:pt x="30" y="8"/>
                      <a:pt x="30" y="8"/>
                    </a:cubicBezTo>
                    <a:cubicBezTo>
                      <a:pt x="32" y="8"/>
                      <a:pt x="34" y="6"/>
                      <a:pt x="34" y="4"/>
                    </a:cubicBezTo>
                    <a:cubicBezTo>
                      <a:pt x="34" y="2"/>
                      <a:pt x="32" y="0"/>
                      <a:pt x="3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461" name="Group 460"/>
            <p:cNvGrpSpPr/>
            <p:nvPr/>
          </p:nvGrpSpPr>
          <p:grpSpPr>
            <a:xfrm>
              <a:off x="10805753" y="1558164"/>
              <a:ext cx="552348" cy="519520"/>
              <a:chOff x="8391910" y="3227310"/>
              <a:chExt cx="552348" cy="613473"/>
            </a:xfrm>
          </p:grpSpPr>
          <p:sp>
            <p:nvSpPr>
              <p:cNvPr id="462" name="TextBox 461"/>
              <p:cNvSpPr txBox="1"/>
              <p:nvPr/>
            </p:nvSpPr>
            <p:spPr>
              <a:xfrm>
                <a:off x="8391910" y="3227310"/>
                <a:ext cx="552348" cy="28427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500" dirty="0" smtClean="0">
                    <a:solidFill>
                      <a:srgbClr val="595959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5.5-13x</a:t>
                </a:r>
                <a:endParaRPr lang="en-US" sz="500" dirty="0">
                  <a:solidFill>
                    <a:srgbClr val="595959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endParaRPr>
              </a:p>
            </p:txBody>
          </p:sp>
          <p:sp>
            <p:nvSpPr>
              <p:cNvPr id="463" name="Up Arrow 462"/>
              <p:cNvSpPr/>
              <p:nvPr/>
            </p:nvSpPr>
            <p:spPr>
              <a:xfrm>
                <a:off x="8599389" y="3536435"/>
                <a:ext cx="137391" cy="304348"/>
              </a:xfrm>
              <a:prstGeom prst="upArrow">
                <a:avLst/>
              </a:prstGeom>
              <a:solidFill>
                <a:srgbClr val="C0202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471" name="Group 470"/>
          <p:cNvGrpSpPr/>
          <p:nvPr/>
        </p:nvGrpSpPr>
        <p:grpSpPr>
          <a:xfrm>
            <a:off x="3072227" y="5120040"/>
            <a:ext cx="864999" cy="769557"/>
            <a:chOff x="7357888" y="1309036"/>
            <a:chExt cx="1222547" cy="1087655"/>
          </a:xfrm>
        </p:grpSpPr>
        <p:sp>
          <p:nvSpPr>
            <p:cNvPr id="472" name="Rectangle 471"/>
            <p:cNvSpPr/>
            <p:nvPr/>
          </p:nvSpPr>
          <p:spPr>
            <a:xfrm>
              <a:off x="7357888" y="1309036"/>
              <a:ext cx="1222547" cy="1087655"/>
            </a:xfrm>
            <a:prstGeom prst="rect">
              <a:avLst/>
            </a:prstGeom>
            <a:solidFill>
              <a:srgbClr val="E0E9E9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73" name="Group 472"/>
            <p:cNvGrpSpPr/>
            <p:nvPr/>
          </p:nvGrpSpPr>
          <p:grpSpPr>
            <a:xfrm>
              <a:off x="7432739" y="1461855"/>
              <a:ext cx="1064089" cy="738380"/>
              <a:chOff x="7469453" y="1560072"/>
              <a:chExt cx="1064089" cy="738380"/>
            </a:xfrm>
          </p:grpSpPr>
          <p:sp>
            <p:nvSpPr>
              <p:cNvPr id="474" name="Freeform 69"/>
              <p:cNvSpPr>
                <a:spLocks/>
              </p:cNvSpPr>
              <p:nvPr/>
            </p:nvSpPr>
            <p:spPr bwMode="auto">
              <a:xfrm>
                <a:off x="7469453" y="1560072"/>
                <a:ext cx="1064089" cy="610546"/>
              </a:xfrm>
              <a:custGeom>
                <a:avLst/>
                <a:gdLst>
                  <a:gd name="T0" fmla="*/ 432 w 514"/>
                  <a:gd name="T1" fmla="*/ 74 h 286"/>
                  <a:gd name="T2" fmla="*/ 426 w 514"/>
                  <a:gd name="T3" fmla="*/ 71 h 286"/>
                  <a:gd name="T4" fmla="*/ 424 w 514"/>
                  <a:gd name="T5" fmla="*/ 70 h 286"/>
                  <a:gd name="T6" fmla="*/ 418 w 514"/>
                  <a:gd name="T7" fmla="*/ 67 h 286"/>
                  <a:gd name="T8" fmla="*/ 0 w 514"/>
                  <a:gd name="T9" fmla="*/ 136 h 286"/>
                  <a:gd name="T10" fmla="*/ 150 w 514"/>
                  <a:gd name="T11" fmla="*/ 286 h 286"/>
                  <a:gd name="T12" fmla="*/ 287 w 514"/>
                  <a:gd name="T13" fmla="*/ 245 h 286"/>
                  <a:gd name="T14" fmla="*/ 310 w 514"/>
                  <a:gd name="T15" fmla="*/ 251 h 286"/>
                  <a:gd name="T16" fmla="*/ 319 w 514"/>
                  <a:gd name="T17" fmla="*/ 255 h 286"/>
                  <a:gd name="T18" fmla="*/ 364 w 514"/>
                  <a:gd name="T19" fmla="*/ 286 h 286"/>
                  <a:gd name="T20" fmla="*/ 514 w 514"/>
                  <a:gd name="T21" fmla="*/ 136 h 286"/>
                  <a:gd name="T22" fmla="*/ 432 w 514"/>
                  <a:gd name="T23" fmla="*/ 74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14" h="286">
                    <a:moveTo>
                      <a:pt x="432" y="74"/>
                    </a:moveTo>
                    <a:cubicBezTo>
                      <a:pt x="430" y="73"/>
                      <a:pt x="428" y="72"/>
                      <a:pt x="426" y="71"/>
                    </a:cubicBezTo>
                    <a:cubicBezTo>
                      <a:pt x="425" y="71"/>
                      <a:pt x="424" y="70"/>
                      <a:pt x="424" y="70"/>
                    </a:cubicBezTo>
                    <a:cubicBezTo>
                      <a:pt x="422" y="69"/>
                      <a:pt x="420" y="68"/>
                      <a:pt x="418" y="67"/>
                    </a:cubicBezTo>
                    <a:cubicBezTo>
                      <a:pt x="282" y="0"/>
                      <a:pt x="113" y="23"/>
                      <a:pt x="0" y="136"/>
                    </a:cubicBezTo>
                    <a:cubicBezTo>
                      <a:pt x="150" y="286"/>
                      <a:pt x="150" y="286"/>
                      <a:pt x="150" y="286"/>
                    </a:cubicBezTo>
                    <a:cubicBezTo>
                      <a:pt x="187" y="249"/>
                      <a:pt x="239" y="235"/>
                      <a:pt x="287" y="245"/>
                    </a:cubicBezTo>
                    <a:cubicBezTo>
                      <a:pt x="295" y="246"/>
                      <a:pt x="302" y="248"/>
                      <a:pt x="310" y="251"/>
                    </a:cubicBezTo>
                    <a:cubicBezTo>
                      <a:pt x="313" y="252"/>
                      <a:pt x="316" y="253"/>
                      <a:pt x="319" y="255"/>
                    </a:cubicBezTo>
                    <a:cubicBezTo>
                      <a:pt x="335" y="262"/>
                      <a:pt x="351" y="272"/>
                      <a:pt x="364" y="286"/>
                    </a:cubicBezTo>
                    <a:cubicBezTo>
                      <a:pt x="514" y="136"/>
                      <a:pt x="514" y="136"/>
                      <a:pt x="514" y="136"/>
                    </a:cubicBezTo>
                    <a:cubicBezTo>
                      <a:pt x="489" y="111"/>
                      <a:pt x="461" y="91"/>
                      <a:pt x="432" y="74"/>
                    </a:cubicBezTo>
                    <a:close/>
                  </a:path>
                </a:pathLst>
              </a:cu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75" name="Freeform 92"/>
              <p:cNvSpPr>
                <a:spLocks/>
              </p:cNvSpPr>
              <p:nvPr/>
            </p:nvSpPr>
            <p:spPr bwMode="auto">
              <a:xfrm>
                <a:off x="7606898" y="1607389"/>
                <a:ext cx="803978" cy="175533"/>
              </a:xfrm>
              <a:custGeom>
                <a:avLst/>
                <a:gdLst>
                  <a:gd name="T0" fmla="*/ 55 w 389"/>
                  <a:gd name="T1" fmla="*/ 47 h 82"/>
                  <a:gd name="T2" fmla="*/ 54 w 389"/>
                  <a:gd name="T3" fmla="*/ 47 h 82"/>
                  <a:gd name="T4" fmla="*/ 49 w 389"/>
                  <a:gd name="T5" fmla="*/ 49 h 82"/>
                  <a:gd name="T6" fmla="*/ 47 w 389"/>
                  <a:gd name="T7" fmla="*/ 50 h 82"/>
                  <a:gd name="T8" fmla="*/ 42 w 389"/>
                  <a:gd name="T9" fmla="*/ 53 h 82"/>
                  <a:gd name="T10" fmla="*/ 0 w 389"/>
                  <a:gd name="T11" fmla="*/ 78 h 82"/>
                  <a:gd name="T12" fmla="*/ 68 w 389"/>
                  <a:gd name="T13" fmla="*/ 66 h 82"/>
                  <a:gd name="T14" fmla="*/ 76 w 389"/>
                  <a:gd name="T15" fmla="*/ 65 h 82"/>
                  <a:gd name="T16" fmla="*/ 186 w 389"/>
                  <a:gd name="T17" fmla="*/ 58 h 82"/>
                  <a:gd name="T18" fmla="*/ 389 w 389"/>
                  <a:gd name="T19" fmla="*/ 82 h 82"/>
                  <a:gd name="T20" fmla="*/ 60 w 389"/>
                  <a:gd name="T21" fmla="*/ 45 h 82"/>
                  <a:gd name="T22" fmla="*/ 55 w 389"/>
                  <a:gd name="T23" fmla="*/ 47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89" h="82">
                    <a:moveTo>
                      <a:pt x="55" y="47"/>
                    </a:moveTo>
                    <a:cubicBezTo>
                      <a:pt x="54" y="47"/>
                      <a:pt x="54" y="47"/>
                      <a:pt x="54" y="47"/>
                    </a:cubicBezTo>
                    <a:cubicBezTo>
                      <a:pt x="52" y="48"/>
                      <a:pt x="51" y="49"/>
                      <a:pt x="49" y="49"/>
                    </a:cubicBezTo>
                    <a:cubicBezTo>
                      <a:pt x="49" y="50"/>
                      <a:pt x="48" y="50"/>
                      <a:pt x="47" y="50"/>
                    </a:cubicBezTo>
                    <a:cubicBezTo>
                      <a:pt x="46" y="51"/>
                      <a:pt x="44" y="52"/>
                      <a:pt x="42" y="53"/>
                    </a:cubicBezTo>
                    <a:cubicBezTo>
                      <a:pt x="28" y="60"/>
                      <a:pt x="14" y="68"/>
                      <a:pt x="0" y="78"/>
                    </a:cubicBezTo>
                    <a:cubicBezTo>
                      <a:pt x="21" y="73"/>
                      <a:pt x="44" y="69"/>
                      <a:pt x="68" y="66"/>
                    </a:cubicBezTo>
                    <a:cubicBezTo>
                      <a:pt x="76" y="65"/>
                      <a:pt x="76" y="65"/>
                      <a:pt x="76" y="65"/>
                    </a:cubicBezTo>
                    <a:cubicBezTo>
                      <a:pt x="111" y="60"/>
                      <a:pt x="147" y="58"/>
                      <a:pt x="186" y="58"/>
                    </a:cubicBezTo>
                    <a:cubicBezTo>
                      <a:pt x="262" y="58"/>
                      <a:pt x="333" y="67"/>
                      <a:pt x="389" y="82"/>
                    </a:cubicBezTo>
                    <a:cubicBezTo>
                      <a:pt x="295" y="13"/>
                      <a:pt x="166" y="0"/>
                      <a:pt x="60" y="45"/>
                    </a:cubicBezTo>
                    <a:lnTo>
                      <a:pt x="55" y="47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476" name="Group 475"/>
              <p:cNvGrpSpPr/>
              <p:nvPr/>
            </p:nvGrpSpPr>
            <p:grpSpPr>
              <a:xfrm rot="712595">
                <a:off x="7955061" y="1766282"/>
                <a:ext cx="394283" cy="532170"/>
                <a:chOff x="8426341" y="1752024"/>
                <a:chExt cx="383704" cy="517890"/>
              </a:xfrm>
            </p:grpSpPr>
            <p:sp>
              <p:nvSpPr>
                <p:cNvPr id="477" name="Freeform 93"/>
                <p:cNvSpPr>
                  <a:spLocks/>
                </p:cNvSpPr>
                <p:nvPr/>
              </p:nvSpPr>
              <p:spPr bwMode="auto">
                <a:xfrm>
                  <a:off x="8608982" y="1758296"/>
                  <a:ext cx="201063" cy="303357"/>
                </a:xfrm>
                <a:custGeom>
                  <a:avLst/>
                  <a:gdLst>
                    <a:gd name="T0" fmla="*/ 13 w 122"/>
                    <a:gd name="T1" fmla="*/ 177 h 184"/>
                    <a:gd name="T2" fmla="*/ 122 w 122"/>
                    <a:gd name="T3" fmla="*/ 3 h 184"/>
                    <a:gd name="T4" fmla="*/ 116 w 122"/>
                    <a:gd name="T5" fmla="*/ 0 h 184"/>
                    <a:gd name="T6" fmla="*/ 94 w 122"/>
                    <a:gd name="T7" fmla="*/ 31 h 184"/>
                    <a:gd name="T8" fmla="*/ 0 w 122"/>
                    <a:gd name="T9" fmla="*/ 180 h 184"/>
                    <a:gd name="T10" fmla="*/ 9 w 122"/>
                    <a:gd name="T11" fmla="*/ 184 h 184"/>
                    <a:gd name="T12" fmla="*/ 13 w 122"/>
                    <a:gd name="T13" fmla="*/ 177 h 1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2" h="184">
                      <a:moveTo>
                        <a:pt x="13" y="177"/>
                      </a:moveTo>
                      <a:cubicBezTo>
                        <a:pt x="122" y="3"/>
                        <a:pt x="122" y="3"/>
                        <a:pt x="122" y="3"/>
                      </a:cubicBezTo>
                      <a:cubicBezTo>
                        <a:pt x="120" y="2"/>
                        <a:pt x="118" y="1"/>
                        <a:pt x="116" y="0"/>
                      </a:cubicBezTo>
                      <a:cubicBezTo>
                        <a:pt x="94" y="31"/>
                        <a:pt x="94" y="31"/>
                        <a:pt x="94" y="31"/>
                      </a:cubicBezTo>
                      <a:cubicBezTo>
                        <a:pt x="0" y="180"/>
                        <a:pt x="0" y="180"/>
                        <a:pt x="0" y="180"/>
                      </a:cubicBezTo>
                      <a:cubicBezTo>
                        <a:pt x="3" y="181"/>
                        <a:pt x="6" y="182"/>
                        <a:pt x="9" y="184"/>
                      </a:cubicBezTo>
                      <a:lnTo>
                        <a:pt x="13" y="177"/>
                      </a:lnTo>
                      <a:close/>
                    </a:path>
                  </a:pathLst>
                </a:custGeom>
                <a:solidFill>
                  <a:srgbClr val="40404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78" name="Freeform 94"/>
                <p:cNvSpPr>
                  <a:spLocks/>
                </p:cNvSpPr>
                <p:nvPr/>
              </p:nvSpPr>
              <p:spPr bwMode="auto">
                <a:xfrm>
                  <a:off x="8426341" y="1752024"/>
                  <a:ext cx="369921" cy="517890"/>
                </a:xfrm>
                <a:custGeom>
                  <a:avLst/>
                  <a:gdLst>
                    <a:gd name="T0" fmla="*/ 211 w 211"/>
                    <a:gd name="T1" fmla="*/ 3 h 295"/>
                    <a:gd name="T2" fmla="*/ 205 w 211"/>
                    <a:gd name="T3" fmla="*/ 0 h 295"/>
                    <a:gd name="T4" fmla="*/ 74 w 211"/>
                    <a:gd name="T5" fmla="*/ 178 h 295"/>
                    <a:gd name="T6" fmla="*/ 42 w 211"/>
                    <a:gd name="T7" fmla="*/ 221 h 295"/>
                    <a:gd name="T8" fmla="*/ 38 w 211"/>
                    <a:gd name="T9" fmla="*/ 220 h 295"/>
                    <a:gd name="T10" fmla="*/ 0 w 211"/>
                    <a:gd name="T11" fmla="*/ 258 h 295"/>
                    <a:gd name="T12" fmla="*/ 38 w 211"/>
                    <a:gd name="T13" fmla="*/ 295 h 295"/>
                    <a:gd name="T14" fmla="*/ 75 w 211"/>
                    <a:gd name="T15" fmla="*/ 258 h 295"/>
                    <a:gd name="T16" fmla="*/ 66 w 211"/>
                    <a:gd name="T17" fmla="*/ 233 h 295"/>
                    <a:gd name="T18" fmla="*/ 97 w 211"/>
                    <a:gd name="T19" fmla="*/ 184 h 295"/>
                    <a:gd name="T20" fmla="*/ 211 w 211"/>
                    <a:gd name="T21" fmla="*/ 3 h 2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11" h="295">
                      <a:moveTo>
                        <a:pt x="211" y="3"/>
                      </a:moveTo>
                      <a:cubicBezTo>
                        <a:pt x="209" y="2"/>
                        <a:pt x="207" y="1"/>
                        <a:pt x="205" y="0"/>
                      </a:cubicBezTo>
                      <a:cubicBezTo>
                        <a:pt x="74" y="178"/>
                        <a:pt x="74" y="178"/>
                        <a:pt x="74" y="178"/>
                      </a:cubicBezTo>
                      <a:cubicBezTo>
                        <a:pt x="42" y="221"/>
                        <a:pt x="42" y="221"/>
                        <a:pt x="42" y="221"/>
                      </a:cubicBezTo>
                      <a:cubicBezTo>
                        <a:pt x="41" y="220"/>
                        <a:pt x="39" y="220"/>
                        <a:pt x="38" y="220"/>
                      </a:cubicBezTo>
                      <a:cubicBezTo>
                        <a:pt x="17" y="220"/>
                        <a:pt x="0" y="237"/>
                        <a:pt x="0" y="258"/>
                      </a:cubicBezTo>
                      <a:cubicBezTo>
                        <a:pt x="0" y="278"/>
                        <a:pt x="17" y="295"/>
                        <a:pt x="38" y="295"/>
                      </a:cubicBezTo>
                      <a:cubicBezTo>
                        <a:pt x="58" y="295"/>
                        <a:pt x="75" y="278"/>
                        <a:pt x="75" y="258"/>
                      </a:cubicBezTo>
                      <a:cubicBezTo>
                        <a:pt x="75" y="248"/>
                        <a:pt x="72" y="240"/>
                        <a:pt x="66" y="233"/>
                      </a:cubicBezTo>
                      <a:cubicBezTo>
                        <a:pt x="97" y="184"/>
                        <a:pt x="97" y="184"/>
                        <a:pt x="97" y="184"/>
                      </a:cubicBezTo>
                      <a:lnTo>
                        <a:pt x="211" y="3"/>
                      </a:lnTo>
                      <a:close/>
                    </a:path>
                  </a:pathLst>
                </a:custGeom>
                <a:solidFill>
                  <a:srgbClr val="C02026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479" name="Group 478"/>
          <p:cNvGrpSpPr/>
          <p:nvPr/>
        </p:nvGrpSpPr>
        <p:grpSpPr>
          <a:xfrm>
            <a:off x="656407" y="5117083"/>
            <a:ext cx="879505" cy="782463"/>
            <a:chOff x="8759938" y="1309829"/>
            <a:chExt cx="1222547" cy="1087655"/>
          </a:xfrm>
        </p:grpSpPr>
        <p:sp>
          <p:nvSpPr>
            <p:cNvPr id="480" name="Rectangle 479"/>
            <p:cNvSpPr/>
            <p:nvPr/>
          </p:nvSpPr>
          <p:spPr>
            <a:xfrm>
              <a:off x="8759938" y="1309829"/>
              <a:ext cx="1222547" cy="1087655"/>
            </a:xfrm>
            <a:prstGeom prst="rect">
              <a:avLst/>
            </a:prstGeom>
            <a:solidFill>
              <a:srgbClr val="E0E9E9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81" name="Group 107"/>
            <p:cNvGrpSpPr>
              <a:grpSpLocks noChangeAspect="1"/>
            </p:cNvGrpSpPr>
            <p:nvPr/>
          </p:nvGrpSpPr>
          <p:grpSpPr bwMode="auto">
            <a:xfrm>
              <a:off x="9014071" y="1492171"/>
              <a:ext cx="710331" cy="710329"/>
              <a:chOff x="5660" y="1570"/>
              <a:chExt cx="197" cy="197"/>
            </a:xfrm>
          </p:grpSpPr>
          <p:sp>
            <p:nvSpPr>
              <p:cNvPr id="482" name="Freeform 109"/>
              <p:cNvSpPr>
                <a:spLocks noEditPoints="1"/>
              </p:cNvSpPr>
              <p:nvPr/>
            </p:nvSpPr>
            <p:spPr bwMode="auto">
              <a:xfrm>
                <a:off x="5660" y="1570"/>
                <a:ext cx="197" cy="197"/>
              </a:xfrm>
              <a:custGeom>
                <a:avLst/>
                <a:gdLst>
                  <a:gd name="T0" fmla="*/ 14 w 87"/>
                  <a:gd name="T1" fmla="*/ 2 h 87"/>
                  <a:gd name="T2" fmla="*/ 28 w 87"/>
                  <a:gd name="T3" fmla="*/ 16 h 87"/>
                  <a:gd name="T4" fmla="*/ 25 w 87"/>
                  <a:gd name="T5" fmla="*/ 25 h 87"/>
                  <a:gd name="T6" fmla="*/ 16 w 87"/>
                  <a:gd name="T7" fmla="*/ 28 h 87"/>
                  <a:gd name="T8" fmla="*/ 3 w 87"/>
                  <a:gd name="T9" fmla="*/ 14 h 87"/>
                  <a:gd name="T10" fmla="*/ 7 w 87"/>
                  <a:gd name="T11" fmla="*/ 35 h 87"/>
                  <a:gd name="T12" fmla="*/ 28 w 87"/>
                  <a:gd name="T13" fmla="*/ 39 h 87"/>
                  <a:gd name="T14" fmla="*/ 73 w 87"/>
                  <a:gd name="T15" fmla="*/ 84 h 87"/>
                  <a:gd name="T16" fmla="*/ 83 w 87"/>
                  <a:gd name="T17" fmla="*/ 84 h 87"/>
                  <a:gd name="T18" fmla="*/ 84 w 87"/>
                  <a:gd name="T19" fmla="*/ 83 h 87"/>
                  <a:gd name="T20" fmla="*/ 84 w 87"/>
                  <a:gd name="T21" fmla="*/ 72 h 87"/>
                  <a:gd name="T22" fmla="*/ 39 w 87"/>
                  <a:gd name="T23" fmla="*/ 28 h 87"/>
                  <a:gd name="T24" fmla="*/ 35 w 87"/>
                  <a:gd name="T25" fmla="*/ 7 h 87"/>
                  <a:gd name="T26" fmla="*/ 14 w 87"/>
                  <a:gd name="T27" fmla="*/ 2 h 87"/>
                  <a:gd name="T28" fmla="*/ 81 w 87"/>
                  <a:gd name="T29" fmla="*/ 81 h 87"/>
                  <a:gd name="T30" fmla="*/ 75 w 87"/>
                  <a:gd name="T31" fmla="*/ 81 h 87"/>
                  <a:gd name="T32" fmla="*/ 75 w 87"/>
                  <a:gd name="T33" fmla="*/ 75 h 87"/>
                  <a:gd name="T34" fmla="*/ 81 w 87"/>
                  <a:gd name="T35" fmla="*/ 75 h 87"/>
                  <a:gd name="T36" fmla="*/ 81 w 87"/>
                  <a:gd name="T37" fmla="*/ 81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7" h="87">
                    <a:moveTo>
                      <a:pt x="14" y="2"/>
                    </a:moveTo>
                    <a:cubicBezTo>
                      <a:pt x="28" y="16"/>
                      <a:pt x="28" y="16"/>
                      <a:pt x="28" y="16"/>
                    </a:cubicBezTo>
                    <a:cubicBezTo>
                      <a:pt x="25" y="25"/>
                      <a:pt x="25" y="25"/>
                      <a:pt x="25" y="25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3" y="14"/>
                      <a:pt x="3" y="14"/>
                      <a:pt x="3" y="14"/>
                    </a:cubicBezTo>
                    <a:cubicBezTo>
                      <a:pt x="0" y="21"/>
                      <a:pt x="1" y="29"/>
                      <a:pt x="7" y="35"/>
                    </a:cubicBezTo>
                    <a:cubicBezTo>
                      <a:pt x="13" y="40"/>
                      <a:pt x="21" y="42"/>
                      <a:pt x="28" y="39"/>
                    </a:cubicBezTo>
                    <a:cubicBezTo>
                      <a:pt x="73" y="84"/>
                      <a:pt x="73" y="84"/>
                      <a:pt x="73" y="84"/>
                    </a:cubicBezTo>
                    <a:cubicBezTo>
                      <a:pt x="76" y="87"/>
                      <a:pt x="80" y="87"/>
                      <a:pt x="83" y="84"/>
                    </a:cubicBezTo>
                    <a:cubicBezTo>
                      <a:pt x="84" y="83"/>
                      <a:pt x="84" y="83"/>
                      <a:pt x="84" y="83"/>
                    </a:cubicBezTo>
                    <a:cubicBezTo>
                      <a:pt x="87" y="80"/>
                      <a:pt x="87" y="75"/>
                      <a:pt x="84" y="72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42" y="21"/>
                      <a:pt x="41" y="13"/>
                      <a:pt x="35" y="7"/>
                    </a:cubicBezTo>
                    <a:cubicBezTo>
                      <a:pt x="29" y="1"/>
                      <a:pt x="21" y="0"/>
                      <a:pt x="14" y="2"/>
                    </a:cubicBezTo>
                    <a:close/>
                    <a:moveTo>
                      <a:pt x="81" y="81"/>
                    </a:moveTo>
                    <a:cubicBezTo>
                      <a:pt x="79" y="83"/>
                      <a:pt x="77" y="83"/>
                      <a:pt x="75" y="81"/>
                    </a:cubicBezTo>
                    <a:cubicBezTo>
                      <a:pt x="73" y="79"/>
                      <a:pt x="73" y="76"/>
                      <a:pt x="75" y="75"/>
                    </a:cubicBezTo>
                    <a:cubicBezTo>
                      <a:pt x="77" y="73"/>
                      <a:pt x="79" y="73"/>
                      <a:pt x="81" y="75"/>
                    </a:cubicBezTo>
                    <a:cubicBezTo>
                      <a:pt x="83" y="76"/>
                      <a:pt x="83" y="79"/>
                      <a:pt x="81" y="81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3" name="Freeform 110"/>
              <p:cNvSpPr>
                <a:spLocks/>
              </p:cNvSpPr>
              <p:nvPr/>
            </p:nvSpPr>
            <p:spPr bwMode="auto">
              <a:xfrm>
                <a:off x="5667" y="1575"/>
                <a:ext cx="186" cy="185"/>
              </a:xfrm>
              <a:custGeom>
                <a:avLst/>
                <a:gdLst>
                  <a:gd name="T0" fmla="*/ 80 w 82"/>
                  <a:gd name="T1" fmla="*/ 7 h 82"/>
                  <a:gd name="T2" fmla="*/ 76 w 82"/>
                  <a:gd name="T3" fmla="*/ 3 h 82"/>
                  <a:gd name="T4" fmla="*/ 66 w 82"/>
                  <a:gd name="T5" fmla="*/ 3 h 82"/>
                  <a:gd name="T6" fmla="*/ 37 w 82"/>
                  <a:gd name="T7" fmla="*/ 33 h 82"/>
                  <a:gd name="T8" fmla="*/ 36 w 82"/>
                  <a:gd name="T9" fmla="*/ 41 h 82"/>
                  <a:gd name="T10" fmla="*/ 17 w 82"/>
                  <a:gd name="T11" fmla="*/ 60 h 82"/>
                  <a:gd name="T12" fmla="*/ 17 w 82"/>
                  <a:gd name="T13" fmla="*/ 60 h 82"/>
                  <a:gd name="T14" fmla="*/ 9 w 82"/>
                  <a:gd name="T15" fmla="*/ 62 h 82"/>
                  <a:gd name="T16" fmla="*/ 0 w 82"/>
                  <a:gd name="T17" fmla="*/ 78 h 82"/>
                  <a:gd name="T18" fmla="*/ 4 w 82"/>
                  <a:gd name="T19" fmla="*/ 82 h 82"/>
                  <a:gd name="T20" fmla="*/ 20 w 82"/>
                  <a:gd name="T21" fmla="*/ 73 h 82"/>
                  <a:gd name="T22" fmla="*/ 22 w 82"/>
                  <a:gd name="T23" fmla="*/ 65 h 82"/>
                  <a:gd name="T24" fmla="*/ 41 w 82"/>
                  <a:gd name="T25" fmla="*/ 46 h 82"/>
                  <a:gd name="T26" fmla="*/ 50 w 82"/>
                  <a:gd name="T27" fmla="*/ 46 h 82"/>
                  <a:gd name="T28" fmla="*/ 80 w 82"/>
                  <a:gd name="T29" fmla="*/ 16 h 82"/>
                  <a:gd name="T30" fmla="*/ 80 w 82"/>
                  <a:gd name="T31" fmla="*/ 7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2" h="82">
                    <a:moveTo>
                      <a:pt x="80" y="7"/>
                    </a:moveTo>
                    <a:cubicBezTo>
                      <a:pt x="76" y="3"/>
                      <a:pt x="76" y="3"/>
                      <a:pt x="76" y="3"/>
                    </a:cubicBezTo>
                    <a:cubicBezTo>
                      <a:pt x="73" y="0"/>
                      <a:pt x="69" y="0"/>
                      <a:pt x="66" y="3"/>
                    </a:cubicBezTo>
                    <a:cubicBezTo>
                      <a:pt x="37" y="33"/>
                      <a:pt x="37" y="33"/>
                      <a:pt x="37" y="33"/>
                    </a:cubicBezTo>
                    <a:cubicBezTo>
                      <a:pt x="34" y="35"/>
                      <a:pt x="34" y="39"/>
                      <a:pt x="36" y="41"/>
                    </a:cubicBezTo>
                    <a:cubicBezTo>
                      <a:pt x="17" y="60"/>
                      <a:pt x="17" y="60"/>
                      <a:pt x="17" y="60"/>
                    </a:cubicBezTo>
                    <a:cubicBezTo>
                      <a:pt x="17" y="60"/>
                      <a:pt x="17" y="60"/>
                      <a:pt x="17" y="60"/>
                    </a:cubicBezTo>
                    <a:cubicBezTo>
                      <a:pt x="9" y="62"/>
                      <a:pt x="9" y="62"/>
                      <a:pt x="9" y="62"/>
                    </a:cubicBezTo>
                    <a:cubicBezTo>
                      <a:pt x="0" y="78"/>
                      <a:pt x="0" y="78"/>
                      <a:pt x="0" y="78"/>
                    </a:cubicBezTo>
                    <a:cubicBezTo>
                      <a:pt x="4" y="82"/>
                      <a:pt x="4" y="82"/>
                      <a:pt x="4" y="82"/>
                    </a:cubicBezTo>
                    <a:cubicBezTo>
                      <a:pt x="20" y="73"/>
                      <a:pt x="20" y="73"/>
                      <a:pt x="20" y="73"/>
                    </a:cubicBezTo>
                    <a:cubicBezTo>
                      <a:pt x="22" y="65"/>
                      <a:pt x="22" y="65"/>
                      <a:pt x="22" y="65"/>
                    </a:cubicBezTo>
                    <a:cubicBezTo>
                      <a:pt x="41" y="46"/>
                      <a:pt x="41" y="46"/>
                      <a:pt x="41" y="46"/>
                    </a:cubicBezTo>
                    <a:cubicBezTo>
                      <a:pt x="44" y="48"/>
                      <a:pt x="48" y="48"/>
                      <a:pt x="50" y="46"/>
                    </a:cubicBezTo>
                    <a:cubicBezTo>
                      <a:pt x="80" y="16"/>
                      <a:pt x="80" y="16"/>
                      <a:pt x="80" y="16"/>
                    </a:cubicBezTo>
                    <a:cubicBezTo>
                      <a:pt x="82" y="14"/>
                      <a:pt x="82" y="10"/>
                      <a:pt x="80" y="7"/>
                    </a:cubicBezTo>
                    <a:close/>
                  </a:path>
                </a:pathLst>
              </a:custGeom>
              <a:solidFill>
                <a:srgbClr val="40404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84" name="Group 483"/>
          <p:cNvGrpSpPr/>
          <p:nvPr/>
        </p:nvGrpSpPr>
        <p:grpSpPr>
          <a:xfrm>
            <a:off x="3072227" y="4280409"/>
            <a:ext cx="864999" cy="769558"/>
            <a:chOff x="5959788" y="1309036"/>
            <a:chExt cx="1222547" cy="1087655"/>
          </a:xfrm>
        </p:grpSpPr>
        <p:sp>
          <p:nvSpPr>
            <p:cNvPr id="485" name="Rectangle 484"/>
            <p:cNvSpPr/>
            <p:nvPr/>
          </p:nvSpPr>
          <p:spPr>
            <a:xfrm>
              <a:off x="5959788" y="1309036"/>
              <a:ext cx="1222547" cy="1087655"/>
            </a:xfrm>
            <a:prstGeom prst="rect">
              <a:avLst/>
            </a:prstGeom>
            <a:solidFill>
              <a:srgbClr val="E0E9E9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86" name="Group 485"/>
            <p:cNvGrpSpPr/>
            <p:nvPr/>
          </p:nvGrpSpPr>
          <p:grpSpPr>
            <a:xfrm>
              <a:off x="5997019" y="1515315"/>
              <a:ext cx="1000448" cy="730224"/>
              <a:chOff x="5997019" y="1515315"/>
              <a:chExt cx="1000448" cy="730224"/>
            </a:xfrm>
          </p:grpSpPr>
          <p:grpSp>
            <p:nvGrpSpPr>
              <p:cNvPr id="487" name="Group 486"/>
              <p:cNvGrpSpPr/>
              <p:nvPr/>
            </p:nvGrpSpPr>
            <p:grpSpPr>
              <a:xfrm>
                <a:off x="6155341" y="1515315"/>
                <a:ext cx="842126" cy="637974"/>
                <a:chOff x="9888538" y="3827463"/>
                <a:chExt cx="1676400" cy="1270000"/>
              </a:xfrm>
              <a:solidFill>
                <a:schemeClr val="tx1">
                  <a:lumMod val="65000"/>
                  <a:lumOff val="35000"/>
                </a:schemeClr>
              </a:solidFill>
            </p:grpSpPr>
            <p:sp>
              <p:nvSpPr>
                <p:cNvPr id="491" name="Rectangle 35"/>
                <p:cNvSpPr>
                  <a:spLocks noChangeArrowheads="1"/>
                </p:cNvSpPr>
                <p:nvPr/>
              </p:nvSpPr>
              <p:spPr bwMode="auto">
                <a:xfrm>
                  <a:off x="10485438" y="4211638"/>
                  <a:ext cx="69850" cy="298450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89606" tIns="44802" rIns="89606" bIns="4480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005"/>
                  <a:endParaRPr lang="en-US" sz="1764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92" name="Rectangle 36"/>
                <p:cNvSpPr>
                  <a:spLocks noChangeArrowheads="1"/>
                </p:cNvSpPr>
                <p:nvPr/>
              </p:nvSpPr>
              <p:spPr bwMode="auto">
                <a:xfrm>
                  <a:off x="10180638" y="4630738"/>
                  <a:ext cx="352425" cy="5397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89606" tIns="44802" rIns="89606" bIns="4480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005"/>
                  <a:endParaRPr lang="en-US" sz="1764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93" name="Rectangle 37"/>
                <p:cNvSpPr>
                  <a:spLocks noChangeArrowheads="1"/>
                </p:cNvSpPr>
                <p:nvPr/>
              </p:nvSpPr>
              <p:spPr bwMode="auto">
                <a:xfrm>
                  <a:off x="10091738" y="4630738"/>
                  <a:ext cx="57150" cy="5397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89606" tIns="44802" rIns="89606" bIns="4480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005"/>
                  <a:endParaRPr lang="en-US" sz="1764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94" name="Rectangle 38"/>
                <p:cNvSpPr>
                  <a:spLocks noChangeArrowheads="1"/>
                </p:cNvSpPr>
                <p:nvPr/>
              </p:nvSpPr>
              <p:spPr bwMode="auto">
                <a:xfrm>
                  <a:off x="10180638" y="4745038"/>
                  <a:ext cx="381000" cy="5397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89606" tIns="44802" rIns="89606" bIns="4480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005"/>
                  <a:endParaRPr lang="en-US" sz="1764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95" name="Rectangle 39"/>
                <p:cNvSpPr>
                  <a:spLocks noChangeArrowheads="1"/>
                </p:cNvSpPr>
                <p:nvPr/>
              </p:nvSpPr>
              <p:spPr bwMode="auto">
                <a:xfrm>
                  <a:off x="10091738" y="4745038"/>
                  <a:ext cx="57150" cy="5397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89606" tIns="44802" rIns="89606" bIns="4480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005"/>
                  <a:endParaRPr lang="en-US" sz="1764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96" name="Rectangle 40"/>
                <p:cNvSpPr>
                  <a:spLocks noChangeArrowheads="1"/>
                </p:cNvSpPr>
                <p:nvPr/>
              </p:nvSpPr>
              <p:spPr bwMode="auto">
                <a:xfrm>
                  <a:off x="10180638" y="4852988"/>
                  <a:ext cx="282575" cy="5397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89606" tIns="44802" rIns="89606" bIns="4480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005"/>
                  <a:endParaRPr lang="en-US" sz="1764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97" name="Rectangle 41"/>
                <p:cNvSpPr>
                  <a:spLocks noChangeArrowheads="1"/>
                </p:cNvSpPr>
                <p:nvPr/>
              </p:nvSpPr>
              <p:spPr bwMode="auto">
                <a:xfrm>
                  <a:off x="10091738" y="4852988"/>
                  <a:ext cx="57150" cy="5397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89606" tIns="44802" rIns="89606" bIns="4480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005"/>
                  <a:endParaRPr lang="en-US" sz="1764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98" name="Rectangle 42"/>
                <p:cNvSpPr>
                  <a:spLocks noChangeArrowheads="1"/>
                </p:cNvSpPr>
                <p:nvPr/>
              </p:nvSpPr>
              <p:spPr bwMode="auto">
                <a:xfrm>
                  <a:off x="10387013" y="4433888"/>
                  <a:ext cx="69850" cy="76200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89606" tIns="44802" rIns="89606" bIns="4480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005"/>
                  <a:endParaRPr lang="en-US" sz="1764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99" name="Rectangle 43"/>
                <p:cNvSpPr>
                  <a:spLocks noChangeArrowheads="1"/>
                </p:cNvSpPr>
                <p:nvPr/>
              </p:nvSpPr>
              <p:spPr bwMode="auto">
                <a:xfrm>
                  <a:off x="10288588" y="4303713"/>
                  <a:ext cx="69850" cy="20637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89606" tIns="44802" rIns="89606" bIns="4480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005"/>
                  <a:endParaRPr lang="en-US" sz="1764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00" name="Rectangle 44"/>
                <p:cNvSpPr>
                  <a:spLocks noChangeArrowheads="1"/>
                </p:cNvSpPr>
                <p:nvPr/>
              </p:nvSpPr>
              <p:spPr bwMode="auto">
                <a:xfrm>
                  <a:off x="10186988" y="4249738"/>
                  <a:ext cx="69850" cy="260350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89606" tIns="44802" rIns="89606" bIns="4480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005"/>
                  <a:endParaRPr lang="en-US" sz="1764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01" name="Rectangle 45"/>
                <p:cNvSpPr>
                  <a:spLocks noChangeArrowheads="1"/>
                </p:cNvSpPr>
                <p:nvPr/>
              </p:nvSpPr>
              <p:spPr bwMode="auto">
                <a:xfrm>
                  <a:off x="10088563" y="4348163"/>
                  <a:ext cx="69850" cy="16192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89606" tIns="44802" rIns="89606" bIns="4480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005"/>
                  <a:endParaRPr lang="en-US" sz="1764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02" name="Freeform 46"/>
                <p:cNvSpPr>
                  <a:spLocks/>
                </p:cNvSpPr>
                <p:nvPr/>
              </p:nvSpPr>
              <p:spPr bwMode="auto">
                <a:xfrm>
                  <a:off x="10720388" y="4329113"/>
                  <a:ext cx="558800" cy="561975"/>
                </a:xfrm>
                <a:custGeom>
                  <a:avLst/>
                  <a:gdLst>
                    <a:gd name="T0" fmla="*/ 176 w 352"/>
                    <a:gd name="T1" fmla="*/ 0 h 354"/>
                    <a:gd name="T2" fmla="*/ 176 w 352"/>
                    <a:gd name="T3" fmla="*/ 0 h 354"/>
                    <a:gd name="T4" fmla="*/ 158 w 352"/>
                    <a:gd name="T5" fmla="*/ 2 h 354"/>
                    <a:gd name="T6" fmla="*/ 140 w 352"/>
                    <a:gd name="T7" fmla="*/ 4 h 354"/>
                    <a:gd name="T8" fmla="*/ 124 w 352"/>
                    <a:gd name="T9" fmla="*/ 8 h 354"/>
                    <a:gd name="T10" fmla="*/ 108 w 352"/>
                    <a:gd name="T11" fmla="*/ 14 h 354"/>
                    <a:gd name="T12" fmla="*/ 92 w 352"/>
                    <a:gd name="T13" fmla="*/ 22 h 354"/>
                    <a:gd name="T14" fmla="*/ 78 w 352"/>
                    <a:gd name="T15" fmla="*/ 30 h 354"/>
                    <a:gd name="T16" fmla="*/ 64 w 352"/>
                    <a:gd name="T17" fmla="*/ 42 h 354"/>
                    <a:gd name="T18" fmla="*/ 52 w 352"/>
                    <a:gd name="T19" fmla="*/ 52 h 354"/>
                    <a:gd name="T20" fmla="*/ 40 w 352"/>
                    <a:gd name="T21" fmla="*/ 64 h 354"/>
                    <a:gd name="T22" fmla="*/ 30 w 352"/>
                    <a:gd name="T23" fmla="*/ 78 h 354"/>
                    <a:gd name="T24" fmla="*/ 20 w 352"/>
                    <a:gd name="T25" fmla="*/ 94 h 354"/>
                    <a:gd name="T26" fmla="*/ 14 w 352"/>
                    <a:gd name="T27" fmla="*/ 108 h 354"/>
                    <a:gd name="T28" fmla="*/ 8 w 352"/>
                    <a:gd name="T29" fmla="*/ 124 h 354"/>
                    <a:gd name="T30" fmla="*/ 2 w 352"/>
                    <a:gd name="T31" fmla="*/ 142 h 354"/>
                    <a:gd name="T32" fmla="*/ 0 w 352"/>
                    <a:gd name="T33" fmla="*/ 160 h 354"/>
                    <a:gd name="T34" fmla="*/ 0 w 352"/>
                    <a:gd name="T35" fmla="*/ 178 h 354"/>
                    <a:gd name="T36" fmla="*/ 0 w 352"/>
                    <a:gd name="T37" fmla="*/ 178 h 354"/>
                    <a:gd name="T38" fmla="*/ 0 w 352"/>
                    <a:gd name="T39" fmla="*/ 196 h 354"/>
                    <a:gd name="T40" fmla="*/ 2 w 352"/>
                    <a:gd name="T41" fmla="*/ 212 h 354"/>
                    <a:gd name="T42" fmla="*/ 8 w 352"/>
                    <a:gd name="T43" fmla="*/ 230 h 354"/>
                    <a:gd name="T44" fmla="*/ 14 w 352"/>
                    <a:gd name="T45" fmla="*/ 246 h 354"/>
                    <a:gd name="T46" fmla="*/ 20 w 352"/>
                    <a:gd name="T47" fmla="*/ 262 h 354"/>
                    <a:gd name="T48" fmla="*/ 30 w 352"/>
                    <a:gd name="T49" fmla="*/ 276 h 354"/>
                    <a:gd name="T50" fmla="*/ 40 w 352"/>
                    <a:gd name="T51" fmla="*/ 290 h 354"/>
                    <a:gd name="T52" fmla="*/ 52 w 352"/>
                    <a:gd name="T53" fmla="*/ 302 h 354"/>
                    <a:gd name="T54" fmla="*/ 64 w 352"/>
                    <a:gd name="T55" fmla="*/ 314 h 354"/>
                    <a:gd name="T56" fmla="*/ 78 w 352"/>
                    <a:gd name="T57" fmla="*/ 324 h 354"/>
                    <a:gd name="T58" fmla="*/ 92 w 352"/>
                    <a:gd name="T59" fmla="*/ 332 h 354"/>
                    <a:gd name="T60" fmla="*/ 108 w 352"/>
                    <a:gd name="T61" fmla="*/ 340 h 354"/>
                    <a:gd name="T62" fmla="*/ 124 w 352"/>
                    <a:gd name="T63" fmla="*/ 346 h 354"/>
                    <a:gd name="T64" fmla="*/ 140 w 352"/>
                    <a:gd name="T65" fmla="*/ 350 h 354"/>
                    <a:gd name="T66" fmla="*/ 158 w 352"/>
                    <a:gd name="T67" fmla="*/ 352 h 354"/>
                    <a:gd name="T68" fmla="*/ 176 w 352"/>
                    <a:gd name="T69" fmla="*/ 354 h 354"/>
                    <a:gd name="T70" fmla="*/ 176 w 352"/>
                    <a:gd name="T71" fmla="*/ 354 h 354"/>
                    <a:gd name="T72" fmla="*/ 194 w 352"/>
                    <a:gd name="T73" fmla="*/ 352 h 354"/>
                    <a:gd name="T74" fmla="*/ 210 w 352"/>
                    <a:gd name="T75" fmla="*/ 350 h 354"/>
                    <a:gd name="T76" fmla="*/ 228 w 352"/>
                    <a:gd name="T77" fmla="*/ 346 h 354"/>
                    <a:gd name="T78" fmla="*/ 244 w 352"/>
                    <a:gd name="T79" fmla="*/ 340 h 354"/>
                    <a:gd name="T80" fmla="*/ 258 w 352"/>
                    <a:gd name="T81" fmla="*/ 332 h 354"/>
                    <a:gd name="T82" fmla="*/ 274 w 352"/>
                    <a:gd name="T83" fmla="*/ 324 h 354"/>
                    <a:gd name="T84" fmla="*/ 286 w 352"/>
                    <a:gd name="T85" fmla="*/ 314 h 354"/>
                    <a:gd name="T86" fmla="*/ 300 w 352"/>
                    <a:gd name="T87" fmla="*/ 304 h 354"/>
                    <a:gd name="T88" fmla="*/ 310 w 352"/>
                    <a:gd name="T89" fmla="*/ 292 h 354"/>
                    <a:gd name="T90" fmla="*/ 320 w 352"/>
                    <a:gd name="T91" fmla="*/ 278 h 354"/>
                    <a:gd name="T92" fmla="*/ 330 w 352"/>
                    <a:gd name="T93" fmla="*/ 264 h 354"/>
                    <a:gd name="T94" fmla="*/ 336 w 352"/>
                    <a:gd name="T95" fmla="*/ 248 h 354"/>
                    <a:gd name="T96" fmla="*/ 344 w 352"/>
                    <a:gd name="T97" fmla="*/ 232 h 354"/>
                    <a:gd name="T98" fmla="*/ 348 w 352"/>
                    <a:gd name="T99" fmla="*/ 216 h 354"/>
                    <a:gd name="T100" fmla="*/ 350 w 352"/>
                    <a:gd name="T101" fmla="*/ 200 h 354"/>
                    <a:gd name="T102" fmla="*/ 352 w 352"/>
                    <a:gd name="T103" fmla="*/ 182 h 354"/>
                    <a:gd name="T104" fmla="*/ 176 w 352"/>
                    <a:gd name="T105" fmla="*/ 182 h 354"/>
                    <a:gd name="T106" fmla="*/ 176 w 352"/>
                    <a:gd name="T107" fmla="*/ 0 h 3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352" h="354">
                      <a:moveTo>
                        <a:pt x="176" y="0"/>
                      </a:moveTo>
                      <a:lnTo>
                        <a:pt x="176" y="0"/>
                      </a:lnTo>
                      <a:lnTo>
                        <a:pt x="158" y="2"/>
                      </a:lnTo>
                      <a:lnTo>
                        <a:pt x="140" y="4"/>
                      </a:lnTo>
                      <a:lnTo>
                        <a:pt x="124" y="8"/>
                      </a:lnTo>
                      <a:lnTo>
                        <a:pt x="108" y="14"/>
                      </a:lnTo>
                      <a:lnTo>
                        <a:pt x="92" y="22"/>
                      </a:lnTo>
                      <a:lnTo>
                        <a:pt x="78" y="30"/>
                      </a:lnTo>
                      <a:lnTo>
                        <a:pt x="64" y="42"/>
                      </a:lnTo>
                      <a:lnTo>
                        <a:pt x="52" y="52"/>
                      </a:lnTo>
                      <a:lnTo>
                        <a:pt x="40" y="64"/>
                      </a:lnTo>
                      <a:lnTo>
                        <a:pt x="30" y="78"/>
                      </a:lnTo>
                      <a:lnTo>
                        <a:pt x="20" y="94"/>
                      </a:lnTo>
                      <a:lnTo>
                        <a:pt x="14" y="108"/>
                      </a:lnTo>
                      <a:lnTo>
                        <a:pt x="8" y="124"/>
                      </a:lnTo>
                      <a:lnTo>
                        <a:pt x="2" y="142"/>
                      </a:lnTo>
                      <a:lnTo>
                        <a:pt x="0" y="160"/>
                      </a:lnTo>
                      <a:lnTo>
                        <a:pt x="0" y="178"/>
                      </a:lnTo>
                      <a:lnTo>
                        <a:pt x="0" y="178"/>
                      </a:lnTo>
                      <a:lnTo>
                        <a:pt x="0" y="196"/>
                      </a:lnTo>
                      <a:lnTo>
                        <a:pt x="2" y="212"/>
                      </a:lnTo>
                      <a:lnTo>
                        <a:pt x="8" y="230"/>
                      </a:lnTo>
                      <a:lnTo>
                        <a:pt x="14" y="246"/>
                      </a:lnTo>
                      <a:lnTo>
                        <a:pt x="20" y="262"/>
                      </a:lnTo>
                      <a:lnTo>
                        <a:pt x="30" y="276"/>
                      </a:lnTo>
                      <a:lnTo>
                        <a:pt x="40" y="290"/>
                      </a:lnTo>
                      <a:lnTo>
                        <a:pt x="52" y="302"/>
                      </a:lnTo>
                      <a:lnTo>
                        <a:pt x="64" y="314"/>
                      </a:lnTo>
                      <a:lnTo>
                        <a:pt x="78" y="324"/>
                      </a:lnTo>
                      <a:lnTo>
                        <a:pt x="92" y="332"/>
                      </a:lnTo>
                      <a:lnTo>
                        <a:pt x="108" y="340"/>
                      </a:lnTo>
                      <a:lnTo>
                        <a:pt x="124" y="346"/>
                      </a:lnTo>
                      <a:lnTo>
                        <a:pt x="140" y="350"/>
                      </a:lnTo>
                      <a:lnTo>
                        <a:pt x="158" y="352"/>
                      </a:lnTo>
                      <a:lnTo>
                        <a:pt x="176" y="354"/>
                      </a:lnTo>
                      <a:lnTo>
                        <a:pt x="176" y="354"/>
                      </a:lnTo>
                      <a:lnTo>
                        <a:pt x="194" y="352"/>
                      </a:lnTo>
                      <a:lnTo>
                        <a:pt x="210" y="350"/>
                      </a:lnTo>
                      <a:lnTo>
                        <a:pt x="228" y="346"/>
                      </a:lnTo>
                      <a:lnTo>
                        <a:pt x="244" y="340"/>
                      </a:lnTo>
                      <a:lnTo>
                        <a:pt x="258" y="332"/>
                      </a:lnTo>
                      <a:lnTo>
                        <a:pt x="274" y="324"/>
                      </a:lnTo>
                      <a:lnTo>
                        <a:pt x="286" y="314"/>
                      </a:lnTo>
                      <a:lnTo>
                        <a:pt x="300" y="304"/>
                      </a:lnTo>
                      <a:lnTo>
                        <a:pt x="310" y="292"/>
                      </a:lnTo>
                      <a:lnTo>
                        <a:pt x="320" y="278"/>
                      </a:lnTo>
                      <a:lnTo>
                        <a:pt x="330" y="264"/>
                      </a:lnTo>
                      <a:lnTo>
                        <a:pt x="336" y="248"/>
                      </a:lnTo>
                      <a:lnTo>
                        <a:pt x="344" y="232"/>
                      </a:lnTo>
                      <a:lnTo>
                        <a:pt x="348" y="216"/>
                      </a:lnTo>
                      <a:lnTo>
                        <a:pt x="350" y="200"/>
                      </a:lnTo>
                      <a:lnTo>
                        <a:pt x="352" y="182"/>
                      </a:lnTo>
                      <a:lnTo>
                        <a:pt x="176" y="182"/>
                      </a:lnTo>
                      <a:lnTo>
                        <a:pt x="176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06" tIns="44802" rIns="89606" bIns="4480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005"/>
                  <a:endParaRPr lang="en-US" sz="1764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03" name="Freeform 47"/>
                <p:cNvSpPr>
                  <a:spLocks/>
                </p:cNvSpPr>
                <p:nvPr/>
              </p:nvSpPr>
              <p:spPr bwMode="auto">
                <a:xfrm>
                  <a:off x="11053763" y="4278313"/>
                  <a:ext cx="279400" cy="285750"/>
                </a:xfrm>
                <a:custGeom>
                  <a:avLst/>
                  <a:gdLst>
                    <a:gd name="T0" fmla="*/ 0 w 176"/>
                    <a:gd name="T1" fmla="*/ 0 h 180"/>
                    <a:gd name="T2" fmla="*/ 0 w 176"/>
                    <a:gd name="T3" fmla="*/ 180 h 180"/>
                    <a:gd name="T4" fmla="*/ 176 w 176"/>
                    <a:gd name="T5" fmla="*/ 180 h 180"/>
                    <a:gd name="T6" fmla="*/ 176 w 176"/>
                    <a:gd name="T7" fmla="*/ 176 h 180"/>
                    <a:gd name="T8" fmla="*/ 176 w 176"/>
                    <a:gd name="T9" fmla="*/ 176 h 180"/>
                    <a:gd name="T10" fmla="*/ 174 w 176"/>
                    <a:gd name="T11" fmla="*/ 158 h 180"/>
                    <a:gd name="T12" fmla="*/ 172 w 176"/>
                    <a:gd name="T13" fmla="*/ 140 h 180"/>
                    <a:gd name="T14" fmla="*/ 168 w 176"/>
                    <a:gd name="T15" fmla="*/ 124 h 180"/>
                    <a:gd name="T16" fmla="*/ 162 w 176"/>
                    <a:gd name="T17" fmla="*/ 106 h 180"/>
                    <a:gd name="T18" fmla="*/ 154 w 176"/>
                    <a:gd name="T19" fmla="*/ 92 h 180"/>
                    <a:gd name="T20" fmla="*/ 146 w 176"/>
                    <a:gd name="T21" fmla="*/ 76 h 180"/>
                    <a:gd name="T22" fmla="*/ 136 w 176"/>
                    <a:gd name="T23" fmla="*/ 64 h 180"/>
                    <a:gd name="T24" fmla="*/ 124 w 176"/>
                    <a:gd name="T25" fmla="*/ 50 h 180"/>
                    <a:gd name="T26" fmla="*/ 112 w 176"/>
                    <a:gd name="T27" fmla="*/ 40 h 180"/>
                    <a:gd name="T28" fmla="*/ 98 w 176"/>
                    <a:gd name="T29" fmla="*/ 30 h 180"/>
                    <a:gd name="T30" fmla="*/ 84 w 176"/>
                    <a:gd name="T31" fmla="*/ 20 h 180"/>
                    <a:gd name="T32" fmla="*/ 68 w 176"/>
                    <a:gd name="T33" fmla="*/ 14 h 180"/>
                    <a:gd name="T34" fmla="*/ 52 w 176"/>
                    <a:gd name="T35" fmla="*/ 8 h 180"/>
                    <a:gd name="T36" fmla="*/ 34 w 176"/>
                    <a:gd name="T37" fmla="*/ 2 h 180"/>
                    <a:gd name="T38" fmla="*/ 18 w 176"/>
                    <a:gd name="T39" fmla="*/ 0 h 180"/>
                    <a:gd name="T40" fmla="*/ 0 w 176"/>
                    <a:gd name="T41" fmla="*/ 0 h 1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76" h="180">
                      <a:moveTo>
                        <a:pt x="0" y="0"/>
                      </a:moveTo>
                      <a:lnTo>
                        <a:pt x="0" y="180"/>
                      </a:lnTo>
                      <a:lnTo>
                        <a:pt x="176" y="180"/>
                      </a:lnTo>
                      <a:lnTo>
                        <a:pt x="176" y="176"/>
                      </a:lnTo>
                      <a:lnTo>
                        <a:pt x="176" y="176"/>
                      </a:lnTo>
                      <a:lnTo>
                        <a:pt x="174" y="158"/>
                      </a:lnTo>
                      <a:lnTo>
                        <a:pt x="172" y="140"/>
                      </a:lnTo>
                      <a:lnTo>
                        <a:pt x="168" y="124"/>
                      </a:lnTo>
                      <a:lnTo>
                        <a:pt x="162" y="106"/>
                      </a:lnTo>
                      <a:lnTo>
                        <a:pt x="154" y="92"/>
                      </a:lnTo>
                      <a:lnTo>
                        <a:pt x="146" y="76"/>
                      </a:lnTo>
                      <a:lnTo>
                        <a:pt x="136" y="64"/>
                      </a:lnTo>
                      <a:lnTo>
                        <a:pt x="124" y="50"/>
                      </a:lnTo>
                      <a:lnTo>
                        <a:pt x="112" y="40"/>
                      </a:lnTo>
                      <a:lnTo>
                        <a:pt x="98" y="30"/>
                      </a:lnTo>
                      <a:lnTo>
                        <a:pt x="84" y="20"/>
                      </a:lnTo>
                      <a:lnTo>
                        <a:pt x="68" y="14"/>
                      </a:lnTo>
                      <a:lnTo>
                        <a:pt x="52" y="8"/>
                      </a:lnTo>
                      <a:lnTo>
                        <a:pt x="34" y="2"/>
                      </a:lnTo>
                      <a:lnTo>
                        <a:pt x="1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06" tIns="44802" rIns="89606" bIns="4480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005"/>
                  <a:endParaRPr lang="en-US" sz="1764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04" name="Freeform 48"/>
                <p:cNvSpPr>
                  <a:spLocks/>
                </p:cNvSpPr>
                <p:nvPr/>
              </p:nvSpPr>
              <p:spPr bwMode="auto">
                <a:xfrm>
                  <a:off x="11053763" y="4278313"/>
                  <a:ext cx="279400" cy="285750"/>
                </a:xfrm>
                <a:custGeom>
                  <a:avLst/>
                  <a:gdLst>
                    <a:gd name="T0" fmla="*/ 0 w 176"/>
                    <a:gd name="T1" fmla="*/ 0 h 180"/>
                    <a:gd name="T2" fmla="*/ 0 w 176"/>
                    <a:gd name="T3" fmla="*/ 180 h 180"/>
                    <a:gd name="T4" fmla="*/ 176 w 176"/>
                    <a:gd name="T5" fmla="*/ 180 h 180"/>
                    <a:gd name="T6" fmla="*/ 176 w 176"/>
                    <a:gd name="T7" fmla="*/ 176 h 180"/>
                    <a:gd name="T8" fmla="*/ 176 w 176"/>
                    <a:gd name="T9" fmla="*/ 176 h 180"/>
                    <a:gd name="T10" fmla="*/ 174 w 176"/>
                    <a:gd name="T11" fmla="*/ 158 h 180"/>
                    <a:gd name="T12" fmla="*/ 172 w 176"/>
                    <a:gd name="T13" fmla="*/ 140 h 180"/>
                    <a:gd name="T14" fmla="*/ 168 w 176"/>
                    <a:gd name="T15" fmla="*/ 124 h 180"/>
                    <a:gd name="T16" fmla="*/ 162 w 176"/>
                    <a:gd name="T17" fmla="*/ 106 h 180"/>
                    <a:gd name="T18" fmla="*/ 154 w 176"/>
                    <a:gd name="T19" fmla="*/ 92 h 180"/>
                    <a:gd name="T20" fmla="*/ 146 w 176"/>
                    <a:gd name="T21" fmla="*/ 76 h 180"/>
                    <a:gd name="T22" fmla="*/ 136 w 176"/>
                    <a:gd name="T23" fmla="*/ 64 h 180"/>
                    <a:gd name="T24" fmla="*/ 124 w 176"/>
                    <a:gd name="T25" fmla="*/ 50 h 180"/>
                    <a:gd name="T26" fmla="*/ 112 w 176"/>
                    <a:gd name="T27" fmla="*/ 40 h 180"/>
                    <a:gd name="T28" fmla="*/ 98 w 176"/>
                    <a:gd name="T29" fmla="*/ 30 h 180"/>
                    <a:gd name="T30" fmla="*/ 84 w 176"/>
                    <a:gd name="T31" fmla="*/ 20 h 180"/>
                    <a:gd name="T32" fmla="*/ 68 w 176"/>
                    <a:gd name="T33" fmla="*/ 14 h 180"/>
                    <a:gd name="T34" fmla="*/ 52 w 176"/>
                    <a:gd name="T35" fmla="*/ 8 h 180"/>
                    <a:gd name="T36" fmla="*/ 34 w 176"/>
                    <a:gd name="T37" fmla="*/ 2 h 180"/>
                    <a:gd name="T38" fmla="*/ 18 w 176"/>
                    <a:gd name="T39" fmla="*/ 0 h 180"/>
                    <a:gd name="T40" fmla="*/ 0 w 176"/>
                    <a:gd name="T41" fmla="*/ 0 h 1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76" h="180">
                      <a:moveTo>
                        <a:pt x="0" y="0"/>
                      </a:moveTo>
                      <a:lnTo>
                        <a:pt x="0" y="180"/>
                      </a:lnTo>
                      <a:lnTo>
                        <a:pt x="176" y="180"/>
                      </a:lnTo>
                      <a:lnTo>
                        <a:pt x="176" y="176"/>
                      </a:lnTo>
                      <a:lnTo>
                        <a:pt x="176" y="176"/>
                      </a:lnTo>
                      <a:lnTo>
                        <a:pt x="174" y="158"/>
                      </a:lnTo>
                      <a:lnTo>
                        <a:pt x="172" y="140"/>
                      </a:lnTo>
                      <a:lnTo>
                        <a:pt x="168" y="124"/>
                      </a:lnTo>
                      <a:lnTo>
                        <a:pt x="162" y="106"/>
                      </a:lnTo>
                      <a:lnTo>
                        <a:pt x="154" y="92"/>
                      </a:lnTo>
                      <a:lnTo>
                        <a:pt x="146" y="76"/>
                      </a:lnTo>
                      <a:lnTo>
                        <a:pt x="136" y="64"/>
                      </a:lnTo>
                      <a:lnTo>
                        <a:pt x="124" y="50"/>
                      </a:lnTo>
                      <a:lnTo>
                        <a:pt x="112" y="40"/>
                      </a:lnTo>
                      <a:lnTo>
                        <a:pt x="98" y="30"/>
                      </a:lnTo>
                      <a:lnTo>
                        <a:pt x="84" y="20"/>
                      </a:lnTo>
                      <a:lnTo>
                        <a:pt x="68" y="14"/>
                      </a:lnTo>
                      <a:lnTo>
                        <a:pt x="52" y="8"/>
                      </a:lnTo>
                      <a:lnTo>
                        <a:pt x="34" y="2"/>
                      </a:lnTo>
                      <a:lnTo>
                        <a:pt x="18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06" tIns="44802" rIns="89606" bIns="4480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005"/>
                  <a:endParaRPr lang="en-US" sz="1764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05" name="Rectangle 49"/>
                <p:cNvSpPr>
                  <a:spLocks noChangeArrowheads="1"/>
                </p:cNvSpPr>
                <p:nvPr/>
              </p:nvSpPr>
              <p:spPr bwMode="auto">
                <a:xfrm>
                  <a:off x="11326813" y="3900488"/>
                  <a:ext cx="53975" cy="5397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89606" tIns="44802" rIns="89606" bIns="4480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005"/>
                  <a:endParaRPr lang="en-US" sz="1764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06" name="Freeform 50"/>
                <p:cNvSpPr>
                  <a:spLocks noEditPoints="1"/>
                </p:cNvSpPr>
                <p:nvPr/>
              </p:nvSpPr>
              <p:spPr bwMode="auto">
                <a:xfrm>
                  <a:off x="9891713" y="3827463"/>
                  <a:ext cx="1673225" cy="168275"/>
                </a:xfrm>
                <a:custGeom>
                  <a:avLst/>
                  <a:gdLst>
                    <a:gd name="T0" fmla="*/ 0 w 1054"/>
                    <a:gd name="T1" fmla="*/ 0 h 106"/>
                    <a:gd name="T2" fmla="*/ 0 w 1054"/>
                    <a:gd name="T3" fmla="*/ 106 h 106"/>
                    <a:gd name="T4" fmla="*/ 1054 w 1054"/>
                    <a:gd name="T5" fmla="*/ 106 h 106"/>
                    <a:gd name="T6" fmla="*/ 1054 w 1054"/>
                    <a:gd name="T7" fmla="*/ 0 h 106"/>
                    <a:gd name="T8" fmla="*/ 0 w 1054"/>
                    <a:gd name="T9" fmla="*/ 0 h 106"/>
                    <a:gd name="T10" fmla="*/ 860 w 1054"/>
                    <a:gd name="T11" fmla="*/ 88 h 106"/>
                    <a:gd name="T12" fmla="*/ 798 w 1054"/>
                    <a:gd name="T13" fmla="*/ 88 h 106"/>
                    <a:gd name="T14" fmla="*/ 798 w 1054"/>
                    <a:gd name="T15" fmla="*/ 72 h 106"/>
                    <a:gd name="T16" fmla="*/ 860 w 1054"/>
                    <a:gd name="T17" fmla="*/ 72 h 106"/>
                    <a:gd name="T18" fmla="*/ 860 w 1054"/>
                    <a:gd name="T19" fmla="*/ 88 h 106"/>
                    <a:gd name="T20" fmla="*/ 946 w 1054"/>
                    <a:gd name="T21" fmla="*/ 90 h 106"/>
                    <a:gd name="T22" fmla="*/ 890 w 1054"/>
                    <a:gd name="T23" fmla="*/ 90 h 106"/>
                    <a:gd name="T24" fmla="*/ 890 w 1054"/>
                    <a:gd name="T25" fmla="*/ 32 h 106"/>
                    <a:gd name="T26" fmla="*/ 946 w 1054"/>
                    <a:gd name="T27" fmla="*/ 32 h 106"/>
                    <a:gd name="T28" fmla="*/ 946 w 1054"/>
                    <a:gd name="T29" fmla="*/ 90 h 106"/>
                    <a:gd name="T30" fmla="*/ 1032 w 1054"/>
                    <a:gd name="T31" fmla="*/ 78 h 106"/>
                    <a:gd name="T32" fmla="*/ 1020 w 1054"/>
                    <a:gd name="T33" fmla="*/ 90 h 106"/>
                    <a:gd name="T34" fmla="*/ 1004 w 1054"/>
                    <a:gd name="T35" fmla="*/ 74 h 106"/>
                    <a:gd name="T36" fmla="*/ 988 w 1054"/>
                    <a:gd name="T37" fmla="*/ 90 h 106"/>
                    <a:gd name="T38" fmla="*/ 976 w 1054"/>
                    <a:gd name="T39" fmla="*/ 78 h 106"/>
                    <a:gd name="T40" fmla="*/ 992 w 1054"/>
                    <a:gd name="T41" fmla="*/ 62 h 106"/>
                    <a:gd name="T42" fmla="*/ 976 w 1054"/>
                    <a:gd name="T43" fmla="*/ 44 h 106"/>
                    <a:gd name="T44" fmla="*/ 988 w 1054"/>
                    <a:gd name="T45" fmla="*/ 32 h 106"/>
                    <a:gd name="T46" fmla="*/ 1004 w 1054"/>
                    <a:gd name="T47" fmla="*/ 48 h 106"/>
                    <a:gd name="T48" fmla="*/ 1020 w 1054"/>
                    <a:gd name="T49" fmla="*/ 32 h 106"/>
                    <a:gd name="T50" fmla="*/ 1032 w 1054"/>
                    <a:gd name="T51" fmla="*/ 44 h 106"/>
                    <a:gd name="T52" fmla="*/ 1016 w 1054"/>
                    <a:gd name="T53" fmla="*/ 62 h 106"/>
                    <a:gd name="T54" fmla="*/ 1032 w 1054"/>
                    <a:gd name="T55" fmla="*/ 78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1054" h="106">
                      <a:moveTo>
                        <a:pt x="0" y="0"/>
                      </a:moveTo>
                      <a:lnTo>
                        <a:pt x="0" y="106"/>
                      </a:lnTo>
                      <a:lnTo>
                        <a:pt x="1054" y="106"/>
                      </a:lnTo>
                      <a:lnTo>
                        <a:pt x="1054" y="0"/>
                      </a:lnTo>
                      <a:lnTo>
                        <a:pt x="0" y="0"/>
                      </a:lnTo>
                      <a:close/>
                      <a:moveTo>
                        <a:pt x="860" y="88"/>
                      </a:moveTo>
                      <a:lnTo>
                        <a:pt x="798" y="88"/>
                      </a:lnTo>
                      <a:lnTo>
                        <a:pt x="798" y="72"/>
                      </a:lnTo>
                      <a:lnTo>
                        <a:pt x="860" y="72"/>
                      </a:lnTo>
                      <a:lnTo>
                        <a:pt x="860" y="88"/>
                      </a:lnTo>
                      <a:close/>
                      <a:moveTo>
                        <a:pt x="946" y="90"/>
                      </a:moveTo>
                      <a:lnTo>
                        <a:pt x="890" y="90"/>
                      </a:lnTo>
                      <a:lnTo>
                        <a:pt x="890" y="32"/>
                      </a:lnTo>
                      <a:lnTo>
                        <a:pt x="946" y="32"/>
                      </a:lnTo>
                      <a:lnTo>
                        <a:pt x="946" y="90"/>
                      </a:lnTo>
                      <a:close/>
                      <a:moveTo>
                        <a:pt x="1032" y="78"/>
                      </a:moveTo>
                      <a:lnTo>
                        <a:pt x="1020" y="90"/>
                      </a:lnTo>
                      <a:lnTo>
                        <a:pt x="1004" y="74"/>
                      </a:lnTo>
                      <a:lnTo>
                        <a:pt x="988" y="90"/>
                      </a:lnTo>
                      <a:lnTo>
                        <a:pt x="976" y="78"/>
                      </a:lnTo>
                      <a:lnTo>
                        <a:pt x="992" y="62"/>
                      </a:lnTo>
                      <a:lnTo>
                        <a:pt x="976" y="44"/>
                      </a:lnTo>
                      <a:lnTo>
                        <a:pt x="988" y="32"/>
                      </a:lnTo>
                      <a:lnTo>
                        <a:pt x="1004" y="48"/>
                      </a:lnTo>
                      <a:lnTo>
                        <a:pt x="1020" y="32"/>
                      </a:lnTo>
                      <a:lnTo>
                        <a:pt x="1032" y="44"/>
                      </a:lnTo>
                      <a:lnTo>
                        <a:pt x="1016" y="62"/>
                      </a:lnTo>
                      <a:lnTo>
                        <a:pt x="1032" y="7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06" tIns="44802" rIns="89606" bIns="4480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005"/>
                  <a:endParaRPr lang="en-US" sz="1764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07" name="Freeform 51"/>
                <p:cNvSpPr>
                  <a:spLocks noEditPoints="1"/>
                </p:cNvSpPr>
                <p:nvPr/>
              </p:nvSpPr>
              <p:spPr bwMode="auto">
                <a:xfrm>
                  <a:off x="9888538" y="4030663"/>
                  <a:ext cx="1670050" cy="1066800"/>
                </a:xfrm>
                <a:custGeom>
                  <a:avLst/>
                  <a:gdLst>
                    <a:gd name="T0" fmla="*/ 0 w 1052"/>
                    <a:gd name="T1" fmla="*/ 0 h 672"/>
                    <a:gd name="T2" fmla="*/ 0 w 1052"/>
                    <a:gd name="T3" fmla="*/ 672 h 672"/>
                    <a:gd name="T4" fmla="*/ 1052 w 1052"/>
                    <a:gd name="T5" fmla="*/ 672 h 672"/>
                    <a:gd name="T6" fmla="*/ 1052 w 1052"/>
                    <a:gd name="T7" fmla="*/ 0 h 672"/>
                    <a:gd name="T8" fmla="*/ 0 w 1052"/>
                    <a:gd name="T9" fmla="*/ 0 h 672"/>
                    <a:gd name="T10" fmla="*/ 1000 w 1052"/>
                    <a:gd name="T11" fmla="*/ 620 h 672"/>
                    <a:gd name="T12" fmla="*/ 54 w 1052"/>
                    <a:gd name="T13" fmla="*/ 620 h 672"/>
                    <a:gd name="T14" fmla="*/ 54 w 1052"/>
                    <a:gd name="T15" fmla="*/ 52 h 672"/>
                    <a:gd name="T16" fmla="*/ 1000 w 1052"/>
                    <a:gd name="T17" fmla="*/ 52 h 672"/>
                    <a:gd name="T18" fmla="*/ 1000 w 1052"/>
                    <a:gd name="T19" fmla="*/ 620 h 6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052" h="672">
                      <a:moveTo>
                        <a:pt x="0" y="0"/>
                      </a:moveTo>
                      <a:lnTo>
                        <a:pt x="0" y="672"/>
                      </a:lnTo>
                      <a:lnTo>
                        <a:pt x="1052" y="672"/>
                      </a:lnTo>
                      <a:lnTo>
                        <a:pt x="1052" y="0"/>
                      </a:lnTo>
                      <a:lnTo>
                        <a:pt x="0" y="0"/>
                      </a:lnTo>
                      <a:close/>
                      <a:moveTo>
                        <a:pt x="1000" y="620"/>
                      </a:moveTo>
                      <a:lnTo>
                        <a:pt x="54" y="620"/>
                      </a:lnTo>
                      <a:lnTo>
                        <a:pt x="54" y="52"/>
                      </a:lnTo>
                      <a:lnTo>
                        <a:pt x="1000" y="52"/>
                      </a:lnTo>
                      <a:lnTo>
                        <a:pt x="1000" y="62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06" tIns="44802" rIns="89606" bIns="4480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005"/>
                  <a:endParaRPr lang="en-US" sz="1764" dirty="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488" name="Group 487"/>
              <p:cNvGrpSpPr/>
              <p:nvPr/>
            </p:nvGrpSpPr>
            <p:grpSpPr>
              <a:xfrm>
                <a:off x="5997019" y="2049792"/>
                <a:ext cx="356718" cy="195747"/>
                <a:chOff x="8944113" y="4176639"/>
                <a:chExt cx="356718" cy="195747"/>
              </a:xfrm>
            </p:grpSpPr>
            <p:sp>
              <p:nvSpPr>
                <p:cNvPr id="489" name="Rounded Rectangle 488"/>
                <p:cNvSpPr/>
                <p:nvPr/>
              </p:nvSpPr>
              <p:spPr>
                <a:xfrm>
                  <a:off x="9017000" y="4184267"/>
                  <a:ext cx="205712" cy="167918"/>
                </a:xfrm>
                <a:prstGeom prst="roundRect">
                  <a:avLst/>
                </a:prstGeom>
                <a:solidFill>
                  <a:srgbClr val="C0202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500" dirty="0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490" name="TextBox 489"/>
                <p:cNvSpPr txBox="1"/>
                <p:nvPr/>
              </p:nvSpPr>
              <p:spPr>
                <a:xfrm>
                  <a:off x="8944113" y="4176639"/>
                  <a:ext cx="356718" cy="19574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300" dirty="0" err="1" smtClean="0">
                      <a:solidFill>
                        <a:schemeClr val="bg1"/>
                      </a:solidFill>
                      <a:latin typeface="Segoe UI Semibold" panose="020B0702040204020203" pitchFamily="34" charset="0"/>
                      <a:cs typeface="Segoe UI Semibold" panose="020B0702040204020203" pitchFamily="34" charset="0"/>
                    </a:rPr>
                    <a:t>InM</a:t>
                  </a:r>
                  <a:endParaRPr lang="en-US" sz="300" dirty="0">
                    <a:solidFill>
                      <a:schemeClr val="bg1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endParaRPr>
                </a:p>
              </p:txBody>
            </p:sp>
          </p:grpSp>
        </p:grpSp>
      </p:grpSp>
      <p:sp>
        <p:nvSpPr>
          <p:cNvPr id="512" name="TextBox 511"/>
          <p:cNvSpPr txBox="1"/>
          <p:nvPr/>
        </p:nvSpPr>
        <p:spPr>
          <a:xfrm>
            <a:off x="2620566" y="153093"/>
            <a:ext cx="308201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QL Server 2005 </a:t>
            </a:r>
          </a:p>
          <a:p>
            <a:r>
              <a:rPr lang="en-US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nd Windows Server 2003</a:t>
            </a:r>
          </a:p>
          <a:p>
            <a:r>
              <a:rPr lang="en-US" sz="2400" b="1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ND OF SUPPORT</a:t>
            </a:r>
            <a:endParaRPr lang="en-US" sz="24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522" name="Group 521"/>
          <p:cNvGrpSpPr/>
          <p:nvPr/>
        </p:nvGrpSpPr>
        <p:grpSpPr>
          <a:xfrm>
            <a:off x="571208" y="-365089"/>
            <a:ext cx="5028650" cy="1914785"/>
            <a:chOff x="543850" y="644"/>
            <a:chExt cx="5028650" cy="1914785"/>
          </a:xfrm>
        </p:grpSpPr>
        <p:grpSp>
          <p:nvGrpSpPr>
            <p:cNvPr id="523" name="Group 522"/>
            <p:cNvGrpSpPr/>
            <p:nvPr/>
          </p:nvGrpSpPr>
          <p:grpSpPr>
            <a:xfrm>
              <a:off x="543850" y="644"/>
              <a:ext cx="5028650" cy="1914784"/>
              <a:chOff x="6136320" y="3851499"/>
              <a:chExt cx="5028650" cy="1914784"/>
            </a:xfrm>
          </p:grpSpPr>
          <p:sp>
            <p:nvSpPr>
              <p:cNvPr id="525" name="Rectangle 524"/>
              <p:cNvSpPr/>
              <p:nvPr/>
            </p:nvSpPr>
            <p:spPr>
              <a:xfrm>
                <a:off x="6648594" y="3851499"/>
                <a:ext cx="4516376" cy="1914783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526" name="Picture 525"/>
              <p:cNvPicPr>
                <a:picLocks noChangeAspect="1"/>
              </p:cNvPicPr>
              <p:nvPr/>
            </p:nvPicPr>
            <p:blipFill rotWithShape="1">
              <a:blip r:embed="rId4" cstate="print"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2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32785"/>
              <a:stretch/>
            </p:blipFill>
            <p:spPr>
              <a:xfrm>
                <a:off x="6136320" y="3851501"/>
                <a:ext cx="4274378" cy="1914782"/>
              </a:xfrm>
              <a:prstGeom prst="rect">
                <a:avLst/>
              </a:prstGeom>
            </p:spPr>
          </p:pic>
        </p:grpSp>
        <p:sp>
          <p:nvSpPr>
            <p:cNvPr id="524" name="Rectangle 523"/>
            <p:cNvSpPr/>
            <p:nvPr/>
          </p:nvSpPr>
          <p:spPr>
            <a:xfrm>
              <a:off x="1690396" y="647"/>
              <a:ext cx="3156932" cy="1914782"/>
            </a:xfrm>
            <a:prstGeom prst="rect">
              <a:avLst/>
            </a:prstGeom>
            <a:gradFill>
              <a:gsLst>
                <a:gs pos="0">
                  <a:schemeClr val="tx1"/>
                </a:gs>
                <a:gs pos="55000">
                  <a:srgbClr val="1C1C1C">
                    <a:alpha val="60000"/>
                  </a:srgbClr>
                </a:gs>
                <a:gs pos="20000">
                  <a:srgbClr val="080808"/>
                </a:gs>
                <a:gs pos="100000">
                  <a:schemeClr val="bg1">
                    <a:alpha val="0"/>
                  </a:schemeClr>
                </a:gs>
              </a:gsLst>
              <a:lin ang="108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527" name="TextBox 526"/>
          <p:cNvSpPr txBox="1"/>
          <p:nvPr/>
        </p:nvSpPr>
        <p:spPr>
          <a:xfrm>
            <a:off x="2713908" y="202534"/>
            <a:ext cx="327005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QL Server 2005</a:t>
            </a:r>
          </a:p>
          <a:p>
            <a:r>
              <a:rPr 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</a:t>
            </a:r>
            <a:r>
              <a:rPr lang="en-US" sz="1600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d Windows Server 2003</a:t>
            </a:r>
          </a:p>
          <a:p>
            <a:r>
              <a:rPr lang="en-US" sz="2400" b="1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ND OF SUPPORT</a:t>
            </a:r>
            <a:endParaRPr lang="en-US" sz="24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29" name="Rectangle 528"/>
          <p:cNvSpPr/>
          <p:nvPr/>
        </p:nvSpPr>
        <p:spPr>
          <a:xfrm>
            <a:off x="8038372" y="2817508"/>
            <a:ext cx="723900" cy="541020"/>
          </a:xfrm>
          <a:prstGeom prst="rect">
            <a:avLst/>
          </a:prstGeom>
          <a:solidFill>
            <a:srgbClr val="CDD7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44033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/>
        </p:nvGrpSpPr>
        <p:grpSpPr>
          <a:xfrm>
            <a:off x="572389" y="506723"/>
            <a:ext cx="5715000" cy="859536"/>
            <a:chOff x="1255236" y="419818"/>
            <a:chExt cx="7620000" cy="1161595"/>
          </a:xfrm>
        </p:grpSpPr>
        <p:sp>
          <p:nvSpPr>
            <p:cNvPr id="6" name="Rectangle 5"/>
            <p:cNvSpPr/>
            <p:nvPr/>
          </p:nvSpPr>
          <p:spPr>
            <a:xfrm>
              <a:off x="1255236" y="419818"/>
              <a:ext cx="7620000" cy="116159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7" name="Picture 6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2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44459"/>
            <a:stretch/>
          </p:blipFill>
          <p:spPr>
            <a:xfrm>
              <a:off x="1255236" y="426375"/>
              <a:ext cx="3120341" cy="1155038"/>
            </a:xfrm>
            <a:prstGeom prst="rect">
              <a:avLst/>
            </a:prstGeom>
          </p:spPr>
        </p:pic>
        <p:sp>
          <p:nvSpPr>
            <p:cNvPr id="8" name="Rectangle 7"/>
            <p:cNvSpPr/>
            <p:nvPr/>
          </p:nvSpPr>
          <p:spPr>
            <a:xfrm>
              <a:off x="2873598" y="419818"/>
              <a:ext cx="4343863" cy="1155039"/>
            </a:xfrm>
            <a:prstGeom prst="rect">
              <a:avLst/>
            </a:prstGeom>
            <a:gradFill>
              <a:gsLst>
                <a:gs pos="0">
                  <a:schemeClr val="tx1"/>
                </a:gs>
                <a:gs pos="55000">
                  <a:srgbClr val="1C1C1C">
                    <a:alpha val="60000"/>
                  </a:srgbClr>
                </a:gs>
                <a:gs pos="20000">
                  <a:srgbClr val="080808"/>
                </a:gs>
                <a:gs pos="100000">
                  <a:schemeClr val="bg1">
                    <a:alpha val="0"/>
                  </a:schemeClr>
                </a:gs>
              </a:gsLst>
              <a:lin ang="108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2" name="Rectangle 11"/>
          <p:cNvSpPr/>
          <p:nvPr/>
        </p:nvSpPr>
        <p:spPr>
          <a:xfrm flipH="1">
            <a:off x="1217074" y="2798917"/>
            <a:ext cx="5715000" cy="23812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636" b="20144"/>
          <a:stretch/>
        </p:blipFill>
        <p:spPr>
          <a:xfrm>
            <a:off x="3156815" y="2798917"/>
            <a:ext cx="3775256" cy="238125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 flipH="1">
            <a:off x="2990908" y="2798917"/>
            <a:ext cx="2657732" cy="2381250"/>
          </a:xfrm>
          <a:prstGeom prst="rect">
            <a:avLst/>
          </a:prstGeom>
          <a:gradFill>
            <a:gsLst>
              <a:gs pos="0">
                <a:schemeClr val="tx1"/>
              </a:gs>
              <a:gs pos="55000">
                <a:srgbClr val="1C1C1C">
                  <a:alpha val="60000"/>
                </a:srgbClr>
              </a:gs>
              <a:gs pos="20000">
                <a:srgbClr val="080808"/>
              </a:gs>
              <a:gs pos="100000">
                <a:schemeClr val="bg1">
                  <a:alpha val="0"/>
                </a:schemeClr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2723063" y="618594"/>
            <a:ext cx="3193422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QL Server 2005 and Windows Server 2003</a:t>
            </a:r>
          </a:p>
          <a:p>
            <a:pPr>
              <a:spcAft>
                <a:spcPts val="600"/>
              </a:spcAft>
            </a:pPr>
            <a:r>
              <a:rPr lang="en-US" b="1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ND OF SUPPORT</a:t>
            </a:r>
            <a:endParaRPr lang="en-US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43" name="Group 42"/>
          <p:cNvGrpSpPr/>
          <p:nvPr/>
        </p:nvGrpSpPr>
        <p:grpSpPr>
          <a:xfrm>
            <a:off x="8108121" y="2312429"/>
            <a:ext cx="1714500" cy="1428750"/>
            <a:chOff x="2463275" y="4931597"/>
            <a:chExt cx="1715126" cy="1428748"/>
          </a:xfrm>
        </p:grpSpPr>
        <p:pic>
          <p:nvPicPr>
            <p:cNvPr id="16" name="Picture 15"/>
            <p:cNvPicPr>
              <a:picLocks noChangeAspect="1"/>
            </p:cNvPicPr>
            <p:nvPr/>
          </p:nvPicPr>
          <p:blipFill rotWithShape="1"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aturation sat="2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935" t="28475" r="44776" b="24283"/>
            <a:stretch/>
          </p:blipFill>
          <p:spPr>
            <a:xfrm>
              <a:off x="2463278" y="4943268"/>
              <a:ext cx="1715123" cy="1409700"/>
            </a:xfrm>
            <a:prstGeom prst="rect">
              <a:avLst/>
            </a:prstGeom>
          </p:spPr>
        </p:pic>
        <p:sp>
          <p:nvSpPr>
            <p:cNvPr id="36" name="Rectangle 35"/>
            <p:cNvSpPr/>
            <p:nvPr/>
          </p:nvSpPr>
          <p:spPr>
            <a:xfrm flipH="1">
              <a:off x="2463275" y="4931597"/>
              <a:ext cx="1714498" cy="1428748"/>
            </a:xfrm>
            <a:prstGeom prst="rect">
              <a:avLst/>
            </a:prstGeom>
            <a:gradFill>
              <a:gsLst>
                <a:gs pos="0">
                  <a:schemeClr val="tx1"/>
                </a:gs>
                <a:gs pos="70000">
                  <a:srgbClr val="1C1C1C">
                    <a:alpha val="60000"/>
                  </a:srgbClr>
                </a:gs>
                <a:gs pos="25000">
                  <a:srgbClr val="080808">
                    <a:alpha val="75000"/>
                  </a:srgbClr>
                </a:gs>
                <a:gs pos="100000">
                  <a:schemeClr val="bg1">
                    <a:alpha val="0"/>
                  </a:schemeClr>
                </a:gs>
              </a:gsLst>
              <a:lin ang="108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Rectangle 34"/>
            <p:cNvSpPr/>
            <p:nvPr/>
          </p:nvSpPr>
          <p:spPr>
            <a:xfrm>
              <a:off x="2488122" y="5014257"/>
              <a:ext cx="1572282" cy="93871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05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QL Server 2005 and Windows Server 2003</a:t>
              </a:r>
            </a:p>
            <a:p>
              <a:pPr>
                <a:spcAft>
                  <a:spcPts val="600"/>
                </a:spcAft>
              </a:pPr>
              <a:r>
                <a:rPr lang="en-US" sz="14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ND OF SUPPORT</a:t>
              </a:r>
              <a:endParaRPr lang="en-US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39" name="Group 38"/>
            <p:cNvGrpSpPr/>
            <p:nvPr/>
          </p:nvGrpSpPr>
          <p:grpSpPr>
            <a:xfrm>
              <a:off x="2821916" y="5965783"/>
              <a:ext cx="1247180" cy="265501"/>
              <a:chOff x="1196436" y="4636050"/>
              <a:chExt cx="1247180" cy="265501"/>
            </a:xfrm>
          </p:grpSpPr>
          <p:sp>
            <p:nvSpPr>
              <p:cNvPr id="37" name="Rectangle 36"/>
              <p:cNvSpPr/>
              <p:nvPr/>
            </p:nvSpPr>
            <p:spPr>
              <a:xfrm>
                <a:off x="1196436" y="4636050"/>
                <a:ext cx="1247180" cy="265501"/>
              </a:xfrm>
              <a:prstGeom prst="rect">
                <a:avLst/>
              </a:prstGeom>
              <a:solidFill>
                <a:srgbClr val="AA121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sz="1000" dirty="0" smtClean="0">
                    <a:latin typeface="Segoe UI" panose="020B0502040204020203" pitchFamily="34" charset="0"/>
                    <a:cs typeface="Segoe UI" panose="020B0502040204020203" pitchFamily="34" charset="0"/>
                  </a:rPr>
                  <a:t>Get the details</a:t>
                </a:r>
                <a:endParaRPr lang="en-US" sz="1000" dirty="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8" name="Freeform 9"/>
              <p:cNvSpPr>
                <a:spLocks noEditPoints="1"/>
              </p:cNvSpPr>
              <p:nvPr/>
            </p:nvSpPr>
            <p:spPr bwMode="black">
              <a:xfrm>
                <a:off x="2172371" y="4673148"/>
                <a:ext cx="190529" cy="191304"/>
              </a:xfrm>
              <a:custGeom>
                <a:avLst/>
                <a:gdLst>
                  <a:gd name="T0" fmla="*/ 88 w 149"/>
                  <a:gd name="T1" fmla="*/ 67 h 149"/>
                  <a:gd name="T2" fmla="*/ 65 w 149"/>
                  <a:gd name="T3" fmla="*/ 46 h 149"/>
                  <a:gd name="T4" fmla="*/ 84 w 149"/>
                  <a:gd name="T5" fmla="*/ 46 h 149"/>
                  <a:gd name="T6" fmla="*/ 115 w 149"/>
                  <a:gd name="T7" fmla="*/ 75 h 149"/>
                  <a:gd name="T8" fmla="*/ 84 w 149"/>
                  <a:gd name="T9" fmla="*/ 104 h 149"/>
                  <a:gd name="T10" fmla="*/ 65 w 149"/>
                  <a:gd name="T11" fmla="*/ 104 h 149"/>
                  <a:gd name="T12" fmla="*/ 88 w 149"/>
                  <a:gd name="T13" fmla="*/ 82 h 149"/>
                  <a:gd name="T14" fmla="*/ 36 w 149"/>
                  <a:gd name="T15" fmla="*/ 82 h 149"/>
                  <a:gd name="T16" fmla="*/ 36 w 149"/>
                  <a:gd name="T17" fmla="*/ 67 h 149"/>
                  <a:gd name="T18" fmla="*/ 88 w 149"/>
                  <a:gd name="T19" fmla="*/ 67 h 149"/>
                  <a:gd name="T20" fmla="*/ 74 w 149"/>
                  <a:gd name="T21" fmla="*/ 9 h 149"/>
                  <a:gd name="T22" fmla="*/ 140 w 149"/>
                  <a:gd name="T23" fmla="*/ 75 h 149"/>
                  <a:gd name="T24" fmla="*/ 74 w 149"/>
                  <a:gd name="T25" fmla="*/ 140 h 149"/>
                  <a:gd name="T26" fmla="*/ 9 w 149"/>
                  <a:gd name="T27" fmla="*/ 75 h 149"/>
                  <a:gd name="T28" fmla="*/ 74 w 149"/>
                  <a:gd name="T29" fmla="*/ 9 h 149"/>
                  <a:gd name="T30" fmla="*/ 74 w 149"/>
                  <a:gd name="T31" fmla="*/ 0 h 149"/>
                  <a:gd name="T32" fmla="*/ 0 w 149"/>
                  <a:gd name="T33" fmla="*/ 75 h 149"/>
                  <a:gd name="T34" fmla="*/ 74 w 149"/>
                  <a:gd name="T35" fmla="*/ 149 h 149"/>
                  <a:gd name="T36" fmla="*/ 149 w 149"/>
                  <a:gd name="T37" fmla="*/ 75 h 149"/>
                  <a:gd name="T38" fmla="*/ 74 w 149"/>
                  <a:gd name="T39" fmla="*/ 0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49" h="149">
                    <a:moveTo>
                      <a:pt x="88" y="67"/>
                    </a:moveTo>
                    <a:cubicBezTo>
                      <a:pt x="65" y="46"/>
                      <a:pt x="65" y="46"/>
                      <a:pt x="65" y="46"/>
                    </a:cubicBezTo>
                    <a:cubicBezTo>
                      <a:pt x="84" y="46"/>
                      <a:pt x="84" y="46"/>
                      <a:pt x="84" y="46"/>
                    </a:cubicBezTo>
                    <a:cubicBezTo>
                      <a:pt x="115" y="75"/>
                      <a:pt x="115" y="75"/>
                      <a:pt x="115" y="75"/>
                    </a:cubicBezTo>
                    <a:cubicBezTo>
                      <a:pt x="84" y="104"/>
                      <a:pt x="84" y="104"/>
                      <a:pt x="84" y="104"/>
                    </a:cubicBezTo>
                    <a:cubicBezTo>
                      <a:pt x="65" y="104"/>
                      <a:pt x="65" y="104"/>
                      <a:pt x="65" y="104"/>
                    </a:cubicBezTo>
                    <a:cubicBezTo>
                      <a:pt x="88" y="82"/>
                      <a:pt x="88" y="82"/>
                      <a:pt x="88" y="82"/>
                    </a:cubicBezTo>
                    <a:cubicBezTo>
                      <a:pt x="36" y="82"/>
                      <a:pt x="36" y="82"/>
                      <a:pt x="36" y="82"/>
                    </a:cubicBezTo>
                    <a:cubicBezTo>
                      <a:pt x="36" y="67"/>
                      <a:pt x="36" y="67"/>
                      <a:pt x="36" y="67"/>
                    </a:cubicBezTo>
                    <a:lnTo>
                      <a:pt x="88" y="67"/>
                    </a:lnTo>
                    <a:close/>
                    <a:moveTo>
                      <a:pt x="74" y="9"/>
                    </a:moveTo>
                    <a:cubicBezTo>
                      <a:pt x="110" y="9"/>
                      <a:pt x="140" y="39"/>
                      <a:pt x="140" y="75"/>
                    </a:cubicBezTo>
                    <a:cubicBezTo>
                      <a:pt x="140" y="111"/>
                      <a:pt x="110" y="140"/>
                      <a:pt x="74" y="140"/>
                    </a:cubicBezTo>
                    <a:cubicBezTo>
                      <a:pt x="38" y="140"/>
                      <a:pt x="9" y="111"/>
                      <a:pt x="9" y="75"/>
                    </a:cubicBezTo>
                    <a:cubicBezTo>
                      <a:pt x="9" y="39"/>
                      <a:pt x="38" y="9"/>
                      <a:pt x="74" y="9"/>
                    </a:cubicBezTo>
                    <a:moveTo>
                      <a:pt x="74" y="0"/>
                    </a:moveTo>
                    <a:cubicBezTo>
                      <a:pt x="33" y="0"/>
                      <a:pt x="0" y="33"/>
                      <a:pt x="0" y="75"/>
                    </a:cubicBezTo>
                    <a:cubicBezTo>
                      <a:pt x="0" y="116"/>
                      <a:pt x="33" y="149"/>
                      <a:pt x="74" y="149"/>
                    </a:cubicBezTo>
                    <a:cubicBezTo>
                      <a:pt x="116" y="149"/>
                      <a:pt x="149" y="116"/>
                      <a:pt x="149" y="75"/>
                    </a:cubicBezTo>
                    <a:cubicBezTo>
                      <a:pt x="149" y="33"/>
                      <a:pt x="116" y="0"/>
                      <a:pt x="74" y="0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8" tIns="34293" rIns="68588" bIns="3429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24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0" name="Rectangle 49"/>
          <p:cNvSpPr/>
          <p:nvPr/>
        </p:nvSpPr>
        <p:spPr>
          <a:xfrm>
            <a:off x="4876798" y="924163"/>
            <a:ext cx="1246725" cy="265501"/>
          </a:xfrm>
          <a:prstGeom prst="rect">
            <a:avLst/>
          </a:prstGeom>
          <a:solidFill>
            <a:srgbClr val="AA1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dirty="0" smtClean="0">
                <a:latin typeface="Segoe UI" panose="020B0502040204020203" pitchFamily="34" charset="0"/>
                <a:cs typeface="Segoe UI" panose="020B0502040204020203" pitchFamily="34" charset="0"/>
              </a:rPr>
              <a:t>Get the details</a:t>
            </a:r>
            <a:endParaRPr lang="en-US" sz="10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1" name="Freeform 9"/>
          <p:cNvSpPr>
            <a:spLocks noEditPoints="1"/>
          </p:cNvSpPr>
          <p:nvPr/>
        </p:nvSpPr>
        <p:spPr bwMode="black">
          <a:xfrm>
            <a:off x="5852377" y="961261"/>
            <a:ext cx="190459" cy="191304"/>
          </a:xfrm>
          <a:custGeom>
            <a:avLst/>
            <a:gdLst>
              <a:gd name="T0" fmla="*/ 88 w 149"/>
              <a:gd name="T1" fmla="*/ 67 h 149"/>
              <a:gd name="T2" fmla="*/ 65 w 149"/>
              <a:gd name="T3" fmla="*/ 46 h 149"/>
              <a:gd name="T4" fmla="*/ 84 w 149"/>
              <a:gd name="T5" fmla="*/ 46 h 149"/>
              <a:gd name="T6" fmla="*/ 115 w 149"/>
              <a:gd name="T7" fmla="*/ 75 h 149"/>
              <a:gd name="T8" fmla="*/ 84 w 149"/>
              <a:gd name="T9" fmla="*/ 104 h 149"/>
              <a:gd name="T10" fmla="*/ 65 w 149"/>
              <a:gd name="T11" fmla="*/ 104 h 149"/>
              <a:gd name="T12" fmla="*/ 88 w 149"/>
              <a:gd name="T13" fmla="*/ 82 h 149"/>
              <a:gd name="T14" fmla="*/ 36 w 149"/>
              <a:gd name="T15" fmla="*/ 82 h 149"/>
              <a:gd name="T16" fmla="*/ 36 w 149"/>
              <a:gd name="T17" fmla="*/ 67 h 149"/>
              <a:gd name="T18" fmla="*/ 88 w 149"/>
              <a:gd name="T19" fmla="*/ 67 h 149"/>
              <a:gd name="T20" fmla="*/ 74 w 149"/>
              <a:gd name="T21" fmla="*/ 9 h 149"/>
              <a:gd name="T22" fmla="*/ 140 w 149"/>
              <a:gd name="T23" fmla="*/ 75 h 149"/>
              <a:gd name="T24" fmla="*/ 74 w 149"/>
              <a:gd name="T25" fmla="*/ 140 h 149"/>
              <a:gd name="T26" fmla="*/ 9 w 149"/>
              <a:gd name="T27" fmla="*/ 75 h 149"/>
              <a:gd name="T28" fmla="*/ 74 w 149"/>
              <a:gd name="T29" fmla="*/ 9 h 149"/>
              <a:gd name="T30" fmla="*/ 74 w 149"/>
              <a:gd name="T31" fmla="*/ 0 h 149"/>
              <a:gd name="T32" fmla="*/ 0 w 149"/>
              <a:gd name="T33" fmla="*/ 75 h 149"/>
              <a:gd name="T34" fmla="*/ 74 w 149"/>
              <a:gd name="T35" fmla="*/ 149 h 149"/>
              <a:gd name="T36" fmla="*/ 149 w 149"/>
              <a:gd name="T37" fmla="*/ 75 h 149"/>
              <a:gd name="T38" fmla="*/ 74 w 149"/>
              <a:gd name="T39" fmla="*/ 0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49" h="149">
                <a:moveTo>
                  <a:pt x="88" y="67"/>
                </a:moveTo>
                <a:cubicBezTo>
                  <a:pt x="65" y="46"/>
                  <a:pt x="65" y="46"/>
                  <a:pt x="65" y="46"/>
                </a:cubicBezTo>
                <a:cubicBezTo>
                  <a:pt x="84" y="46"/>
                  <a:pt x="84" y="46"/>
                  <a:pt x="84" y="46"/>
                </a:cubicBezTo>
                <a:cubicBezTo>
                  <a:pt x="115" y="75"/>
                  <a:pt x="115" y="75"/>
                  <a:pt x="115" y="75"/>
                </a:cubicBezTo>
                <a:cubicBezTo>
                  <a:pt x="84" y="104"/>
                  <a:pt x="84" y="104"/>
                  <a:pt x="84" y="104"/>
                </a:cubicBezTo>
                <a:cubicBezTo>
                  <a:pt x="65" y="104"/>
                  <a:pt x="65" y="104"/>
                  <a:pt x="65" y="104"/>
                </a:cubicBezTo>
                <a:cubicBezTo>
                  <a:pt x="88" y="82"/>
                  <a:pt x="88" y="82"/>
                  <a:pt x="88" y="82"/>
                </a:cubicBezTo>
                <a:cubicBezTo>
                  <a:pt x="36" y="82"/>
                  <a:pt x="36" y="82"/>
                  <a:pt x="36" y="82"/>
                </a:cubicBezTo>
                <a:cubicBezTo>
                  <a:pt x="36" y="67"/>
                  <a:pt x="36" y="67"/>
                  <a:pt x="36" y="67"/>
                </a:cubicBezTo>
                <a:lnTo>
                  <a:pt x="88" y="67"/>
                </a:lnTo>
                <a:close/>
                <a:moveTo>
                  <a:pt x="74" y="9"/>
                </a:moveTo>
                <a:cubicBezTo>
                  <a:pt x="110" y="9"/>
                  <a:pt x="140" y="39"/>
                  <a:pt x="140" y="75"/>
                </a:cubicBezTo>
                <a:cubicBezTo>
                  <a:pt x="140" y="111"/>
                  <a:pt x="110" y="140"/>
                  <a:pt x="74" y="140"/>
                </a:cubicBezTo>
                <a:cubicBezTo>
                  <a:pt x="38" y="140"/>
                  <a:pt x="9" y="111"/>
                  <a:pt x="9" y="75"/>
                </a:cubicBezTo>
                <a:cubicBezTo>
                  <a:pt x="9" y="39"/>
                  <a:pt x="38" y="9"/>
                  <a:pt x="74" y="9"/>
                </a:cubicBezTo>
                <a:moveTo>
                  <a:pt x="74" y="0"/>
                </a:moveTo>
                <a:cubicBezTo>
                  <a:pt x="33" y="0"/>
                  <a:pt x="0" y="33"/>
                  <a:pt x="0" y="75"/>
                </a:cubicBezTo>
                <a:cubicBezTo>
                  <a:pt x="0" y="116"/>
                  <a:pt x="33" y="149"/>
                  <a:pt x="74" y="149"/>
                </a:cubicBezTo>
                <a:cubicBezTo>
                  <a:pt x="116" y="149"/>
                  <a:pt x="149" y="116"/>
                  <a:pt x="149" y="75"/>
                </a:cubicBezTo>
                <a:cubicBezTo>
                  <a:pt x="149" y="33"/>
                  <a:pt x="116" y="0"/>
                  <a:pt x="74" y="0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  <p:grpSp>
        <p:nvGrpSpPr>
          <p:cNvPr id="54" name="Group 53"/>
          <p:cNvGrpSpPr/>
          <p:nvPr/>
        </p:nvGrpSpPr>
        <p:grpSpPr>
          <a:xfrm>
            <a:off x="1424053" y="3175399"/>
            <a:ext cx="3452745" cy="1642363"/>
            <a:chOff x="1424053" y="3118249"/>
            <a:chExt cx="3452745" cy="1642363"/>
          </a:xfrm>
        </p:grpSpPr>
        <p:sp>
          <p:nvSpPr>
            <p:cNvPr id="15" name="TextBox 14"/>
            <p:cNvSpPr txBox="1"/>
            <p:nvPr/>
          </p:nvSpPr>
          <p:spPr>
            <a:xfrm>
              <a:off x="1424053" y="3118249"/>
              <a:ext cx="3452745" cy="123110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en-US" dirty="0" smtClean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QL Server 2005</a:t>
              </a:r>
            </a:p>
            <a:p>
              <a:pPr>
                <a:spcBef>
                  <a:spcPts val="600"/>
                </a:spcBef>
              </a:pPr>
              <a:r>
                <a:rPr lang="en-US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</a:t>
              </a:r>
              <a:r>
                <a:rPr lang="en-US" dirty="0" smtClean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nd Windows Server 2003</a:t>
              </a:r>
            </a:p>
            <a:p>
              <a:pPr>
                <a:spcBef>
                  <a:spcPts val="600"/>
                </a:spcBef>
              </a:pPr>
              <a:r>
                <a:rPr lang="en-US" sz="2800" b="1" dirty="0" smtClean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ND OF SUPPORT</a:t>
              </a:r>
              <a:endParaRPr lang="en-US" sz="12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2" name="Rectangle 51"/>
            <p:cNvSpPr/>
            <p:nvPr/>
          </p:nvSpPr>
          <p:spPr>
            <a:xfrm>
              <a:off x="3250156" y="4495111"/>
              <a:ext cx="1246725" cy="265501"/>
            </a:xfrm>
            <a:prstGeom prst="rect">
              <a:avLst/>
            </a:prstGeom>
            <a:solidFill>
              <a:srgbClr val="AA121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000" dirty="0" smtClean="0">
                  <a:latin typeface="Segoe UI" panose="020B0502040204020203" pitchFamily="34" charset="0"/>
                  <a:cs typeface="Segoe UI" panose="020B0502040204020203" pitchFamily="34" charset="0"/>
                </a:rPr>
                <a:t>Get the details</a:t>
              </a:r>
              <a:endParaRPr lang="en-US" sz="10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3" name="Freeform 9"/>
            <p:cNvSpPr>
              <a:spLocks noEditPoints="1"/>
            </p:cNvSpPr>
            <p:nvPr/>
          </p:nvSpPr>
          <p:spPr bwMode="black">
            <a:xfrm>
              <a:off x="4225735" y="4532209"/>
              <a:ext cx="190459" cy="191304"/>
            </a:xfrm>
            <a:custGeom>
              <a:avLst/>
              <a:gdLst>
                <a:gd name="T0" fmla="*/ 88 w 149"/>
                <a:gd name="T1" fmla="*/ 67 h 149"/>
                <a:gd name="T2" fmla="*/ 65 w 149"/>
                <a:gd name="T3" fmla="*/ 46 h 149"/>
                <a:gd name="T4" fmla="*/ 84 w 149"/>
                <a:gd name="T5" fmla="*/ 46 h 149"/>
                <a:gd name="T6" fmla="*/ 115 w 149"/>
                <a:gd name="T7" fmla="*/ 75 h 149"/>
                <a:gd name="T8" fmla="*/ 84 w 149"/>
                <a:gd name="T9" fmla="*/ 104 h 149"/>
                <a:gd name="T10" fmla="*/ 65 w 149"/>
                <a:gd name="T11" fmla="*/ 104 h 149"/>
                <a:gd name="T12" fmla="*/ 88 w 149"/>
                <a:gd name="T13" fmla="*/ 82 h 149"/>
                <a:gd name="T14" fmla="*/ 36 w 149"/>
                <a:gd name="T15" fmla="*/ 82 h 149"/>
                <a:gd name="T16" fmla="*/ 36 w 149"/>
                <a:gd name="T17" fmla="*/ 67 h 149"/>
                <a:gd name="T18" fmla="*/ 88 w 149"/>
                <a:gd name="T19" fmla="*/ 67 h 149"/>
                <a:gd name="T20" fmla="*/ 74 w 149"/>
                <a:gd name="T21" fmla="*/ 9 h 149"/>
                <a:gd name="T22" fmla="*/ 140 w 149"/>
                <a:gd name="T23" fmla="*/ 75 h 149"/>
                <a:gd name="T24" fmla="*/ 74 w 149"/>
                <a:gd name="T25" fmla="*/ 140 h 149"/>
                <a:gd name="T26" fmla="*/ 9 w 149"/>
                <a:gd name="T27" fmla="*/ 75 h 149"/>
                <a:gd name="T28" fmla="*/ 74 w 149"/>
                <a:gd name="T29" fmla="*/ 9 h 149"/>
                <a:gd name="T30" fmla="*/ 74 w 149"/>
                <a:gd name="T31" fmla="*/ 0 h 149"/>
                <a:gd name="T32" fmla="*/ 0 w 149"/>
                <a:gd name="T33" fmla="*/ 75 h 149"/>
                <a:gd name="T34" fmla="*/ 74 w 149"/>
                <a:gd name="T35" fmla="*/ 149 h 149"/>
                <a:gd name="T36" fmla="*/ 149 w 149"/>
                <a:gd name="T37" fmla="*/ 75 h 149"/>
                <a:gd name="T38" fmla="*/ 74 w 149"/>
                <a:gd name="T3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9" h="149">
                  <a:moveTo>
                    <a:pt x="88" y="67"/>
                  </a:moveTo>
                  <a:cubicBezTo>
                    <a:pt x="65" y="46"/>
                    <a:pt x="65" y="46"/>
                    <a:pt x="65" y="46"/>
                  </a:cubicBezTo>
                  <a:cubicBezTo>
                    <a:pt x="84" y="46"/>
                    <a:pt x="84" y="46"/>
                    <a:pt x="84" y="46"/>
                  </a:cubicBezTo>
                  <a:cubicBezTo>
                    <a:pt x="115" y="75"/>
                    <a:pt x="115" y="75"/>
                    <a:pt x="115" y="75"/>
                  </a:cubicBezTo>
                  <a:cubicBezTo>
                    <a:pt x="84" y="104"/>
                    <a:pt x="84" y="104"/>
                    <a:pt x="84" y="104"/>
                  </a:cubicBezTo>
                  <a:cubicBezTo>
                    <a:pt x="65" y="104"/>
                    <a:pt x="65" y="104"/>
                    <a:pt x="65" y="104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6" y="67"/>
                    <a:pt x="36" y="67"/>
                    <a:pt x="36" y="67"/>
                  </a:cubicBezTo>
                  <a:lnTo>
                    <a:pt x="88" y="67"/>
                  </a:lnTo>
                  <a:close/>
                  <a:moveTo>
                    <a:pt x="74" y="9"/>
                  </a:moveTo>
                  <a:cubicBezTo>
                    <a:pt x="110" y="9"/>
                    <a:pt x="140" y="39"/>
                    <a:pt x="140" y="75"/>
                  </a:cubicBezTo>
                  <a:cubicBezTo>
                    <a:pt x="140" y="111"/>
                    <a:pt x="110" y="140"/>
                    <a:pt x="74" y="140"/>
                  </a:cubicBezTo>
                  <a:cubicBezTo>
                    <a:pt x="38" y="140"/>
                    <a:pt x="9" y="111"/>
                    <a:pt x="9" y="75"/>
                  </a:cubicBezTo>
                  <a:cubicBezTo>
                    <a:pt x="9" y="39"/>
                    <a:pt x="38" y="9"/>
                    <a:pt x="74" y="9"/>
                  </a:cubicBezTo>
                  <a:moveTo>
                    <a:pt x="74" y="0"/>
                  </a:moveTo>
                  <a:cubicBezTo>
                    <a:pt x="33" y="0"/>
                    <a:pt x="0" y="33"/>
                    <a:pt x="0" y="75"/>
                  </a:cubicBezTo>
                  <a:cubicBezTo>
                    <a:pt x="0" y="116"/>
                    <a:pt x="33" y="149"/>
                    <a:pt x="74" y="149"/>
                  </a:cubicBezTo>
                  <a:cubicBezTo>
                    <a:pt x="116" y="149"/>
                    <a:pt x="149" y="116"/>
                    <a:pt x="149" y="75"/>
                  </a:cubicBezTo>
                  <a:cubicBezTo>
                    <a:pt x="149" y="33"/>
                    <a:pt x="116" y="0"/>
                    <a:pt x="74" y="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8" tIns="34293" rIns="68588" bIns="34293" numCol="1" anchor="t" anchorCtr="0" compatLnSpc="1">
              <a:prstTxWarp prst="textNoShape">
                <a:avLst/>
              </a:prstTxWarp>
            </a:bodyPr>
            <a:lstStyle/>
            <a:p>
              <a:endParaRPr lang="en-US" sz="1324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698351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/>
          <p:nvPr/>
        </p:nvGrpSpPr>
        <p:grpSpPr>
          <a:xfrm>
            <a:off x="533342" y="1104918"/>
            <a:ext cx="6762750" cy="1919633"/>
            <a:chOff x="1255236" y="421524"/>
            <a:chExt cx="6762750" cy="1919633"/>
          </a:xfrm>
        </p:grpSpPr>
        <p:sp>
          <p:nvSpPr>
            <p:cNvPr id="8" name="Rectangle 7"/>
            <p:cNvSpPr/>
            <p:nvPr/>
          </p:nvSpPr>
          <p:spPr>
            <a:xfrm>
              <a:off x="1255236" y="426375"/>
              <a:ext cx="6762750" cy="191478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9" name="Picture 8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2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32785"/>
            <a:stretch/>
          </p:blipFill>
          <p:spPr>
            <a:xfrm>
              <a:off x="1255236" y="426375"/>
              <a:ext cx="4274378" cy="1914782"/>
            </a:xfrm>
            <a:prstGeom prst="rect">
              <a:avLst/>
            </a:prstGeom>
          </p:spPr>
        </p:pic>
        <p:sp>
          <p:nvSpPr>
            <p:cNvPr id="7" name="Rectangle 6"/>
            <p:cNvSpPr/>
            <p:nvPr/>
          </p:nvSpPr>
          <p:spPr>
            <a:xfrm>
              <a:off x="2728493" y="421524"/>
              <a:ext cx="3305675" cy="1905000"/>
            </a:xfrm>
            <a:prstGeom prst="rect">
              <a:avLst/>
            </a:prstGeom>
            <a:gradFill>
              <a:gsLst>
                <a:gs pos="0">
                  <a:schemeClr val="tx1"/>
                </a:gs>
                <a:gs pos="55000">
                  <a:srgbClr val="1C1C1C">
                    <a:alpha val="60000"/>
                  </a:srgbClr>
                </a:gs>
                <a:gs pos="20000">
                  <a:srgbClr val="080808"/>
                </a:gs>
                <a:gs pos="100000">
                  <a:schemeClr val="bg1">
                    <a:alpha val="0"/>
                  </a:schemeClr>
                </a:gs>
              </a:gsLst>
              <a:lin ang="108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686689" y="4583423"/>
            <a:ext cx="5715000" cy="859536"/>
            <a:chOff x="1255236" y="419818"/>
            <a:chExt cx="7620000" cy="1161595"/>
          </a:xfrm>
        </p:grpSpPr>
        <p:sp>
          <p:nvSpPr>
            <p:cNvPr id="28" name="Rectangle 27"/>
            <p:cNvSpPr/>
            <p:nvPr/>
          </p:nvSpPr>
          <p:spPr>
            <a:xfrm>
              <a:off x="1255236" y="419818"/>
              <a:ext cx="7620000" cy="116159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29" name="Picture 28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2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44459"/>
            <a:stretch/>
          </p:blipFill>
          <p:spPr>
            <a:xfrm>
              <a:off x="1255236" y="426375"/>
              <a:ext cx="3120341" cy="1155038"/>
            </a:xfrm>
            <a:prstGeom prst="rect">
              <a:avLst/>
            </a:prstGeom>
          </p:spPr>
        </p:pic>
        <p:sp>
          <p:nvSpPr>
            <p:cNvPr id="30" name="Rectangle 29"/>
            <p:cNvSpPr/>
            <p:nvPr/>
          </p:nvSpPr>
          <p:spPr>
            <a:xfrm>
              <a:off x="2873598" y="419818"/>
              <a:ext cx="4343863" cy="1155039"/>
            </a:xfrm>
            <a:prstGeom prst="rect">
              <a:avLst/>
            </a:prstGeom>
            <a:gradFill>
              <a:gsLst>
                <a:gs pos="0">
                  <a:schemeClr val="tx1"/>
                </a:gs>
                <a:gs pos="55000">
                  <a:srgbClr val="1C1C1C">
                    <a:alpha val="60000"/>
                  </a:srgbClr>
                </a:gs>
                <a:gs pos="20000">
                  <a:srgbClr val="080808"/>
                </a:gs>
                <a:gs pos="100000">
                  <a:schemeClr val="bg1">
                    <a:alpha val="0"/>
                  </a:schemeClr>
                </a:gs>
              </a:gsLst>
              <a:lin ang="108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31" name="TextBox 30"/>
          <p:cNvSpPr txBox="1"/>
          <p:nvPr/>
        </p:nvSpPr>
        <p:spPr>
          <a:xfrm>
            <a:off x="2837363" y="4695294"/>
            <a:ext cx="3193422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QL Server 2005 and Windows Server 2003</a:t>
            </a:r>
          </a:p>
          <a:p>
            <a:pPr>
              <a:spcAft>
                <a:spcPts val="600"/>
              </a:spcAft>
            </a:pPr>
            <a:r>
              <a:rPr lang="en-US" b="1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ND OF SUPPORT</a:t>
            </a:r>
            <a:endParaRPr lang="en-US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4991098" y="5000863"/>
            <a:ext cx="1246725" cy="265501"/>
          </a:xfrm>
          <a:prstGeom prst="rect">
            <a:avLst/>
          </a:prstGeom>
          <a:solidFill>
            <a:srgbClr val="AA1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dirty="0" smtClean="0">
                <a:latin typeface="Segoe UI" panose="020B0502040204020203" pitchFamily="34" charset="0"/>
                <a:cs typeface="Segoe UI" panose="020B0502040204020203" pitchFamily="34" charset="0"/>
              </a:rPr>
              <a:t>Get the details</a:t>
            </a:r>
            <a:endParaRPr lang="en-US" sz="10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3" name="Freeform 9"/>
          <p:cNvSpPr>
            <a:spLocks noEditPoints="1"/>
          </p:cNvSpPr>
          <p:nvPr/>
        </p:nvSpPr>
        <p:spPr bwMode="black">
          <a:xfrm>
            <a:off x="5966677" y="5037961"/>
            <a:ext cx="190459" cy="191304"/>
          </a:xfrm>
          <a:custGeom>
            <a:avLst/>
            <a:gdLst>
              <a:gd name="T0" fmla="*/ 88 w 149"/>
              <a:gd name="T1" fmla="*/ 67 h 149"/>
              <a:gd name="T2" fmla="*/ 65 w 149"/>
              <a:gd name="T3" fmla="*/ 46 h 149"/>
              <a:gd name="T4" fmla="*/ 84 w 149"/>
              <a:gd name="T5" fmla="*/ 46 h 149"/>
              <a:gd name="T6" fmla="*/ 115 w 149"/>
              <a:gd name="T7" fmla="*/ 75 h 149"/>
              <a:gd name="T8" fmla="*/ 84 w 149"/>
              <a:gd name="T9" fmla="*/ 104 h 149"/>
              <a:gd name="T10" fmla="*/ 65 w 149"/>
              <a:gd name="T11" fmla="*/ 104 h 149"/>
              <a:gd name="T12" fmla="*/ 88 w 149"/>
              <a:gd name="T13" fmla="*/ 82 h 149"/>
              <a:gd name="T14" fmla="*/ 36 w 149"/>
              <a:gd name="T15" fmla="*/ 82 h 149"/>
              <a:gd name="T16" fmla="*/ 36 w 149"/>
              <a:gd name="T17" fmla="*/ 67 h 149"/>
              <a:gd name="T18" fmla="*/ 88 w 149"/>
              <a:gd name="T19" fmla="*/ 67 h 149"/>
              <a:gd name="T20" fmla="*/ 74 w 149"/>
              <a:gd name="T21" fmla="*/ 9 h 149"/>
              <a:gd name="T22" fmla="*/ 140 w 149"/>
              <a:gd name="T23" fmla="*/ 75 h 149"/>
              <a:gd name="T24" fmla="*/ 74 w 149"/>
              <a:gd name="T25" fmla="*/ 140 h 149"/>
              <a:gd name="T26" fmla="*/ 9 w 149"/>
              <a:gd name="T27" fmla="*/ 75 h 149"/>
              <a:gd name="T28" fmla="*/ 74 w 149"/>
              <a:gd name="T29" fmla="*/ 9 h 149"/>
              <a:gd name="T30" fmla="*/ 74 w 149"/>
              <a:gd name="T31" fmla="*/ 0 h 149"/>
              <a:gd name="T32" fmla="*/ 0 w 149"/>
              <a:gd name="T33" fmla="*/ 75 h 149"/>
              <a:gd name="T34" fmla="*/ 74 w 149"/>
              <a:gd name="T35" fmla="*/ 149 h 149"/>
              <a:gd name="T36" fmla="*/ 149 w 149"/>
              <a:gd name="T37" fmla="*/ 75 h 149"/>
              <a:gd name="T38" fmla="*/ 74 w 149"/>
              <a:gd name="T39" fmla="*/ 0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49" h="149">
                <a:moveTo>
                  <a:pt x="88" y="67"/>
                </a:moveTo>
                <a:cubicBezTo>
                  <a:pt x="65" y="46"/>
                  <a:pt x="65" y="46"/>
                  <a:pt x="65" y="46"/>
                </a:cubicBezTo>
                <a:cubicBezTo>
                  <a:pt x="84" y="46"/>
                  <a:pt x="84" y="46"/>
                  <a:pt x="84" y="46"/>
                </a:cubicBezTo>
                <a:cubicBezTo>
                  <a:pt x="115" y="75"/>
                  <a:pt x="115" y="75"/>
                  <a:pt x="115" y="75"/>
                </a:cubicBezTo>
                <a:cubicBezTo>
                  <a:pt x="84" y="104"/>
                  <a:pt x="84" y="104"/>
                  <a:pt x="84" y="104"/>
                </a:cubicBezTo>
                <a:cubicBezTo>
                  <a:pt x="65" y="104"/>
                  <a:pt x="65" y="104"/>
                  <a:pt x="65" y="104"/>
                </a:cubicBezTo>
                <a:cubicBezTo>
                  <a:pt x="88" y="82"/>
                  <a:pt x="88" y="82"/>
                  <a:pt x="88" y="82"/>
                </a:cubicBezTo>
                <a:cubicBezTo>
                  <a:pt x="36" y="82"/>
                  <a:pt x="36" y="82"/>
                  <a:pt x="36" y="82"/>
                </a:cubicBezTo>
                <a:cubicBezTo>
                  <a:pt x="36" y="67"/>
                  <a:pt x="36" y="67"/>
                  <a:pt x="36" y="67"/>
                </a:cubicBezTo>
                <a:lnTo>
                  <a:pt x="88" y="67"/>
                </a:lnTo>
                <a:close/>
                <a:moveTo>
                  <a:pt x="74" y="9"/>
                </a:moveTo>
                <a:cubicBezTo>
                  <a:pt x="110" y="9"/>
                  <a:pt x="140" y="39"/>
                  <a:pt x="140" y="75"/>
                </a:cubicBezTo>
                <a:cubicBezTo>
                  <a:pt x="140" y="111"/>
                  <a:pt x="110" y="140"/>
                  <a:pt x="74" y="140"/>
                </a:cubicBezTo>
                <a:cubicBezTo>
                  <a:pt x="38" y="140"/>
                  <a:pt x="9" y="111"/>
                  <a:pt x="9" y="75"/>
                </a:cubicBezTo>
                <a:cubicBezTo>
                  <a:pt x="9" y="39"/>
                  <a:pt x="38" y="9"/>
                  <a:pt x="74" y="9"/>
                </a:cubicBezTo>
                <a:moveTo>
                  <a:pt x="74" y="0"/>
                </a:moveTo>
                <a:cubicBezTo>
                  <a:pt x="33" y="0"/>
                  <a:pt x="0" y="33"/>
                  <a:pt x="0" y="75"/>
                </a:cubicBezTo>
                <a:cubicBezTo>
                  <a:pt x="0" y="116"/>
                  <a:pt x="33" y="149"/>
                  <a:pt x="74" y="149"/>
                </a:cubicBezTo>
                <a:cubicBezTo>
                  <a:pt x="116" y="149"/>
                  <a:pt x="149" y="116"/>
                  <a:pt x="149" y="75"/>
                </a:cubicBezTo>
                <a:cubicBezTo>
                  <a:pt x="149" y="33"/>
                  <a:pt x="116" y="0"/>
                  <a:pt x="74" y="0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8" tIns="34293" rIns="68588" bIns="34293" numCol="1" anchor="t" anchorCtr="0" compatLnSpc="1">
            <a:prstTxWarp prst="textNoShape">
              <a:avLst/>
            </a:prstTxWarp>
          </a:bodyPr>
          <a:lstStyle/>
          <a:p>
            <a:endParaRPr lang="en-US" sz="1324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31238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5134916" y="3924559"/>
            <a:ext cx="5573108" cy="1914785"/>
            <a:chOff x="543850" y="644"/>
            <a:chExt cx="5573108" cy="1914785"/>
          </a:xfrm>
        </p:grpSpPr>
        <p:grpSp>
          <p:nvGrpSpPr>
            <p:cNvPr id="3" name="Group 2"/>
            <p:cNvGrpSpPr/>
            <p:nvPr/>
          </p:nvGrpSpPr>
          <p:grpSpPr>
            <a:xfrm>
              <a:off x="543850" y="644"/>
              <a:ext cx="5573108" cy="1914784"/>
              <a:chOff x="6136320" y="3851499"/>
              <a:chExt cx="5573108" cy="1914784"/>
            </a:xfrm>
          </p:grpSpPr>
          <p:sp>
            <p:nvSpPr>
              <p:cNvPr id="5" name="Rectangle 4"/>
              <p:cNvSpPr/>
              <p:nvPr/>
            </p:nvSpPr>
            <p:spPr>
              <a:xfrm>
                <a:off x="6648594" y="3851499"/>
                <a:ext cx="5060834" cy="1914783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6" name="Picture 5"/>
              <p:cNvPicPr>
                <a:picLocks noChangeAspect="1"/>
              </p:cNvPicPr>
              <p:nvPr/>
            </p:nvPicPr>
            <p:blipFill rotWithShape="1">
              <a:blip r:embed="rId2" cstate="print">
                <a:extLst>
                  <a:ext uri="{BEBA8EAE-BF5A-486C-A8C5-ECC9F3942E4B}">
                    <a14:imgProps xmlns:a14="http://schemas.microsoft.com/office/drawing/2010/main">
                      <a14:imgLayer r:embed="rId3">
                        <a14:imgEffect>
                          <a14:saturation sat="2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32785"/>
              <a:stretch/>
            </p:blipFill>
            <p:spPr>
              <a:xfrm>
                <a:off x="6136320" y="3851501"/>
                <a:ext cx="4274378" cy="1914782"/>
              </a:xfrm>
              <a:prstGeom prst="rect">
                <a:avLst/>
              </a:prstGeom>
            </p:spPr>
          </p:pic>
        </p:grpSp>
        <p:sp>
          <p:nvSpPr>
            <p:cNvPr id="4" name="Rectangle 3"/>
            <p:cNvSpPr/>
            <p:nvPr/>
          </p:nvSpPr>
          <p:spPr>
            <a:xfrm>
              <a:off x="1690396" y="647"/>
              <a:ext cx="3156932" cy="1914782"/>
            </a:xfrm>
            <a:prstGeom prst="rect">
              <a:avLst/>
            </a:prstGeom>
            <a:gradFill>
              <a:gsLst>
                <a:gs pos="0">
                  <a:schemeClr val="tx1"/>
                </a:gs>
                <a:gs pos="55000">
                  <a:srgbClr val="1C1C1C">
                    <a:alpha val="60000"/>
                  </a:srgbClr>
                </a:gs>
                <a:gs pos="20000">
                  <a:srgbClr val="080808"/>
                </a:gs>
                <a:gs pos="100000">
                  <a:schemeClr val="bg1">
                    <a:alpha val="0"/>
                  </a:schemeClr>
                </a:gs>
              </a:gsLst>
              <a:lin ang="108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8774" y="345995"/>
            <a:ext cx="5873023" cy="3912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7811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Lp5CSddUyH2.S4SYXsw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HH9LBOzkOKFI1FbikSK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3uLa16G02f9GSfFeLm4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QYfNNjtUaYWeIcXRWNk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AKQo7SmI0i6TidwDCof8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BlMNZZXU.2Mfs5PxWkg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XD23qZqkC5NttvwyigX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fiAwukG0kyyAxAQ5_NWp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BlMNZZXU.2Mfs5PxWkg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XD23qZqkC5NttvwyigX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fiAwukG0kyyAxAQ5_N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Lp5CSddUyH2.S4SYXsw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Lp5CSddUyH2.S4SYXsw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50000"/>
          </a:schemeClr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oP_PitchDeck_MBiz">
  <a:themeElements>
    <a:clrScheme name="Azure">
      <a:dk1>
        <a:srgbClr val="3F3F3F"/>
      </a:dk1>
      <a:lt1>
        <a:sysClr val="window" lastClr="FFFFFF"/>
      </a:lt1>
      <a:dk2>
        <a:srgbClr val="FFB900"/>
      </a:dk2>
      <a:lt2>
        <a:srgbClr val="FF8C00"/>
      </a:lt2>
      <a:accent1>
        <a:srgbClr val="5C005C"/>
      </a:accent1>
      <a:accent2>
        <a:srgbClr val="B4009E"/>
      </a:accent2>
      <a:accent3>
        <a:srgbClr val="0072C6"/>
      </a:accent3>
      <a:accent4>
        <a:srgbClr val="D83B01"/>
      </a:accent4>
      <a:accent5>
        <a:srgbClr val="00B050"/>
      </a:accent5>
      <a:accent6>
        <a:srgbClr val="ADD40D"/>
      </a:accent6>
      <a:hlink>
        <a:srgbClr val="B4009E"/>
      </a:hlink>
      <a:folHlink>
        <a:srgbClr val="B4009E"/>
      </a:folHlink>
    </a:clrScheme>
    <a:fontScheme name="Custom 15">
      <a:majorFont>
        <a:latin typeface="Segoe UI 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3144</TotalTime>
  <Words>1365</Words>
  <Application>Microsoft Office PowerPoint</Application>
  <PresentationFormat>Widescreen</PresentationFormat>
  <Paragraphs>304</Paragraphs>
  <Slides>58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8</vt:i4>
      </vt:variant>
    </vt:vector>
  </HeadingPairs>
  <TitlesOfParts>
    <vt:vector size="73" baseType="lpstr">
      <vt:lpstr>Arial</vt:lpstr>
      <vt:lpstr>Calibri</vt:lpstr>
      <vt:lpstr>Calibri Light</vt:lpstr>
      <vt:lpstr>Segoe UI</vt:lpstr>
      <vt:lpstr>Segoe UI Black</vt:lpstr>
      <vt:lpstr>Segoe UI Bold</vt:lpstr>
      <vt:lpstr>Segoe UI Light</vt:lpstr>
      <vt:lpstr>Segoe UI Semibold</vt:lpstr>
      <vt:lpstr>Segoe UI Semilight</vt:lpstr>
      <vt:lpstr>Times New Roman</vt:lpstr>
      <vt:lpstr>Wingdings</vt:lpstr>
      <vt:lpstr>Office Theme</vt:lpstr>
      <vt:lpstr>1_Office Theme</vt:lpstr>
      <vt:lpstr>ToP_PitchDeck_MBiz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e cloud platform for the modern business</vt:lpstr>
      <vt:lpstr>PowerPoint Presentation</vt:lpstr>
      <vt:lpstr>PowerPoint Presentation</vt:lpstr>
      <vt:lpstr>Connect with customers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ne Kim (Projectline Services)</dc:creator>
  <cp:lastModifiedBy>Jane Kim (Projectline Services)</cp:lastModifiedBy>
  <cp:revision>421</cp:revision>
  <dcterms:created xsi:type="dcterms:W3CDTF">2014-11-20T18:41:23Z</dcterms:created>
  <dcterms:modified xsi:type="dcterms:W3CDTF">2015-12-23T19:40:07Z</dcterms:modified>
</cp:coreProperties>
</file>